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6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7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8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9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0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1.xml" ContentType="application/vnd.openxmlformats-officedocument.them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2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3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14.xml" ContentType="application/vnd.openxmlformats-officedocument.them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29.xml" ContentType="application/vnd.openxmlformats-officedocument.presentationml.tags+xml"/>
  <Override PartName="/ppt/notesSlides/notesSlide1.xml" ContentType="application/vnd.openxmlformats-officedocument.presentationml.notesSlide+xml"/>
  <Override PartName="/ppt/tags/tag230.xml" ContentType="application/vnd.openxmlformats-officedocument.presentationml.tags+xml"/>
  <Override PartName="/ppt/notesSlides/notesSlide2.xml" ContentType="application/vnd.openxmlformats-officedocument.presentationml.notesSlide+xml"/>
  <Override PartName="/ppt/tags/tag231.xml" ContentType="application/vnd.openxmlformats-officedocument.presentationml.tags+xml"/>
  <Override PartName="/ppt/notesSlides/notesSlide3.xml" ContentType="application/vnd.openxmlformats-officedocument.presentationml.notesSlide+xml"/>
  <Override PartName="/ppt/tags/tag232.xml" ContentType="application/vnd.openxmlformats-officedocument.presentationml.tags+xml"/>
  <Override PartName="/ppt/notesSlides/notesSlide4.xml" ContentType="application/vnd.openxmlformats-officedocument.presentationml.notesSlide+xml"/>
  <Override PartName="/ppt/tags/tag233.xml" ContentType="application/vnd.openxmlformats-officedocument.presentationml.tags+xml"/>
  <Override PartName="/ppt/notesSlides/notesSlide5.xml" ContentType="application/vnd.openxmlformats-officedocument.presentationml.notesSlide+xml"/>
  <Override PartName="/ppt/tags/tag234.xml" ContentType="application/vnd.openxmlformats-officedocument.presentationml.tags+xml"/>
  <Override PartName="/ppt/notesSlides/notesSlide6.xml" ContentType="application/vnd.openxmlformats-officedocument.presentationml.notesSlide+xml"/>
  <Override PartName="/ppt/tags/tag235.xml" ContentType="application/vnd.openxmlformats-officedocument.presentationml.tags+xml"/>
  <Override PartName="/ppt/notesSlides/notesSlide7.xml" ContentType="application/vnd.openxmlformats-officedocument.presentationml.notesSlide+xml"/>
  <Override PartName="/ppt/tags/tag236.xml" ContentType="application/vnd.openxmlformats-officedocument.presentationml.tags+xml"/>
  <Override PartName="/ppt/notesSlides/notesSlide8.xml" ContentType="application/vnd.openxmlformats-officedocument.presentationml.notesSlide+xml"/>
  <Override PartName="/ppt/tags/tag237.xml" ContentType="application/vnd.openxmlformats-officedocument.presentationml.tags+xml"/>
  <Override PartName="/ppt/notesSlides/notesSlide9.xml" ContentType="application/vnd.openxmlformats-officedocument.presentationml.notesSlide+xml"/>
  <Override PartName="/ppt/tags/tag238.xml" ContentType="application/vnd.openxmlformats-officedocument.presentationml.tags+xml"/>
  <Override PartName="/ppt/notesSlides/notesSlide10.xml" ContentType="application/vnd.openxmlformats-officedocument.presentationml.notesSlide+xml"/>
  <Override PartName="/ppt/tags/tag239.xml" ContentType="application/vnd.openxmlformats-officedocument.presentationml.tags+xml"/>
  <Override PartName="/ppt/notesSlides/notesSlide11.xml" ContentType="application/vnd.openxmlformats-officedocument.presentationml.notesSlide+xml"/>
  <Override PartName="/ppt/tags/tag240.xml" ContentType="application/vnd.openxmlformats-officedocument.presentationml.tags+xml"/>
  <Override PartName="/ppt/notesSlides/notesSlide12.xml" ContentType="application/vnd.openxmlformats-officedocument.presentationml.notesSlide+xml"/>
  <Override PartName="/ppt/tags/tag241.xml" ContentType="application/vnd.openxmlformats-officedocument.presentationml.tags+xml"/>
  <Override PartName="/ppt/notesSlides/notesSlide13.xml" ContentType="application/vnd.openxmlformats-officedocument.presentationml.notesSlide+xml"/>
  <Override PartName="/ppt/tags/tag242.xml" ContentType="application/vnd.openxmlformats-officedocument.presentationml.tags+xml"/>
  <Override PartName="/ppt/notesSlides/notesSlide14.xml" ContentType="application/vnd.openxmlformats-officedocument.presentationml.notesSlide+xml"/>
  <Override PartName="/ppt/tags/tag243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42" r:id="rId1"/>
    <p:sldMasterId id="2147483807" r:id="rId2"/>
    <p:sldMasterId id="2147483825" r:id="rId3"/>
    <p:sldMasterId id="2147483899" r:id="rId4"/>
    <p:sldMasterId id="2147483934" r:id="rId5"/>
    <p:sldMasterId id="2147483952" r:id="rId6"/>
    <p:sldMasterId id="2147483969" r:id="rId7"/>
    <p:sldMasterId id="2147483984" r:id="rId8"/>
    <p:sldMasterId id="2147483999" r:id="rId9"/>
    <p:sldMasterId id="2147484014" r:id="rId10"/>
    <p:sldMasterId id="2147484049" r:id="rId11"/>
    <p:sldMasterId id="2147484084" r:id="rId12"/>
    <p:sldMasterId id="2147484108" r:id="rId13"/>
    <p:sldMasterId id="2147484130" r:id="rId14"/>
  </p:sldMasterIdLst>
  <p:notesMasterIdLst>
    <p:notesMasterId r:id="rId32"/>
  </p:notesMasterIdLst>
  <p:handoutMasterIdLst>
    <p:handoutMasterId r:id="rId33"/>
  </p:handoutMasterIdLst>
  <p:sldIdLst>
    <p:sldId id="320" r:id="rId15"/>
    <p:sldId id="325" r:id="rId16"/>
    <p:sldId id="880" r:id="rId17"/>
    <p:sldId id="882" r:id="rId18"/>
    <p:sldId id="883" r:id="rId19"/>
    <p:sldId id="884" r:id="rId20"/>
    <p:sldId id="885" r:id="rId21"/>
    <p:sldId id="886" r:id="rId22"/>
    <p:sldId id="887" r:id="rId23"/>
    <p:sldId id="881" r:id="rId24"/>
    <p:sldId id="889" r:id="rId25"/>
    <p:sldId id="890" r:id="rId26"/>
    <p:sldId id="888" r:id="rId27"/>
    <p:sldId id="891" r:id="rId28"/>
    <p:sldId id="892" r:id="rId29"/>
    <p:sldId id="893" r:id="rId30"/>
    <p:sldId id="894" r:id="rId31"/>
  </p:sldIdLst>
  <p:sldSz cx="9144000" cy="6858000" type="screen4x3"/>
  <p:notesSz cx="7010400" cy="9296400"/>
  <p:custDataLst>
    <p:tags r:id="rId3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876">
          <p15:clr>
            <a:srgbClr val="A4A3A4"/>
          </p15:clr>
        </p15:guide>
        <p15:guide id="4" orient="horz" pos="218">
          <p15:clr>
            <a:srgbClr val="A4A3A4"/>
          </p15:clr>
        </p15:guide>
        <p15:guide id="5" orient="horz" pos="4319">
          <p15:clr>
            <a:srgbClr val="A4A3A4"/>
          </p15:clr>
        </p15:guide>
        <p15:guide id="6" pos="256">
          <p15:clr>
            <a:srgbClr val="A4A3A4"/>
          </p15:clr>
        </p15:guide>
        <p15:guide id="7" pos="5521">
          <p15:clr>
            <a:srgbClr val="A4A3A4"/>
          </p15:clr>
        </p15:guide>
        <p15:guide id="8">
          <p15:clr>
            <a:srgbClr val="A4A3A4"/>
          </p15:clr>
        </p15:guide>
        <p15:guide id="9" orient="horz" pos="606">
          <p15:clr>
            <a:srgbClr val="A4A3A4"/>
          </p15:clr>
        </p15:guide>
        <p15:guide id="10" orient="horz" pos="17">
          <p15:clr>
            <a:srgbClr val="A4A3A4"/>
          </p15:clr>
        </p15:guide>
        <p15:guide id="11" orient="horz" pos="887">
          <p15:clr>
            <a:srgbClr val="A4A3A4"/>
          </p15:clr>
        </p15:guide>
        <p15:guide id="12" orient="horz" pos="3758">
          <p15:clr>
            <a:srgbClr val="A4A3A4"/>
          </p15:clr>
        </p15:guide>
        <p15:guide id="13" orient="horz" pos="3858">
          <p15:clr>
            <a:srgbClr val="A4A3A4"/>
          </p15:clr>
        </p15:guide>
        <p15:guide id="14" orient="horz" pos="2790">
          <p15:clr>
            <a:srgbClr val="A4A3A4"/>
          </p15:clr>
        </p15:guide>
        <p15:guide id="15" pos="4344">
          <p15:clr>
            <a:srgbClr val="A4A3A4"/>
          </p15:clr>
        </p15:guide>
        <p15:guide id="16" pos="5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9D9D9"/>
    <a:srgbClr val="004388"/>
    <a:srgbClr val="00A6E2"/>
    <a:srgbClr val="005286"/>
    <a:srgbClr val="00A6DE"/>
    <a:srgbClr val="E7E9ED"/>
    <a:srgbClr val="D9DADB"/>
    <a:srgbClr val="9C9E9F"/>
    <a:srgbClr val="CBCF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377" autoAdjust="0"/>
    <p:restoredTop sz="99127" autoAdjust="0"/>
  </p:normalViewPr>
  <p:slideViewPr>
    <p:cSldViewPr snapToGrid="0" snapToObjects="1">
      <p:cViewPr varScale="1">
        <p:scale>
          <a:sx n="110" d="100"/>
          <a:sy n="110" d="100"/>
        </p:scale>
        <p:origin x="228" y="114"/>
      </p:cViewPr>
      <p:guideLst>
        <p:guide orient="horz" pos="572"/>
        <p:guide pos="2880"/>
        <p:guide orient="horz" pos="3876"/>
        <p:guide orient="horz" pos="218"/>
        <p:guide orient="horz" pos="4319"/>
        <p:guide pos="256"/>
        <p:guide pos="5521"/>
        <p:guide/>
        <p:guide orient="horz" pos="606"/>
        <p:guide orient="horz" pos="17"/>
        <p:guide orient="horz" pos="887"/>
        <p:guide orient="horz" pos="3758"/>
        <p:guide orient="horz" pos="3858"/>
        <p:guide orient="horz" pos="2790"/>
        <p:guide pos="4344"/>
        <p:guide pos="594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-3342" y="-120"/>
      </p:cViewPr>
      <p:guideLst>
        <p:guide orient="horz" pos="2880"/>
        <p:guide pos="2160"/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200"/>
            </a:lvl1pPr>
          </a:lstStyle>
          <a:p>
            <a:fld id="{74CD341D-640F-3D4B-965E-7EE0D653058C}" type="datetimeFigureOut">
              <a:rPr lang="de-DE" smtClean="0">
                <a:latin typeface="Arial"/>
              </a:rPr>
              <a:pPr/>
              <a:t>24.03.2018</a:t>
            </a:fld>
            <a:endParaRPr lang="de-DE" dirty="0">
              <a:latin typeface="Arial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200"/>
            </a:lvl1pPr>
          </a:lstStyle>
          <a:p>
            <a:endParaRPr lang="de-DE" dirty="0">
              <a:latin typeface="Arial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200"/>
            </a:lvl1pPr>
          </a:lstStyle>
          <a:p>
            <a:fld id="{55F2DF3C-69A9-C048-81CC-756AC4E57132}" type="slidenum">
              <a:rPr lang="de-DE" smtClean="0">
                <a:latin typeface="Arial"/>
              </a:rPr>
              <a:pPr/>
              <a:t>‹#›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86114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/>
          <a:lstStyle>
            <a:lvl1pPr algn="r">
              <a:defRPr sz="1200"/>
            </a:lvl1pPr>
          </a:lstStyle>
          <a:p>
            <a:fld id="{1F3FADAE-DA08-BC48-A332-CFE45955E1DC}" type="datetimeFigureOut">
              <a:rPr lang="en-US" smtClean="0">
                <a:latin typeface="Arial"/>
              </a:rPr>
              <a:pPr/>
              <a:t>3/24/2018</a:t>
            </a:fld>
            <a:endParaRPr lang="en-US" dirty="0">
              <a:latin typeface="Arial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8" tIns="46584" rIns="93168" bIns="46584" rtlCol="0" anchor="ctr"/>
          <a:lstStyle/>
          <a:p>
            <a:endParaRPr lang="de-DE" dirty="0">
              <a:latin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68" tIns="46584" rIns="93168" bIns="46584" rtlCol="0"/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</p:spPr>
        <p:txBody>
          <a:bodyPr vert="horz" lIns="93168" tIns="46584" rIns="93168" bIns="46584" rtlCol="0" anchor="b"/>
          <a:lstStyle>
            <a:lvl1pPr algn="r">
              <a:defRPr sz="1200"/>
            </a:lvl1pPr>
          </a:lstStyle>
          <a:p>
            <a:fld id="{F87A4B69-EC37-4945-805A-C13355A10099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07842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latin typeface="Arial"/>
              </a:rPr>
              <a:pPr/>
              <a:t>1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2654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2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3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4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5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6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7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3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4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5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6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7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159" y="8829573"/>
            <a:ext cx="3038604" cy="465340"/>
          </a:xfrm>
          <a:prstGeom prst="rect">
            <a:avLst/>
          </a:prstGeom>
        </p:spPr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8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0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7A4B69-EC37-4945-805A-C13355A10099}" type="slidenum">
              <a:rPr lang="en-US" smtClean="0">
                <a:solidFill>
                  <a:prstClr val="black"/>
                </a:solidFill>
                <a:latin typeface="Arial"/>
              </a:rPr>
              <a:pPr/>
              <a:t>11</a:t>
            </a:fld>
            <a:endParaRPr lang="en-US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8302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2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7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.png"/><Relationship Id="rId2" Type="http://schemas.openxmlformats.org/officeDocument/2006/relationships/tags" Target="../tags/tag164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3.bin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2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1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3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5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6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.png"/><Relationship Id="rId2" Type="http://schemas.openxmlformats.org/officeDocument/2006/relationships/tags" Target="../tags/tag180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9.bin"/><Relationship Id="rId4" Type="http://schemas.openxmlformats.org/officeDocument/2006/relationships/image" Target="../media/image7.pn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2.png"/><Relationship Id="rId2" Type="http://schemas.openxmlformats.org/officeDocument/2006/relationships/tags" Target="../tags/tag182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2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4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5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6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7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8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9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0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1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2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4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5.bin"/><Relationship Id="rId4" Type="http://schemas.openxmlformats.org/officeDocument/2006/relationships/image" Target="../media/image7.pn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2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7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199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8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9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1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2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3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4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5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6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7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8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9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1.bin"/><Relationship Id="rId4" Type="http://schemas.openxmlformats.org/officeDocument/2006/relationships/image" Target="../media/image7.png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2.png"/><Relationship Id="rId2" Type="http://schemas.openxmlformats.org/officeDocument/2006/relationships/tags" Target="../tags/tag214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15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8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2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3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5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6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28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7.bin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7.png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8.png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164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65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67469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310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06401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3607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B82FCA-CCE5-46D1-8677-F452EEE7DE58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65649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412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9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F20D4BB-7315-4665-B55E-E86133427EB9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336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7604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21CD9-34F6-4AB8-BC1A-6D50CB35391E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29243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278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12506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429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5703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6266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58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097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4327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5290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939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8745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9810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647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13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096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34158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771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4881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0270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74557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181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3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8848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281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765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256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3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90151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498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3776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3726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4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1780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920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307020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977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5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5215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306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5762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2995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2833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887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5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149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8456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5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57822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825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6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8633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106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895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705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3557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4039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06766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97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43828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841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7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41755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370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7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7417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54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7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941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069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9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0731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586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8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1402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62832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8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807527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23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8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845675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432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43666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440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607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448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9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53879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28822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9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35700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906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9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8939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386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0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5075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011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0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145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2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5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dirty="0"/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+mj-lt"/>
              </a:rPr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5804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076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0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56543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32435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0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4363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240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4333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439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7550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249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20314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428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1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4673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2442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3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717101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969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26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33388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570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28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122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345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3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624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64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737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64363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23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12211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750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87243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5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55993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074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4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39687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028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4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5743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37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4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3829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61482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4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6866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5484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0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8106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975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52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5285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447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55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2258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89502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4116762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89201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20342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" y="644525"/>
            <a:ext cx="8229600" cy="8223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440335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135660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047050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2972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62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44420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816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64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4642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7021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67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1459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89010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69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924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3095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84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4794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4856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26519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0711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706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0716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63048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5759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7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27436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33642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18013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8888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9849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343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4944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941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8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958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826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1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6613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093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93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917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22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86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  <a:br>
              <a:rPr lang="en-US" dirty="0"/>
            </a:br>
            <a:r>
              <a:rPr lang="en-US" dirty="0"/>
              <a:t>2 LINES HEADIN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3695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675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95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47841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32461"/>
      </p:ext>
    </p:extLst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93066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319532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" y="644525"/>
            <a:ext cx="8229600" cy="8223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9700"/>
            <a:ext cx="4038600" cy="2255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958793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598992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23225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866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7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65681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722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9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76785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479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12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165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638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9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0F97224D-D861-446A-AD6D-35A67616C14B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4635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93247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207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14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1612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3273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6527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6009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857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4370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69292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5067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10462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7238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255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5106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70745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7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8550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544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38285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731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6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1413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817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9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2394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46118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1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B35F573-AB6B-4F62-81BC-376E1E93BB22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61054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428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8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51465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385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1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64999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166059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4030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862979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12068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303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2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800473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540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4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851612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8802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6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21198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403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9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9679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7163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93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70F9380-C669-48CA-ABD2-BA0899E3B9CE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012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3323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11338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52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362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6209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863869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583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16364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723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17953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083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2738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511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41969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344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66774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082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80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1034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885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83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1945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217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96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4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6E0BF56-A2E7-46D7-9621-FB118E64D17E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6388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694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56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7204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123495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636733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542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97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253774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168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0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2918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987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0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37681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733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0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27841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9270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1370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9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2260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049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5831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130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98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4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645217A0-35F7-44FF-A420-EA613745F318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20315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13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45876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7051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09437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777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64158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19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6331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429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30205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4010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26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357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945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28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04097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487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1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4097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9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0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323AC2E-CAA9-4A9D-BB5B-2168FEAF306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1786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76839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0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1DC798F-5E78-4201-92E5-4F5B98B4F45F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757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9283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9C3F284-BAA7-4143-8A8A-5F0C9D1776A9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3223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8962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034DB6B-3EEE-4A46-8AD3-FAB69BAB881F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7483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64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7CD649B8-D503-41B8-BE61-E478D818C82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8449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9090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DA2C1F88-964D-47FF-BA8E-CD38AEBFE35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096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493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66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8436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278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892F031-CC45-42F4-86B6-AEF33D04AD20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3290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1748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C4D7EBE-E13C-4E51-BE46-7707A378838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5889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176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ED260AB-4F1E-445E-93B7-DB126281EC1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343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56954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07DA88E-5A89-4B90-961E-FE4A9838A0A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89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502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27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Project Honeycomb</a:t>
            </a:r>
          </a:p>
          <a:p>
            <a:pPr lvl="0"/>
            <a:r>
              <a:rPr lang="en-US" dirty="0"/>
              <a:t>Approval to Negotiate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M. </a:t>
            </a:r>
            <a:r>
              <a:rPr lang="en-US" dirty="0" err="1"/>
              <a:t>Kühn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17 July 2015</a:t>
            </a:r>
          </a:p>
          <a:p>
            <a:pPr lvl="0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1353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189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29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245DABF-570E-4C86-B882-D27E85D30CA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3530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157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32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FD28D5-3A1B-4CDA-804F-7AA0E40DC24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7383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9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34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B0D7D6-A53B-4D5A-9304-472DDE688B9F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055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066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27C4FA9-7D02-4A13-BCF4-822FE8EC4810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574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0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39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1A5D82-07B4-4927-9BB7-3587E2C7922F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76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5660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8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6595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1572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DBA41A8-5766-47CE-91CA-BA41FE16E5F6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888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7596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77973AA-5FE0-41B0-B062-AB9F2BE582A6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4766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6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2D9F73F-16D7-42B0-8ED5-7E634F45AD0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7504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1938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4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FC573F9-039D-4426-997B-D61AE3E9A42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8896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110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5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B12CA60-4F3A-4D45-9568-DEAE1B04A34A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002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907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422638-7A8F-405F-83AC-C51C19457FE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530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7454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859A43-0DC4-412E-82C6-E998B5D7C1A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0719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735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AB82FCA-CCE5-46D1-8677-F452EEE7DE58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7101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17437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F20D4BB-7315-4665-B55E-E86133427EB9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927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9617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921CD9-34F6-4AB8-BC1A-6D50CB35391E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1433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488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3124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98210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78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15151"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561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427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80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 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175" y="0"/>
            <a:ext cx="9144000" cy="4218519"/>
          </a:xfrm>
          <a:prstGeom prst="rect">
            <a:avLst/>
          </a:prstGeom>
        </p:spPr>
      </p:pic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70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600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83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0BFF0E33-747E-4D40-BF47-1DAFC9F34C0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6949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0" y="-1"/>
            <a:ext cx="9144000" cy="6059278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477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85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C36F77-6130-4A57-8D9F-4C05CDCBB5A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65147"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1722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690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8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662625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5BE1D8E-E4B7-469F-AA92-62FE42CADED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0324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143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9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5242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44794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9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3520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683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9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7159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136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9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2734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491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5008A2E-1B1C-485B-8DA3-29EC23BC3DA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496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5310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661193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92E100A-C08A-4FAD-B273-6C3B9D8AB075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19170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055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0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609817"/>
          </a:xfrm>
        </p:spPr>
        <p:txBody>
          <a:bodyPr/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70CD2700-FF58-4DD4-8074-85D29542D47C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4248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707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0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0C774-1DF8-470D-9FFC-0E24CD04771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2731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471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7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6" r="3343" b="14370"/>
          <a:stretch/>
        </p:blipFill>
        <p:spPr>
          <a:xfrm>
            <a:off x="-1" y="4954183"/>
            <a:ext cx="9144001" cy="1198968"/>
          </a:xfrm>
          <a:prstGeom prst="rect">
            <a:avLst/>
          </a:prstGeom>
        </p:spPr>
      </p:pic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FF3AD1A-C155-40EC-BE92-41398593B04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21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torial p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0824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09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reudenberg colors for </a:t>
            </a:r>
            <a:r>
              <a:rPr lang="en-US" dirty="0" err="1"/>
              <a:t>ppt</a:t>
            </a:r>
            <a:r>
              <a:rPr lang="en-US" dirty="0"/>
              <a:t> use</a:t>
            </a:r>
          </a:p>
        </p:txBody>
      </p:sp>
      <p:sp>
        <p:nvSpPr>
          <p:cNvPr id="108" name="Rechteck 19"/>
          <p:cNvSpPr/>
          <p:nvPr userDrawn="1"/>
        </p:nvSpPr>
        <p:spPr>
          <a:xfrm>
            <a:off x="1545694" y="1537631"/>
            <a:ext cx="1009722" cy="7543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9" name="Textplatzhalter 5"/>
          <p:cNvSpPr txBox="1">
            <a:spLocks/>
          </p:cNvSpPr>
          <p:nvPr userDrawn="1"/>
        </p:nvSpPr>
        <p:spPr>
          <a:xfrm>
            <a:off x="292362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0" name="Rechteck 19"/>
          <p:cNvSpPr/>
          <p:nvPr userDrawn="1"/>
        </p:nvSpPr>
        <p:spPr>
          <a:xfrm>
            <a:off x="292361" y="1537631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1" name="Rechteck 20"/>
          <p:cNvSpPr/>
          <p:nvPr userDrawn="1"/>
        </p:nvSpPr>
        <p:spPr>
          <a:xfrm>
            <a:off x="292362" y="4749636"/>
            <a:ext cx="1009722" cy="754303"/>
          </a:xfrm>
          <a:prstGeom prst="rect">
            <a:avLst/>
          </a:prstGeom>
          <a:gradFill flip="none" rotWithShape="1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12" name="Textplatzhalter 5"/>
          <p:cNvSpPr txBox="1">
            <a:spLocks/>
          </p:cNvSpPr>
          <p:nvPr userDrawn="1"/>
        </p:nvSpPr>
        <p:spPr>
          <a:xfrm>
            <a:off x="333770" y="4719328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3" name="Textplatzhalter 5"/>
          <p:cNvSpPr txBox="1">
            <a:spLocks/>
          </p:cNvSpPr>
          <p:nvPr userDrawn="1"/>
        </p:nvSpPr>
        <p:spPr>
          <a:xfrm>
            <a:off x="1009572" y="5142080"/>
            <a:ext cx="408511" cy="361859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4" name="Textplatzhalter 5"/>
          <p:cNvSpPr txBox="1">
            <a:spLocks/>
          </p:cNvSpPr>
          <p:nvPr userDrawn="1"/>
        </p:nvSpPr>
        <p:spPr>
          <a:xfrm>
            <a:off x="1448793" y="4748404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115" name="Textplatzhalter 5"/>
          <p:cNvSpPr txBox="1">
            <a:spLocks/>
          </p:cNvSpPr>
          <p:nvPr userDrawn="1"/>
        </p:nvSpPr>
        <p:spPr>
          <a:xfrm>
            <a:off x="1642594" y="4749636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6</a:t>
            </a:r>
          </a:p>
        </p:txBody>
      </p:sp>
      <p:sp>
        <p:nvSpPr>
          <p:cNvPr id="116" name="Textplatzhalter 5"/>
          <p:cNvSpPr txBox="1">
            <a:spLocks/>
          </p:cNvSpPr>
          <p:nvPr userDrawn="1"/>
        </p:nvSpPr>
        <p:spPr>
          <a:xfrm>
            <a:off x="1424433" y="5140848"/>
            <a:ext cx="408511" cy="361859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1500" b="1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117" name="Textplatzhalter 5"/>
          <p:cNvSpPr txBox="1">
            <a:spLocks/>
          </p:cNvSpPr>
          <p:nvPr userDrawn="1"/>
        </p:nvSpPr>
        <p:spPr>
          <a:xfrm>
            <a:off x="1618234" y="5142080"/>
            <a:ext cx="815922" cy="360627"/>
          </a:xfrm>
          <a:prstGeom prst="rect">
            <a:avLst/>
          </a:prstGeom>
        </p:spPr>
        <p:txBody>
          <a:bodyPr vert="horz" lIns="0" tIns="0" rIns="0" bIns="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82/134</a:t>
            </a:r>
          </a:p>
        </p:txBody>
      </p:sp>
      <p:sp>
        <p:nvSpPr>
          <p:cNvPr id="118" name="Textplatzhalter 5"/>
          <p:cNvSpPr txBox="1">
            <a:spLocks/>
          </p:cNvSpPr>
          <p:nvPr userDrawn="1"/>
        </p:nvSpPr>
        <p:spPr>
          <a:xfrm>
            <a:off x="2799028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19" name="Rechteck 19"/>
          <p:cNvSpPr/>
          <p:nvPr userDrawn="1"/>
        </p:nvSpPr>
        <p:spPr>
          <a:xfrm>
            <a:off x="2799027" y="1537631"/>
            <a:ext cx="1009722" cy="754303"/>
          </a:xfrm>
          <a:prstGeom prst="rect">
            <a:avLst/>
          </a:prstGeom>
          <a:solidFill>
            <a:srgbClr val="007D4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0" name="Textplatzhalter 5"/>
          <p:cNvSpPr txBox="1">
            <a:spLocks/>
          </p:cNvSpPr>
          <p:nvPr userDrawn="1"/>
        </p:nvSpPr>
        <p:spPr>
          <a:xfrm>
            <a:off x="405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23/52/46</a:t>
            </a:r>
          </a:p>
        </p:txBody>
      </p:sp>
      <p:sp>
        <p:nvSpPr>
          <p:cNvPr id="121" name="Rechteck 19"/>
          <p:cNvSpPr/>
          <p:nvPr userDrawn="1"/>
        </p:nvSpPr>
        <p:spPr>
          <a:xfrm>
            <a:off x="4052360" y="1537631"/>
            <a:ext cx="1009722" cy="754303"/>
          </a:xfrm>
          <a:prstGeom prst="rect">
            <a:avLst/>
          </a:prstGeom>
          <a:solidFill>
            <a:srgbClr val="E6332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2" name="Textplatzhalter 5"/>
          <p:cNvSpPr txBox="1">
            <a:spLocks/>
          </p:cNvSpPr>
          <p:nvPr userDrawn="1"/>
        </p:nvSpPr>
        <p:spPr>
          <a:xfrm>
            <a:off x="5305694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7/166/0</a:t>
            </a:r>
          </a:p>
        </p:txBody>
      </p:sp>
      <p:sp>
        <p:nvSpPr>
          <p:cNvPr id="123" name="Rechteck 19"/>
          <p:cNvSpPr/>
          <p:nvPr userDrawn="1"/>
        </p:nvSpPr>
        <p:spPr>
          <a:xfrm>
            <a:off x="5305693" y="1537631"/>
            <a:ext cx="1009722" cy="754303"/>
          </a:xfrm>
          <a:prstGeom prst="rect">
            <a:avLst/>
          </a:prstGeom>
          <a:solidFill>
            <a:srgbClr val="F7A6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4" name="Textplatzhalter 5"/>
          <p:cNvSpPr txBox="1">
            <a:spLocks/>
          </p:cNvSpPr>
          <p:nvPr userDrawn="1"/>
        </p:nvSpPr>
        <p:spPr>
          <a:xfrm>
            <a:off x="6559027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25" name="Rechteck 19"/>
          <p:cNvSpPr/>
          <p:nvPr userDrawn="1"/>
        </p:nvSpPr>
        <p:spPr>
          <a:xfrm>
            <a:off x="6559026" y="1537631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6" name="Textplatzhalter 5"/>
          <p:cNvSpPr txBox="1">
            <a:spLocks/>
          </p:cNvSpPr>
          <p:nvPr userDrawn="1"/>
        </p:nvSpPr>
        <p:spPr>
          <a:xfrm>
            <a:off x="7812361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27" name="Rechteck 19"/>
          <p:cNvSpPr/>
          <p:nvPr userDrawn="1"/>
        </p:nvSpPr>
        <p:spPr>
          <a:xfrm>
            <a:off x="7812360" y="1537631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28" name="Textplatzhalter 5"/>
          <p:cNvSpPr txBox="1">
            <a:spLocks/>
          </p:cNvSpPr>
          <p:nvPr userDrawn="1"/>
        </p:nvSpPr>
        <p:spPr>
          <a:xfrm>
            <a:off x="405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67/136</a:t>
            </a:r>
          </a:p>
        </p:txBody>
      </p:sp>
      <p:sp>
        <p:nvSpPr>
          <p:cNvPr id="129" name="Rechteck 19"/>
          <p:cNvSpPr/>
          <p:nvPr userDrawn="1"/>
        </p:nvSpPr>
        <p:spPr>
          <a:xfrm>
            <a:off x="4052360" y="4749636"/>
            <a:ext cx="1009722" cy="75430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0" name="Textplatzhalter 5"/>
          <p:cNvSpPr txBox="1">
            <a:spLocks/>
          </p:cNvSpPr>
          <p:nvPr userDrawn="1"/>
        </p:nvSpPr>
        <p:spPr>
          <a:xfrm>
            <a:off x="5305694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lack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0/0</a:t>
            </a:r>
          </a:p>
        </p:txBody>
      </p:sp>
      <p:sp>
        <p:nvSpPr>
          <p:cNvPr id="131" name="Rechteck 19"/>
          <p:cNvSpPr/>
          <p:nvPr userDrawn="1"/>
        </p:nvSpPr>
        <p:spPr>
          <a:xfrm>
            <a:off x="5305693" y="4749636"/>
            <a:ext cx="1009722" cy="7543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2" name="Textplatzhalter 5"/>
          <p:cNvSpPr txBox="1">
            <a:spLocks/>
          </p:cNvSpPr>
          <p:nvPr userDrawn="1"/>
        </p:nvSpPr>
        <p:spPr>
          <a:xfrm>
            <a:off x="6559027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Light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17/218/219</a:t>
            </a:r>
          </a:p>
        </p:txBody>
      </p:sp>
      <p:sp>
        <p:nvSpPr>
          <p:cNvPr id="133" name="Rechteck 19"/>
          <p:cNvSpPr/>
          <p:nvPr userDrawn="1"/>
        </p:nvSpPr>
        <p:spPr>
          <a:xfrm>
            <a:off x="6559026" y="4749636"/>
            <a:ext cx="1009722" cy="75430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4" name="Textplatzhalter 5"/>
          <p:cNvSpPr txBox="1">
            <a:spLocks/>
          </p:cNvSpPr>
          <p:nvPr userDrawn="1"/>
        </p:nvSpPr>
        <p:spPr>
          <a:xfrm>
            <a:off x="7812361" y="5503939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Dark Gray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6/158/159</a:t>
            </a:r>
          </a:p>
        </p:txBody>
      </p:sp>
      <p:sp>
        <p:nvSpPr>
          <p:cNvPr id="135" name="Rechteck 19"/>
          <p:cNvSpPr/>
          <p:nvPr userDrawn="1"/>
        </p:nvSpPr>
        <p:spPr>
          <a:xfrm>
            <a:off x="7812360" y="4749636"/>
            <a:ext cx="1009722" cy="7543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36" name="Textplatzhalter 37"/>
          <p:cNvSpPr txBox="1">
            <a:spLocks/>
          </p:cNvSpPr>
          <p:nvPr userDrawn="1"/>
        </p:nvSpPr>
        <p:spPr>
          <a:xfrm>
            <a:off x="314055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Gradient</a:t>
            </a:r>
          </a:p>
        </p:txBody>
      </p:sp>
      <p:sp>
        <p:nvSpPr>
          <p:cNvPr id="137" name="Textplatzhalter 37"/>
          <p:cNvSpPr txBox="1">
            <a:spLocks/>
          </p:cNvSpPr>
          <p:nvPr userDrawn="1"/>
        </p:nvSpPr>
        <p:spPr>
          <a:xfrm>
            <a:off x="4063206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Headline</a:t>
            </a:r>
          </a:p>
        </p:txBody>
      </p:sp>
      <p:sp>
        <p:nvSpPr>
          <p:cNvPr id="138" name="Textplatzhalter 37"/>
          <p:cNvSpPr txBox="1">
            <a:spLocks/>
          </p:cNvSpPr>
          <p:nvPr userDrawn="1"/>
        </p:nvSpPr>
        <p:spPr>
          <a:xfrm>
            <a:off x="5292080" y="4523739"/>
            <a:ext cx="988029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Body copy</a:t>
            </a:r>
          </a:p>
        </p:txBody>
      </p:sp>
      <p:sp>
        <p:nvSpPr>
          <p:cNvPr id="139" name="Textplatzhalter 37"/>
          <p:cNvSpPr txBox="1">
            <a:spLocks/>
          </p:cNvSpPr>
          <p:nvPr userDrawn="1"/>
        </p:nvSpPr>
        <p:spPr>
          <a:xfrm>
            <a:off x="6559026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ent Index</a:t>
            </a:r>
          </a:p>
        </p:txBody>
      </p:sp>
      <p:sp>
        <p:nvSpPr>
          <p:cNvPr id="140" name="Textplatzhalter 37"/>
          <p:cNvSpPr txBox="1">
            <a:spLocks/>
          </p:cNvSpPr>
          <p:nvPr userDrawn="1"/>
        </p:nvSpPr>
        <p:spPr>
          <a:xfrm>
            <a:off x="7812360" y="4523739"/>
            <a:ext cx="1121934" cy="221599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Dark Gray</a:t>
            </a:r>
          </a:p>
        </p:txBody>
      </p:sp>
      <p:sp>
        <p:nvSpPr>
          <p:cNvPr id="141" name="Textplatzhalter 5"/>
          <p:cNvSpPr txBox="1">
            <a:spLocks/>
          </p:cNvSpPr>
          <p:nvPr userDrawn="1"/>
        </p:nvSpPr>
        <p:spPr>
          <a:xfrm>
            <a:off x="292362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Basic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61/195</a:t>
            </a:r>
          </a:p>
        </p:txBody>
      </p:sp>
      <p:sp>
        <p:nvSpPr>
          <p:cNvPr id="142" name="Textplatzhalter 37"/>
          <p:cNvSpPr txBox="1">
            <a:spLocks/>
          </p:cNvSpPr>
          <p:nvPr userDrawn="1"/>
        </p:nvSpPr>
        <p:spPr>
          <a:xfrm>
            <a:off x="314055" y="2905519"/>
            <a:ext cx="8302625" cy="221599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2400" b="1" i="0" kern="1200" baseline="0">
                <a:solidFill>
                  <a:srgbClr val="000000"/>
                </a:solidFill>
                <a:latin typeface="Arial"/>
                <a:ea typeface="+mn-ea"/>
                <a:cs typeface="Arial" panose="020B0604020202020204" pitchFamily="34" charset="0"/>
              </a:defRPr>
            </a:lvl1pPr>
            <a:lvl2pPr marL="538163" indent="-268288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lors: tints (50% of solid)</a:t>
            </a:r>
          </a:p>
        </p:txBody>
      </p:sp>
      <p:sp>
        <p:nvSpPr>
          <p:cNvPr id="143" name="Rechteck 19"/>
          <p:cNvSpPr/>
          <p:nvPr userDrawn="1"/>
        </p:nvSpPr>
        <p:spPr>
          <a:xfrm>
            <a:off x="292361" y="3146789"/>
            <a:ext cx="1009722" cy="754303"/>
          </a:xfrm>
          <a:prstGeom prst="rect">
            <a:avLst/>
          </a:prstGeom>
          <a:solidFill>
            <a:srgbClr val="80A1C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4" name="Textplatzhalter 5"/>
          <p:cNvSpPr txBox="1">
            <a:spLocks/>
          </p:cNvSpPr>
          <p:nvPr userDrawn="1"/>
        </p:nvSpPr>
        <p:spPr>
          <a:xfrm>
            <a:off x="1545695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50/215/243</a:t>
            </a:r>
          </a:p>
        </p:txBody>
      </p:sp>
      <p:sp>
        <p:nvSpPr>
          <p:cNvPr id="145" name="Rechteck 19"/>
          <p:cNvSpPr/>
          <p:nvPr userDrawn="1"/>
        </p:nvSpPr>
        <p:spPr>
          <a:xfrm>
            <a:off x="1545694" y="3146789"/>
            <a:ext cx="1009722" cy="754303"/>
          </a:xfrm>
          <a:prstGeom prst="rect">
            <a:avLst/>
          </a:prstGeom>
          <a:solidFill>
            <a:srgbClr val="96D7F3">
              <a:alpha val="49804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6" name="Textplatzhalter 5"/>
          <p:cNvSpPr txBox="1">
            <a:spLocks/>
          </p:cNvSpPr>
          <p:nvPr userDrawn="1"/>
        </p:nvSpPr>
        <p:spPr>
          <a:xfrm>
            <a:off x="2799028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Green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128/183/156</a:t>
            </a:r>
          </a:p>
        </p:txBody>
      </p:sp>
      <p:sp>
        <p:nvSpPr>
          <p:cNvPr id="147" name="Rechteck 19"/>
          <p:cNvSpPr/>
          <p:nvPr userDrawn="1"/>
        </p:nvSpPr>
        <p:spPr>
          <a:xfrm>
            <a:off x="2799027" y="3146789"/>
            <a:ext cx="1009722" cy="754303"/>
          </a:xfrm>
          <a:prstGeom prst="rect">
            <a:avLst/>
          </a:prstGeom>
          <a:solidFill>
            <a:srgbClr val="9CB78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48" name="Textplatzhalter 5"/>
          <p:cNvSpPr txBox="1">
            <a:spLocks/>
          </p:cNvSpPr>
          <p:nvPr userDrawn="1"/>
        </p:nvSpPr>
        <p:spPr>
          <a:xfrm>
            <a:off x="4052361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ed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44/165/134</a:t>
            </a:r>
          </a:p>
        </p:txBody>
      </p:sp>
      <p:sp>
        <p:nvSpPr>
          <p:cNvPr id="149" name="Rechteck 19"/>
          <p:cNvSpPr/>
          <p:nvPr userDrawn="1"/>
        </p:nvSpPr>
        <p:spPr>
          <a:xfrm>
            <a:off x="4052360" y="3146789"/>
            <a:ext cx="1009722" cy="754303"/>
          </a:xfrm>
          <a:prstGeom prst="rect">
            <a:avLst/>
          </a:prstGeom>
          <a:solidFill>
            <a:srgbClr val="F4A58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0" name="Textplatzhalter 5"/>
          <p:cNvSpPr txBox="1">
            <a:spLocks/>
          </p:cNvSpPr>
          <p:nvPr userDrawn="1"/>
        </p:nvSpPr>
        <p:spPr>
          <a:xfrm>
            <a:off x="5305694" y="3901092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Yellow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253/212/143</a:t>
            </a:r>
          </a:p>
        </p:txBody>
      </p:sp>
      <p:sp>
        <p:nvSpPr>
          <p:cNvPr id="151" name="Rechteck 19"/>
          <p:cNvSpPr/>
          <p:nvPr userDrawn="1"/>
        </p:nvSpPr>
        <p:spPr>
          <a:xfrm>
            <a:off x="5305693" y="3146789"/>
            <a:ext cx="1009722" cy="754303"/>
          </a:xfrm>
          <a:prstGeom prst="rect">
            <a:avLst/>
          </a:prstGeom>
          <a:solidFill>
            <a:srgbClr val="FDD48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52" name="Textplatzhalter 5"/>
          <p:cNvSpPr txBox="1">
            <a:spLocks/>
          </p:cNvSpPr>
          <p:nvPr userDrawn="1"/>
        </p:nvSpPr>
        <p:spPr>
          <a:xfrm>
            <a:off x="1545695" y="2291934"/>
            <a:ext cx="1009721" cy="484748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SzPct val="150000"/>
              <a:buFontTx/>
              <a:buNone/>
              <a:defRPr sz="800" b="0" i="0" kern="1200" baseline="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Tx/>
              <a:buNone/>
              <a:defRPr sz="1000" b="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2pPr>
            <a:lvl3pPr marL="808038" indent="-2667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rgbClr val="004388"/>
              </a:buClr>
              <a:buFont typeface="Arial" panose="020B0604020202020204" pitchFamily="34" charset="0"/>
              <a:buChar char="•"/>
              <a:tabLst>
                <a:tab pos="538163" algn="l"/>
              </a:tabLst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Accent Blue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RGB	</a:t>
            </a:r>
          </a:p>
          <a:p>
            <a:pPr>
              <a:lnSpc>
                <a:spcPct val="100000"/>
              </a:lnSpc>
              <a:tabLst>
                <a:tab pos="449263" algn="l"/>
              </a:tabLst>
            </a:pPr>
            <a:r>
              <a:rPr lang="en-US" sz="1050" dirty="0"/>
              <a:t>0/166/222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392E6D-7E8B-4707-AE48-63B49E1A518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7052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_Index_Pag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4" t="37556" r="1460"/>
          <a:stretch/>
        </p:blipFill>
        <p:spPr>
          <a:xfrm>
            <a:off x="0" y="3175"/>
            <a:ext cx="9144000" cy="39498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950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11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Bild 7" descr="VORLAGE2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666" b="25264"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BE054E-A3E0-4E98-BD83-CAC547663178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672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B9265-8686-45E3-91DB-D20C6F8BEC9F}" type="slidenum">
              <a:rPr lang="en-US">
                <a:solidFill>
                  <a:srgbClr val="C8C8C8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C8C8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270063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120A32E-11FF-4E85-B00E-D87DDCAB5812}" type="datetimeFigureOut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03A837B-B36D-4F53-83D4-35E82A45141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4743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985561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0" y="230811"/>
            <a:ext cx="8563528" cy="1143000"/>
          </a:xfrm>
          <a:prstGeom prst="rect">
            <a:avLst/>
          </a:prstGeom>
        </p:spPr>
        <p:txBody>
          <a:bodyPr rtlCol="0">
            <a:noAutofit/>
          </a:bodyPr>
          <a:lstStyle>
            <a:lvl1pPr algn="l"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56289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8691563" y="6442075"/>
            <a:ext cx="393700" cy="365125"/>
          </a:xfrm>
          <a:prstGeom prst="rect">
            <a:avLst/>
          </a:prstGeom>
        </p:spPr>
        <p:txBody>
          <a:bodyPr/>
          <a:lstStyle>
            <a:lvl1pPr algn="l" defTabSz="91281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70707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91AA93-140D-4505-B43A-D67B03FEB5F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5801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8337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3350"/>
            <a:ext cx="2740877" cy="456247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661193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GB" dirty="0"/>
              <a:t>Bullet, 3rd level, Dark Blue Accent 1, Character code: 25CF from Unicode (hex), 80%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77AF490-8E0E-4D7B-8BE6-B89C5B6B6867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31842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347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15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348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2_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2496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17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546400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Headline, maximum 2 lines, </a:t>
            </a:r>
            <a:br>
              <a:rPr lang="en-US" dirty="0"/>
            </a:br>
            <a:r>
              <a:rPr lang="en-US" dirty="0"/>
              <a:t>Arial 24 mixed, black 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757130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  <a:br>
              <a:rPr lang="en-US" dirty="0"/>
            </a:br>
            <a:r>
              <a:rPr lang="en-US" dirty="0"/>
              <a:t>2 LINES HEADIN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460800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Place of presentation, date</a:t>
            </a:r>
            <a:br>
              <a:rPr lang="en-US" dirty="0"/>
            </a:br>
            <a:r>
              <a:rPr lang="en-US" dirty="0"/>
              <a:t>Author with title, first name, last nam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7829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3818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19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1" name="Date Placeholder 28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0F97224D-D861-446A-AD6D-35A67616C14B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50" y="6532800"/>
            <a:ext cx="46355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0320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31466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2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B35F573-AB6B-4F62-81BC-376E1E93BB22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349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338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24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70F9380-C669-48CA-ABD2-BA0899E3B9CE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777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051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27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4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1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86E0BF56-A2E7-46D7-9621-FB118E64D17E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1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95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9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14" name="Date Placeholder 28"/>
          <p:cNvSpPr>
            <a:spLocks noGrp="1"/>
          </p:cNvSpPr>
          <p:nvPr>
            <p:ph type="dt" sz="half" idx="2"/>
          </p:nvPr>
        </p:nvSpPr>
        <p:spPr>
          <a:xfrm>
            <a:off x="878679" y="6534150"/>
            <a:ext cx="42862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645217A0-35F7-44FF-A420-EA613745F318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Slide Number Placeholder 25"/>
          <p:cNvSpPr>
            <a:spLocks noGrp="1"/>
          </p:cNvSpPr>
          <p:nvPr>
            <p:ph type="sldNum" sz="quarter" idx="4"/>
          </p:nvPr>
        </p:nvSpPr>
        <p:spPr>
          <a:xfrm>
            <a:off x="412749" y="6532800"/>
            <a:ext cx="465929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B78C50B-D562-4F9E-A1C2-06D326AF959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974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11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323AC2E-CAA9-4A9D-BB5B-2168FEAF306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20639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7260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1DC798F-5E78-4201-92E5-4F5B98B4F45F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592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1360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3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B9C3F284-BAA7-4143-8A8A-5F0C9D1776A9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334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4698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661193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661193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308ECFE-76A2-476E-9858-437807452814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8046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034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034DB6B-3EEE-4A46-8AD3-FAB69BAB881F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7923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7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7CD649B8-D503-41B8-BE61-E478D818C825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97123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6159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4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, line spacing 1,2</a:t>
            </a:r>
          </a:p>
          <a:p>
            <a:pPr lvl="1"/>
            <a:r>
              <a:rPr lang="en-US" dirty="0"/>
              <a:t>Body copy text in Arial regular 16pt, black, line spacing 1,2</a:t>
            </a:r>
          </a:p>
        </p:txBody>
      </p:sp>
      <p:sp>
        <p:nvSpPr>
          <p:cNvPr id="13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DA2C1F88-964D-47FF-BA8E-CD38AEBFE35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4826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481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F892F031-CC45-42F4-86B6-AEF33D04AD20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15620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rtAr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7458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SmartArt </a:t>
            </a:r>
            <a:r>
              <a:rPr lang="en-US" dirty="0" err="1"/>
              <a:t>Grafik</a:t>
            </a:r>
            <a:endParaRPr lang="en-US" dirty="0"/>
          </a:p>
        </p:txBody>
      </p:sp>
      <p:sp>
        <p:nvSpPr>
          <p:cNvPr id="7" name="SmartArt-Platzhalter 2"/>
          <p:cNvSpPr>
            <a:spLocks noGrp="1"/>
          </p:cNvSpPr>
          <p:nvPr>
            <p:ph type="dgm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SmartArt graphic</a:t>
            </a:r>
            <a:endParaRPr lang="de-DE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4C4D7EBE-E13C-4E51-BE46-7707A3788384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5098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484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iagram</a:t>
            </a:r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2"/>
          </p:nvPr>
        </p:nvSpPr>
        <p:spPr>
          <a:xfrm>
            <a:off x="395288" y="1356008"/>
            <a:ext cx="8369060" cy="4797142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CED260AB-4F1E-445E-93B7-DB126281EC11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86214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444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5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only</a:t>
            </a:r>
          </a:p>
        </p:txBody>
      </p:sp>
      <p:sp>
        <p:nvSpPr>
          <p:cNvPr id="1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07DA88E-5A89-4B90-961E-FE4A9838A0AB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8982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U_Title_Page_1_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3175" y="3175"/>
            <a:ext cx="9144000" cy="2343515"/>
          </a:xfrm>
          <a:prstGeom prst="rect">
            <a:avLst/>
          </a:prstGeom>
          <a:gradFill flip="none" rotWithShape="0">
            <a:gsLst>
              <a:gs pos="0">
                <a:srgbClr val="00A6DE"/>
              </a:gs>
              <a:gs pos="100000">
                <a:srgbClr val="005286"/>
              </a:gs>
            </a:gsLst>
            <a:lin ang="288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840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58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6329524"/>
          </a:xfrm>
          <a:prstGeom prst="rect">
            <a:avLst/>
          </a:prstGeom>
        </p:spPr>
      </p:pic>
      <p:sp>
        <p:nvSpPr>
          <p:cNvPr id="38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314055" y="3218972"/>
            <a:ext cx="8302625" cy="88237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="1" i="0" baseline="0">
                <a:latin typeface="Arial"/>
              </a:defRPr>
            </a:lvl1pPr>
          </a:lstStyle>
          <a:p>
            <a:pPr lvl="0"/>
            <a:r>
              <a:rPr lang="en-US" dirty="0"/>
              <a:t>Project Honeycomb</a:t>
            </a:r>
          </a:p>
          <a:p>
            <a:pPr lvl="0"/>
            <a:r>
              <a:rPr lang="en-US" dirty="0"/>
              <a:t>Approval to Negotiate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</p:nvPr>
        </p:nvSpPr>
        <p:spPr>
          <a:xfrm>
            <a:off x="314055" y="2671200"/>
            <a:ext cx="8302625" cy="424732"/>
          </a:xfrm>
          <a:prstGeom prst="rect">
            <a:avLst/>
          </a:prstGeom>
        </p:spPr>
        <p:txBody>
          <a:bodyPr vert="horz" anchor="t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400" baseline="0">
                <a:solidFill>
                  <a:schemeClr val="accent1"/>
                </a:solidFill>
                <a:latin typeface="Arial"/>
              </a:defRPr>
            </a:lvl1pPr>
          </a:lstStyle>
          <a:p>
            <a:pPr lvl="0"/>
            <a:r>
              <a:rPr lang="en-US" dirty="0"/>
              <a:t>FREUDENBERG</a:t>
            </a:r>
          </a:p>
        </p:txBody>
      </p:sp>
      <p:sp>
        <p:nvSpPr>
          <p:cNvPr id="43" name="Textplatzhalter 42"/>
          <p:cNvSpPr>
            <a:spLocks noGrp="1"/>
          </p:cNvSpPr>
          <p:nvPr>
            <p:ph type="body" sz="quarter" idx="13" hasCustomPrompt="1"/>
          </p:nvPr>
        </p:nvSpPr>
        <p:spPr>
          <a:xfrm>
            <a:off x="314055" y="4133372"/>
            <a:ext cx="8302625" cy="906462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600" baseline="0">
                <a:latin typeface="+mj-lt"/>
              </a:defRPr>
            </a:lvl1pPr>
          </a:lstStyle>
          <a:p>
            <a:pPr lvl="0"/>
            <a:r>
              <a:rPr lang="en-US" dirty="0"/>
              <a:t>M. </a:t>
            </a:r>
            <a:r>
              <a:rPr lang="en-US" dirty="0" err="1"/>
              <a:t>Kühn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17 July 2015</a:t>
            </a:r>
          </a:p>
          <a:p>
            <a:pPr lvl="0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3887" y="6148388"/>
            <a:ext cx="2520701" cy="409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3370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Index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92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60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9"/>
          <p:cNvSpPr/>
          <p:nvPr userDrawn="1"/>
        </p:nvSpPr>
        <p:spPr>
          <a:xfrm>
            <a:off x="0" y="0"/>
            <a:ext cx="9144000" cy="2645924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526889"/>
            <a:ext cx="9143999" cy="54175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13200" y="2565702"/>
            <a:ext cx="8337550" cy="3403600"/>
          </a:xfrm>
          <a:prstGeom prst="rect">
            <a:avLst/>
          </a:prstGeom>
        </p:spPr>
        <p:txBody>
          <a:bodyPr vert="horz" numCol="1"/>
          <a:lstStyle>
            <a:lvl1pPr marL="266700" indent="-2667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baseline="0">
                <a:solidFill>
                  <a:schemeClr val="accent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Index of contents</a:t>
            </a:r>
          </a:p>
          <a:p>
            <a:pPr lvl="0"/>
            <a:r>
              <a:rPr lang="en-US" dirty="0"/>
              <a:t>In two columns maximum</a:t>
            </a:r>
          </a:p>
          <a:p>
            <a:pPr lvl="0"/>
            <a:r>
              <a:rPr lang="en-US" dirty="0"/>
              <a:t>Arial regular, 18pt, 1,5 line spacing</a:t>
            </a:r>
          </a:p>
          <a:p>
            <a:pPr lvl="0"/>
            <a:r>
              <a:rPr lang="en-US" dirty="0"/>
              <a:t>Line of active chapter in blac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245DABF-570E-4C86-B882-D27E85D30CA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66328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0028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63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9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4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2985292"/>
            <a:ext cx="5844105" cy="149208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AFD28D5-3A1B-4CDA-804F-7AA0E40DC24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585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858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4000"/>
            <a:ext cx="8361362" cy="4561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D69D93F-EF8F-462C-8756-8E38499FF7FA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FREU-14-016-G-PPT-k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8702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_W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855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65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4055" y="2671826"/>
            <a:ext cx="8367408" cy="1492083"/>
          </a:xfrm>
          <a:prstGeom prst="rect">
            <a:avLst/>
          </a:prstGeom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>
                  <a:glow rad="228600">
                    <a:schemeClr val="bg1">
                      <a:alpha val="40000"/>
                    </a:schemeClr>
                  </a:glow>
                </a:effectLst>
                <a:latin typeface="+mj-lt"/>
              </a:defRPr>
            </a:lvl1pPr>
          </a:lstStyle>
          <a:p>
            <a:pPr lvl="0"/>
            <a:r>
              <a:rPr lang="en-US" dirty="0"/>
              <a:t>Chapter-Divider, Arial bold 40pt </a:t>
            </a:r>
            <a:br>
              <a:rPr lang="en-US" dirty="0"/>
            </a:br>
            <a:r>
              <a:rPr lang="en-US" dirty="0"/>
              <a:t>2 lines max</a:t>
            </a:r>
          </a:p>
        </p:txBody>
      </p:sp>
      <p:pic>
        <p:nvPicPr>
          <p:cNvPr id="19" name="Bild 10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954182"/>
            <a:ext cx="9144001" cy="121878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BB0D7D6-A53B-4D5A-9304-472DDE688B9F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7209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62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492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67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1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9" name="Textplatzhalter 37"/>
          <p:cNvSpPr>
            <a:spLocks noGrp="1"/>
          </p:cNvSpPr>
          <p:nvPr>
            <p:ph type="body" sz="quarter" idx="15" hasCustomPrompt="1"/>
          </p:nvPr>
        </p:nvSpPr>
        <p:spPr>
          <a:xfrm>
            <a:off x="316375" y="349250"/>
            <a:ext cx="5844105" cy="1492083"/>
          </a:xfrm>
          <a:prstGeom prst="rect">
            <a:avLst/>
          </a:prstGeom>
          <a:effectLst/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accent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27C4FA9-7D02-4A13-BCF4-822FE8EC4810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27810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_Whit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742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10"/>
          <p:cNvSpPr/>
          <p:nvPr userDrawn="1"/>
        </p:nvSpPr>
        <p:spPr>
          <a:xfrm>
            <a:off x="0" y="-1"/>
            <a:ext cx="9144000" cy="6076951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0">
                <a:schemeClr val="accent2"/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pic>
        <p:nvPicPr>
          <p:cNvPr id="12" name="Bild 7" descr="VORLAGE2.psd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332588"/>
            <a:ext cx="9143999" cy="1820562"/>
          </a:xfrm>
          <a:prstGeom prst="rect">
            <a:avLst/>
          </a:prstGeom>
        </p:spPr>
      </p:pic>
      <p:sp>
        <p:nvSpPr>
          <p:cNvPr id="11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313200" y="3607822"/>
            <a:ext cx="5844105" cy="1492083"/>
          </a:xfrm>
          <a:prstGeom prst="rect">
            <a:avLst/>
          </a:prstGeom>
          <a:effectLst>
            <a:outerShdw blurRad="50800" dist="12700" dir="2700000" algn="tl" rotWithShape="0">
              <a:prstClr val="black">
                <a:alpha val="30000"/>
              </a:prstClr>
            </a:outerShdw>
          </a:effectLst>
        </p:spPr>
        <p:txBody>
          <a:bodyPr vert="horz"/>
          <a:lstStyle>
            <a:lvl1pPr marL="0" indent="0">
              <a:lnSpc>
                <a:spcPct val="100000"/>
              </a:lnSpc>
              <a:buFontTx/>
              <a:buNone/>
              <a:defRPr sz="4000" b="1" i="0" baseline="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hapter-Headline, Arial bold 40pt 2 lines max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01A5D82-07B4-4927-9BB7-3587E2C7922F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4999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7227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13200" y="1303200"/>
            <a:ext cx="8448500" cy="4838702"/>
          </a:xfrm>
        </p:spPr>
        <p:txBody>
          <a:bodyPr/>
          <a:lstStyle>
            <a:lvl1pPr marL="269875" indent="-269875">
              <a:buFont typeface="Arial" panose="020B0604020202020204" pitchFamily="34" charset="0"/>
              <a:buChar char="●"/>
              <a:defRPr baseline="0"/>
            </a:lvl1pPr>
            <a:lvl2pPr marL="546100" indent="-254000">
              <a:buFont typeface="Symbol" panose="05050102010706020507" pitchFamily="18" charset="2"/>
              <a:buChar char=""/>
              <a:defRPr/>
            </a:lvl2pPr>
            <a:lvl3pPr marL="808038" indent="-255588">
              <a:defRPr/>
            </a:lvl3pPr>
          </a:lstStyle>
          <a:p>
            <a:pPr lvl="0"/>
            <a:r>
              <a:rPr lang="en-US" dirty="0"/>
              <a:t>Bullet, 1st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DBA41A8-5766-47CE-91CA-BA41FE16E5F6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652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078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1" y="1304632"/>
            <a:ext cx="8451388" cy="4848518"/>
          </a:xfrm>
          <a:prstGeom prst="rect">
            <a:avLst/>
          </a:prstGeom>
          <a:noFill/>
        </p:spPr>
        <p:txBody>
          <a:bodyPr vert="horz">
            <a:no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  <a:lvl3pPr marL="180000" indent="-180000">
              <a:spcBef>
                <a:spcPts val="800"/>
              </a:spcBef>
              <a:buClr>
                <a:srgbClr val="004388"/>
              </a:buClr>
              <a:buSzPct val="130000"/>
              <a:buFont typeface="Arial"/>
              <a:buChar char="•"/>
              <a:defRPr sz="1600" baseline="0">
                <a:solidFill>
                  <a:schemeClr val="tx2"/>
                </a:solidFill>
                <a:latin typeface="+mn-lt"/>
              </a:defRPr>
            </a:lvl3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77973AA-5FE0-41B0-B062-AB9F2BE582A6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4542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4333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right. Headline in maximum 2 lines, Arial bold 24pt, FB blue, line spacing 1</a:t>
            </a:r>
          </a:p>
        </p:txBody>
      </p:sp>
      <p:sp>
        <p:nvSpPr>
          <p:cNvPr id="13" name="Bildplatzhalter 7"/>
          <p:cNvSpPr>
            <a:spLocks noGrp="1"/>
          </p:cNvSpPr>
          <p:nvPr>
            <p:ph type="pic" sz="quarter" idx="15"/>
          </p:nvPr>
        </p:nvSpPr>
        <p:spPr>
          <a:xfrm>
            <a:off x="6023711" y="1409700"/>
            <a:ext cx="2740877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13200" y="1304632"/>
            <a:ext cx="5233989" cy="4848518"/>
          </a:xfrm>
          <a:noFill/>
        </p:spPr>
        <p:txBody>
          <a:bodyPr/>
          <a:lstStyle/>
          <a:p>
            <a:pPr lvl="0"/>
            <a:r>
              <a:rPr lang="en-US" dirty="0"/>
              <a:t>Bullet, Dark Blue Accent 1, Character code: 25CF from Unicode (hex), 100%</a:t>
            </a:r>
          </a:p>
          <a:p>
            <a:pPr lvl="1"/>
            <a:r>
              <a:rPr lang="en-US" dirty="0"/>
              <a:t>Dash, Dark Blue Accent 1, Character code: 45 from Symbol (decimal), 100%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2D9F73F-16D7-42B0-8ED5-7E634F45AD0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7660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26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7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top. Headline in maximum 2 lines, Arial bold 24pt, FB blue, line spacing 1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4806375"/>
            <a:ext cx="8463892" cy="13467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1"/>
            <a:ext cx="5281669" cy="3243436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FC573F9-039D-4426-997B-D61AE3E9A42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8811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762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8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picture on the left. Headline in maximum 2 lines, Arial bold 24pt, FB blue, line spacing 1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413188" y="1304632"/>
            <a:ext cx="5371245" cy="484851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, black</a:t>
            </a:r>
          </a:p>
          <a:p>
            <a:pPr lvl="1"/>
            <a:r>
              <a:rPr lang="en-US" dirty="0"/>
              <a:t>Body copy text in Arial regular 16pt, black</a:t>
            </a:r>
          </a:p>
        </p:txBody>
      </p:sp>
      <p:sp>
        <p:nvSpPr>
          <p:cNvPr id="14" name="Bildplatzhalter 7"/>
          <p:cNvSpPr>
            <a:spLocks noGrp="1"/>
          </p:cNvSpPr>
          <p:nvPr>
            <p:ph type="pic" sz="quarter" idx="16"/>
          </p:nvPr>
        </p:nvSpPr>
        <p:spPr>
          <a:xfrm>
            <a:off x="394440" y="1409700"/>
            <a:ext cx="2724269" cy="474344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B12CA60-4F3A-4D45-9568-DEAE1B04A34A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230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8819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Text page with </a:t>
            </a:r>
            <a:r>
              <a:rPr lang="en-US" dirty="0" err="1"/>
              <a:t>diagramm</a:t>
            </a:r>
            <a:endParaRPr lang="en-US" dirty="0"/>
          </a:p>
        </p:txBody>
      </p:sp>
      <p:sp>
        <p:nvSpPr>
          <p:cNvPr id="11" name="Diagrammplatzhalter 7"/>
          <p:cNvSpPr>
            <a:spLocks noGrp="1"/>
          </p:cNvSpPr>
          <p:nvPr>
            <p:ph type="chart" sz="quarter" idx="15"/>
          </p:nvPr>
        </p:nvSpPr>
        <p:spPr>
          <a:xfrm>
            <a:off x="4597400" y="1304632"/>
            <a:ext cx="4167188" cy="48482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3200" y="1304632"/>
            <a:ext cx="4207219" cy="4848518"/>
          </a:xfrm>
          <a:prstGeom prst="rect">
            <a:avLst/>
          </a:prstGeom>
          <a:noFill/>
        </p:spPr>
        <p:txBody>
          <a:bodyPr vert="horz"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 b="1" i="0" baseline="0">
                <a:solidFill>
                  <a:schemeClr val="tx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600">
                <a:solidFill>
                  <a:schemeClr val="tx2"/>
                </a:solidFill>
                <a:latin typeface="+mn-lt"/>
              </a:defRPr>
            </a:lvl2pPr>
          </a:lstStyle>
          <a:p>
            <a:pPr lvl="0"/>
            <a:r>
              <a:rPr lang="en-US" dirty="0" err="1"/>
              <a:t>Subheadline</a:t>
            </a:r>
            <a:r>
              <a:rPr lang="en-US" dirty="0"/>
              <a:t> in Arial bold 16pt</a:t>
            </a:r>
          </a:p>
          <a:p>
            <a:pPr lvl="1"/>
            <a:r>
              <a:rPr lang="en-US" dirty="0"/>
              <a:t>Body copy text in Arial regular 16p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422638-7A8F-405F-83AC-C51C19457FE2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20956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1144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en-US" dirty="0"/>
              <a:t>Regular table format</a:t>
            </a:r>
          </a:p>
        </p:txBody>
      </p:sp>
      <p:sp>
        <p:nvSpPr>
          <p:cNvPr id="16" name="Tabellenplatzhalter 5"/>
          <p:cNvSpPr>
            <a:spLocks noGrp="1"/>
          </p:cNvSpPr>
          <p:nvPr>
            <p:ph type="tbl" sz="quarter" idx="11"/>
          </p:nvPr>
        </p:nvSpPr>
        <p:spPr>
          <a:xfrm>
            <a:off x="395288" y="1409700"/>
            <a:ext cx="8361362" cy="474344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3859A43-0DC4-412E-82C6-E998B5D7C1A5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498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18" Type="http://schemas.openxmlformats.org/officeDocument/2006/relationships/slideLayout" Target="../slideLayouts/slideLayout1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7.xml"/><Relationship Id="rId21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oleObject" Target="../embeddings/oleObject148.bin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0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24" Type="http://schemas.openxmlformats.org/officeDocument/2006/relationships/tags" Target="../tags/tag149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vmlDrawing" Target="../drawings/vmlDrawing148.vml"/><Relationship Id="rId10" Type="http://schemas.openxmlformats.org/officeDocument/2006/relationships/slideLayout" Target="../slideLayouts/slideLayout154.xml"/><Relationship Id="rId19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theme" Target="../theme/theme10.xml"/><Relationship Id="rId27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oleObject" Target="../embeddings/oleObject164.bin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tags" Target="../tags/tag165.xml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vmlDrawing" Target="../drawings/vmlDrawing164.vml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theme" Target="../theme/theme11.xml"/><Relationship Id="rId27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89.xml"/><Relationship Id="rId21" Type="http://schemas.openxmlformats.org/officeDocument/2006/relationships/vmlDrawing" Target="../drawings/vmlDrawing180.vml"/><Relationship Id="rId7" Type="http://schemas.openxmlformats.org/officeDocument/2006/relationships/slideLayout" Target="../slideLayouts/slideLayout193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1.xml"/><Relationship Id="rId23" Type="http://schemas.openxmlformats.org/officeDocument/2006/relationships/oleObject" Target="../embeddings/oleObject180.bin"/><Relationship Id="rId10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tags" Target="../tags/tag18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18" Type="http://schemas.openxmlformats.org/officeDocument/2006/relationships/theme" Target="../theme/theme13.xml"/><Relationship Id="rId3" Type="http://schemas.openxmlformats.org/officeDocument/2006/relationships/slideLayout" Target="../slideLayouts/slideLayout208.xml"/><Relationship Id="rId21" Type="http://schemas.openxmlformats.org/officeDocument/2006/relationships/oleObject" Target="../embeddings/oleObject196.bin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tags" Target="../tags/tag19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15.xml"/><Relationship Id="rId19" Type="http://schemas.openxmlformats.org/officeDocument/2006/relationships/vmlDrawing" Target="../drawings/vmlDrawing196.v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tags" Target="../tags/tag213.xml"/><Relationship Id="rId3" Type="http://schemas.openxmlformats.org/officeDocument/2006/relationships/slideLayout" Target="../slideLayouts/slideLayout22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vmlDrawing" Target="../drawings/vmlDrawing212.vml"/><Relationship Id="rId2" Type="http://schemas.openxmlformats.org/officeDocument/2006/relationships/slideLayout" Target="../slideLayouts/slideLayout224.xml"/><Relationship Id="rId16" Type="http://schemas.openxmlformats.org/officeDocument/2006/relationships/theme" Target="../theme/theme1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32.xml"/><Relationship Id="rId19" Type="http://schemas.openxmlformats.org/officeDocument/2006/relationships/oleObject" Target="../embeddings/oleObject212.bin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7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26.xml"/><Relationship Id="rId19" Type="http://schemas.openxmlformats.org/officeDocument/2006/relationships/vmlDrawing" Target="../drawings/vmlDrawing17.v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vmlDrawing" Target="../drawings/vmlDrawing35.v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35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oleObject" Target="../embeddings/oleObject52.bin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ags" Target="../tags/tag53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vmlDrawing" Target="../drawings/vmlDrawing52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72.xml"/><Relationship Id="rId21" Type="http://schemas.openxmlformats.org/officeDocument/2006/relationships/oleObject" Target="../embeddings/oleObject68.bin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ags" Target="../tags/tag69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image" Target="../media/image8.png"/><Relationship Id="rId10" Type="http://schemas.openxmlformats.org/officeDocument/2006/relationships/slideLayout" Target="../slideLayouts/slideLayout79.xml"/><Relationship Id="rId19" Type="http://schemas.openxmlformats.org/officeDocument/2006/relationships/vmlDrawing" Target="../drawings/vmlDrawing68.v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vmlDrawing" Target="../drawings/vmlDrawing86.vml"/><Relationship Id="rId3" Type="http://schemas.openxmlformats.org/officeDocument/2006/relationships/slideLayout" Target="../slideLayouts/slideLayout8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oleObject" Target="../embeddings/oleObject86.bin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96.xml"/><Relationship Id="rId19" Type="http://schemas.openxmlformats.org/officeDocument/2006/relationships/tags" Target="../tags/tag8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oleObject" Target="../embeddings/oleObject103.bin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tags" Target="../tags/tag104.xml"/><Relationship Id="rId2" Type="http://schemas.openxmlformats.org/officeDocument/2006/relationships/slideLayout" Target="../slideLayouts/slideLayout104.xml"/><Relationship Id="rId16" Type="http://schemas.openxmlformats.org/officeDocument/2006/relationships/vmlDrawing" Target="../drawings/vmlDrawing103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1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oleObject" Target="../embeddings/oleObject118.bin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tags" Target="../tags/tag119.xml"/><Relationship Id="rId2" Type="http://schemas.openxmlformats.org/officeDocument/2006/relationships/slideLayout" Target="../slideLayouts/slideLayout118.xml"/><Relationship Id="rId16" Type="http://schemas.openxmlformats.org/officeDocument/2006/relationships/vmlDrawing" Target="../drawings/vmlDrawing11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2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oleObject" Target="../embeddings/oleObject133.bin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tags" Target="../tags/tag134.xml"/><Relationship Id="rId2" Type="http://schemas.openxmlformats.org/officeDocument/2006/relationships/slideLayout" Target="../slideLayouts/slideLayout132.xml"/><Relationship Id="rId16" Type="http://schemas.openxmlformats.org/officeDocument/2006/relationships/vmlDrawing" Target="../drawings/vmlDrawing133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1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234551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61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Picture 1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 smtClean="0"/>
              <a:t>3/24/2018</a:t>
            </a:fld>
            <a:endParaRPr lang="en-US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/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0337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44" r:id="rId2"/>
    <p:sldLayoutId id="2147483802" r:id="rId3"/>
    <p:sldLayoutId id="2147483781" r:id="rId4"/>
    <p:sldLayoutId id="2147483750" r:id="rId5"/>
    <p:sldLayoutId id="2147483751" r:id="rId6"/>
    <p:sldLayoutId id="2147483753" r:id="rId7"/>
    <p:sldLayoutId id="2147483756" r:id="rId8"/>
    <p:sldLayoutId id="2147483758" r:id="rId9"/>
    <p:sldLayoutId id="2147483759" r:id="rId10"/>
    <p:sldLayoutId id="2147483760" r:id="rId11"/>
    <p:sldLayoutId id="2147483761" r:id="rId12"/>
    <p:sldLayoutId id="2147483748" r:id="rId13"/>
    <p:sldLayoutId id="2147483769" r:id="rId14"/>
    <p:sldLayoutId id="2147483803" r:id="rId15"/>
    <p:sldLayoutId id="2147484146" r:id="rId16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136748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191" name="think-cell Slide" r:id="rId25" imgW="6350000" imgH="6350000" progId="TCLayout.ActiveDocument.1">
                  <p:embed/>
                </p:oleObj>
              </mc:Choice>
              <mc:Fallback>
                <p:oleObj name="think-cell Slide" r:id="rId2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1254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5" r:id="rId1"/>
    <p:sldLayoutId id="2147484016" r:id="rId2"/>
    <p:sldLayoutId id="2147484017" r:id="rId3"/>
    <p:sldLayoutId id="2147484018" r:id="rId4"/>
    <p:sldLayoutId id="2147484019" r:id="rId5"/>
    <p:sldLayoutId id="2147484020" r:id="rId6"/>
    <p:sldLayoutId id="2147484021" r:id="rId7"/>
    <p:sldLayoutId id="2147484022" r:id="rId8"/>
    <p:sldLayoutId id="2147484023" r:id="rId9"/>
    <p:sldLayoutId id="2147484024" r:id="rId10"/>
    <p:sldLayoutId id="2147484025" r:id="rId11"/>
    <p:sldLayoutId id="2147484026" r:id="rId12"/>
    <p:sldLayoutId id="2147484027" r:id="rId13"/>
    <p:sldLayoutId id="2147484028" r:id="rId14"/>
    <p:sldLayoutId id="2147484029" r:id="rId15"/>
    <p:sldLayoutId id="2147484030" r:id="rId16"/>
    <p:sldLayoutId id="2147484031" r:id="rId17"/>
    <p:sldLayoutId id="2147484044" r:id="rId18"/>
    <p:sldLayoutId id="2147484045" r:id="rId19"/>
    <p:sldLayoutId id="2147484046" r:id="rId20"/>
    <p:sldLayoutId id="2147484047" r:id="rId21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963587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99" name="think-cell Slide" r:id="rId25" imgW="6350000" imgH="6350000" progId="TCLayout.ActiveDocument.1">
                  <p:embed/>
                </p:oleObj>
              </mc:Choice>
              <mc:Fallback>
                <p:oleObj name="think-cell Slide" r:id="rId2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567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2" r:id="rId13"/>
    <p:sldLayoutId id="2147484063" r:id="rId14"/>
    <p:sldLayoutId id="2147484064" r:id="rId15"/>
    <p:sldLayoutId id="2147484065" r:id="rId16"/>
    <p:sldLayoutId id="2147484066" r:id="rId17"/>
    <p:sldLayoutId id="2147484079" r:id="rId18"/>
    <p:sldLayoutId id="2147484080" r:id="rId19"/>
    <p:sldLayoutId id="2147484081" r:id="rId20"/>
    <p:sldLayoutId id="2147484082" r:id="rId21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092227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52" name="think-cell Slide" r:id="rId23" imgW="6350000" imgH="6350000" progId="TCLayout.ActiveDocument.1">
                  <p:embed/>
                </p:oleObj>
              </mc:Choice>
              <mc:Fallback>
                <p:oleObj name="think-cell Slide" r:id="rId23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2976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5" r:id="rId19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59034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96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16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5" r:id="rId16"/>
    <p:sldLayoutId id="2147484126" r:id="rId17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486216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953" name="think-cell Slide" r:id="rId19" imgW="6350000" imgH="6350000" progId="TCLayout.ActiveDocument.1">
                  <p:embed/>
                </p:oleObj>
              </mc:Choice>
              <mc:Fallback>
                <p:oleObj name="think-cell Slide" r:id="rId19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7173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40045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818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 userDrawn="1"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9D0D465-4089-49FF-B962-0A6FB6E4D23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7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766702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50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874800" y="6534000"/>
            <a:ext cx="6396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44279C4-91AE-41D4-8283-0A2197781F20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9600" y="6534000"/>
            <a:ext cx="4752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718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  <p:sldLayoutId id="2147483832" r:id="rId7"/>
    <p:sldLayoutId id="2147483833" r:id="rId8"/>
    <p:sldLayoutId id="2147483834" r:id="rId9"/>
    <p:sldLayoutId id="2147483835" r:id="rId10"/>
    <p:sldLayoutId id="2147483836" r:id="rId11"/>
    <p:sldLayoutId id="2147483837" r:id="rId12"/>
    <p:sldLayoutId id="2147483838" r:id="rId13"/>
    <p:sldLayoutId id="2147483839" r:id="rId14"/>
    <p:sldLayoutId id="2147483840" r:id="rId15"/>
    <p:sldLayoutId id="2147483841" r:id="rId16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069134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9" name="think-cell Slide" r:id="rId24" imgW="6350000" imgH="6350000" progId="TCLayout.ActiveDocument.1">
                  <p:embed/>
                </p:oleObj>
              </mc:Choice>
              <mc:Fallback>
                <p:oleObj name="think-cell Slide" r:id="rId2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Confidential Information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347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6" r:id="rId17"/>
    <p:sldLayoutId id="2147483929" r:id="rId18"/>
    <p:sldLayoutId id="2147483931" r:id="rId19"/>
    <p:sldLayoutId id="2147483932" r:id="rId20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211265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127" name="think-cell Slide" r:id="rId21" imgW="6350000" imgH="6350000" progId="TCLayout.ActiveDocument.1">
                  <p:embed/>
                </p:oleObj>
              </mc:Choice>
              <mc:Fallback>
                <p:oleObj name="think-cell Slide" r:id="rId21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 userDrawn="1">
            <p:ph type="sldNum" sz="quarter" idx="4"/>
          </p:nvPr>
        </p:nvSpPr>
        <p:spPr>
          <a:xfrm>
            <a:off x="400050" y="6532799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/>
              <a:t>Page </a:t>
            </a:r>
            <a:fld id="{CDF7CB8E-0C0F-4AA4-8EC3-057F9A13ED4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2"/>
          </p:nvPr>
        </p:nvSpPr>
        <p:spPr>
          <a:xfrm>
            <a:off x="876300" y="6537067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latin typeface="Arial" charset="0"/>
                <a:cs typeface="Arial" charset="0"/>
              </a:defRPr>
            </a:lvl1pPr>
          </a:lstStyle>
          <a:p>
            <a:fld id="{19D0D465-4089-49FF-B962-0A6FB6E4D23A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7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6989573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559" name="think-cell Slide" r:id="rId20" imgW="6350000" imgH="6350000" progId="TCLayout.ActiveDocument.1">
                  <p:embed/>
                </p:oleObj>
              </mc:Choice>
              <mc:Fallback>
                <p:oleObj name="think-cell Slide" r:id="rId2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313200" y="1303200"/>
            <a:ext cx="8451388" cy="48335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>
          <a:xfrm>
            <a:off x="874800" y="6534000"/>
            <a:ext cx="6396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E44279C4-91AE-41D4-8283-0A2197781F20}" type="datetime1">
              <a:rPr lang="en-US" smtClean="0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399600" y="6534000"/>
            <a:ext cx="475200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193BCF5-5065-4377-95AA-0550F891F2E8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399" y="6289695"/>
            <a:ext cx="2016000" cy="327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189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</p:sldLayoutIdLst>
  <p:hf hdr="0" ft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42669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0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6717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06738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6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5319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52344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82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00050" y="6534000"/>
            <a:ext cx="473075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kumimoji="0" lang="en-GB" sz="600" b="0" i="0" u="none" strike="noStrike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878400" y="6534000"/>
            <a:ext cx="414257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en-GB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fld id="{50141232-1A1F-4726-B98F-F1B4350D89B7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pPr lvl="0"/>
            <a:r>
              <a:rPr lang="en-US" dirty="0"/>
              <a:t>Text page. Headline in maximum 2 lines, Arial bold 24pt, FB blue line spacing 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13200" y="1303200"/>
            <a:ext cx="8451388" cy="4662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Bullet, 1 level, Dark Blue Accent 1, Character code: 25CF from Unicode (hex), 100%</a:t>
            </a:r>
          </a:p>
          <a:p>
            <a:pPr lvl="1"/>
            <a:r>
              <a:rPr lang="en-US" dirty="0"/>
              <a:t>Dash, 2nd level , Dark Blue Accent 1, Character code: 45 from Symbol (decimal), 100%</a:t>
            </a:r>
          </a:p>
          <a:p>
            <a:pPr lvl="2"/>
            <a:r>
              <a:rPr lang="en-US" dirty="0"/>
              <a:t>Bullet, 3rd level, Dark Blue Accent 1, Character code: 25CF from Unicode (hex), 80%</a:t>
            </a:r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1433092" y="6534000"/>
            <a:ext cx="2320925" cy="9233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>
            <a:lvl1pPr algn="l">
              <a:defRPr lang="de-DE" sz="6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FREU-14-016-G-PPT-k13</a:t>
            </a:r>
          </a:p>
        </p:txBody>
      </p:sp>
      <p:pic>
        <p:nvPicPr>
          <p:cNvPr id="6577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1000" y="6282038"/>
            <a:ext cx="2039624" cy="331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9679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</p:sldLayoutIdLst>
  <p:hf hdr="0"/>
  <p:txStyles>
    <p:titleStyle>
      <a:lvl1pPr marL="0" indent="0"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●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8163" indent="-257175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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8038" indent="-255588" algn="l" defTabSz="914400" rtl="0" eaLnBrk="1" latinLnBrk="0" hangingPunct="1">
        <a:lnSpc>
          <a:spcPct val="100000"/>
        </a:lnSpc>
        <a:spcBef>
          <a:spcPts val="400"/>
        </a:spcBef>
        <a:spcAft>
          <a:spcPts val="600"/>
        </a:spcAft>
        <a:buClr>
          <a:schemeClr val="accent1"/>
        </a:buClr>
        <a:buSzPct val="80000"/>
        <a:buFont typeface="Arial" panose="020B0604020202020204" pitchFamily="34" charset="0"/>
        <a:buChar char="●"/>
        <a:tabLst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8969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4738" indent="-177800" algn="l" defTabSz="914400" rtl="0" eaLnBrk="1" latinLnBrk="0" hangingPunct="1">
        <a:lnSpc>
          <a:spcPct val="90000"/>
        </a:lnSpc>
        <a:spcBef>
          <a:spcPts val="500"/>
        </a:spcBef>
        <a:buClr>
          <a:srgbClr val="004388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95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65" userDrawn="1">
          <p15:clr>
            <a:srgbClr val="F26B43"/>
          </p15:clr>
        </p15:guide>
        <p15:guide id="4" pos="24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8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gi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2.png"/><Relationship Id="rId2" Type="http://schemas.openxmlformats.org/officeDocument/2006/relationships/tags" Target="../tags/tag236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5.bin"/><Relationship Id="rId10" Type="http://schemas.openxmlformats.org/officeDocument/2006/relationships/image" Target="cid:image001.jpg@01D16024.F5F86180" TargetMode="External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5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5.png"/><Relationship Id="rId2" Type="http://schemas.openxmlformats.org/officeDocument/2006/relationships/tags" Target="../tags/tag237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6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6.png"/><Relationship Id="rId2" Type="http://schemas.openxmlformats.org/officeDocument/2006/relationships/tags" Target="../tags/tag238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7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7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8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8.png"/><Relationship Id="rId2" Type="http://schemas.openxmlformats.org/officeDocument/2006/relationships/tags" Target="../tags/tag240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9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9.png"/><Relationship Id="rId2" Type="http://schemas.openxmlformats.org/officeDocument/2006/relationships/tags" Target="../tags/tag241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0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242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1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2.bin"/><Relationship Id="rId4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jpeg"/><Relationship Id="rId2" Type="http://schemas.openxmlformats.org/officeDocument/2006/relationships/tags" Target="../tags/tag230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5.png"/><Relationship Id="rId2" Type="http://schemas.openxmlformats.org/officeDocument/2006/relationships/tags" Target="../tags/tag231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230.bin"/><Relationship Id="rId10" Type="http://schemas.openxmlformats.org/officeDocument/2006/relationships/image" Target="../media/image1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png"/><Relationship Id="rId2" Type="http://schemas.openxmlformats.org/officeDocument/2006/relationships/tags" Target="../tags/tag233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2.bin"/><Relationship Id="rId10" Type="http://schemas.openxmlformats.org/officeDocument/2006/relationships/image" Target="../media/image24.em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2" Type="http://schemas.openxmlformats.org/officeDocument/2006/relationships/tags" Target="../tags/tag234.xml"/><Relationship Id="rId16" Type="http://schemas.openxmlformats.org/officeDocument/2006/relationships/image" Target="../media/image33.jpeg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233.bin"/><Relationship Id="rId15" Type="http://schemas.openxmlformats.org/officeDocument/2006/relationships/image" Target="../media/image32.png"/><Relationship Id="rId10" Type="http://schemas.openxmlformats.org/officeDocument/2006/relationships/image" Target="../media/image28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7.jpeg"/><Relationship Id="rId1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File:Flag_of_Costa_Rica_(state).svg" TargetMode="External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png"/><Relationship Id="rId12" Type="http://schemas.openxmlformats.org/officeDocument/2006/relationships/hyperlink" Target="https://en.wikipedia.org/wiki/File:Flag_of_the_People's_Republic_of_China.svg" TargetMode="External"/><Relationship Id="rId2" Type="http://schemas.openxmlformats.org/officeDocument/2006/relationships/tags" Target="../tags/tag235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234.bin"/><Relationship Id="rId15" Type="http://schemas.openxmlformats.org/officeDocument/2006/relationships/image" Target="../media/image39.png"/><Relationship Id="rId10" Type="http://schemas.openxmlformats.org/officeDocument/2006/relationships/hyperlink" Target="https://en.wikipedia.org/wiki/File:Flag_of_Germany.svg" TargetMode="Externa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5.png"/><Relationship Id="rId1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jpeg"/><Relationship Id="rId3" Type="http://schemas.openxmlformats.org/officeDocument/2006/relationships/image" Target="../media/image41.jpeg"/><Relationship Id="rId7" Type="http://schemas.openxmlformats.org/officeDocument/2006/relationships/image" Target="../media/image45.png"/><Relationship Id="rId12" Type="http://schemas.openxmlformats.org/officeDocument/2006/relationships/image" Target="../media/image50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4.png"/><Relationship Id="rId11" Type="http://schemas.openxmlformats.org/officeDocument/2006/relationships/image" Target="../media/image49.jpeg"/><Relationship Id="rId5" Type="http://schemas.openxmlformats.org/officeDocument/2006/relationships/image" Target="../media/image43.png"/><Relationship Id="rId10" Type="http://schemas.openxmlformats.org/officeDocument/2006/relationships/image" Target="../media/image48.jpeg"/><Relationship Id="rId4" Type="http://schemas.openxmlformats.org/officeDocument/2006/relationships/image" Target="../media/image42.jpeg"/><Relationship Id="rId9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094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634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314055" y="3433313"/>
            <a:ext cx="8302625" cy="668030"/>
          </a:xfrm>
        </p:spPr>
        <p:txBody>
          <a:bodyPr/>
          <a:lstStyle/>
          <a:p>
            <a:r>
              <a:rPr lang="en-US" dirty="0" err="1"/>
              <a:t>Minimalinvasive</a:t>
            </a:r>
            <a:r>
              <a:rPr lang="en-US" dirty="0"/>
              <a:t> </a:t>
            </a:r>
            <a:r>
              <a:rPr lang="en-US" dirty="0" err="1"/>
              <a:t>Endoskopiegeräte</a:t>
            </a:r>
            <a:r>
              <a:rPr lang="en-US" dirty="0"/>
              <a:t> - </a:t>
            </a:r>
            <a:r>
              <a:rPr lang="en-US" dirty="0" err="1"/>
              <a:t>Beispiel</a:t>
            </a:r>
            <a:r>
              <a:rPr lang="en-US" dirty="0"/>
              <a:t>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FREUDENBERG MEDIC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14055" y="4495681"/>
            <a:ext cx="8302625" cy="906462"/>
          </a:xfrm>
        </p:spPr>
        <p:txBody>
          <a:bodyPr/>
          <a:lstStyle/>
          <a:p>
            <a:r>
              <a:rPr lang="de-DE" b="1" dirty="0"/>
              <a:t>Dr.-Ing. Jörg Schneewind</a:t>
            </a:r>
            <a:r>
              <a:rPr lang="de-DE" dirty="0"/>
              <a:t>, President and CEO</a:t>
            </a:r>
          </a:p>
          <a:p>
            <a:endParaRPr lang="de-DE" dirty="0"/>
          </a:p>
          <a:p>
            <a:r>
              <a:rPr lang="de-DE" dirty="0"/>
              <a:t>Ann Arbor, 6. April 2018</a:t>
            </a:r>
          </a:p>
          <a:p>
            <a:endParaRPr lang="de-DE" dirty="0"/>
          </a:p>
          <a:p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10520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446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4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Endoclip</a:t>
            </a:r>
            <a:r>
              <a:rPr lang="en-US" dirty="0"/>
              <a:t> </a:t>
            </a:r>
            <a:r>
              <a:rPr lang="en-US" dirty="0" err="1"/>
              <a:t>Gerä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00051" y="2398577"/>
            <a:ext cx="8643128" cy="1740262"/>
            <a:chOff x="400051" y="2398577"/>
            <a:chExt cx="8643128" cy="1740262"/>
          </a:xfrm>
        </p:grpSpPr>
        <p:pic>
          <p:nvPicPr>
            <p:cNvPr id="630801" name="Picture 17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1" y="2398577"/>
              <a:ext cx="3032777" cy="15362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1003901" y="3934806"/>
              <a:ext cx="1415452" cy="20127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200" dirty="0" err="1"/>
                <a:t>Blutendes</a:t>
              </a:r>
              <a:r>
                <a:rPr lang="en-US" sz="1200" dirty="0"/>
                <a:t> </a:t>
              </a:r>
              <a:r>
                <a:rPr lang="en-US" sz="1200" dirty="0" err="1"/>
                <a:t>Geschwür</a:t>
              </a:r>
              <a:endParaRPr lang="en-US" sz="12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781605" y="2398577"/>
              <a:ext cx="5258878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>
                  <a:latin typeface="Calibri" panose="020F0502020204030204" pitchFamily="34" charset="0"/>
                </a:rPr>
                <a:t>Seine </a:t>
              </a:r>
              <a:r>
                <a:rPr lang="en-US" sz="1400" dirty="0" err="1">
                  <a:latin typeface="Calibri" panose="020F0502020204030204" pitchFamily="34" charset="0"/>
                </a:rPr>
                <a:t>Funktio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gleichba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t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Nah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rob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chirurgis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Anwendung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  <a:r>
                <a:rPr lang="en-US" sz="1400" dirty="0" err="1">
                  <a:latin typeface="Calibri" panose="020F0502020204030204" pitchFamily="34" charset="0"/>
                </a:rPr>
                <a:t>Allerding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nimalinvasiv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urch</a:t>
              </a:r>
              <a:r>
                <a:rPr lang="en-US" sz="1400" dirty="0">
                  <a:latin typeface="Calibri" panose="020F0502020204030204" pitchFamily="34" charset="0"/>
                </a:rPr>
                <a:t> den </a:t>
              </a:r>
              <a:r>
                <a:rPr lang="en-US" sz="1400" dirty="0" err="1">
                  <a:latin typeface="Calibri" panose="020F0502020204030204" pitchFamily="34" charset="0"/>
                </a:rPr>
                <a:t>Kanal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sko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unt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irekt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isualisier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angewendet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84301" y="3277065"/>
              <a:ext cx="5258878" cy="86177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ind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spiel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wend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Behandlung</a:t>
              </a:r>
              <a:r>
                <a:rPr lang="en-US" sz="1400" dirty="0">
                  <a:latin typeface="Calibri" panose="020F0502020204030204" pitchFamily="34" charset="0"/>
                </a:rPr>
                <a:t> von </a:t>
              </a:r>
              <a:r>
                <a:rPr lang="en-US" sz="1400" dirty="0" err="1">
                  <a:latin typeface="Calibri" panose="020F0502020204030204" pitchFamily="34" charset="0"/>
                </a:rPr>
                <a:t>Magen-Darm-Blutungen</a:t>
              </a:r>
              <a:r>
                <a:rPr lang="en-US" sz="1400" dirty="0">
                  <a:latin typeface="Calibri" panose="020F0502020204030204" pitchFamily="34" charset="0"/>
                </a:rPr>
                <a:t> (</a:t>
              </a:r>
              <a:r>
                <a:rPr lang="en-US" sz="1400" dirty="0" err="1">
                  <a:latin typeface="Calibri" panose="020F0502020204030204" pitchFamily="34" charset="0"/>
                </a:rPr>
                <a:t>i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ober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unteren</a:t>
              </a:r>
              <a:r>
                <a:rPr lang="en-US" sz="1400" dirty="0">
                  <a:latin typeface="Calibri" panose="020F0502020204030204" pitchFamily="34" charset="0"/>
                </a:rPr>
                <a:t> GI </a:t>
              </a:r>
              <a:r>
                <a:rPr lang="en-US" sz="1400" dirty="0" err="1">
                  <a:latin typeface="Calibri" panose="020F0502020204030204" pitchFamily="34" charset="0"/>
                </a:rPr>
                <a:t>Trakt</a:t>
              </a:r>
              <a:r>
                <a:rPr lang="en-US" sz="1400" dirty="0">
                  <a:latin typeface="Calibri" panose="020F0502020204030204" pitchFamily="34" charset="0"/>
                </a:rPr>
                <a:t>),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der </a:t>
              </a:r>
              <a:r>
                <a:rPr lang="en-US" sz="1400" dirty="0" err="1">
                  <a:latin typeface="Calibri" panose="020F0502020204030204" pitchFamily="34" charset="0"/>
                </a:rPr>
                <a:t>Verhütung</a:t>
              </a:r>
              <a:r>
                <a:rPr lang="en-US" sz="1400" dirty="0">
                  <a:latin typeface="Calibri" panose="020F0502020204030204" pitchFamily="34" charset="0"/>
                </a:rPr>
                <a:t> von </a:t>
              </a:r>
              <a:r>
                <a:rPr lang="en-US" sz="1400" dirty="0" err="1">
                  <a:latin typeface="Calibri" panose="020F0502020204030204" pitchFamily="34" charset="0"/>
                </a:rPr>
                <a:t>Blutung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nach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therapeutis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fahr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Polipectomia</a:t>
              </a:r>
              <a:r>
                <a:rPr lang="en-US" sz="1400" dirty="0">
                  <a:latin typeface="Calibri" panose="020F0502020204030204" pitchFamily="34" charset="0"/>
                </a:rPr>
                <a:t>, und um </a:t>
              </a:r>
              <a:r>
                <a:rPr lang="en-US" sz="1400" dirty="0" err="1">
                  <a:latin typeface="Calibri" panose="020F0502020204030204" pitchFamily="34" charset="0"/>
                </a:rPr>
                <a:t>Magen-Darm-Perforation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0050" y="4549629"/>
            <a:ext cx="8502410" cy="1700947"/>
            <a:chOff x="400050" y="4549629"/>
            <a:chExt cx="8502410" cy="1700947"/>
          </a:xfrm>
        </p:grpSpPr>
        <p:pic>
          <p:nvPicPr>
            <p:cNvPr id="630799" name="Picture 15" descr="http://www.giejournal.org/cms/attachment/2005379932/2023264709/gr1.sm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0" y="4549629"/>
              <a:ext cx="2085975" cy="1485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623280" y="6049302"/>
              <a:ext cx="1499962" cy="20127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200" dirty="0" err="1"/>
                <a:t>Verschiedene</a:t>
              </a:r>
              <a:r>
                <a:rPr lang="en-US" sz="1200" dirty="0"/>
                <a:t> </a:t>
              </a:r>
              <a:r>
                <a:rPr lang="en-US" sz="1200" dirty="0" err="1"/>
                <a:t>Formen</a:t>
              </a:r>
              <a:endParaRPr lang="en-US" sz="12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838523" y="4969413"/>
              <a:ext cx="6063937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ndocli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ib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s</a:t>
              </a:r>
              <a:r>
                <a:rPr lang="en-US" sz="1400" dirty="0">
                  <a:latin typeface="Calibri" panose="020F0502020204030204" pitchFamily="34" charset="0"/>
                </a:rPr>
                <a:t> in </a:t>
              </a:r>
              <a:r>
                <a:rPr lang="en-US" sz="1400" dirty="0" err="1">
                  <a:latin typeface="Calibri" panose="020F0502020204030204" pitchFamily="34" charset="0"/>
                </a:rPr>
                <a:t>verschieden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orm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Größen</a:t>
              </a:r>
              <a:r>
                <a:rPr lang="en-US" sz="1400" dirty="0">
                  <a:latin typeface="Calibri" panose="020F0502020204030204" pitchFamily="34" charset="0"/>
                </a:rPr>
                <a:t>, </a:t>
              </a:r>
              <a:r>
                <a:rPr lang="en-US" sz="1400" dirty="0" err="1">
                  <a:latin typeface="Calibri" panose="020F0502020204030204" pitchFamily="34" charset="0"/>
                </a:rPr>
                <a:t>einschließlich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rät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i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wei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dr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inken</a:t>
              </a:r>
              <a:r>
                <a:rPr lang="en-US" sz="1400" dirty="0">
                  <a:latin typeface="Calibri" panose="020F0502020204030204" pitchFamily="34" charset="0"/>
                </a:rPr>
                <a:t>, und </a:t>
              </a:r>
              <a:r>
                <a:rPr lang="en-US" sz="1400" dirty="0" err="1">
                  <a:latin typeface="Calibri" panose="020F0502020204030204" pitchFamily="34" charset="0"/>
                </a:rPr>
                <a:t>Systeme</a:t>
              </a:r>
              <a:r>
                <a:rPr lang="en-US" sz="1400" dirty="0">
                  <a:latin typeface="Calibri" panose="020F0502020204030204" pitchFamily="34" charset="0"/>
                </a:rPr>
                <a:t> die man </a:t>
              </a:r>
              <a:r>
                <a:rPr lang="en-US" sz="1400" dirty="0" err="1">
                  <a:latin typeface="Calibri" panose="020F0502020204030204" pitchFamily="34" charset="0"/>
                </a:rPr>
                <a:t>öffnen</a:t>
              </a:r>
              <a:r>
                <a:rPr lang="en-US" sz="1400" dirty="0">
                  <a:latin typeface="Calibri" panose="020F0502020204030204" pitchFamily="34" charset="0"/>
                </a:rPr>
                <a:t> und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od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re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kann</a:t>
              </a:r>
              <a:r>
                <a:rPr lang="en-US" sz="1400" dirty="0">
                  <a:latin typeface="Calibri" panose="020F0502020204030204" pitchFamily="34" charset="0"/>
                </a:rPr>
                <a:t>, um die </a:t>
              </a:r>
              <a:r>
                <a:rPr lang="en-US" sz="1400" dirty="0" err="1">
                  <a:latin typeface="Calibri" panose="020F0502020204030204" pitchFamily="34" charset="0"/>
                </a:rPr>
                <a:t>Platzierung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rleichtern</a:t>
              </a:r>
              <a:r>
                <a:rPr lang="en-US" sz="1400" dirty="0">
                  <a:latin typeface="Calibri" panose="020F0502020204030204" pitchFamily="34" charset="0"/>
                </a:rPr>
                <a:t>.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00052" y="543895"/>
            <a:ext cx="8741145" cy="1392646"/>
            <a:chOff x="400052" y="543895"/>
            <a:chExt cx="8741145" cy="1392646"/>
          </a:xfrm>
        </p:grpSpPr>
        <p:pic>
          <p:nvPicPr>
            <p:cNvPr id="15" name="Picture 14" descr="http://www.bostonscientific.com/content/gwc/en-US/products/clips/resolution-clip/_jcr_content/maincontent-par/image_0.img.resolution-clip-open-600x298.jpg"/>
            <p:cNvPicPr/>
            <p:nvPr/>
          </p:nvPicPr>
          <p:blipFill>
            <a:blip r:embed="rId9" r:link="rId10" cstate="print"/>
            <a:srcRect/>
            <a:stretch>
              <a:fillRect/>
            </a:stretch>
          </p:blipFill>
          <p:spPr bwMode="auto">
            <a:xfrm>
              <a:off x="6720195" y="543895"/>
              <a:ext cx="2421002" cy="12849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" name="TextBox 1"/>
            <p:cNvSpPr txBox="1"/>
            <p:nvPr/>
          </p:nvSpPr>
          <p:spPr>
            <a:xfrm>
              <a:off x="400052" y="1074767"/>
              <a:ext cx="6561465" cy="86177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fontAlgn="t"/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mechanisch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rät</a:t>
              </a:r>
              <a:r>
                <a:rPr lang="en-US" sz="1400" dirty="0">
                  <a:latin typeface="Calibri" panose="020F0502020204030204" pitchFamily="34" charset="0"/>
                </a:rPr>
                <a:t> das in der </a:t>
              </a:r>
              <a:r>
                <a:rPr lang="en-US" sz="1400" dirty="0" err="1">
                  <a:latin typeface="Calibri" panose="020F0502020204030204" pitchFamily="34" charset="0"/>
                </a:rPr>
                <a:t>Endoskop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setz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ird</a:t>
              </a:r>
              <a:r>
                <a:rPr lang="en-US" sz="1400" dirty="0">
                  <a:latin typeface="Calibri" panose="020F0502020204030204" pitchFamily="34" charset="0"/>
                </a:rPr>
                <a:t> um </a:t>
              </a:r>
              <a:r>
                <a:rPr lang="en-US" sz="1400" dirty="0" err="1">
                  <a:latin typeface="Calibri" panose="020F0502020204030204" pitchFamily="34" charset="0"/>
                </a:rPr>
                <a:t>zw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Fläche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und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schließen</a:t>
              </a:r>
              <a:r>
                <a:rPr lang="en-US" sz="1400" dirty="0">
                  <a:latin typeface="Calibri" panose="020F0502020204030204" pitchFamily="34" charset="0"/>
                </a:rPr>
                <a:t>. </a:t>
              </a:r>
              <a:r>
                <a:rPr lang="en-US" sz="1400" dirty="0" err="1">
                  <a:latin typeface="Calibri" panose="020F0502020204030204" pitchFamily="34" charset="0"/>
                </a:rPr>
                <a:t>We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i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r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skopi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ehandelbare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Läsion</a:t>
              </a:r>
              <a:r>
                <a:rPr lang="en-US" sz="1400" dirty="0">
                  <a:latin typeface="Calibri" panose="020F0502020204030204" pitchFamily="34" charset="0"/>
                </a:rPr>
                <a:t> (z. B.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blutend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Gefäß</a:t>
              </a:r>
              <a:r>
                <a:rPr lang="en-US" sz="1400" dirty="0">
                  <a:latin typeface="Calibri" panose="020F0502020204030204" pitchFamily="34" charset="0"/>
                </a:rPr>
                <a:t>) </a:t>
              </a:r>
              <a:r>
                <a:rPr lang="en-US" sz="1400" dirty="0" err="1">
                  <a:latin typeface="Calibri" panose="020F0502020204030204" pitchFamily="34" charset="0"/>
                </a:rPr>
                <a:t>erkann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ist</a:t>
              </a:r>
              <a:r>
                <a:rPr lang="en-US" sz="1400" dirty="0">
                  <a:latin typeface="Calibri" panose="020F0502020204030204" pitchFamily="34" charset="0"/>
                </a:rPr>
                <a:t>, </a:t>
              </a:r>
              <a:r>
                <a:rPr lang="en-US" sz="1400" dirty="0" err="1">
                  <a:latin typeface="Calibri" panose="020F0502020204030204" pitchFamily="34" charset="0"/>
                </a:rPr>
                <a:t>ka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durch</a:t>
              </a:r>
              <a:r>
                <a:rPr lang="en-US" sz="1400" dirty="0">
                  <a:latin typeface="Calibri" panose="020F0502020204030204" pitchFamily="34" charset="0"/>
                </a:rPr>
                <a:t> den </a:t>
              </a:r>
              <a:r>
                <a:rPr lang="en-US" sz="1400" dirty="0" err="1">
                  <a:latin typeface="Calibri" panose="020F0502020204030204" pitchFamily="34" charset="0"/>
                </a:rPr>
                <a:t>Kanal</a:t>
              </a:r>
              <a:r>
                <a:rPr lang="en-US" sz="1400" dirty="0">
                  <a:latin typeface="Calibri" panose="020F0502020204030204" pitchFamily="34" charset="0"/>
                </a:rPr>
                <a:t> des </a:t>
              </a:r>
              <a:r>
                <a:rPr lang="en-US" sz="1400" dirty="0" err="1">
                  <a:latin typeface="Calibri" panose="020F0502020204030204" pitchFamily="34" charset="0"/>
                </a:rPr>
                <a:t>Endoskop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ndoclip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führ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, und </a:t>
              </a:r>
              <a:r>
                <a:rPr lang="en-US" sz="1400" dirty="0" err="1">
                  <a:latin typeface="Calibri" panose="020F0502020204030204" pitchFamily="34" charset="0"/>
                </a:rPr>
                <a:t>dann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zum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Verschließen</a:t>
              </a:r>
              <a:r>
                <a:rPr lang="en-US" sz="1400" dirty="0">
                  <a:latin typeface="Calibri" panose="020F0502020204030204" pitchFamily="34" charset="0"/>
                </a:rPr>
                <a:t> des </a:t>
              </a:r>
              <a:r>
                <a:rPr lang="en-US" sz="1400" dirty="0" err="1">
                  <a:latin typeface="Calibri" panose="020F0502020204030204" pitchFamily="34" charset="0"/>
                </a:rPr>
                <a:t>Gefäßes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eingesetzt</a:t>
              </a:r>
              <a:r>
                <a:rPr lang="en-US" sz="1400" dirty="0">
                  <a:latin typeface="Calibri" panose="020F0502020204030204" pitchFamily="34" charset="0"/>
                </a:rPr>
                <a:t> </a:t>
              </a:r>
              <a:r>
                <a:rPr lang="en-US" sz="1400" dirty="0" err="1">
                  <a:latin typeface="Calibri" panose="020F0502020204030204" pitchFamily="34" charset="0"/>
                </a:rPr>
                <a:t>werden</a:t>
              </a:r>
              <a:r>
                <a:rPr lang="en-US" sz="1400" dirty="0">
                  <a:latin typeface="Calibri" panose="020F0502020204030204" pitchFamily="34" charset="0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8771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72760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992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Endoclip</a:t>
            </a:r>
            <a:r>
              <a:rPr lang="en-US" dirty="0"/>
              <a:t> </a:t>
            </a:r>
            <a:r>
              <a:rPr lang="en-US" dirty="0" err="1"/>
              <a:t>Gerät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00051" y="966158"/>
            <a:ext cx="6733994" cy="64633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fontAlgn="t"/>
            <a:r>
              <a:rPr lang="en-US" sz="1400" dirty="0">
                <a:latin typeface="Calibri" panose="020F0502020204030204" pitchFamily="34" charset="0"/>
              </a:rPr>
              <a:t>Das </a:t>
            </a:r>
            <a:r>
              <a:rPr lang="en-US" sz="1400" dirty="0" err="1">
                <a:latin typeface="Calibri" panose="020F0502020204030204" pitchFamily="34" charset="0"/>
              </a:rPr>
              <a:t>Konzept</a:t>
            </a:r>
            <a:r>
              <a:rPr lang="en-US" sz="1400" dirty="0">
                <a:latin typeface="Calibri" panose="020F0502020204030204" pitchFamily="34" charset="0"/>
              </a:rPr>
              <a:t> des </a:t>
            </a:r>
            <a:r>
              <a:rPr lang="en-US" sz="1400" dirty="0" err="1">
                <a:latin typeface="Calibri" panose="020F0502020204030204" pitchFamily="34" charset="0"/>
              </a:rPr>
              <a:t>Endoclip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wurd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rstmal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itte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dirty="0" err="1">
                <a:latin typeface="Calibri" panose="020F0502020204030204" pitchFamily="34" charset="0"/>
              </a:rPr>
              <a:t>70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Jahr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beschrieben</a:t>
            </a:r>
            <a:r>
              <a:rPr lang="en-US" sz="1400" dirty="0">
                <a:latin typeface="Calibri" panose="020F0502020204030204" pitchFamily="34" charset="0"/>
              </a:rPr>
              <a:t>, </a:t>
            </a:r>
            <a:r>
              <a:rPr lang="en-US" sz="1400" dirty="0" err="1">
                <a:latin typeface="Calibri" panose="020F0502020204030204" pitchFamily="34" charset="0"/>
              </a:rPr>
              <a:t>ab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paxistauglich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erät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ib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rs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se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nde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dirty="0" err="1">
                <a:latin typeface="Calibri" panose="020F0502020204030204" pitchFamily="34" charset="0"/>
              </a:rPr>
              <a:t>80er</a:t>
            </a:r>
            <a:r>
              <a:rPr lang="en-US" sz="1400" dirty="0">
                <a:latin typeface="Calibri" panose="020F0502020204030204" pitchFamily="34" charset="0"/>
              </a:rPr>
              <a:t>. </a:t>
            </a:r>
            <a:r>
              <a:rPr lang="en-US" sz="1400" dirty="0" err="1">
                <a:latin typeface="Calibri" panose="020F0502020204030204" pitchFamily="34" charset="0"/>
              </a:rPr>
              <a:t>Heut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ib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s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ine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Vielzahl</a:t>
            </a:r>
            <a:r>
              <a:rPr lang="en-US" sz="1400" dirty="0">
                <a:latin typeface="Calibri" panose="020F0502020204030204" pitchFamily="34" charset="0"/>
              </a:rPr>
              <a:t> von </a:t>
            </a:r>
            <a:r>
              <a:rPr lang="en-US" sz="1400" dirty="0" err="1">
                <a:latin typeface="Calibri" panose="020F0502020204030204" pitchFamily="34" charset="0"/>
              </a:rPr>
              <a:t>bedienungsfreundlichen</a:t>
            </a:r>
            <a:r>
              <a:rPr lang="en-US" sz="1400" dirty="0">
                <a:latin typeface="Calibri" panose="020F0502020204030204" pitchFamily="34" charset="0"/>
              </a:rPr>
              <a:t> und </a:t>
            </a:r>
            <a:r>
              <a:rPr lang="en-US" sz="1400" dirty="0" err="1">
                <a:latin typeface="Calibri" panose="020F0502020204030204" pitchFamily="34" charset="0"/>
              </a:rPr>
              <a:t>effektiv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Geräten</a:t>
            </a:r>
            <a:r>
              <a:rPr lang="en-US" sz="1400" dirty="0">
                <a:latin typeface="Calibri" panose="020F0502020204030204" pitchFamily="34" charset="0"/>
              </a:rPr>
              <a:t> in </a:t>
            </a:r>
            <a:r>
              <a:rPr lang="en-US" sz="1400" dirty="0" err="1">
                <a:latin typeface="Calibri" panose="020F0502020204030204" pitchFamily="34" charset="0"/>
              </a:rPr>
              <a:t>verschieden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Formen</a:t>
            </a:r>
            <a:r>
              <a:rPr lang="en-US" sz="1400" dirty="0">
                <a:latin typeface="Calibri" panose="020F0502020204030204" pitchFamily="34" charset="0"/>
              </a:rPr>
              <a:t> und </a:t>
            </a:r>
            <a:r>
              <a:rPr lang="en-US" sz="1400" dirty="0" err="1">
                <a:latin typeface="Calibri" panose="020F0502020204030204" pitchFamily="34" charset="0"/>
              </a:rPr>
              <a:t>Größen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</p:txBody>
      </p:sp>
      <p:pic>
        <p:nvPicPr>
          <p:cNvPr id="63795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9" y="2045090"/>
            <a:ext cx="6087015" cy="407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6650966" y="2117785"/>
            <a:ext cx="2379856" cy="258532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fontAlgn="t"/>
            <a:r>
              <a:rPr lang="en-US" sz="1400" dirty="0" err="1">
                <a:latin typeface="Calibri" panose="020F0502020204030204" pitchFamily="34" charset="0"/>
              </a:rPr>
              <a:t>Seit</a:t>
            </a:r>
            <a:r>
              <a:rPr lang="en-US" sz="1400" dirty="0">
                <a:latin typeface="Calibri" panose="020F0502020204030204" pitchFamily="34" charset="0"/>
              </a:rPr>
              <a:t> 2004  </a:t>
            </a:r>
            <a:r>
              <a:rPr lang="en-US" sz="1400" dirty="0" err="1">
                <a:latin typeface="Calibri" panose="020F0502020204030204" pitchFamily="34" charset="0"/>
              </a:rPr>
              <a:t>ist</a:t>
            </a:r>
            <a:r>
              <a:rPr lang="en-US" sz="1400" dirty="0">
                <a:latin typeface="Calibri" panose="020F0502020204030204" pitchFamily="34" charset="0"/>
              </a:rPr>
              <a:t> der </a:t>
            </a:r>
            <a:r>
              <a:rPr lang="en-US" sz="1400" b="1" dirty="0">
                <a:latin typeface="Calibri" panose="020F0502020204030204" pitchFamily="34" charset="0"/>
              </a:rPr>
              <a:t>Resolution™ Clip</a:t>
            </a:r>
            <a:r>
              <a:rPr lang="en-US" sz="1400" dirty="0">
                <a:latin typeface="Calibri" panose="020F0502020204030204" pitchFamily="34" charset="0"/>
              </a:rPr>
              <a:t> der US-Firma  Boston Scientific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arkt</a:t>
            </a:r>
            <a:r>
              <a:rPr lang="en-US" sz="1400" dirty="0">
                <a:latin typeface="Calibri" panose="020F0502020204030204" pitchFamily="34" charset="0"/>
              </a:rPr>
              <a:t>, und das </a:t>
            </a:r>
            <a:r>
              <a:rPr lang="en-US" sz="1400" dirty="0" err="1">
                <a:latin typeface="Calibri" panose="020F0502020204030204" pitchFamily="34" charset="0"/>
              </a:rPr>
              <a:t>Produkt</a:t>
            </a:r>
            <a:r>
              <a:rPr lang="en-US" sz="1400" dirty="0">
                <a:latin typeface="Calibri" panose="020F0502020204030204" pitchFamily="34" charset="0"/>
              </a:rPr>
              <a:t> hat </a:t>
            </a:r>
            <a:r>
              <a:rPr lang="en-US" sz="1400" dirty="0" err="1">
                <a:latin typeface="Calibri" panose="020F0502020204030204" pitchFamily="34" charset="0"/>
              </a:rPr>
              <a:t>sich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de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Verkauf</a:t>
            </a:r>
            <a:r>
              <a:rPr lang="en-US" sz="1400" dirty="0">
                <a:latin typeface="Calibri" panose="020F0502020204030204" pitchFamily="34" charset="0"/>
              </a:rPr>
              <a:t> von </a:t>
            </a:r>
            <a:r>
              <a:rPr lang="en-US" sz="1400" dirty="0" err="1">
                <a:latin typeface="Calibri" panose="020F0502020204030204" pitchFamily="34" charset="0"/>
              </a:rPr>
              <a:t>weltweit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üb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ine</a:t>
            </a:r>
            <a:r>
              <a:rPr lang="en-US" sz="1400" dirty="0">
                <a:latin typeface="Calibri" panose="020F0502020204030204" pitchFamily="34" charset="0"/>
              </a:rPr>
              <a:t> Million </a:t>
            </a:r>
            <a:r>
              <a:rPr lang="en-US" sz="1400" dirty="0" err="1">
                <a:latin typeface="Calibri" panose="020F0502020204030204" pitchFamily="34" charset="0"/>
              </a:rPr>
              <a:t>Geräten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Jahr</a:t>
            </a:r>
            <a:r>
              <a:rPr lang="en-US" sz="1400" dirty="0">
                <a:latin typeface="Calibri" panose="020F0502020204030204" pitchFamily="34" charset="0"/>
              </a:rPr>
              <a:t> 2015 </a:t>
            </a:r>
            <a:r>
              <a:rPr lang="en-US" sz="1400" dirty="0" err="1">
                <a:latin typeface="Calibri" panose="020F0502020204030204" pitchFamily="34" charset="0"/>
              </a:rPr>
              <a:t>zu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arktführer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entwickelt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  <a:p>
            <a:pPr fontAlgn="t"/>
            <a:endParaRPr lang="en-US" sz="1400" dirty="0">
              <a:latin typeface="Calibri" panose="020F0502020204030204" pitchFamily="34" charset="0"/>
            </a:endParaRPr>
          </a:p>
          <a:p>
            <a:pPr fontAlgn="t"/>
            <a:r>
              <a:rPr lang="en-US" sz="1400" dirty="0">
                <a:latin typeface="Calibri" panose="020F0502020204030204" pitchFamily="34" charset="0"/>
              </a:rPr>
              <a:t>Der </a:t>
            </a:r>
            <a:r>
              <a:rPr lang="en-US" sz="1400" b="1" dirty="0">
                <a:latin typeface="Calibri" panose="020F0502020204030204" pitchFamily="34" charset="0"/>
              </a:rPr>
              <a:t>Resolution™ Clip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wird</a:t>
            </a:r>
            <a:r>
              <a:rPr lang="en-US" sz="1400" dirty="0">
                <a:latin typeface="Calibri" panose="020F0502020204030204" pitchFamily="34" charset="0"/>
              </a:rPr>
              <a:t> von Freudenberg Medical in der </a:t>
            </a:r>
            <a:r>
              <a:rPr lang="en-US" sz="1400" dirty="0" err="1">
                <a:latin typeface="Calibri" panose="020F0502020204030204" pitchFamily="34" charset="0"/>
              </a:rPr>
              <a:t>Fabrik</a:t>
            </a:r>
            <a:r>
              <a:rPr lang="en-US" sz="1400" dirty="0">
                <a:latin typeface="Calibri" panose="020F0502020204030204" pitchFamily="34" charset="0"/>
              </a:rPr>
              <a:t> in Jeffersonville, Indiana, </a:t>
            </a:r>
            <a:r>
              <a:rPr lang="en-US" sz="1400" dirty="0" err="1">
                <a:latin typeface="Calibri" panose="020F0502020204030204" pitchFamily="34" charset="0"/>
              </a:rPr>
              <a:t>i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Reinraum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hergestellt</a:t>
            </a:r>
            <a:r>
              <a:rPr lang="en-US" sz="1400" dirty="0">
                <a:latin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368277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62912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01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3897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50" y="1438275"/>
            <a:ext cx="8590229" cy="401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75266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4864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72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54065" y="1388853"/>
            <a:ext cx="3949543" cy="2347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400" dirty="0"/>
              <a:t>https://</a:t>
            </a:r>
            <a:r>
              <a:rPr lang="en-US" sz="1400" dirty="0" err="1"/>
              <a:t>www.youtube.com</a:t>
            </a:r>
            <a:r>
              <a:rPr lang="en-US" sz="1400" dirty="0"/>
              <a:t>/</a:t>
            </a:r>
            <a:r>
              <a:rPr lang="en-US" sz="1400" dirty="0" err="1"/>
              <a:t>watch?v</a:t>
            </a:r>
            <a:r>
              <a:rPr lang="en-US" sz="1400" dirty="0"/>
              <a:t>=</a:t>
            </a:r>
            <a:r>
              <a:rPr lang="en-US" sz="1400" dirty="0" err="1"/>
              <a:t>4XA9_B2lRhY</a:t>
            </a:r>
            <a:endParaRPr lang="en-US" sz="1400" dirty="0"/>
          </a:p>
        </p:txBody>
      </p:sp>
      <p:pic>
        <p:nvPicPr>
          <p:cNvPr id="636940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065" y="2000250"/>
            <a:ext cx="6739467" cy="379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254065" y="962250"/>
            <a:ext cx="1474506" cy="23474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400" dirty="0"/>
              <a:t>Watch 1'08" video:</a:t>
            </a:r>
          </a:p>
        </p:txBody>
      </p:sp>
    </p:spTree>
    <p:extLst>
      <p:ext uri="{BB962C8B-B14F-4D97-AF65-F5344CB8AC3E}">
        <p14:creationId xmlns:p14="http://schemas.microsoft.com/office/powerpoint/2010/main" val="2509886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6088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03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000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1247775"/>
            <a:ext cx="9166462" cy="196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81114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706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58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102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66940"/>
            <a:ext cx="9144000" cy="2938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89048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693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08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Resolution™ </a:t>
            </a:r>
            <a:r>
              <a:rPr lang="en-US" dirty="0" err="1"/>
              <a:t>Clipsystem</a:t>
            </a:r>
            <a:r>
              <a:rPr lang="en-US" dirty="0"/>
              <a:t> von Boston Scientif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6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4205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409700"/>
            <a:ext cx="9144001" cy="2667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3036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949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04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 </a:t>
            </a:r>
            <a:r>
              <a:rPr lang="en-US" dirty="0" err="1"/>
              <a:t>Frage</a:t>
            </a:r>
            <a:r>
              <a:rPr lang="en-US" dirty="0"/>
              <a:t> und </a:t>
            </a:r>
            <a:r>
              <a:rPr lang="en-US" dirty="0" err="1"/>
              <a:t>Antwor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47750" y="1962150"/>
            <a:ext cx="5920666" cy="153683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2800" dirty="0" err="1"/>
              <a:t>Vielen</a:t>
            </a:r>
            <a:r>
              <a:rPr lang="en-US" sz="2800" dirty="0"/>
              <a:t> Dank </a:t>
            </a:r>
            <a:r>
              <a:rPr lang="en-US" sz="2800" dirty="0" err="1"/>
              <a:t>für</a:t>
            </a:r>
            <a:r>
              <a:rPr lang="en-US" sz="2800" dirty="0"/>
              <a:t> </a:t>
            </a:r>
            <a:r>
              <a:rPr lang="en-US" sz="2800" dirty="0" err="1"/>
              <a:t>Ihre</a:t>
            </a:r>
            <a:r>
              <a:rPr lang="en-US" sz="2800" dirty="0"/>
              <a:t> </a:t>
            </a:r>
            <a:r>
              <a:rPr lang="en-US" sz="2800" dirty="0" err="1"/>
              <a:t>Aufmerksamkeit</a:t>
            </a:r>
            <a:r>
              <a:rPr lang="en-US" sz="2800" dirty="0"/>
              <a:t>!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sz="2800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2800" dirty="0" err="1"/>
              <a:t>Haben</a:t>
            </a:r>
            <a:r>
              <a:rPr lang="en-US" sz="2800" dirty="0"/>
              <a:t> </a:t>
            </a:r>
            <a:r>
              <a:rPr lang="en-US" sz="2800" dirty="0" err="1"/>
              <a:t>Sie</a:t>
            </a:r>
            <a:r>
              <a:rPr lang="en-US" sz="2800" dirty="0"/>
              <a:t> </a:t>
            </a:r>
            <a:r>
              <a:rPr lang="en-US" sz="2800" dirty="0" err="1"/>
              <a:t>noch</a:t>
            </a:r>
            <a:r>
              <a:rPr lang="en-US" sz="2800" dirty="0"/>
              <a:t> </a:t>
            </a:r>
            <a:r>
              <a:rPr lang="en-US" sz="2800" dirty="0" err="1"/>
              <a:t>Fragen</a:t>
            </a:r>
            <a:r>
              <a:rPr lang="en-US" sz="2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179993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738882" y="3001992"/>
            <a:ext cx="7827148" cy="3532008"/>
          </a:xfrm>
        </p:spPr>
        <p:txBody>
          <a:bodyPr/>
          <a:lstStyle/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1.	</a:t>
            </a:r>
            <a:r>
              <a:rPr lang="en-US" dirty="0" err="1">
                <a:solidFill>
                  <a:schemeClr val="tx1"/>
                </a:solidFill>
              </a:rPr>
              <a:t>Vorstellung</a:t>
            </a:r>
            <a:r>
              <a:rPr lang="en-US" dirty="0">
                <a:solidFill>
                  <a:schemeClr val="tx1"/>
                </a:solidFill>
              </a:rPr>
              <a:t> Dr.-</a:t>
            </a:r>
            <a:r>
              <a:rPr lang="en-US" dirty="0" err="1">
                <a:solidFill>
                  <a:schemeClr val="tx1"/>
                </a:solidFill>
              </a:rPr>
              <a:t>Ing</a:t>
            </a:r>
            <a:r>
              <a:rPr lang="en-US" dirty="0">
                <a:solidFill>
                  <a:schemeClr val="tx1"/>
                </a:solidFill>
              </a:rPr>
              <a:t>. Jörg Schneewind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2.	Die Freudenberg </a:t>
            </a:r>
            <a:r>
              <a:rPr lang="en-US" dirty="0" err="1">
                <a:solidFill>
                  <a:schemeClr val="tx1"/>
                </a:solidFill>
              </a:rPr>
              <a:t>Gruppe</a:t>
            </a:r>
            <a:r>
              <a:rPr lang="en-US" dirty="0">
                <a:solidFill>
                  <a:schemeClr val="tx1"/>
                </a:solidFill>
              </a:rPr>
              <a:t> und Freudenberg Medical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3.	</a:t>
            </a:r>
            <a:r>
              <a:rPr lang="en-US" dirty="0" err="1">
                <a:solidFill>
                  <a:schemeClr val="tx1"/>
                </a:solidFill>
              </a:rPr>
              <a:t>Endoclip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Geräte</a:t>
            </a:r>
            <a:endParaRPr lang="en-US" dirty="0">
              <a:solidFill>
                <a:schemeClr val="tx1"/>
              </a:solidFill>
            </a:endParaRP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4.	Der Resolution</a:t>
            </a:r>
            <a:r>
              <a:rPr lang="en-US" b="1" dirty="0">
                <a:solidFill>
                  <a:schemeClr val="tx1"/>
                </a:solidFill>
              </a:rPr>
              <a:t>™</a:t>
            </a:r>
            <a:r>
              <a:rPr lang="en-US" dirty="0">
                <a:solidFill>
                  <a:schemeClr val="tx1"/>
                </a:solidFill>
              </a:rPr>
              <a:t> Clip von Boston Scientific</a:t>
            </a:r>
          </a:p>
          <a:p>
            <a:pPr marL="0" indent="0">
              <a:buClrTx/>
              <a:buNone/>
              <a:tabLst>
                <a:tab pos="457200" algn="l"/>
              </a:tabLst>
            </a:pPr>
            <a:r>
              <a:rPr lang="en-US" dirty="0">
                <a:solidFill>
                  <a:schemeClr val="tx1"/>
                </a:solidFill>
              </a:rPr>
              <a:t>5.	</a:t>
            </a:r>
            <a:r>
              <a:rPr lang="en-US" dirty="0" err="1">
                <a:solidFill>
                  <a:schemeClr val="tx1"/>
                </a:solidFill>
              </a:rPr>
              <a:t>Frage</a:t>
            </a:r>
            <a:r>
              <a:rPr lang="en-US" dirty="0">
                <a:solidFill>
                  <a:schemeClr val="tx1"/>
                </a:solidFill>
              </a:rPr>
              <a:t> und </a:t>
            </a:r>
            <a:r>
              <a:rPr lang="en-US" dirty="0" err="1">
                <a:solidFill>
                  <a:schemeClr val="tx1"/>
                </a:solidFill>
              </a:rPr>
              <a:t>Antwor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/>
              <a:t>Page </a:t>
            </a:r>
            <a:fld id="{CDF7CB8E-0C0F-4AA4-8EC3-057F9A13ED4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platzhalter 1"/>
          <p:cNvSpPr txBox="1">
            <a:spLocks/>
          </p:cNvSpPr>
          <p:nvPr/>
        </p:nvSpPr>
        <p:spPr>
          <a:xfrm>
            <a:off x="738882" y="2596550"/>
            <a:ext cx="7827148" cy="58947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66700" indent="-266700" algn="l" defTabSz="914400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+mj-lt"/>
              <a:buAutoNum type="arabicPeriod"/>
              <a:defRPr sz="1800" kern="1200" baseline="0">
                <a:solidFill>
                  <a:schemeClr val="bg1">
                    <a:lumMod val="65000"/>
                  </a:schemeClr>
                </a:solidFill>
                <a:latin typeface="Arial"/>
                <a:ea typeface="+mn-ea"/>
                <a:cs typeface="Arial"/>
              </a:defRPr>
            </a:lvl1pPr>
            <a:lvl2pPr marL="538163" indent="-2571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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8038" indent="-2555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Arial" panose="020B0604020202020204" pitchFamily="34" charset="0"/>
              <a:buChar char="●"/>
              <a:tabLst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8969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4738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4388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Tx/>
              <a:buFont typeface="+mj-lt"/>
              <a:buNone/>
            </a:pPr>
            <a:r>
              <a:rPr lang="en-US" b="1" u="sng" dirty="0" err="1">
                <a:solidFill>
                  <a:schemeClr val="tx1"/>
                </a:solidFill>
              </a:rPr>
              <a:t>Inhalt</a:t>
            </a:r>
            <a:r>
              <a:rPr lang="en-US" b="1" u="sng" dirty="0">
                <a:solidFill>
                  <a:schemeClr val="tx1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16453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231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1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.  Introduc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22389" y="816405"/>
            <a:ext cx="3429773" cy="1732825"/>
            <a:chOff x="222389" y="816405"/>
            <a:chExt cx="3429773" cy="1732825"/>
          </a:xfrm>
        </p:grpSpPr>
        <p:pic>
          <p:nvPicPr>
            <p:cNvPr id="627768" name="Picture 56" descr="C:\Users\swd\Documents\Freudenberg Medical\PR-Communication\photos management team+Jorg\img_0076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050" y="816405"/>
              <a:ext cx="1141161" cy="1712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222389" y="1899145"/>
              <a:ext cx="1589158" cy="6500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642253" y="816405"/>
              <a:ext cx="2009909" cy="234744"/>
            </a:xfrm>
            <a:prstGeom prst="rect">
              <a:avLst/>
            </a:prstGeom>
            <a:noFill/>
          </p:spPr>
          <p:txBody>
            <a:bodyPr vert="horz" wrap="none" lIns="0" tIns="0" rIns="0" bIns="0" rtlCol="0">
              <a:spAutoFit/>
            </a:bodyPr>
            <a:lstStyle/>
            <a:p>
              <a:pPr>
                <a:lnSpc>
                  <a:spcPct val="120000"/>
                </a:lnSpc>
                <a:spcBef>
                  <a:spcPts val="0"/>
                </a:spcBef>
                <a:buClr>
                  <a:schemeClr val="accent1"/>
                </a:buClr>
                <a:buSzPct val="100000"/>
              </a:pPr>
              <a:r>
                <a:rPr lang="en-US" sz="1400" dirty="0"/>
                <a:t>Dr.-</a:t>
              </a:r>
              <a:r>
                <a:rPr lang="en-US" sz="1400" dirty="0" err="1"/>
                <a:t>Ing</a:t>
              </a:r>
              <a:r>
                <a:rPr lang="en-US" sz="1400" dirty="0"/>
                <a:t>. Jörg Schneewind</a:t>
              </a: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400049" y="3146288"/>
            <a:ext cx="3854325" cy="320703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u="sng" dirty="0" err="1"/>
              <a:t>Werdegang</a:t>
            </a:r>
            <a:r>
              <a:rPr lang="en-US" sz="1200" u="sng" dirty="0"/>
              <a:t>: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0	:	Abitur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0-82	:	</a:t>
            </a:r>
            <a:r>
              <a:rPr lang="en-US" sz="1200" dirty="0" err="1"/>
              <a:t>Bundeswehr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2-89	:	</a:t>
            </a:r>
            <a:r>
              <a:rPr lang="en-US" sz="1200" dirty="0" err="1"/>
              <a:t>Maschinenbaustudium</a:t>
            </a:r>
            <a:r>
              <a:rPr lang="en-US" sz="1200" dirty="0"/>
              <a:t> </a:t>
            </a:r>
            <a:r>
              <a:rPr lang="en-US" sz="1200" dirty="0" err="1"/>
              <a:t>RWTH</a:t>
            </a:r>
            <a:r>
              <a:rPr lang="en-US" sz="1200" dirty="0"/>
              <a:t> Aachen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89-94	:	</a:t>
            </a:r>
            <a:r>
              <a:rPr lang="en-US" sz="1200" dirty="0" err="1"/>
              <a:t>Wissenschaftlicher</a:t>
            </a:r>
            <a:r>
              <a:rPr lang="en-US" sz="1200" dirty="0"/>
              <a:t> </a:t>
            </a:r>
            <a:r>
              <a:rPr lang="en-US" sz="1200" dirty="0" err="1"/>
              <a:t>Mitarbeiter</a:t>
            </a:r>
            <a:r>
              <a:rPr lang="en-US" sz="1200" dirty="0"/>
              <a:t> am </a:t>
            </a:r>
            <a:r>
              <a:rPr lang="en-US" sz="1200" dirty="0" err="1"/>
              <a:t>WZL</a:t>
            </a:r>
            <a:r>
              <a:rPr lang="en-US" sz="1200" dirty="0"/>
              <a:t> der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		</a:t>
            </a:r>
            <a:r>
              <a:rPr lang="en-US" sz="1200" dirty="0" err="1"/>
              <a:t>RWTH</a:t>
            </a:r>
            <a:r>
              <a:rPr lang="en-US" sz="1200" dirty="0"/>
              <a:t> Aachen, Promotion </a:t>
            </a:r>
            <a:r>
              <a:rPr lang="en-US" sz="1200" dirty="0" err="1"/>
              <a:t>zum</a:t>
            </a:r>
            <a:r>
              <a:rPr lang="en-US" sz="1200" dirty="0"/>
              <a:t> Dr.-</a:t>
            </a:r>
            <a:r>
              <a:rPr lang="en-US" sz="1200" dirty="0" err="1"/>
              <a:t>Ing</a:t>
            </a:r>
            <a:r>
              <a:rPr lang="en-US" sz="1200" dirty="0"/>
              <a:t>.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4	:	</a:t>
            </a:r>
            <a:r>
              <a:rPr lang="en-US" sz="1200" dirty="0" err="1"/>
              <a:t>Eintritt</a:t>
            </a:r>
            <a:r>
              <a:rPr lang="en-US" sz="1200" dirty="0"/>
              <a:t> in die Freudenberg </a:t>
            </a:r>
            <a:r>
              <a:rPr lang="en-US" sz="1200" dirty="0" err="1"/>
              <a:t>Gruppe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6-99	:	Freudenberg England, Newcastle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1999	:	Freudenberg USA, Plymouth, MI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seit</a:t>
            </a:r>
            <a:r>
              <a:rPr lang="en-US" sz="1200" dirty="0"/>
              <a:t> 2004	:	</a:t>
            </a:r>
            <a:r>
              <a:rPr lang="en-US" sz="1200" dirty="0" err="1"/>
              <a:t>Aufbau</a:t>
            </a:r>
            <a:r>
              <a:rPr lang="en-US" sz="1200" dirty="0"/>
              <a:t> von Freudenberg Medical </a:t>
            </a:r>
            <a:r>
              <a:rPr lang="en-US" sz="1200" dirty="0" err="1"/>
              <a:t>mittels</a:t>
            </a:r>
            <a:endParaRPr lang="en-US" sz="1200" dirty="0"/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/>
              <a:t>		</a:t>
            </a:r>
            <a:r>
              <a:rPr lang="en-US" sz="1200" dirty="0" err="1"/>
              <a:t>einer</a:t>
            </a:r>
            <a:r>
              <a:rPr lang="en-US" sz="1200" dirty="0"/>
              <a:t> "Buy-and-Build" - </a:t>
            </a:r>
            <a:r>
              <a:rPr lang="en-US" sz="1200" dirty="0" err="1"/>
              <a:t>Strategie</a:t>
            </a:r>
            <a:endParaRPr lang="en-US" sz="12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4478884" y="80035"/>
            <a:ext cx="4665116" cy="6132507"/>
            <a:chOff x="4478884" y="80035"/>
            <a:chExt cx="4665116" cy="6132507"/>
          </a:xfrm>
        </p:grpSpPr>
        <p:pic>
          <p:nvPicPr>
            <p:cNvPr id="627770" name="Picture 5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8884" y="80035"/>
              <a:ext cx="4665116" cy="61325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4478884" y="3146288"/>
              <a:ext cx="1802921" cy="1371078"/>
              <a:chOff x="4478884" y="3146288"/>
              <a:chExt cx="1802921" cy="1371078"/>
            </a:xfrm>
          </p:grpSpPr>
          <p:sp>
            <p:nvSpPr>
              <p:cNvPr id="16" name="Rounded Rectangle 15"/>
              <p:cNvSpPr/>
              <p:nvPr/>
            </p:nvSpPr>
            <p:spPr>
              <a:xfrm>
                <a:off x="4478884" y="3146288"/>
                <a:ext cx="543464" cy="261146"/>
              </a:xfrm>
              <a:prstGeom prst="round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8" name="Rounded Rectangle 17"/>
              <p:cNvSpPr/>
              <p:nvPr/>
            </p:nvSpPr>
            <p:spPr>
              <a:xfrm>
                <a:off x="5738341" y="4256220"/>
                <a:ext cx="543464" cy="261146"/>
              </a:xfrm>
              <a:prstGeom prst="roundRect">
                <a:avLst/>
              </a:prstGeom>
              <a:noFill/>
              <a:ln w="28575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7" name="Rounded Rectangle 6"/>
            <p:cNvSpPr/>
            <p:nvPr/>
          </p:nvSpPr>
          <p:spPr>
            <a:xfrm>
              <a:off x="5503653" y="2549229"/>
              <a:ext cx="543464" cy="195647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00049" y="2224187"/>
            <a:ext cx="3745769" cy="52014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Geboren</a:t>
            </a:r>
            <a:r>
              <a:rPr lang="en-US" sz="1200" dirty="0"/>
              <a:t> : 1961 in Dortmund, Nordrhein-Westfalen</a:t>
            </a:r>
          </a:p>
          <a:p>
            <a:pPr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  <a:tabLst>
                <a:tab pos="741363" algn="l"/>
              </a:tabLst>
            </a:pPr>
            <a:r>
              <a:rPr lang="en-US" sz="1200" dirty="0" err="1"/>
              <a:t>Verheiratet</a:t>
            </a:r>
            <a:r>
              <a:rPr lang="en-US" sz="1200" dirty="0"/>
              <a:t>, </a:t>
            </a:r>
            <a:r>
              <a:rPr lang="en-US" sz="1200" dirty="0" err="1"/>
              <a:t>zwei</a:t>
            </a:r>
            <a:r>
              <a:rPr lang="en-US" sz="1200" dirty="0"/>
              <a:t> Kinder (UM und </a:t>
            </a:r>
            <a:r>
              <a:rPr lang="en-US" sz="1200" dirty="0" err="1"/>
              <a:t>MTU</a:t>
            </a:r>
            <a:r>
              <a:rPr lang="en-US" sz="1200" dirty="0"/>
              <a:t> </a:t>
            </a:r>
            <a:r>
              <a:rPr lang="en-US" sz="1200" dirty="0" err="1"/>
              <a:t>eng.</a:t>
            </a:r>
            <a:r>
              <a:rPr lang="en-US" sz="1200" dirty="0"/>
              <a:t> graduates)</a:t>
            </a:r>
          </a:p>
        </p:txBody>
      </p:sp>
    </p:spTree>
    <p:extLst>
      <p:ext uri="{BB962C8B-B14F-4D97-AF65-F5344CB8AC3E}">
        <p14:creationId xmlns:p14="http://schemas.microsoft.com/office/powerpoint/2010/main" val="1008842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856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4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Profi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8"/>
          <p:cNvPicPr>
            <a:picLocks noChangeAspect="1" noChangeArrowheads="1"/>
          </p:cNvPicPr>
          <p:nvPr/>
        </p:nvPicPr>
        <p:blipFill rotWithShape="1">
          <a:blip r:embed="rId7" cstate="screen"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03417" y="2286854"/>
            <a:ext cx="2758982" cy="113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4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4683571"/>
            <a:ext cx="2725136" cy="1129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13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1084511"/>
            <a:ext cx="2725136" cy="1134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Grafik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7262" y="3489198"/>
            <a:ext cx="2725136" cy="112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feld 2"/>
          <p:cNvSpPr txBox="1"/>
          <p:nvPr/>
        </p:nvSpPr>
        <p:spPr>
          <a:xfrm>
            <a:off x="357187" y="1079328"/>
            <a:ext cx="5331231" cy="480439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dirty="0"/>
              <a:t>Freudenberg is a </a:t>
            </a:r>
            <a:r>
              <a:rPr lang="en-US" sz="1600" b="1" dirty="0">
                <a:solidFill>
                  <a:srgbClr val="004388"/>
                </a:solidFill>
              </a:rPr>
              <a:t>family-owned group of companies </a:t>
            </a:r>
            <a:r>
              <a:rPr lang="en-US" sz="1600" dirty="0"/>
              <a:t>active on the global stage. Its 10 business groups operate in various markets and service a wide range of industry sectors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en-US" sz="16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b="1" dirty="0">
                <a:solidFill>
                  <a:srgbClr val="004388"/>
                </a:solidFill>
              </a:rPr>
              <a:t>Creativity, quality, diversity</a:t>
            </a:r>
            <a:r>
              <a:rPr lang="en-US" sz="1600" dirty="0"/>
              <a:t> and </a:t>
            </a:r>
            <a:r>
              <a:rPr lang="en-US" sz="1600" b="1" dirty="0">
                <a:solidFill>
                  <a:srgbClr val="004388"/>
                </a:solidFill>
              </a:rPr>
              <a:t>innovative strength </a:t>
            </a:r>
            <a:r>
              <a:rPr lang="en-US" sz="1600" dirty="0"/>
              <a:t>are the company’s cornerstones. Reliability and responsible conduct rank among the basic values of the company which was founded </a:t>
            </a:r>
            <a:r>
              <a:rPr lang="en-US" sz="1600" b="1" dirty="0">
                <a:solidFill>
                  <a:srgbClr val="004388"/>
                </a:solidFill>
              </a:rPr>
              <a:t>169 years ago</a:t>
            </a:r>
            <a:r>
              <a:rPr lang="en-US" sz="1600" dirty="0"/>
              <a:t>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de-DE" sz="16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r>
              <a:rPr lang="en-US" sz="1600" dirty="0"/>
              <a:t>Freudenberg is committed to </a:t>
            </a:r>
            <a:r>
              <a:rPr lang="en-US" sz="1600" b="1" dirty="0">
                <a:solidFill>
                  <a:srgbClr val="004388"/>
                </a:solidFill>
              </a:rPr>
              <a:t>partnerships with customers</a:t>
            </a:r>
            <a:r>
              <a:rPr lang="en-US" sz="1600" dirty="0"/>
              <a:t>, and believes in </a:t>
            </a:r>
            <a:r>
              <a:rPr lang="en-US" sz="1600" b="1" dirty="0">
                <a:solidFill>
                  <a:srgbClr val="004388"/>
                </a:solidFill>
              </a:rPr>
              <a:t>long-term orientation, financial solidity</a:t>
            </a:r>
            <a:r>
              <a:rPr lang="en-US" sz="1600" dirty="0"/>
              <a:t> and the excellence of </a:t>
            </a:r>
            <a:r>
              <a:rPr lang="en-US" sz="1600" b="1" dirty="0">
                <a:solidFill>
                  <a:srgbClr val="004388"/>
                </a:solidFill>
              </a:rPr>
              <a:t>over 45.000 associates in 60 countries</a:t>
            </a:r>
            <a:r>
              <a:rPr lang="en-US" sz="1600" dirty="0"/>
              <a:t> around the globe. 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</a:pPr>
            <a:endParaRPr lang="de-DE" sz="1600" dirty="0"/>
          </a:p>
          <a:p>
            <a:pPr lvl="1">
              <a:lnSpc>
                <a:spcPct val="120000"/>
              </a:lnSpc>
              <a:spcBef>
                <a:spcPts val="600"/>
              </a:spcBef>
              <a:buClr>
                <a:schemeClr val="accent1"/>
              </a:buClr>
              <a:buSzPct val="100000"/>
            </a:pPr>
            <a:r>
              <a:rPr lang="de-DE" sz="1600" b="1" dirty="0">
                <a:solidFill>
                  <a:srgbClr val="004388"/>
                </a:solidFill>
              </a:rPr>
              <a:t>                                      </a:t>
            </a:r>
            <a:r>
              <a:rPr lang="de-DE" sz="1600" b="1" dirty="0"/>
              <a:t>– Innovating Together</a:t>
            </a:r>
          </a:p>
        </p:txBody>
      </p:sp>
      <p:pic>
        <p:nvPicPr>
          <p:cNvPr id="11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26347"/>
          <a:stretch/>
        </p:blipFill>
        <p:spPr bwMode="auto">
          <a:xfrm>
            <a:off x="893736" y="5610561"/>
            <a:ext cx="2039624" cy="244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907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9443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873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Product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00" y="1173972"/>
            <a:ext cx="8566150" cy="4681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66949" y="1456234"/>
            <a:ext cx="641201" cy="30187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Filter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02829" y="2484785"/>
            <a:ext cx="162865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Mechatronische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266949" y="3638671"/>
            <a:ext cx="1577355" cy="664797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pezialchemie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266949" y="4981958"/>
            <a:ext cx="1500411" cy="966675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pezialchemie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    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650546" y="1274774"/>
            <a:ext cx="1348174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Haushalts</a:t>
            </a:r>
            <a:r>
              <a:rPr lang="en-US" dirty="0"/>
              <a:t>-  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Produkte</a:t>
            </a:r>
            <a:r>
              <a:rPr lang="en-US" dirty="0"/>
              <a:t>    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63711" y="2518612"/>
            <a:ext cx="1640105" cy="6342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Medizintechnik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863711" y="3752639"/>
            <a:ext cx="1640105" cy="63427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Forschungs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enst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776222" y="5012479"/>
            <a:ext cx="1962727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Oberflächen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technik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873079" y="4832480"/>
            <a:ext cx="2270921" cy="99719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Schwingungstechnik</a:t>
            </a:r>
            <a:r>
              <a:rPr lang="en-US" dirty="0"/>
              <a:t>-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Komponenten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6873079" y="3571179"/>
            <a:ext cx="227092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chtungen</a:t>
            </a:r>
            <a:endParaRPr lang="en-US" dirty="0"/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6873078" y="1456234"/>
            <a:ext cx="2270921" cy="66479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/>
              <a:t>IT</a:t>
            </a:r>
          </a:p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dirty="0" err="1"/>
              <a:t>Dienstleistun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3866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365518" y="982333"/>
            <a:ext cx="4132262" cy="18223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24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897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Group - Key Figures 2016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25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18" y="2969883"/>
            <a:ext cx="5129212" cy="31590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8" name="Textfeld 7"/>
          <p:cNvSpPr txBox="1"/>
          <p:nvPr/>
        </p:nvSpPr>
        <p:spPr>
          <a:xfrm>
            <a:off x="4633495" y="982333"/>
            <a:ext cx="4214812" cy="182231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8000" tIns="72000" rIns="108000" bIns="72000" rtlCol="0" anchor="ctr" anchorCtr="0">
            <a:no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Sales:  	</a:t>
            </a:r>
            <a:r>
              <a:rPr lang="en-US" dirty="0"/>
              <a:t> €8.6B </a:t>
            </a:r>
            <a:r>
              <a:rPr lang="en-US" dirty="0"/>
              <a:t>($10.7B)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Profit before Tax:	€1.1B (</a:t>
            </a:r>
            <a:r>
              <a:rPr lang="en-US" dirty="0"/>
              <a:t>$1.36B)</a:t>
            </a:r>
            <a:endParaRPr lang="en-US" dirty="0"/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en-US" dirty="0"/>
              <a:t>Headcount:	          45,000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●"/>
              <a:tabLst>
                <a:tab pos="3859213" algn="r"/>
              </a:tabLst>
            </a:pPr>
            <a:r>
              <a:rPr lang="de-DE" dirty="0"/>
              <a:t>Equity / Total Assets ratio:	~45%</a:t>
            </a:r>
            <a:endParaRPr lang="en-US" dirty="0"/>
          </a:p>
        </p:txBody>
      </p:sp>
      <p:pic>
        <p:nvPicPr>
          <p:cNvPr id="361495" name="Bild 1" descr="cid:image001.png@01D0BFBD.0227A0A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41" y="1318136"/>
            <a:ext cx="3264209" cy="1162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2188684" y="3023047"/>
            <a:ext cx="1681551" cy="176074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de-DE" sz="1050" b="1" dirty="0" err="1"/>
              <a:t>Sales</a:t>
            </a:r>
            <a:r>
              <a:rPr lang="de-DE" sz="1050" b="1" dirty="0"/>
              <a:t> </a:t>
            </a:r>
            <a:r>
              <a:rPr lang="de-DE" sz="1050" b="1" dirty="0" err="1"/>
              <a:t>by</a:t>
            </a:r>
            <a:r>
              <a:rPr lang="de-DE" sz="1050" b="1" dirty="0"/>
              <a:t> </a:t>
            </a:r>
            <a:r>
              <a:rPr lang="de-DE" sz="1050" b="1" dirty="0" err="1"/>
              <a:t>region</a:t>
            </a:r>
            <a:r>
              <a:rPr lang="de-DE" sz="1050" b="1" dirty="0"/>
              <a:t> (at-</a:t>
            </a:r>
            <a:r>
              <a:rPr lang="de-DE" sz="1050" b="1" dirty="0" err="1"/>
              <a:t>equity</a:t>
            </a:r>
            <a:r>
              <a:rPr lang="de-DE" sz="1050" b="1" dirty="0"/>
              <a:t>)</a:t>
            </a:r>
            <a:endParaRPr lang="en-US" sz="1050" b="1" dirty="0" err="1"/>
          </a:p>
        </p:txBody>
      </p:sp>
      <p:pic>
        <p:nvPicPr>
          <p:cNvPr id="361496" name="Picture 24" descr="C:\Users\maxkley\AppData\Local\Microsoft\Windows\Temporary Internet Files\Content.Outlook\O4AKE2X4\_AP21552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45" r="7908"/>
          <a:stretch/>
        </p:blipFill>
        <p:spPr bwMode="auto">
          <a:xfrm>
            <a:off x="5622587" y="2969883"/>
            <a:ext cx="3234050" cy="315909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5518" y="3043163"/>
            <a:ext cx="5127882" cy="3009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0934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39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1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Prof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28624" y="1688768"/>
            <a:ext cx="8315325" cy="628650"/>
          </a:xfrm>
          <a:prstGeom prst="rect">
            <a:avLst/>
          </a:prstGeom>
          <a:solidFill>
            <a:srgbClr val="0063B0">
              <a:lumMod val="7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72000" rIns="288000" bIns="72000" anchor="ctr"/>
          <a:lstStyle/>
          <a:p>
            <a:pPr marL="287020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25913" algn="l"/>
              </a:tabLst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Sales*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: 	</a:t>
            </a: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US$ 230 M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  <a:p>
            <a:pPr marL="287020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125913" algn="l"/>
              </a:tabLst>
              <a:defRPr/>
            </a:pPr>
            <a:r>
              <a:rPr lang="en-US" sz="1200" b="1" kern="0" dirty="0">
                <a:solidFill>
                  <a:srgbClr val="FFFFFF"/>
                </a:solidFill>
                <a:latin typeface="Arial"/>
              </a:rPr>
              <a:t>Employees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:	1.500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439737" y="2446006"/>
            <a:ext cx="2608262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Specialty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 Component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270249" y="2438068"/>
            <a:ext cx="2609850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Minimally</a:t>
            </a:r>
            <a:r>
              <a:rPr kumimoji="0" lang="en-US" sz="1200" b="1" i="0" u="none" strike="noStrike" kern="0" cap="none" spc="0" normalizeH="0" noProof="0" dirty="0">
                <a:ln>
                  <a:noFill/>
                </a:ln>
                <a:solidFill>
                  <a:srgbClr val="0063B0">
                    <a:lumMod val="50000"/>
                  </a:srgbClr>
                </a:solidFill>
                <a:effectLst/>
                <a:uLnTx/>
                <a:uFillTx/>
                <a:latin typeface="Arial"/>
              </a:rPr>
              <a:t> Invasive Solution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6113462" y="2431718"/>
            <a:ext cx="2609850" cy="3416300"/>
          </a:xfrm>
          <a:prstGeom prst="rect">
            <a:avLst/>
          </a:prstGeom>
          <a:solidFill>
            <a:srgbClr val="FFFFFF">
              <a:lumMod val="85000"/>
            </a:srgbClr>
          </a:solidFill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144000" rIns="216000" bIns="7200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solidFill>
                  <a:srgbClr val="0063B0">
                    <a:lumMod val="50000"/>
                  </a:srgbClr>
                </a:solidFill>
                <a:latin typeface="Arial"/>
              </a:rPr>
              <a:t>ENT Systems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63B0">
                  <a:lumMod val="50000"/>
                </a:srgb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439737" y="1010906"/>
            <a:ext cx="8283575" cy="628650"/>
          </a:xfrm>
          <a:prstGeom prst="rect">
            <a:avLst/>
          </a:prstGeom>
          <a:solidFill>
            <a:srgbClr val="FFFFFF"/>
          </a:solidFill>
          <a:ln>
            <a:solidFill>
              <a:srgbClr val="000000">
                <a:lumMod val="50000"/>
                <a:lumOff val="50000"/>
              </a:srgb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txBody>
          <a:bodyPr lIns="216000" tIns="72000" rIns="288000" bIns="72000" anchor="ctr"/>
          <a:lstStyle/>
          <a:p>
            <a:pPr marL="2509838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2" name="Group 5"/>
          <p:cNvGrpSpPr>
            <a:grpSpLocks/>
          </p:cNvGrpSpPr>
          <p:nvPr/>
        </p:nvGrpSpPr>
        <p:grpSpPr bwMode="auto">
          <a:xfrm>
            <a:off x="7295290" y="4820619"/>
            <a:ext cx="1337945" cy="909924"/>
            <a:chOff x="928" y="2206"/>
            <a:chExt cx="1758" cy="1316"/>
          </a:xfrm>
        </p:grpSpPr>
        <p:pic>
          <p:nvPicPr>
            <p:cNvPr id="43" name="Picture 6" descr="05_Clinician Placed Prostheses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" y="2206"/>
              <a:ext cx="1758" cy="1316"/>
            </a:xfrm>
            <a:prstGeom prst="rect">
              <a:avLst/>
            </a:prstGeom>
            <a:noFill/>
            <a:ln w="9525" algn="ctr">
              <a:solidFill>
                <a:srgbClr val="99CC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Oval 7"/>
            <p:cNvSpPr>
              <a:spLocks noChangeArrowheads="1"/>
            </p:cNvSpPr>
            <p:nvPr/>
          </p:nvSpPr>
          <p:spPr bwMode="auto">
            <a:xfrm>
              <a:off x="1593" y="2849"/>
              <a:ext cx="228" cy="135"/>
            </a:xfrm>
            <a:prstGeom prst="ellipse">
              <a:avLst/>
            </a:prstGeom>
            <a:noFill/>
            <a:ln w="38100" algn="ctr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91431" tIns="45715" rIns="91431" bIns="45715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3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8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45" name="Picture 18" descr="InHealth Logo_color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94086" y="2861273"/>
            <a:ext cx="1448601" cy="33877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6" name="Picture 5" descr="VistaMed_logo_3015.jp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64271" y="3317075"/>
            <a:ext cx="1178902" cy="40222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</p:pic>
      <p:pic>
        <p:nvPicPr>
          <p:cNvPr id="48" name="Picture 4" descr="_MG_5577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0" r="5095"/>
          <a:stretch/>
        </p:blipFill>
        <p:spPr bwMode="auto">
          <a:xfrm>
            <a:off x="3714859" y="4820619"/>
            <a:ext cx="1677726" cy="909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216024" y="3307836"/>
            <a:ext cx="1055687" cy="420093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385127" y="3823528"/>
            <a:ext cx="721994" cy="444633"/>
          </a:xfrm>
          <a:prstGeom prst="rect">
            <a:avLst/>
          </a:prstGeom>
          <a:noFill/>
          <a:ln w="6350">
            <a:solidFill>
              <a:srgbClr val="FFFFFF">
                <a:lumMod val="65000"/>
              </a:srgb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2" name="Picture 7" descr="http://img0069.popscreencdn.com/117293961_amazoncom-helixmark-silicone-sanitary-clamp-gaskets-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8" t="13708" r="6892" b="14478"/>
          <a:stretch>
            <a:fillRect/>
          </a:stretch>
        </p:blipFill>
        <p:spPr bwMode="auto">
          <a:xfrm>
            <a:off x="1185929" y="4823793"/>
            <a:ext cx="1117600" cy="90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0351" y="1175807"/>
            <a:ext cx="1838196" cy="298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uppieren 2"/>
          <p:cNvGrpSpPr/>
          <p:nvPr/>
        </p:nvGrpSpPr>
        <p:grpSpPr>
          <a:xfrm>
            <a:off x="835499" y="2857116"/>
            <a:ext cx="1827850" cy="346123"/>
            <a:chOff x="4482158" y="628333"/>
            <a:chExt cx="2014336" cy="404352"/>
          </a:xfrm>
          <a:effectLst/>
        </p:grpSpPr>
        <p:sp>
          <p:nvSpPr>
            <p:cNvPr id="2" name="Rechteck 1"/>
            <p:cNvSpPr/>
            <p:nvPr/>
          </p:nvSpPr>
          <p:spPr>
            <a:xfrm>
              <a:off x="4482158" y="628333"/>
              <a:ext cx="2014336" cy="4043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4" name="Picture 235" descr="\\Ds.intern\filestore\Location\Kaiserslautern (KLT)\100_Marketing\Projekte\Projekt Faust\neues Logo\FREU_Logo_Sinus_RGB_medi_RZ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7759" y="681498"/>
              <a:ext cx="1838196" cy="29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uppieren 26"/>
          <p:cNvGrpSpPr/>
          <p:nvPr/>
        </p:nvGrpSpPr>
        <p:grpSpPr>
          <a:xfrm>
            <a:off x="3649297" y="2867128"/>
            <a:ext cx="1827850" cy="346123"/>
            <a:chOff x="4482158" y="628333"/>
            <a:chExt cx="2014336" cy="404352"/>
          </a:xfrm>
          <a:effectLst/>
        </p:grpSpPr>
        <p:sp>
          <p:nvSpPr>
            <p:cNvPr id="28" name="Rechteck 27"/>
            <p:cNvSpPr/>
            <p:nvPr/>
          </p:nvSpPr>
          <p:spPr>
            <a:xfrm>
              <a:off x="4482158" y="628333"/>
              <a:ext cx="2014336" cy="4043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Picture 235" descr="\\Ds.intern\filestore\Location\Kaiserslautern (KLT)\100_Marketing\Projekte\Projekt Faust\neues Logo\FREU_Logo_Sinus_RGB_medi_RZ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7759" y="681498"/>
              <a:ext cx="1838196" cy="29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07765" y="4355037"/>
            <a:ext cx="1294743" cy="3614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5" name="TextBox 4"/>
          <p:cNvSpPr txBox="1"/>
          <p:nvPr/>
        </p:nvSpPr>
        <p:spPr>
          <a:xfrm>
            <a:off x="439737" y="5899595"/>
            <a:ext cx="1352934" cy="17607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1050" dirty="0"/>
              <a:t>* Combined 2016 Plan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6358" y="3307835"/>
            <a:ext cx="1441152" cy="18368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429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825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4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588" indent="11113">
              <a:lnSpc>
                <a:spcPct val="120000"/>
              </a:lnSpc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Globale</a:t>
            </a:r>
            <a:r>
              <a:rPr lang="en-US" altLang="en-US" kern="0" dirty="0"/>
              <a:t> </a:t>
            </a:r>
            <a:r>
              <a:rPr lang="en-US" altLang="en-US" kern="0" dirty="0" err="1"/>
              <a:t>Standort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BFE5862-C1EE-4896-9305-9A845B427B66}" type="datetime1">
              <a:rPr lang="en-US">
                <a:solidFill>
                  <a:srgbClr val="000000"/>
                </a:solidFill>
              </a:rPr>
              <a:pPr/>
              <a:t>3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Page </a:t>
            </a:r>
            <a:fld id="{CDF7CB8E-0C0F-4AA4-8EC3-057F9A13ED4A}" type="slidenum">
              <a:rPr lang="en-US">
                <a:solidFill>
                  <a:srgbClr val="000000"/>
                </a:solidFill>
              </a:rPr>
              <a:pPr/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645" name="Group 745"/>
          <p:cNvGrpSpPr>
            <a:grpSpLocks/>
          </p:cNvGrpSpPr>
          <p:nvPr/>
        </p:nvGrpSpPr>
        <p:grpSpPr bwMode="auto">
          <a:xfrm>
            <a:off x="1136300" y="1774528"/>
            <a:ext cx="6958368" cy="4142924"/>
            <a:chOff x="786" y="509"/>
            <a:chExt cx="4375" cy="2635"/>
          </a:xfrm>
          <a:solidFill>
            <a:srgbClr val="087AC8"/>
          </a:solidFill>
        </p:grpSpPr>
        <p:sp>
          <p:nvSpPr>
            <p:cNvPr id="646" name="Freeform 746"/>
            <p:cNvSpPr>
              <a:spLocks/>
            </p:cNvSpPr>
            <p:nvPr/>
          </p:nvSpPr>
          <p:spPr bwMode="auto">
            <a:xfrm>
              <a:off x="1984" y="2501"/>
              <a:ext cx="258" cy="634"/>
            </a:xfrm>
            <a:custGeom>
              <a:avLst/>
              <a:gdLst>
                <a:gd name="T0" fmla="*/ 99 w 320"/>
                <a:gd name="T1" fmla="*/ 33 h 785"/>
                <a:gd name="T2" fmla="*/ 93 w 320"/>
                <a:gd name="T3" fmla="*/ 46 h 785"/>
                <a:gd name="T4" fmla="*/ 82 w 320"/>
                <a:gd name="T5" fmla="*/ 70 h 785"/>
                <a:gd name="T6" fmla="*/ 61 w 320"/>
                <a:gd name="T7" fmla="*/ 110 h 785"/>
                <a:gd name="T8" fmla="*/ 57 w 320"/>
                <a:gd name="T9" fmla="*/ 141 h 785"/>
                <a:gd name="T10" fmla="*/ 53 w 320"/>
                <a:gd name="T11" fmla="*/ 282 h 785"/>
                <a:gd name="T12" fmla="*/ 35 w 320"/>
                <a:gd name="T13" fmla="*/ 312 h 785"/>
                <a:gd name="T14" fmla="*/ 28 w 320"/>
                <a:gd name="T15" fmla="*/ 367 h 785"/>
                <a:gd name="T16" fmla="*/ 25 w 320"/>
                <a:gd name="T17" fmla="*/ 400 h 785"/>
                <a:gd name="T18" fmla="*/ 25 w 320"/>
                <a:gd name="T19" fmla="*/ 440 h 785"/>
                <a:gd name="T20" fmla="*/ 22 w 320"/>
                <a:gd name="T21" fmla="*/ 451 h 785"/>
                <a:gd name="T22" fmla="*/ 25 w 320"/>
                <a:gd name="T23" fmla="*/ 458 h 785"/>
                <a:gd name="T24" fmla="*/ 27 w 320"/>
                <a:gd name="T25" fmla="*/ 472 h 785"/>
                <a:gd name="T26" fmla="*/ 25 w 320"/>
                <a:gd name="T27" fmla="*/ 509 h 785"/>
                <a:gd name="T28" fmla="*/ 9 w 320"/>
                <a:gd name="T29" fmla="*/ 525 h 785"/>
                <a:gd name="T30" fmla="*/ 3 w 320"/>
                <a:gd name="T31" fmla="*/ 590 h 785"/>
                <a:gd name="T32" fmla="*/ 0 w 320"/>
                <a:gd name="T33" fmla="*/ 637 h 785"/>
                <a:gd name="T34" fmla="*/ 64 w 320"/>
                <a:gd name="T35" fmla="*/ 677 h 785"/>
                <a:gd name="T36" fmla="*/ 66 w 320"/>
                <a:gd name="T37" fmla="*/ 697 h 785"/>
                <a:gd name="T38" fmla="*/ 141 w 320"/>
                <a:gd name="T39" fmla="*/ 771 h 785"/>
                <a:gd name="T40" fmla="*/ 101 w 320"/>
                <a:gd name="T41" fmla="*/ 732 h 785"/>
                <a:gd name="T42" fmla="*/ 75 w 320"/>
                <a:gd name="T43" fmla="*/ 707 h 785"/>
                <a:gd name="T44" fmla="*/ 65 w 320"/>
                <a:gd name="T45" fmla="*/ 660 h 785"/>
                <a:gd name="T46" fmla="*/ 72 w 320"/>
                <a:gd name="T47" fmla="*/ 627 h 785"/>
                <a:gd name="T48" fmla="*/ 102 w 320"/>
                <a:gd name="T49" fmla="*/ 594 h 785"/>
                <a:gd name="T50" fmla="*/ 115 w 320"/>
                <a:gd name="T51" fmla="*/ 573 h 785"/>
                <a:gd name="T52" fmla="*/ 109 w 320"/>
                <a:gd name="T53" fmla="*/ 546 h 785"/>
                <a:gd name="T54" fmla="*/ 90 w 320"/>
                <a:gd name="T55" fmla="*/ 529 h 785"/>
                <a:gd name="T56" fmla="*/ 98 w 320"/>
                <a:gd name="T57" fmla="*/ 503 h 785"/>
                <a:gd name="T58" fmla="*/ 134 w 320"/>
                <a:gd name="T59" fmla="*/ 454 h 785"/>
                <a:gd name="T60" fmla="*/ 132 w 320"/>
                <a:gd name="T61" fmla="*/ 411 h 785"/>
                <a:gd name="T62" fmla="*/ 141 w 320"/>
                <a:gd name="T63" fmla="*/ 395 h 785"/>
                <a:gd name="T64" fmla="*/ 175 w 320"/>
                <a:gd name="T65" fmla="*/ 360 h 785"/>
                <a:gd name="T66" fmla="*/ 200 w 320"/>
                <a:gd name="T67" fmla="*/ 349 h 785"/>
                <a:gd name="T68" fmla="*/ 244 w 320"/>
                <a:gd name="T69" fmla="*/ 341 h 785"/>
                <a:gd name="T70" fmla="*/ 262 w 320"/>
                <a:gd name="T71" fmla="*/ 308 h 785"/>
                <a:gd name="T72" fmla="*/ 255 w 320"/>
                <a:gd name="T73" fmla="*/ 277 h 785"/>
                <a:gd name="T74" fmla="*/ 241 w 320"/>
                <a:gd name="T75" fmla="*/ 242 h 785"/>
                <a:gd name="T76" fmla="*/ 238 w 320"/>
                <a:gd name="T77" fmla="*/ 216 h 785"/>
                <a:gd name="T78" fmla="*/ 255 w 320"/>
                <a:gd name="T79" fmla="*/ 158 h 785"/>
                <a:gd name="T80" fmla="*/ 271 w 320"/>
                <a:gd name="T81" fmla="*/ 134 h 785"/>
                <a:gd name="T82" fmla="*/ 299 w 320"/>
                <a:gd name="T83" fmla="*/ 110 h 785"/>
                <a:gd name="T84" fmla="*/ 320 w 320"/>
                <a:gd name="T85" fmla="*/ 83 h 785"/>
                <a:gd name="T86" fmla="*/ 311 w 320"/>
                <a:gd name="T87" fmla="*/ 72 h 785"/>
                <a:gd name="T88" fmla="*/ 309 w 320"/>
                <a:gd name="T89" fmla="*/ 68 h 785"/>
                <a:gd name="T90" fmla="*/ 299 w 320"/>
                <a:gd name="T91" fmla="*/ 76 h 785"/>
                <a:gd name="T92" fmla="*/ 296 w 320"/>
                <a:gd name="T93" fmla="*/ 90 h 785"/>
                <a:gd name="T94" fmla="*/ 293 w 320"/>
                <a:gd name="T95" fmla="*/ 105 h 785"/>
                <a:gd name="T96" fmla="*/ 185 w 320"/>
                <a:gd name="T97" fmla="*/ 25 h 785"/>
                <a:gd name="T98" fmla="*/ 172 w 320"/>
                <a:gd name="T99" fmla="*/ 18 h 785"/>
                <a:gd name="T100" fmla="*/ 172 w 320"/>
                <a:gd name="T101" fmla="*/ 11 h 785"/>
                <a:gd name="T102" fmla="*/ 171 w 320"/>
                <a:gd name="T103" fmla="*/ 6 h 785"/>
                <a:gd name="T104" fmla="*/ 156 w 320"/>
                <a:gd name="T105" fmla="*/ 3 h 785"/>
                <a:gd name="T106" fmla="*/ 141 w 320"/>
                <a:gd name="T107" fmla="*/ 9 h 785"/>
                <a:gd name="T108" fmla="*/ 112 w 320"/>
                <a:gd name="T109" fmla="*/ 3 h 785"/>
                <a:gd name="T110" fmla="*/ 98 w 320"/>
                <a:gd name="T111" fmla="*/ 21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20" h="785">
                  <a:moveTo>
                    <a:pt x="98" y="21"/>
                  </a:moveTo>
                  <a:lnTo>
                    <a:pt x="98" y="21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99" y="29"/>
                  </a:lnTo>
                  <a:lnTo>
                    <a:pt x="99" y="33"/>
                  </a:lnTo>
                  <a:lnTo>
                    <a:pt x="98" y="36"/>
                  </a:lnTo>
                  <a:lnTo>
                    <a:pt x="98" y="40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5" y="44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88" y="51"/>
                  </a:lnTo>
                  <a:lnTo>
                    <a:pt x="86" y="55"/>
                  </a:lnTo>
                  <a:lnTo>
                    <a:pt x="84" y="61"/>
                  </a:lnTo>
                  <a:lnTo>
                    <a:pt x="83" y="69"/>
                  </a:lnTo>
                  <a:lnTo>
                    <a:pt x="82" y="70"/>
                  </a:lnTo>
                  <a:lnTo>
                    <a:pt x="79" y="75"/>
                  </a:lnTo>
                  <a:lnTo>
                    <a:pt x="76" y="80"/>
                  </a:lnTo>
                  <a:lnTo>
                    <a:pt x="72" y="88"/>
                  </a:lnTo>
                  <a:lnTo>
                    <a:pt x="68" y="95"/>
                  </a:lnTo>
                  <a:lnTo>
                    <a:pt x="64" y="103"/>
                  </a:lnTo>
                  <a:lnTo>
                    <a:pt x="61" y="110"/>
                  </a:lnTo>
                  <a:lnTo>
                    <a:pt x="60" y="114"/>
                  </a:lnTo>
                  <a:lnTo>
                    <a:pt x="60" y="119"/>
                  </a:lnTo>
                  <a:lnTo>
                    <a:pt x="58" y="123"/>
                  </a:lnTo>
                  <a:lnTo>
                    <a:pt x="58" y="128"/>
                  </a:lnTo>
                  <a:lnTo>
                    <a:pt x="57" y="134"/>
                  </a:lnTo>
                  <a:lnTo>
                    <a:pt x="57" y="141"/>
                  </a:lnTo>
                  <a:lnTo>
                    <a:pt x="57" y="150"/>
                  </a:lnTo>
                  <a:lnTo>
                    <a:pt x="57" y="160"/>
                  </a:lnTo>
                  <a:lnTo>
                    <a:pt x="57" y="172"/>
                  </a:lnTo>
                  <a:lnTo>
                    <a:pt x="55" y="278"/>
                  </a:lnTo>
                  <a:lnTo>
                    <a:pt x="55" y="279"/>
                  </a:lnTo>
                  <a:lnTo>
                    <a:pt x="53" y="282"/>
                  </a:lnTo>
                  <a:lnTo>
                    <a:pt x="49" y="288"/>
                  </a:lnTo>
                  <a:lnTo>
                    <a:pt x="46" y="292"/>
                  </a:lnTo>
                  <a:lnTo>
                    <a:pt x="42" y="297"/>
                  </a:lnTo>
                  <a:lnTo>
                    <a:pt x="38" y="303"/>
                  </a:lnTo>
                  <a:lnTo>
                    <a:pt x="36" y="308"/>
                  </a:lnTo>
                  <a:lnTo>
                    <a:pt x="35" y="312"/>
                  </a:lnTo>
                  <a:lnTo>
                    <a:pt x="31" y="333"/>
                  </a:lnTo>
                  <a:lnTo>
                    <a:pt x="27" y="334"/>
                  </a:lnTo>
                  <a:lnTo>
                    <a:pt x="27" y="338"/>
                  </a:lnTo>
                  <a:lnTo>
                    <a:pt x="31" y="347"/>
                  </a:lnTo>
                  <a:lnTo>
                    <a:pt x="27" y="358"/>
                  </a:lnTo>
                  <a:lnTo>
                    <a:pt x="28" y="367"/>
                  </a:lnTo>
                  <a:lnTo>
                    <a:pt x="27" y="384"/>
                  </a:lnTo>
                  <a:lnTo>
                    <a:pt x="21" y="385"/>
                  </a:lnTo>
                  <a:lnTo>
                    <a:pt x="22" y="395"/>
                  </a:lnTo>
                  <a:lnTo>
                    <a:pt x="25" y="395"/>
                  </a:lnTo>
                  <a:lnTo>
                    <a:pt x="25" y="396"/>
                  </a:lnTo>
                  <a:lnTo>
                    <a:pt x="25" y="400"/>
                  </a:lnTo>
                  <a:lnTo>
                    <a:pt x="25" y="406"/>
                  </a:lnTo>
                  <a:lnTo>
                    <a:pt x="25" y="414"/>
                  </a:lnTo>
                  <a:lnTo>
                    <a:pt x="25" y="421"/>
                  </a:lnTo>
                  <a:lnTo>
                    <a:pt x="25" y="428"/>
                  </a:lnTo>
                  <a:lnTo>
                    <a:pt x="25" y="435"/>
                  </a:lnTo>
                  <a:lnTo>
                    <a:pt x="25" y="440"/>
                  </a:lnTo>
                  <a:lnTo>
                    <a:pt x="24" y="443"/>
                  </a:lnTo>
                  <a:lnTo>
                    <a:pt x="24" y="446"/>
                  </a:lnTo>
                  <a:lnTo>
                    <a:pt x="24" y="447"/>
                  </a:lnTo>
                  <a:lnTo>
                    <a:pt x="22" y="448"/>
                  </a:lnTo>
                  <a:lnTo>
                    <a:pt x="22" y="450"/>
                  </a:lnTo>
                  <a:lnTo>
                    <a:pt x="22" y="451"/>
                  </a:lnTo>
                  <a:lnTo>
                    <a:pt x="22" y="453"/>
                  </a:lnTo>
                  <a:lnTo>
                    <a:pt x="22" y="454"/>
                  </a:lnTo>
                  <a:lnTo>
                    <a:pt x="22" y="455"/>
                  </a:lnTo>
                  <a:lnTo>
                    <a:pt x="24" y="457"/>
                  </a:lnTo>
                  <a:lnTo>
                    <a:pt x="24" y="457"/>
                  </a:lnTo>
                  <a:lnTo>
                    <a:pt x="25" y="458"/>
                  </a:lnTo>
                  <a:lnTo>
                    <a:pt x="25" y="459"/>
                  </a:lnTo>
                  <a:lnTo>
                    <a:pt x="25" y="459"/>
                  </a:lnTo>
                  <a:lnTo>
                    <a:pt x="27" y="461"/>
                  </a:lnTo>
                  <a:lnTo>
                    <a:pt x="27" y="464"/>
                  </a:lnTo>
                  <a:lnTo>
                    <a:pt x="27" y="466"/>
                  </a:lnTo>
                  <a:lnTo>
                    <a:pt x="27" y="472"/>
                  </a:lnTo>
                  <a:lnTo>
                    <a:pt x="28" y="477"/>
                  </a:lnTo>
                  <a:lnTo>
                    <a:pt x="28" y="485"/>
                  </a:lnTo>
                  <a:lnTo>
                    <a:pt x="28" y="492"/>
                  </a:lnTo>
                  <a:lnTo>
                    <a:pt x="28" y="499"/>
                  </a:lnTo>
                  <a:lnTo>
                    <a:pt x="27" y="505"/>
                  </a:lnTo>
                  <a:lnTo>
                    <a:pt x="25" y="509"/>
                  </a:lnTo>
                  <a:lnTo>
                    <a:pt x="24" y="510"/>
                  </a:lnTo>
                  <a:lnTo>
                    <a:pt x="22" y="512"/>
                  </a:lnTo>
                  <a:lnTo>
                    <a:pt x="18" y="514"/>
                  </a:lnTo>
                  <a:lnTo>
                    <a:pt x="16" y="517"/>
                  </a:lnTo>
                  <a:lnTo>
                    <a:pt x="11" y="521"/>
                  </a:lnTo>
                  <a:lnTo>
                    <a:pt x="9" y="525"/>
                  </a:lnTo>
                  <a:lnTo>
                    <a:pt x="6" y="531"/>
                  </a:lnTo>
                  <a:lnTo>
                    <a:pt x="5" y="538"/>
                  </a:lnTo>
                  <a:lnTo>
                    <a:pt x="3" y="546"/>
                  </a:lnTo>
                  <a:lnTo>
                    <a:pt x="3" y="560"/>
                  </a:lnTo>
                  <a:lnTo>
                    <a:pt x="3" y="575"/>
                  </a:lnTo>
                  <a:lnTo>
                    <a:pt x="3" y="590"/>
                  </a:lnTo>
                  <a:lnTo>
                    <a:pt x="3" y="605"/>
                  </a:lnTo>
                  <a:lnTo>
                    <a:pt x="3" y="617"/>
                  </a:lnTo>
                  <a:lnTo>
                    <a:pt x="3" y="627"/>
                  </a:lnTo>
                  <a:lnTo>
                    <a:pt x="3" y="630"/>
                  </a:lnTo>
                  <a:lnTo>
                    <a:pt x="0" y="631"/>
                  </a:lnTo>
                  <a:lnTo>
                    <a:pt x="0" y="637"/>
                  </a:lnTo>
                  <a:lnTo>
                    <a:pt x="3" y="645"/>
                  </a:lnTo>
                  <a:lnTo>
                    <a:pt x="5" y="659"/>
                  </a:lnTo>
                  <a:lnTo>
                    <a:pt x="18" y="674"/>
                  </a:lnTo>
                  <a:lnTo>
                    <a:pt x="64" y="675"/>
                  </a:lnTo>
                  <a:lnTo>
                    <a:pt x="64" y="677"/>
                  </a:lnTo>
                  <a:lnTo>
                    <a:pt x="64" y="677"/>
                  </a:lnTo>
                  <a:lnTo>
                    <a:pt x="65" y="677"/>
                  </a:lnTo>
                  <a:lnTo>
                    <a:pt x="65" y="679"/>
                  </a:lnTo>
                  <a:lnTo>
                    <a:pt x="65" y="682"/>
                  </a:lnTo>
                  <a:lnTo>
                    <a:pt x="66" y="685"/>
                  </a:lnTo>
                  <a:lnTo>
                    <a:pt x="66" y="690"/>
                  </a:lnTo>
                  <a:lnTo>
                    <a:pt x="66" y="697"/>
                  </a:lnTo>
                  <a:lnTo>
                    <a:pt x="66" y="727"/>
                  </a:lnTo>
                  <a:lnTo>
                    <a:pt x="72" y="759"/>
                  </a:lnTo>
                  <a:lnTo>
                    <a:pt x="120" y="760"/>
                  </a:lnTo>
                  <a:lnTo>
                    <a:pt x="137" y="785"/>
                  </a:lnTo>
                  <a:lnTo>
                    <a:pt x="138" y="777"/>
                  </a:lnTo>
                  <a:lnTo>
                    <a:pt x="141" y="771"/>
                  </a:lnTo>
                  <a:lnTo>
                    <a:pt x="141" y="759"/>
                  </a:lnTo>
                  <a:lnTo>
                    <a:pt x="127" y="743"/>
                  </a:lnTo>
                  <a:lnTo>
                    <a:pt x="113" y="730"/>
                  </a:lnTo>
                  <a:lnTo>
                    <a:pt x="112" y="732"/>
                  </a:lnTo>
                  <a:lnTo>
                    <a:pt x="108" y="732"/>
                  </a:lnTo>
                  <a:lnTo>
                    <a:pt x="101" y="732"/>
                  </a:lnTo>
                  <a:lnTo>
                    <a:pt x="93" y="730"/>
                  </a:lnTo>
                  <a:lnTo>
                    <a:pt x="90" y="727"/>
                  </a:lnTo>
                  <a:lnTo>
                    <a:pt x="86" y="723"/>
                  </a:lnTo>
                  <a:lnTo>
                    <a:pt x="82" y="719"/>
                  </a:lnTo>
                  <a:lnTo>
                    <a:pt x="77" y="714"/>
                  </a:lnTo>
                  <a:lnTo>
                    <a:pt x="75" y="707"/>
                  </a:lnTo>
                  <a:lnTo>
                    <a:pt x="72" y="697"/>
                  </a:lnTo>
                  <a:lnTo>
                    <a:pt x="69" y="686"/>
                  </a:lnTo>
                  <a:lnTo>
                    <a:pt x="68" y="674"/>
                  </a:lnTo>
                  <a:lnTo>
                    <a:pt x="68" y="672"/>
                  </a:lnTo>
                  <a:lnTo>
                    <a:pt x="66" y="667"/>
                  </a:lnTo>
                  <a:lnTo>
                    <a:pt x="65" y="660"/>
                  </a:lnTo>
                  <a:lnTo>
                    <a:pt x="64" y="653"/>
                  </a:lnTo>
                  <a:lnTo>
                    <a:pt x="64" y="645"/>
                  </a:lnTo>
                  <a:lnTo>
                    <a:pt x="65" y="637"/>
                  </a:lnTo>
                  <a:lnTo>
                    <a:pt x="66" y="633"/>
                  </a:lnTo>
                  <a:lnTo>
                    <a:pt x="69" y="630"/>
                  </a:lnTo>
                  <a:lnTo>
                    <a:pt x="72" y="627"/>
                  </a:lnTo>
                  <a:lnTo>
                    <a:pt x="75" y="624"/>
                  </a:lnTo>
                  <a:lnTo>
                    <a:pt x="88" y="604"/>
                  </a:lnTo>
                  <a:lnTo>
                    <a:pt x="90" y="602"/>
                  </a:lnTo>
                  <a:lnTo>
                    <a:pt x="93" y="601"/>
                  </a:lnTo>
                  <a:lnTo>
                    <a:pt x="97" y="598"/>
                  </a:lnTo>
                  <a:lnTo>
                    <a:pt x="102" y="594"/>
                  </a:lnTo>
                  <a:lnTo>
                    <a:pt x="106" y="590"/>
                  </a:lnTo>
                  <a:lnTo>
                    <a:pt x="110" y="586"/>
                  </a:lnTo>
                  <a:lnTo>
                    <a:pt x="113" y="582"/>
                  </a:lnTo>
                  <a:lnTo>
                    <a:pt x="113" y="578"/>
                  </a:lnTo>
                  <a:lnTo>
                    <a:pt x="113" y="576"/>
                  </a:lnTo>
                  <a:lnTo>
                    <a:pt x="115" y="573"/>
                  </a:lnTo>
                  <a:lnTo>
                    <a:pt x="115" y="569"/>
                  </a:lnTo>
                  <a:lnTo>
                    <a:pt x="116" y="564"/>
                  </a:lnTo>
                  <a:lnTo>
                    <a:pt x="115" y="558"/>
                  </a:lnTo>
                  <a:lnTo>
                    <a:pt x="115" y="553"/>
                  </a:lnTo>
                  <a:lnTo>
                    <a:pt x="112" y="549"/>
                  </a:lnTo>
                  <a:lnTo>
                    <a:pt x="109" y="546"/>
                  </a:lnTo>
                  <a:lnTo>
                    <a:pt x="105" y="545"/>
                  </a:lnTo>
                  <a:lnTo>
                    <a:pt x="101" y="543"/>
                  </a:lnTo>
                  <a:lnTo>
                    <a:pt x="98" y="540"/>
                  </a:lnTo>
                  <a:lnTo>
                    <a:pt x="94" y="538"/>
                  </a:lnTo>
                  <a:lnTo>
                    <a:pt x="93" y="534"/>
                  </a:lnTo>
                  <a:lnTo>
                    <a:pt x="90" y="529"/>
                  </a:lnTo>
                  <a:lnTo>
                    <a:pt x="88" y="524"/>
                  </a:lnTo>
                  <a:lnTo>
                    <a:pt x="88" y="518"/>
                  </a:lnTo>
                  <a:lnTo>
                    <a:pt x="90" y="512"/>
                  </a:lnTo>
                  <a:lnTo>
                    <a:pt x="91" y="507"/>
                  </a:lnTo>
                  <a:lnTo>
                    <a:pt x="94" y="505"/>
                  </a:lnTo>
                  <a:lnTo>
                    <a:pt x="98" y="503"/>
                  </a:lnTo>
                  <a:lnTo>
                    <a:pt x="101" y="503"/>
                  </a:lnTo>
                  <a:lnTo>
                    <a:pt x="104" y="503"/>
                  </a:lnTo>
                  <a:lnTo>
                    <a:pt x="105" y="503"/>
                  </a:lnTo>
                  <a:lnTo>
                    <a:pt x="106" y="503"/>
                  </a:lnTo>
                  <a:lnTo>
                    <a:pt x="124" y="477"/>
                  </a:lnTo>
                  <a:lnTo>
                    <a:pt x="134" y="454"/>
                  </a:lnTo>
                  <a:lnTo>
                    <a:pt x="134" y="440"/>
                  </a:lnTo>
                  <a:lnTo>
                    <a:pt x="148" y="437"/>
                  </a:lnTo>
                  <a:lnTo>
                    <a:pt x="148" y="421"/>
                  </a:lnTo>
                  <a:lnTo>
                    <a:pt x="134" y="414"/>
                  </a:lnTo>
                  <a:lnTo>
                    <a:pt x="134" y="413"/>
                  </a:lnTo>
                  <a:lnTo>
                    <a:pt x="132" y="411"/>
                  </a:lnTo>
                  <a:lnTo>
                    <a:pt x="132" y="407"/>
                  </a:lnTo>
                  <a:lnTo>
                    <a:pt x="132" y="404"/>
                  </a:lnTo>
                  <a:lnTo>
                    <a:pt x="132" y="400"/>
                  </a:lnTo>
                  <a:lnTo>
                    <a:pt x="134" y="398"/>
                  </a:lnTo>
                  <a:lnTo>
                    <a:pt x="137" y="395"/>
                  </a:lnTo>
                  <a:lnTo>
                    <a:pt x="141" y="395"/>
                  </a:lnTo>
                  <a:lnTo>
                    <a:pt x="165" y="398"/>
                  </a:lnTo>
                  <a:lnTo>
                    <a:pt x="170" y="371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72" y="365"/>
                  </a:lnTo>
                  <a:lnTo>
                    <a:pt x="175" y="360"/>
                  </a:lnTo>
                  <a:lnTo>
                    <a:pt x="178" y="355"/>
                  </a:lnTo>
                  <a:lnTo>
                    <a:pt x="181" y="352"/>
                  </a:lnTo>
                  <a:lnTo>
                    <a:pt x="185" y="349"/>
                  </a:lnTo>
                  <a:lnTo>
                    <a:pt x="190" y="348"/>
                  </a:lnTo>
                  <a:lnTo>
                    <a:pt x="193" y="348"/>
                  </a:lnTo>
                  <a:lnTo>
                    <a:pt x="200" y="349"/>
                  </a:lnTo>
                  <a:lnTo>
                    <a:pt x="209" y="351"/>
                  </a:lnTo>
                  <a:lnTo>
                    <a:pt x="220" y="349"/>
                  </a:lnTo>
                  <a:lnTo>
                    <a:pt x="226" y="349"/>
                  </a:lnTo>
                  <a:lnTo>
                    <a:pt x="232" y="347"/>
                  </a:lnTo>
                  <a:lnTo>
                    <a:pt x="238" y="344"/>
                  </a:lnTo>
                  <a:lnTo>
                    <a:pt x="244" y="341"/>
                  </a:lnTo>
                  <a:lnTo>
                    <a:pt x="249" y="336"/>
                  </a:lnTo>
                  <a:lnTo>
                    <a:pt x="254" y="330"/>
                  </a:lnTo>
                  <a:lnTo>
                    <a:pt x="258" y="323"/>
                  </a:lnTo>
                  <a:lnTo>
                    <a:pt x="262" y="315"/>
                  </a:lnTo>
                  <a:lnTo>
                    <a:pt x="262" y="312"/>
                  </a:lnTo>
                  <a:lnTo>
                    <a:pt x="262" y="308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0" y="296"/>
                  </a:lnTo>
                  <a:lnTo>
                    <a:pt x="259" y="290"/>
                  </a:lnTo>
                  <a:lnTo>
                    <a:pt x="258" y="283"/>
                  </a:lnTo>
                  <a:lnTo>
                    <a:pt x="255" y="277"/>
                  </a:lnTo>
                  <a:lnTo>
                    <a:pt x="248" y="259"/>
                  </a:lnTo>
                  <a:lnTo>
                    <a:pt x="247" y="257"/>
                  </a:lnTo>
                  <a:lnTo>
                    <a:pt x="245" y="255"/>
                  </a:lnTo>
                  <a:lnTo>
                    <a:pt x="244" y="250"/>
                  </a:lnTo>
                  <a:lnTo>
                    <a:pt x="243" y="246"/>
                  </a:lnTo>
                  <a:lnTo>
                    <a:pt x="241" y="242"/>
                  </a:lnTo>
                  <a:lnTo>
                    <a:pt x="240" y="237"/>
                  </a:lnTo>
                  <a:lnTo>
                    <a:pt x="240" y="233"/>
                  </a:lnTo>
                  <a:lnTo>
                    <a:pt x="241" y="230"/>
                  </a:lnTo>
                  <a:lnTo>
                    <a:pt x="240" y="228"/>
                  </a:lnTo>
                  <a:lnTo>
                    <a:pt x="240" y="223"/>
                  </a:lnTo>
                  <a:lnTo>
                    <a:pt x="238" y="216"/>
                  </a:lnTo>
                  <a:lnTo>
                    <a:pt x="238" y="206"/>
                  </a:lnTo>
                  <a:lnTo>
                    <a:pt x="237" y="198"/>
                  </a:lnTo>
                  <a:lnTo>
                    <a:pt x="238" y="190"/>
                  </a:lnTo>
                  <a:lnTo>
                    <a:pt x="238" y="183"/>
                  </a:lnTo>
                  <a:lnTo>
                    <a:pt x="241" y="180"/>
                  </a:lnTo>
                  <a:lnTo>
                    <a:pt x="255" y="158"/>
                  </a:lnTo>
                  <a:lnTo>
                    <a:pt x="255" y="157"/>
                  </a:lnTo>
                  <a:lnTo>
                    <a:pt x="256" y="153"/>
                  </a:lnTo>
                  <a:lnTo>
                    <a:pt x="259" y="147"/>
                  </a:lnTo>
                  <a:lnTo>
                    <a:pt x="263" y="142"/>
                  </a:lnTo>
                  <a:lnTo>
                    <a:pt x="269" y="138"/>
                  </a:lnTo>
                  <a:lnTo>
                    <a:pt x="271" y="134"/>
                  </a:lnTo>
                  <a:lnTo>
                    <a:pt x="274" y="131"/>
                  </a:lnTo>
                  <a:lnTo>
                    <a:pt x="276" y="130"/>
                  </a:lnTo>
                  <a:lnTo>
                    <a:pt x="280" y="127"/>
                  </a:lnTo>
                  <a:lnTo>
                    <a:pt x="285" y="121"/>
                  </a:lnTo>
                  <a:lnTo>
                    <a:pt x="292" y="117"/>
                  </a:lnTo>
                  <a:lnTo>
                    <a:pt x="299" y="110"/>
                  </a:lnTo>
                  <a:lnTo>
                    <a:pt x="304" y="105"/>
                  </a:lnTo>
                  <a:lnTo>
                    <a:pt x="310" y="101"/>
                  </a:lnTo>
                  <a:lnTo>
                    <a:pt x="314" y="98"/>
                  </a:lnTo>
                  <a:lnTo>
                    <a:pt x="314" y="97"/>
                  </a:lnTo>
                  <a:lnTo>
                    <a:pt x="318" y="88"/>
                  </a:lnTo>
                  <a:lnTo>
                    <a:pt x="320" y="83"/>
                  </a:lnTo>
                  <a:lnTo>
                    <a:pt x="320" y="79"/>
                  </a:lnTo>
                  <a:lnTo>
                    <a:pt x="318" y="76"/>
                  </a:lnTo>
                  <a:lnTo>
                    <a:pt x="315" y="73"/>
                  </a:lnTo>
                  <a:lnTo>
                    <a:pt x="314" y="72"/>
                  </a:lnTo>
                  <a:lnTo>
                    <a:pt x="313" y="72"/>
                  </a:lnTo>
                  <a:lnTo>
                    <a:pt x="311" y="72"/>
                  </a:lnTo>
                  <a:lnTo>
                    <a:pt x="310" y="72"/>
                  </a:lnTo>
                  <a:lnTo>
                    <a:pt x="309" y="70"/>
                  </a:lnTo>
                  <a:lnTo>
                    <a:pt x="309" y="69"/>
                  </a:lnTo>
                  <a:lnTo>
                    <a:pt x="309" y="69"/>
                  </a:lnTo>
                  <a:lnTo>
                    <a:pt x="309" y="68"/>
                  </a:lnTo>
                  <a:lnTo>
                    <a:pt x="309" y="68"/>
                  </a:lnTo>
                  <a:lnTo>
                    <a:pt x="309" y="66"/>
                  </a:lnTo>
                  <a:lnTo>
                    <a:pt x="309" y="66"/>
                  </a:lnTo>
                  <a:lnTo>
                    <a:pt x="302" y="69"/>
                  </a:lnTo>
                  <a:lnTo>
                    <a:pt x="300" y="70"/>
                  </a:lnTo>
                  <a:lnTo>
                    <a:pt x="300" y="73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6"/>
                  </a:lnTo>
                  <a:lnTo>
                    <a:pt x="299" y="87"/>
                  </a:lnTo>
                  <a:lnTo>
                    <a:pt x="299" y="87"/>
                  </a:lnTo>
                  <a:lnTo>
                    <a:pt x="296" y="90"/>
                  </a:lnTo>
                  <a:lnTo>
                    <a:pt x="295" y="92"/>
                  </a:lnTo>
                  <a:lnTo>
                    <a:pt x="295" y="95"/>
                  </a:lnTo>
                  <a:lnTo>
                    <a:pt x="293" y="98"/>
                  </a:lnTo>
                  <a:lnTo>
                    <a:pt x="293" y="101"/>
                  </a:lnTo>
                  <a:lnTo>
                    <a:pt x="293" y="103"/>
                  </a:lnTo>
                  <a:lnTo>
                    <a:pt x="293" y="105"/>
                  </a:lnTo>
                  <a:lnTo>
                    <a:pt x="293" y="105"/>
                  </a:lnTo>
                  <a:lnTo>
                    <a:pt x="233" y="103"/>
                  </a:lnTo>
                  <a:lnTo>
                    <a:pt x="252" y="62"/>
                  </a:lnTo>
                  <a:lnTo>
                    <a:pt x="209" y="42"/>
                  </a:lnTo>
                  <a:lnTo>
                    <a:pt x="203" y="32"/>
                  </a:lnTo>
                  <a:lnTo>
                    <a:pt x="185" y="25"/>
                  </a:lnTo>
                  <a:lnTo>
                    <a:pt x="182" y="24"/>
                  </a:lnTo>
                  <a:lnTo>
                    <a:pt x="179" y="22"/>
                  </a:lnTo>
                  <a:lnTo>
                    <a:pt x="176" y="21"/>
                  </a:lnTo>
                  <a:lnTo>
                    <a:pt x="175" y="20"/>
                  </a:lnTo>
                  <a:lnTo>
                    <a:pt x="174" y="20"/>
                  </a:lnTo>
                  <a:lnTo>
                    <a:pt x="172" y="18"/>
                  </a:lnTo>
                  <a:lnTo>
                    <a:pt x="172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71" y="14"/>
                  </a:lnTo>
                  <a:lnTo>
                    <a:pt x="172" y="13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2" y="9"/>
                  </a:lnTo>
                  <a:lnTo>
                    <a:pt x="172" y="7"/>
                  </a:lnTo>
                  <a:lnTo>
                    <a:pt x="172" y="6"/>
                  </a:lnTo>
                  <a:lnTo>
                    <a:pt x="171" y="6"/>
                  </a:lnTo>
                  <a:lnTo>
                    <a:pt x="168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6" y="3"/>
                  </a:lnTo>
                  <a:lnTo>
                    <a:pt x="142" y="18"/>
                  </a:lnTo>
                  <a:lnTo>
                    <a:pt x="143" y="18"/>
                  </a:lnTo>
                  <a:lnTo>
                    <a:pt x="143" y="17"/>
                  </a:lnTo>
                  <a:lnTo>
                    <a:pt x="143" y="14"/>
                  </a:lnTo>
                  <a:lnTo>
                    <a:pt x="142" y="11"/>
                  </a:lnTo>
                  <a:lnTo>
                    <a:pt x="141" y="9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0" y="3"/>
                  </a:lnTo>
                  <a:lnTo>
                    <a:pt x="113" y="0"/>
                  </a:lnTo>
                  <a:lnTo>
                    <a:pt x="113" y="2"/>
                  </a:lnTo>
                  <a:lnTo>
                    <a:pt x="112" y="3"/>
                  </a:lnTo>
                  <a:lnTo>
                    <a:pt x="112" y="6"/>
                  </a:lnTo>
                  <a:lnTo>
                    <a:pt x="110" y="9"/>
                  </a:lnTo>
                  <a:lnTo>
                    <a:pt x="108" y="11"/>
                  </a:lnTo>
                  <a:lnTo>
                    <a:pt x="105" y="15"/>
                  </a:lnTo>
                  <a:lnTo>
                    <a:pt x="102" y="18"/>
                  </a:lnTo>
                  <a:lnTo>
                    <a:pt x="98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7" name="Freeform 747"/>
            <p:cNvSpPr>
              <a:spLocks/>
            </p:cNvSpPr>
            <p:nvPr/>
          </p:nvSpPr>
          <p:spPr bwMode="auto">
            <a:xfrm>
              <a:off x="1984" y="2501"/>
              <a:ext cx="258" cy="634"/>
            </a:xfrm>
            <a:custGeom>
              <a:avLst/>
              <a:gdLst>
                <a:gd name="T0" fmla="*/ 98 w 320"/>
                <a:gd name="T1" fmla="*/ 36 h 785"/>
                <a:gd name="T2" fmla="*/ 91 w 320"/>
                <a:gd name="T3" fmla="*/ 48 h 785"/>
                <a:gd name="T4" fmla="*/ 79 w 320"/>
                <a:gd name="T5" fmla="*/ 75 h 785"/>
                <a:gd name="T6" fmla="*/ 60 w 320"/>
                <a:gd name="T7" fmla="*/ 114 h 785"/>
                <a:gd name="T8" fmla="*/ 57 w 320"/>
                <a:gd name="T9" fmla="*/ 150 h 785"/>
                <a:gd name="T10" fmla="*/ 49 w 320"/>
                <a:gd name="T11" fmla="*/ 288 h 785"/>
                <a:gd name="T12" fmla="*/ 31 w 320"/>
                <a:gd name="T13" fmla="*/ 333 h 785"/>
                <a:gd name="T14" fmla="*/ 27 w 320"/>
                <a:gd name="T15" fmla="*/ 384 h 785"/>
                <a:gd name="T16" fmla="*/ 25 w 320"/>
                <a:gd name="T17" fmla="*/ 406 h 785"/>
                <a:gd name="T18" fmla="*/ 24 w 320"/>
                <a:gd name="T19" fmla="*/ 443 h 785"/>
                <a:gd name="T20" fmla="*/ 22 w 320"/>
                <a:gd name="T21" fmla="*/ 453 h 785"/>
                <a:gd name="T22" fmla="*/ 27 w 320"/>
                <a:gd name="T23" fmla="*/ 461 h 785"/>
                <a:gd name="T24" fmla="*/ 28 w 320"/>
                <a:gd name="T25" fmla="*/ 492 h 785"/>
                <a:gd name="T26" fmla="*/ 18 w 320"/>
                <a:gd name="T27" fmla="*/ 514 h 785"/>
                <a:gd name="T28" fmla="*/ 3 w 320"/>
                <a:gd name="T29" fmla="*/ 546 h 785"/>
                <a:gd name="T30" fmla="*/ 3 w 320"/>
                <a:gd name="T31" fmla="*/ 627 h 785"/>
                <a:gd name="T32" fmla="*/ 18 w 320"/>
                <a:gd name="T33" fmla="*/ 674 h 785"/>
                <a:gd name="T34" fmla="*/ 66 w 320"/>
                <a:gd name="T35" fmla="*/ 685 h 785"/>
                <a:gd name="T36" fmla="*/ 137 w 320"/>
                <a:gd name="T37" fmla="*/ 785 h 785"/>
                <a:gd name="T38" fmla="*/ 112 w 320"/>
                <a:gd name="T39" fmla="*/ 732 h 785"/>
                <a:gd name="T40" fmla="*/ 82 w 320"/>
                <a:gd name="T41" fmla="*/ 719 h 785"/>
                <a:gd name="T42" fmla="*/ 68 w 320"/>
                <a:gd name="T43" fmla="*/ 672 h 785"/>
                <a:gd name="T44" fmla="*/ 66 w 320"/>
                <a:gd name="T45" fmla="*/ 633 h 785"/>
                <a:gd name="T46" fmla="*/ 93 w 320"/>
                <a:gd name="T47" fmla="*/ 601 h 785"/>
                <a:gd name="T48" fmla="*/ 113 w 320"/>
                <a:gd name="T49" fmla="*/ 578 h 785"/>
                <a:gd name="T50" fmla="*/ 115 w 320"/>
                <a:gd name="T51" fmla="*/ 553 h 785"/>
                <a:gd name="T52" fmla="*/ 94 w 320"/>
                <a:gd name="T53" fmla="*/ 538 h 785"/>
                <a:gd name="T54" fmla="*/ 91 w 320"/>
                <a:gd name="T55" fmla="*/ 507 h 785"/>
                <a:gd name="T56" fmla="*/ 106 w 320"/>
                <a:gd name="T57" fmla="*/ 503 h 785"/>
                <a:gd name="T58" fmla="*/ 134 w 320"/>
                <a:gd name="T59" fmla="*/ 414 h 785"/>
                <a:gd name="T60" fmla="*/ 134 w 320"/>
                <a:gd name="T61" fmla="*/ 398 h 785"/>
                <a:gd name="T62" fmla="*/ 171 w 320"/>
                <a:gd name="T63" fmla="*/ 369 h 785"/>
                <a:gd name="T64" fmla="*/ 190 w 320"/>
                <a:gd name="T65" fmla="*/ 348 h 785"/>
                <a:gd name="T66" fmla="*/ 232 w 320"/>
                <a:gd name="T67" fmla="*/ 347 h 785"/>
                <a:gd name="T68" fmla="*/ 262 w 320"/>
                <a:gd name="T69" fmla="*/ 315 h 785"/>
                <a:gd name="T70" fmla="*/ 259 w 320"/>
                <a:gd name="T71" fmla="*/ 290 h 785"/>
                <a:gd name="T72" fmla="*/ 244 w 320"/>
                <a:gd name="T73" fmla="*/ 250 h 785"/>
                <a:gd name="T74" fmla="*/ 240 w 320"/>
                <a:gd name="T75" fmla="*/ 228 h 785"/>
                <a:gd name="T76" fmla="*/ 238 w 320"/>
                <a:gd name="T77" fmla="*/ 183 h 785"/>
                <a:gd name="T78" fmla="*/ 263 w 320"/>
                <a:gd name="T79" fmla="*/ 142 h 785"/>
                <a:gd name="T80" fmla="*/ 285 w 320"/>
                <a:gd name="T81" fmla="*/ 121 h 785"/>
                <a:gd name="T82" fmla="*/ 314 w 320"/>
                <a:gd name="T83" fmla="*/ 97 h 785"/>
                <a:gd name="T84" fmla="*/ 314 w 320"/>
                <a:gd name="T85" fmla="*/ 72 h 785"/>
                <a:gd name="T86" fmla="*/ 309 w 320"/>
                <a:gd name="T87" fmla="*/ 68 h 785"/>
                <a:gd name="T88" fmla="*/ 299 w 320"/>
                <a:gd name="T89" fmla="*/ 80 h 785"/>
                <a:gd name="T90" fmla="*/ 295 w 320"/>
                <a:gd name="T91" fmla="*/ 95 h 785"/>
                <a:gd name="T92" fmla="*/ 252 w 320"/>
                <a:gd name="T93" fmla="*/ 62 h 785"/>
                <a:gd name="T94" fmla="*/ 176 w 320"/>
                <a:gd name="T95" fmla="*/ 21 h 785"/>
                <a:gd name="T96" fmla="*/ 171 w 320"/>
                <a:gd name="T97" fmla="*/ 15 h 785"/>
                <a:gd name="T98" fmla="*/ 172 w 320"/>
                <a:gd name="T99" fmla="*/ 7 h 785"/>
                <a:gd name="T100" fmla="*/ 160 w 320"/>
                <a:gd name="T101" fmla="*/ 0 h 785"/>
                <a:gd name="T102" fmla="*/ 143 w 320"/>
                <a:gd name="T103" fmla="*/ 14 h 785"/>
                <a:gd name="T104" fmla="*/ 113 w 320"/>
                <a:gd name="T105" fmla="*/ 0 h 785"/>
                <a:gd name="T106" fmla="*/ 105 w 320"/>
                <a:gd name="T107" fmla="*/ 15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785">
                  <a:moveTo>
                    <a:pt x="98" y="21"/>
                  </a:moveTo>
                  <a:lnTo>
                    <a:pt x="98" y="24"/>
                  </a:lnTo>
                  <a:lnTo>
                    <a:pt x="98" y="26"/>
                  </a:lnTo>
                  <a:lnTo>
                    <a:pt x="99" y="29"/>
                  </a:lnTo>
                  <a:lnTo>
                    <a:pt x="99" y="33"/>
                  </a:lnTo>
                  <a:lnTo>
                    <a:pt x="98" y="36"/>
                  </a:lnTo>
                  <a:lnTo>
                    <a:pt x="98" y="40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5" y="44"/>
                  </a:lnTo>
                  <a:lnTo>
                    <a:pt x="93" y="46"/>
                  </a:lnTo>
                  <a:lnTo>
                    <a:pt x="91" y="48"/>
                  </a:lnTo>
                  <a:lnTo>
                    <a:pt x="88" y="51"/>
                  </a:lnTo>
                  <a:lnTo>
                    <a:pt x="86" y="55"/>
                  </a:lnTo>
                  <a:lnTo>
                    <a:pt x="84" y="61"/>
                  </a:lnTo>
                  <a:lnTo>
                    <a:pt x="83" y="69"/>
                  </a:lnTo>
                  <a:lnTo>
                    <a:pt x="82" y="70"/>
                  </a:lnTo>
                  <a:lnTo>
                    <a:pt x="79" y="75"/>
                  </a:lnTo>
                  <a:lnTo>
                    <a:pt x="76" y="80"/>
                  </a:lnTo>
                  <a:lnTo>
                    <a:pt x="72" y="88"/>
                  </a:lnTo>
                  <a:lnTo>
                    <a:pt x="68" y="95"/>
                  </a:lnTo>
                  <a:lnTo>
                    <a:pt x="64" y="103"/>
                  </a:lnTo>
                  <a:lnTo>
                    <a:pt x="61" y="110"/>
                  </a:lnTo>
                  <a:lnTo>
                    <a:pt x="60" y="114"/>
                  </a:lnTo>
                  <a:lnTo>
                    <a:pt x="60" y="119"/>
                  </a:lnTo>
                  <a:lnTo>
                    <a:pt x="58" y="123"/>
                  </a:lnTo>
                  <a:lnTo>
                    <a:pt x="58" y="128"/>
                  </a:lnTo>
                  <a:lnTo>
                    <a:pt x="57" y="134"/>
                  </a:lnTo>
                  <a:lnTo>
                    <a:pt x="57" y="141"/>
                  </a:lnTo>
                  <a:lnTo>
                    <a:pt x="57" y="150"/>
                  </a:lnTo>
                  <a:lnTo>
                    <a:pt x="57" y="160"/>
                  </a:lnTo>
                  <a:lnTo>
                    <a:pt x="57" y="172"/>
                  </a:lnTo>
                  <a:lnTo>
                    <a:pt x="55" y="278"/>
                  </a:lnTo>
                  <a:lnTo>
                    <a:pt x="55" y="279"/>
                  </a:lnTo>
                  <a:lnTo>
                    <a:pt x="53" y="282"/>
                  </a:lnTo>
                  <a:lnTo>
                    <a:pt x="49" y="288"/>
                  </a:lnTo>
                  <a:lnTo>
                    <a:pt x="46" y="292"/>
                  </a:lnTo>
                  <a:lnTo>
                    <a:pt x="42" y="297"/>
                  </a:lnTo>
                  <a:lnTo>
                    <a:pt x="38" y="303"/>
                  </a:lnTo>
                  <a:lnTo>
                    <a:pt x="36" y="308"/>
                  </a:lnTo>
                  <a:lnTo>
                    <a:pt x="35" y="312"/>
                  </a:lnTo>
                  <a:lnTo>
                    <a:pt x="31" y="333"/>
                  </a:lnTo>
                  <a:lnTo>
                    <a:pt x="27" y="334"/>
                  </a:lnTo>
                  <a:lnTo>
                    <a:pt x="27" y="338"/>
                  </a:lnTo>
                  <a:lnTo>
                    <a:pt x="31" y="347"/>
                  </a:lnTo>
                  <a:lnTo>
                    <a:pt x="27" y="358"/>
                  </a:lnTo>
                  <a:lnTo>
                    <a:pt x="28" y="367"/>
                  </a:lnTo>
                  <a:lnTo>
                    <a:pt x="27" y="384"/>
                  </a:lnTo>
                  <a:lnTo>
                    <a:pt x="21" y="385"/>
                  </a:lnTo>
                  <a:lnTo>
                    <a:pt x="22" y="395"/>
                  </a:lnTo>
                  <a:lnTo>
                    <a:pt x="25" y="395"/>
                  </a:lnTo>
                  <a:lnTo>
                    <a:pt x="25" y="396"/>
                  </a:lnTo>
                  <a:lnTo>
                    <a:pt x="25" y="400"/>
                  </a:lnTo>
                  <a:lnTo>
                    <a:pt x="25" y="406"/>
                  </a:lnTo>
                  <a:lnTo>
                    <a:pt x="25" y="414"/>
                  </a:lnTo>
                  <a:lnTo>
                    <a:pt x="25" y="421"/>
                  </a:lnTo>
                  <a:lnTo>
                    <a:pt x="25" y="428"/>
                  </a:lnTo>
                  <a:lnTo>
                    <a:pt x="25" y="435"/>
                  </a:lnTo>
                  <a:lnTo>
                    <a:pt x="25" y="440"/>
                  </a:lnTo>
                  <a:lnTo>
                    <a:pt x="24" y="443"/>
                  </a:lnTo>
                  <a:lnTo>
                    <a:pt x="24" y="446"/>
                  </a:lnTo>
                  <a:lnTo>
                    <a:pt x="24" y="447"/>
                  </a:lnTo>
                  <a:lnTo>
                    <a:pt x="22" y="448"/>
                  </a:lnTo>
                  <a:lnTo>
                    <a:pt x="22" y="450"/>
                  </a:lnTo>
                  <a:lnTo>
                    <a:pt x="22" y="451"/>
                  </a:lnTo>
                  <a:lnTo>
                    <a:pt x="22" y="453"/>
                  </a:lnTo>
                  <a:lnTo>
                    <a:pt x="22" y="454"/>
                  </a:lnTo>
                  <a:lnTo>
                    <a:pt x="22" y="455"/>
                  </a:lnTo>
                  <a:lnTo>
                    <a:pt x="24" y="457"/>
                  </a:lnTo>
                  <a:lnTo>
                    <a:pt x="25" y="458"/>
                  </a:lnTo>
                  <a:lnTo>
                    <a:pt x="25" y="459"/>
                  </a:lnTo>
                  <a:lnTo>
                    <a:pt x="27" y="461"/>
                  </a:lnTo>
                  <a:lnTo>
                    <a:pt x="27" y="464"/>
                  </a:lnTo>
                  <a:lnTo>
                    <a:pt x="27" y="466"/>
                  </a:lnTo>
                  <a:lnTo>
                    <a:pt x="27" y="472"/>
                  </a:lnTo>
                  <a:lnTo>
                    <a:pt x="28" y="477"/>
                  </a:lnTo>
                  <a:lnTo>
                    <a:pt x="28" y="485"/>
                  </a:lnTo>
                  <a:lnTo>
                    <a:pt x="28" y="492"/>
                  </a:lnTo>
                  <a:lnTo>
                    <a:pt x="28" y="499"/>
                  </a:lnTo>
                  <a:lnTo>
                    <a:pt x="27" y="505"/>
                  </a:lnTo>
                  <a:lnTo>
                    <a:pt x="25" y="509"/>
                  </a:lnTo>
                  <a:lnTo>
                    <a:pt x="24" y="510"/>
                  </a:lnTo>
                  <a:lnTo>
                    <a:pt x="22" y="512"/>
                  </a:lnTo>
                  <a:lnTo>
                    <a:pt x="18" y="514"/>
                  </a:lnTo>
                  <a:lnTo>
                    <a:pt x="16" y="517"/>
                  </a:lnTo>
                  <a:lnTo>
                    <a:pt x="11" y="521"/>
                  </a:lnTo>
                  <a:lnTo>
                    <a:pt x="9" y="525"/>
                  </a:lnTo>
                  <a:lnTo>
                    <a:pt x="6" y="531"/>
                  </a:lnTo>
                  <a:lnTo>
                    <a:pt x="5" y="538"/>
                  </a:lnTo>
                  <a:lnTo>
                    <a:pt x="3" y="546"/>
                  </a:lnTo>
                  <a:lnTo>
                    <a:pt x="3" y="560"/>
                  </a:lnTo>
                  <a:lnTo>
                    <a:pt x="3" y="575"/>
                  </a:lnTo>
                  <a:lnTo>
                    <a:pt x="3" y="590"/>
                  </a:lnTo>
                  <a:lnTo>
                    <a:pt x="3" y="605"/>
                  </a:lnTo>
                  <a:lnTo>
                    <a:pt x="3" y="617"/>
                  </a:lnTo>
                  <a:lnTo>
                    <a:pt x="3" y="627"/>
                  </a:lnTo>
                  <a:lnTo>
                    <a:pt x="3" y="630"/>
                  </a:lnTo>
                  <a:lnTo>
                    <a:pt x="0" y="631"/>
                  </a:lnTo>
                  <a:lnTo>
                    <a:pt x="0" y="637"/>
                  </a:lnTo>
                  <a:lnTo>
                    <a:pt x="3" y="645"/>
                  </a:lnTo>
                  <a:lnTo>
                    <a:pt x="5" y="659"/>
                  </a:lnTo>
                  <a:lnTo>
                    <a:pt x="18" y="674"/>
                  </a:lnTo>
                  <a:lnTo>
                    <a:pt x="64" y="675"/>
                  </a:lnTo>
                  <a:lnTo>
                    <a:pt x="64" y="677"/>
                  </a:lnTo>
                  <a:lnTo>
                    <a:pt x="65" y="677"/>
                  </a:lnTo>
                  <a:lnTo>
                    <a:pt x="65" y="679"/>
                  </a:lnTo>
                  <a:lnTo>
                    <a:pt x="65" y="682"/>
                  </a:lnTo>
                  <a:lnTo>
                    <a:pt x="66" y="685"/>
                  </a:lnTo>
                  <a:lnTo>
                    <a:pt x="66" y="690"/>
                  </a:lnTo>
                  <a:lnTo>
                    <a:pt x="66" y="697"/>
                  </a:lnTo>
                  <a:lnTo>
                    <a:pt x="66" y="727"/>
                  </a:lnTo>
                  <a:lnTo>
                    <a:pt x="72" y="759"/>
                  </a:lnTo>
                  <a:lnTo>
                    <a:pt x="120" y="760"/>
                  </a:lnTo>
                  <a:lnTo>
                    <a:pt x="137" y="785"/>
                  </a:lnTo>
                  <a:lnTo>
                    <a:pt x="138" y="777"/>
                  </a:lnTo>
                  <a:lnTo>
                    <a:pt x="141" y="771"/>
                  </a:lnTo>
                  <a:lnTo>
                    <a:pt x="141" y="759"/>
                  </a:lnTo>
                  <a:lnTo>
                    <a:pt x="127" y="743"/>
                  </a:lnTo>
                  <a:lnTo>
                    <a:pt x="113" y="730"/>
                  </a:lnTo>
                  <a:lnTo>
                    <a:pt x="112" y="732"/>
                  </a:lnTo>
                  <a:lnTo>
                    <a:pt x="108" y="732"/>
                  </a:lnTo>
                  <a:lnTo>
                    <a:pt x="101" y="732"/>
                  </a:lnTo>
                  <a:lnTo>
                    <a:pt x="93" y="730"/>
                  </a:lnTo>
                  <a:lnTo>
                    <a:pt x="90" y="727"/>
                  </a:lnTo>
                  <a:lnTo>
                    <a:pt x="86" y="723"/>
                  </a:lnTo>
                  <a:lnTo>
                    <a:pt x="82" y="719"/>
                  </a:lnTo>
                  <a:lnTo>
                    <a:pt x="77" y="714"/>
                  </a:lnTo>
                  <a:lnTo>
                    <a:pt x="75" y="707"/>
                  </a:lnTo>
                  <a:lnTo>
                    <a:pt x="72" y="697"/>
                  </a:lnTo>
                  <a:lnTo>
                    <a:pt x="69" y="686"/>
                  </a:lnTo>
                  <a:lnTo>
                    <a:pt x="68" y="674"/>
                  </a:lnTo>
                  <a:lnTo>
                    <a:pt x="68" y="672"/>
                  </a:lnTo>
                  <a:lnTo>
                    <a:pt x="66" y="667"/>
                  </a:lnTo>
                  <a:lnTo>
                    <a:pt x="65" y="660"/>
                  </a:lnTo>
                  <a:lnTo>
                    <a:pt x="64" y="653"/>
                  </a:lnTo>
                  <a:lnTo>
                    <a:pt x="64" y="645"/>
                  </a:lnTo>
                  <a:lnTo>
                    <a:pt x="65" y="637"/>
                  </a:lnTo>
                  <a:lnTo>
                    <a:pt x="66" y="633"/>
                  </a:lnTo>
                  <a:lnTo>
                    <a:pt x="69" y="630"/>
                  </a:lnTo>
                  <a:lnTo>
                    <a:pt x="72" y="627"/>
                  </a:lnTo>
                  <a:lnTo>
                    <a:pt x="75" y="624"/>
                  </a:lnTo>
                  <a:lnTo>
                    <a:pt x="88" y="604"/>
                  </a:lnTo>
                  <a:lnTo>
                    <a:pt x="90" y="602"/>
                  </a:lnTo>
                  <a:lnTo>
                    <a:pt x="93" y="601"/>
                  </a:lnTo>
                  <a:lnTo>
                    <a:pt x="97" y="598"/>
                  </a:lnTo>
                  <a:lnTo>
                    <a:pt x="102" y="594"/>
                  </a:lnTo>
                  <a:lnTo>
                    <a:pt x="106" y="590"/>
                  </a:lnTo>
                  <a:lnTo>
                    <a:pt x="110" y="586"/>
                  </a:lnTo>
                  <a:lnTo>
                    <a:pt x="113" y="582"/>
                  </a:lnTo>
                  <a:lnTo>
                    <a:pt x="113" y="578"/>
                  </a:lnTo>
                  <a:lnTo>
                    <a:pt x="113" y="576"/>
                  </a:lnTo>
                  <a:lnTo>
                    <a:pt x="115" y="573"/>
                  </a:lnTo>
                  <a:lnTo>
                    <a:pt x="115" y="569"/>
                  </a:lnTo>
                  <a:lnTo>
                    <a:pt x="116" y="564"/>
                  </a:lnTo>
                  <a:lnTo>
                    <a:pt x="115" y="558"/>
                  </a:lnTo>
                  <a:lnTo>
                    <a:pt x="115" y="553"/>
                  </a:lnTo>
                  <a:lnTo>
                    <a:pt x="112" y="549"/>
                  </a:lnTo>
                  <a:lnTo>
                    <a:pt x="109" y="546"/>
                  </a:lnTo>
                  <a:lnTo>
                    <a:pt x="105" y="545"/>
                  </a:lnTo>
                  <a:lnTo>
                    <a:pt x="101" y="543"/>
                  </a:lnTo>
                  <a:lnTo>
                    <a:pt x="98" y="540"/>
                  </a:lnTo>
                  <a:lnTo>
                    <a:pt x="94" y="538"/>
                  </a:lnTo>
                  <a:lnTo>
                    <a:pt x="93" y="534"/>
                  </a:lnTo>
                  <a:lnTo>
                    <a:pt x="90" y="529"/>
                  </a:lnTo>
                  <a:lnTo>
                    <a:pt x="88" y="524"/>
                  </a:lnTo>
                  <a:lnTo>
                    <a:pt x="88" y="518"/>
                  </a:lnTo>
                  <a:lnTo>
                    <a:pt x="90" y="512"/>
                  </a:lnTo>
                  <a:lnTo>
                    <a:pt x="91" y="507"/>
                  </a:lnTo>
                  <a:lnTo>
                    <a:pt x="94" y="505"/>
                  </a:lnTo>
                  <a:lnTo>
                    <a:pt x="98" y="503"/>
                  </a:lnTo>
                  <a:lnTo>
                    <a:pt x="101" y="503"/>
                  </a:lnTo>
                  <a:lnTo>
                    <a:pt x="104" y="503"/>
                  </a:lnTo>
                  <a:lnTo>
                    <a:pt x="105" y="503"/>
                  </a:lnTo>
                  <a:lnTo>
                    <a:pt x="106" y="503"/>
                  </a:lnTo>
                  <a:lnTo>
                    <a:pt x="124" y="477"/>
                  </a:lnTo>
                  <a:lnTo>
                    <a:pt x="134" y="454"/>
                  </a:lnTo>
                  <a:lnTo>
                    <a:pt x="134" y="440"/>
                  </a:lnTo>
                  <a:lnTo>
                    <a:pt x="148" y="437"/>
                  </a:lnTo>
                  <a:lnTo>
                    <a:pt x="148" y="421"/>
                  </a:lnTo>
                  <a:lnTo>
                    <a:pt x="134" y="414"/>
                  </a:lnTo>
                  <a:lnTo>
                    <a:pt x="134" y="413"/>
                  </a:lnTo>
                  <a:lnTo>
                    <a:pt x="132" y="411"/>
                  </a:lnTo>
                  <a:lnTo>
                    <a:pt x="132" y="407"/>
                  </a:lnTo>
                  <a:lnTo>
                    <a:pt x="132" y="404"/>
                  </a:lnTo>
                  <a:lnTo>
                    <a:pt x="132" y="400"/>
                  </a:lnTo>
                  <a:lnTo>
                    <a:pt x="134" y="398"/>
                  </a:lnTo>
                  <a:lnTo>
                    <a:pt x="137" y="395"/>
                  </a:lnTo>
                  <a:lnTo>
                    <a:pt x="141" y="395"/>
                  </a:lnTo>
                  <a:lnTo>
                    <a:pt x="165" y="398"/>
                  </a:lnTo>
                  <a:lnTo>
                    <a:pt x="170" y="371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72" y="365"/>
                  </a:lnTo>
                  <a:lnTo>
                    <a:pt x="175" y="360"/>
                  </a:lnTo>
                  <a:lnTo>
                    <a:pt x="178" y="355"/>
                  </a:lnTo>
                  <a:lnTo>
                    <a:pt x="181" y="352"/>
                  </a:lnTo>
                  <a:lnTo>
                    <a:pt x="185" y="349"/>
                  </a:lnTo>
                  <a:lnTo>
                    <a:pt x="190" y="348"/>
                  </a:lnTo>
                  <a:lnTo>
                    <a:pt x="193" y="348"/>
                  </a:lnTo>
                  <a:lnTo>
                    <a:pt x="200" y="349"/>
                  </a:lnTo>
                  <a:lnTo>
                    <a:pt x="209" y="351"/>
                  </a:lnTo>
                  <a:lnTo>
                    <a:pt x="220" y="349"/>
                  </a:lnTo>
                  <a:lnTo>
                    <a:pt x="226" y="349"/>
                  </a:lnTo>
                  <a:lnTo>
                    <a:pt x="232" y="347"/>
                  </a:lnTo>
                  <a:lnTo>
                    <a:pt x="238" y="344"/>
                  </a:lnTo>
                  <a:lnTo>
                    <a:pt x="244" y="341"/>
                  </a:lnTo>
                  <a:lnTo>
                    <a:pt x="249" y="336"/>
                  </a:lnTo>
                  <a:lnTo>
                    <a:pt x="254" y="330"/>
                  </a:lnTo>
                  <a:lnTo>
                    <a:pt x="258" y="323"/>
                  </a:lnTo>
                  <a:lnTo>
                    <a:pt x="262" y="315"/>
                  </a:lnTo>
                  <a:lnTo>
                    <a:pt x="262" y="312"/>
                  </a:lnTo>
                  <a:lnTo>
                    <a:pt x="262" y="308"/>
                  </a:lnTo>
                  <a:lnTo>
                    <a:pt x="262" y="305"/>
                  </a:lnTo>
                  <a:lnTo>
                    <a:pt x="262" y="300"/>
                  </a:lnTo>
                  <a:lnTo>
                    <a:pt x="260" y="296"/>
                  </a:lnTo>
                  <a:lnTo>
                    <a:pt x="259" y="290"/>
                  </a:lnTo>
                  <a:lnTo>
                    <a:pt x="258" y="283"/>
                  </a:lnTo>
                  <a:lnTo>
                    <a:pt x="255" y="277"/>
                  </a:lnTo>
                  <a:lnTo>
                    <a:pt x="248" y="259"/>
                  </a:lnTo>
                  <a:lnTo>
                    <a:pt x="247" y="257"/>
                  </a:lnTo>
                  <a:lnTo>
                    <a:pt x="245" y="255"/>
                  </a:lnTo>
                  <a:lnTo>
                    <a:pt x="244" y="250"/>
                  </a:lnTo>
                  <a:lnTo>
                    <a:pt x="243" y="246"/>
                  </a:lnTo>
                  <a:lnTo>
                    <a:pt x="241" y="242"/>
                  </a:lnTo>
                  <a:lnTo>
                    <a:pt x="240" y="237"/>
                  </a:lnTo>
                  <a:lnTo>
                    <a:pt x="240" y="233"/>
                  </a:lnTo>
                  <a:lnTo>
                    <a:pt x="241" y="230"/>
                  </a:lnTo>
                  <a:lnTo>
                    <a:pt x="240" y="228"/>
                  </a:lnTo>
                  <a:lnTo>
                    <a:pt x="240" y="223"/>
                  </a:lnTo>
                  <a:lnTo>
                    <a:pt x="238" y="216"/>
                  </a:lnTo>
                  <a:lnTo>
                    <a:pt x="238" y="206"/>
                  </a:lnTo>
                  <a:lnTo>
                    <a:pt x="237" y="198"/>
                  </a:lnTo>
                  <a:lnTo>
                    <a:pt x="238" y="190"/>
                  </a:lnTo>
                  <a:lnTo>
                    <a:pt x="238" y="183"/>
                  </a:lnTo>
                  <a:lnTo>
                    <a:pt x="241" y="180"/>
                  </a:lnTo>
                  <a:lnTo>
                    <a:pt x="255" y="158"/>
                  </a:lnTo>
                  <a:lnTo>
                    <a:pt x="255" y="157"/>
                  </a:lnTo>
                  <a:lnTo>
                    <a:pt x="256" y="153"/>
                  </a:lnTo>
                  <a:lnTo>
                    <a:pt x="259" y="147"/>
                  </a:lnTo>
                  <a:lnTo>
                    <a:pt x="263" y="142"/>
                  </a:lnTo>
                  <a:lnTo>
                    <a:pt x="269" y="138"/>
                  </a:lnTo>
                  <a:lnTo>
                    <a:pt x="271" y="134"/>
                  </a:lnTo>
                  <a:lnTo>
                    <a:pt x="274" y="131"/>
                  </a:lnTo>
                  <a:lnTo>
                    <a:pt x="276" y="130"/>
                  </a:lnTo>
                  <a:lnTo>
                    <a:pt x="280" y="127"/>
                  </a:lnTo>
                  <a:lnTo>
                    <a:pt x="285" y="121"/>
                  </a:lnTo>
                  <a:lnTo>
                    <a:pt x="292" y="117"/>
                  </a:lnTo>
                  <a:lnTo>
                    <a:pt x="299" y="110"/>
                  </a:lnTo>
                  <a:lnTo>
                    <a:pt x="304" y="105"/>
                  </a:lnTo>
                  <a:lnTo>
                    <a:pt x="310" y="101"/>
                  </a:lnTo>
                  <a:lnTo>
                    <a:pt x="314" y="98"/>
                  </a:lnTo>
                  <a:lnTo>
                    <a:pt x="314" y="97"/>
                  </a:lnTo>
                  <a:lnTo>
                    <a:pt x="318" y="88"/>
                  </a:lnTo>
                  <a:lnTo>
                    <a:pt x="320" y="83"/>
                  </a:lnTo>
                  <a:lnTo>
                    <a:pt x="320" y="79"/>
                  </a:lnTo>
                  <a:lnTo>
                    <a:pt x="318" y="76"/>
                  </a:lnTo>
                  <a:lnTo>
                    <a:pt x="315" y="73"/>
                  </a:lnTo>
                  <a:lnTo>
                    <a:pt x="314" y="72"/>
                  </a:lnTo>
                  <a:lnTo>
                    <a:pt x="313" y="72"/>
                  </a:lnTo>
                  <a:lnTo>
                    <a:pt x="311" y="72"/>
                  </a:lnTo>
                  <a:lnTo>
                    <a:pt x="310" y="72"/>
                  </a:lnTo>
                  <a:lnTo>
                    <a:pt x="309" y="70"/>
                  </a:lnTo>
                  <a:lnTo>
                    <a:pt x="309" y="69"/>
                  </a:lnTo>
                  <a:lnTo>
                    <a:pt x="309" y="68"/>
                  </a:lnTo>
                  <a:lnTo>
                    <a:pt x="309" y="66"/>
                  </a:lnTo>
                  <a:lnTo>
                    <a:pt x="302" y="69"/>
                  </a:lnTo>
                  <a:lnTo>
                    <a:pt x="300" y="70"/>
                  </a:lnTo>
                  <a:lnTo>
                    <a:pt x="300" y="73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3"/>
                  </a:lnTo>
                  <a:lnTo>
                    <a:pt x="299" y="86"/>
                  </a:lnTo>
                  <a:lnTo>
                    <a:pt x="299" y="87"/>
                  </a:lnTo>
                  <a:lnTo>
                    <a:pt x="296" y="90"/>
                  </a:lnTo>
                  <a:lnTo>
                    <a:pt x="295" y="92"/>
                  </a:lnTo>
                  <a:lnTo>
                    <a:pt x="295" y="95"/>
                  </a:lnTo>
                  <a:lnTo>
                    <a:pt x="293" y="98"/>
                  </a:lnTo>
                  <a:lnTo>
                    <a:pt x="293" y="101"/>
                  </a:lnTo>
                  <a:lnTo>
                    <a:pt x="293" y="103"/>
                  </a:lnTo>
                  <a:lnTo>
                    <a:pt x="293" y="105"/>
                  </a:lnTo>
                  <a:lnTo>
                    <a:pt x="233" y="103"/>
                  </a:lnTo>
                  <a:lnTo>
                    <a:pt x="252" y="62"/>
                  </a:lnTo>
                  <a:lnTo>
                    <a:pt x="209" y="42"/>
                  </a:lnTo>
                  <a:lnTo>
                    <a:pt x="203" y="32"/>
                  </a:lnTo>
                  <a:lnTo>
                    <a:pt x="185" y="25"/>
                  </a:lnTo>
                  <a:lnTo>
                    <a:pt x="182" y="24"/>
                  </a:lnTo>
                  <a:lnTo>
                    <a:pt x="179" y="22"/>
                  </a:lnTo>
                  <a:lnTo>
                    <a:pt x="176" y="21"/>
                  </a:lnTo>
                  <a:lnTo>
                    <a:pt x="175" y="20"/>
                  </a:lnTo>
                  <a:lnTo>
                    <a:pt x="174" y="20"/>
                  </a:lnTo>
                  <a:lnTo>
                    <a:pt x="172" y="18"/>
                  </a:lnTo>
                  <a:lnTo>
                    <a:pt x="172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71" y="14"/>
                  </a:lnTo>
                  <a:lnTo>
                    <a:pt x="172" y="13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2" y="9"/>
                  </a:lnTo>
                  <a:lnTo>
                    <a:pt x="172" y="7"/>
                  </a:lnTo>
                  <a:lnTo>
                    <a:pt x="172" y="6"/>
                  </a:lnTo>
                  <a:lnTo>
                    <a:pt x="171" y="6"/>
                  </a:lnTo>
                  <a:lnTo>
                    <a:pt x="168" y="3"/>
                  </a:lnTo>
                  <a:lnTo>
                    <a:pt x="165" y="2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7" y="2"/>
                  </a:lnTo>
                  <a:lnTo>
                    <a:pt x="156" y="3"/>
                  </a:lnTo>
                  <a:lnTo>
                    <a:pt x="142" y="18"/>
                  </a:lnTo>
                  <a:lnTo>
                    <a:pt x="143" y="18"/>
                  </a:lnTo>
                  <a:lnTo>
                    <a:pt x="143" y="17"/>
                  </a:lnTo>
                  <a:lnTo>
                    <a:pt x="143" y="14"/>
                  </a:lnTo>
                  <a:lnTo>
                    <a:pt x="142" y="11"/>
                  </a:lnTo>
                  <a:lnTo>
                    <a:pt x="141" y="9"/>
                  </a:lnTo>
                  <a:lnTo>
                    <a:pt x="139" y="6"/>
                  </a:lnTo>
                  <a:lnTo>
                    <a:pt x="135" y="4"/>
                  </a:lnTo>
                  <a:lnTo>
                    <a:pt x="130" y="3"/>
                  </a:lnTo>
                  <a:lnTo>
                    <a:pt x="113" y="0"/>
                  </a:lnTo>
                  <a:lnTo>
                    <a:pt x="113" y="2"/>
                  </a:lnTo>
                  <a:lnTo>
                    <a:pt x="112" y="3"/>
                  </a:lnTo>
                  <a:lnTo>
                    <a:pt x="112" y="6"/>
                  </a:lnTo>
                  <a:lnTo>
                    <a:pt x="110" y="9"/>
                  </a:lnTo>
                  <a:lnTo>
                    <a:pt x="108" y="11"/>
                  </a:lnTo>
                  <a:lnTo>
                    <a:pt x="105" y="15"/>
                  </a:lnTo>
                  <a:lnTo>
                    <a:pt x="102" y="18"/>
                  </a:lnTo>
                  <a:lnTo>
                    <a:pt x="98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8" name="Freeform 748"/>
            <p:cNvSpPr>
              <a:spLocks/>
            </p:cNvSpPr>
            <p:nvPr/>
          </p:nvSpPr>
          <p:spPr bwMode="auto">
            <a:xfrm>
              <a:off x="1949" y="2415"/>
              <a:ext cx="146" cy="729"/>
            </a:xfrm>
            <a:custGeom>
              <a:avLst/>
              <a:gdLst>
                <a:gd name="T0" fmla="*/ 144 w 179"/>
                <a:gd name="T1" fmla="*/ 886 h 901"/>
                <a:gd name="T2" fmla="*/ 122 w 179"/>
                <a:gd name="T3" fmla="*/ 872 h 901"/>
                <a:gd name="T4" fmla="*/ 64 w 179"/>
                <a:gd name="T5" fmla="*/ 869 h 901"/>
                <a:gd name="T6" fmla="*/ 84 w 179"/>
                <a:gd name="T7" fmla="*/ 818 h 901"/>
                <a:gd name="T8" fmla="*/ 67 w 179"/>
                <a:gd name="T9" fmla="*/ 806 h 901"/>
                <a:gd name="T10" fmla="*/ 45 w 179"/>
                <a:gd name="T11" fmla="*/ 809 h 901"/>
                <a:gd name="T12" fmla="*/ 3 w 179"/>
                <a:gd name="T13" fmla="*/ 777 h 901"/>
                <a:gd name="T14" fmla="*/ 1 w 179"/>
                <a:gd name="T15" fmla="*/ 725 h 901"/>
                <a:gd name="T16" fmla="*/ 9 w 179"/>
                <a:gd name="T17" fmla="*/ 635 h 901"/>
                <a:gd name="T18" fmla="*/ 40 w 179"/>
                <a:gd name="T19" fmla="*/ 494 h 901"/>
                <a:gd name="T20" fmla="*/ 56 w 179"/>
                <a:gd name="T21" fmla="*/ 457 h 901"/>
                <a:gd name="T22" fmla="*/ 56 w 179"/>
                <a:gd name="T23" fmla="*/ 399 h 901"/>
                <a:gd name="T24" fmla="*/ 47 w 179"/>
                <a:gd name="T25" fmla="*/ 420 h 901"/>
                <a:gd name="T26" fmla="*/ 44 w 179"/>
                <a:gd name="T27" fmla="*/ 442 h 901"/>
                <a:gd name="T28" fmla="*/ 37 w 179"/>
                <a:gd name="T29" fmla="*/ 451 h 901"/>
                <a:gd name="T30" fmla="*/ 51 w 179"/>
                <a:gd name="T31" fmla="*/ 363 h 901"/>
                <a:gd name="T32" fmla="*/ 59 w 179"/>
                <a:gd name="T33" fmla="*/ 288 h 901"/>
                <a:gd name="T34" fmla="*/ 69 w 179"/>
                <a:gd name="T35" fmla="*/ 248 h 901"/>
                <a:gd name="T36" fmla="*/ 80 w 179"/>
                <a:gd name="T37" fmla="*/ 222 h 901"/>
                <a:gd name="T38" fmla="*/ 80 w 179"/>
                <a:gd name="T39" fmla="*/ 201 h 901"/>
                <a:gd name="T40" fmla="*/ 81 w 179"/>
                <a:gd name="T41" fmla="*/ 185 h 901"/>
                <a:gd name="T42" fmla="*/ 82 w 179"/>
                <a:gd name="T43" fmla="*/ 171 h 901"/>
                <a:gd name="T44" fmla="*/ 84 w 179"/>
                <a:gd name="T45" fmla="*/ 153 h 901"/>
                <a:gd name="T46" fmla="*/ 82 w 179"/>
                <a:gd name="T47" fmla="*/ 132 h 901"/>
                <a:gd name="T48" fmla="*/ 84 w 179"/>
                <a:gd name="T49" fmla="*/ 117 h 901"/>
                <a:gd name="T50" fmla="*/ 88 w 179"/>
                <a:gd name="T51" fmla="*/ 90 h 901"/>
                <a:gd name="T52" fmla="*/ 80 w 179"/>
                <a:gd name="T53" fmla="*/ 40 h 901"/>
                <a:gd name="T54" fmla="*/ 64 w 179"/>
                <a:gd name="T55" fmla="*/ 21 h 901"/>
                <a:gd name="T56" fmla="*/ 58 w 179"/>
                <a:gd name="T57" fmla="*/ 11 h 901"/>
                <a:gd name="T58" fmla="*/ 81 w 179"/>
                <a:gd name="T59" fmla="*/ 3 h 901"/>
                <a:gd name="T60" fmla="*/ 89 w 179"/>
                <a:gd name="T61" fmla="*/ 10 h 901"/>
                <a:gd name="T62" fmla="*/ 118 w 179"/>
                <a:gd name="T63" fmla="*/ 54 h 901"/>
                <a:gd name="T64" fmla="*/ 119 w 179"/>
                <a:gd name="T65" fmla="*/ 61 h 901"/>
                <a:gd name="T66" fmla="*/ 132 w 179"/>
                <a:gd name="T67" fmla="*/ 126 h 901"/>
                <a:gd name="T68" fmla="*/ 136 w 179"/>
                <a:gd name="T69" fmla="*/ 128 h 901"/>
                <a:gd name="T70" fmla="*/ 140 w 179"/>
                <a:gd name="T71" fmla="*/ 132 h 901"/>
                <a:gd name="T72" fmla="*/ 140 w 179"/>
                <a:gd name="T73" fmla="*/ 149 h 901"/>
                <a:gd name="T74" fmla="*/ 130 w 179"/>
                <a:gd name="T75" fmla="*/ 157 h 901"/>
                <a:gd name="T76" fmla="*/ 121 w 179"/>
                <a:gd name="T77" fmla="*/ 181 h 901"/>
                <a:gd name="T78" fmla="*/ 103 w 179"/>
                <a:gd name="T79" fmla="*/ 216 h 901"/>
                <a:gd name="T80" fmla="*/ 99 w 179"/>
                <a:gd name="T81" fmla="*/ 240 h 901"/>
                <a:gd name="T82" fmla="*/ 97 w 179"/>
                <a:gd name="T83" fmla="*/ 384 h 901"/>
                <a:gd name="T84" fmla="*/ 84 w 179"/>
                <a:gd name="T85" fmla="*/ 403 h 901"/>
                <a:gd name="T86" fmla="*/ 69 w 179"/>
                <a:gd name="T87" fmla="*/ 440 h 901"/>
                <a:gd name="T88" fmla="*/ 69 w 179"/>
                <a:gd name="T89" fmla="*/ 490 h 901"/>
                <a:gd name="T90" fmla="*/ 67 w 179"/>
                <a:gd name="T91" fmla="*/ 506 h 901"/>
                <a:gd name="T92" fmla="*/ 67 w 179"/>
                <a:gd name="T93" fmla="*/ 541 h 901"/>
                <a:gd name="T94" fmla="*/ 64 w 179"/>
                <a:gd name="T95" fmla="*/ 554 h 901"/>
                <a:gd name="T96" fmla="*/ 64 w 179"/>
                <a:gd name="T97" fmla="*/ 561 h 901"/>
                <a:gd name="T98" fmla="*/ 67 w 179"/>
                <a:gd name="T99" fmla="*/ 565 h 901"/>
                <a:gd name="T100" fmla="*/ 70 w 179"/>
                <a:gd name="T101" fmla="*/ 583 h 901"/>
                <a:gd name="T102" fmla="*/ 67 w 179"/>
                <a:gd name="T103" fmla="*/ 615 h 901"/>
                <a:gd name="T104" fmla="*/ 53 w 179"/>
                <a:gd name="T105" fmla="*/ 627 h 901"/>
                <a:gd name="T106" fmla="*/ 45 w 179"/>
                <a:gd name="T107" fmla="*/ 666 h 901"/>
                <a:gd name="T108" fmla="*/ 45 w 179"/>
                <a:gd name="T109" fmla="*/ 733 h 901"/>
                <a:gd name="T110" fmla="*/ 47 w 179"/>
                <a:gd name="T111" fmla="*/ 765 h 901"/>
                <a:gd name="T112" fmla="*/ 107 w 179"/>
                <a:gd name="T113" fmla="*/ 783 h 901"/>
                <a:gd name="T114" fmla="*/ 108 w 179"/>
                <a:gd name="T115" fmla="*/ 803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9" h="901">
                  <a:moveTo>
                    <a:pt x="179" y="891"/>
                  </a:moveTo>
                  <a:lnTo>
                    <a:pt x="172" y="895"/>
                  </a:lnTo>
                  <a:lnTo>
                    <a:pt x="162" y="891"/>
                  </a:lnTo>
                  <a:lnTo>
                    <a:pt x="155" y="884"/>
                  </a:lnTo>
                  <a:lnTo>
                    <a:pt x="144" y="886"/>
                  </a:lnTo>
                  <a:lnTo>
                    <a:pt x="133" y="894"/>
                  </a:lnTo>
                  <a:lnTo>
                    <a:pt x="126" y="901"/>
                  </a:lnTo>
                  <a:lnTo>
                    <a:pt x="122" y="891"/>
                  </a:lnTo>
                  <a:lnTo>
                    <a:pt x="124" y="879"/>
                  </a:lnTo>
                  <a:lnTo>
                    <a:pt x="122" y="872"/>
                  </a:lnTo>
                  <a:lnTo>
                    <a:pt x="110" y="877"/>
                  </a:lnTo>
                  <a:lnTo>
                    <a:pt x="110" y="891"/>
                  </a:lnTo>
                  <a:lnTo>
                    <a:pt x="89" y="891"/>
                  </a:lnTo>
                  <a:lnTo>
                    <a:pt x="82" y="868"/>
                  </a:lnTo>
                  <a:lnTo>
                    <a:pt x="64" y="869"/>
                  </a:lnTo>
                  <a:lnTo>
                    <a:pt x="64" y="853"/>
                  </a:lnTo>
                  <a:lnTo>
                    <a:pt x="78" y="849"/>
                  </a:lnTo>
                  <a:lnTo>
                    <a:pt x="85" y="825"/>
                  </a:lnTo>
                  <a:lnTo>
                    <a:pt x="85" y="822"/>
                  </a:lnTo>
                  <a:lnTo>
                    <a:pt x="84" y="818"/>
                  </a:lnTo>
                  <a:lnTo>
                    <a:pt x="81" y="816"/>
                  </a:lnTo>
                  <a:lnTo>
                    <a:pt x="77" y="813"/>
                  </a:lnTo>
                  <a:lnTo>
                    <a:pt x="73" y="810"/>
                  </a:lnTo>
                  <a:lnTo>
                    <a:pt x="70" y="807"/>
                  </a:lnTo>
                  <a:lnTo>
                    <a:pt x="67" y="806"/>
                  </a:lnTo>
                  <a:lnTo>
                    <a:pt x="67" y="806"/>
                  </a:lnTo>
                  <a:lnTo>
                    <a:pt x="60" y="805"/>
                  </a:lnTo>
                  <a:lnTo>
                    <a:pt x="53" y="805"/>
                  </a:lnTo>
                  <a:lnTo>
                    <a:pt x="49" y="806"/>
                  </a:lnTo>
                  <a:lnTo>
                    <a:pt x="45" y="809"/>
                  </a:lnTo>
                  <a:lnTo>
                    <a:pt x="42" y="811"/>
                  </a:lnTo>
                  <a:lnTo>
                    <a:pt x="41" y="814"/>
                  </a:lnTo>
                  <a:lnTo>
                    <a:pt x="40" y="817"/>
                  </a:lnTo>
                  <a:lnTo>
                    <a:pt x="40" y="817"/>
                  </a:lnTo>
                  <a:lnTo>
                    <a:pt x="3" y="777"/>
                  </a:lnTo>
                  <a:lnTo>
                    <a:pt x="1" y="773"/>
                  </a:lnTo>
                  <a:lnTo>
                    <a:pt x="0" y="766"/>
                  </a:lnTo>
                  <a:lnTo>
                    <a:pt x="0" y="758"/>
                  </a:lnTo>
                  <a:lnTo>
                    <a:pt x="0" y="747"/>
                  </a:lnTo>
                  <a:lnTo>
                    <a:pt x="1" y="725"/>
                  </a:lnTo>
                  <a:lnTo>
                    <a:pt x="3" y="700"/>
                  </a:lnTo>
                  <a:lnTo>
                    <a:pt x="5" y="675"/>
                  </a:lnTo>
                  <a:lnTo>
                    <a:pt x="8" y="655"/>
                  </a:lnTo>
                  <a:lnTo>
                    <a:pt x="9" y="641"/>
                  </a:lnTo>
                  <a:lnTo>
                    <a:pt x="9" y="635"/>
                  </a:lnTo>
                  <a:lnTo>
                    <a:pt x="30" y="607"/>
                  </a:lnTo>
                  <a:lnTo>
                    <a:pt x="36" y="576"/>
                  </a:lnTo>
                  <a:lnTo>
                    <a:pt x="36" y="539"/>
                  </a:lnTo>
                  <a:lnTo>
                    <a:pt x="19" y="516"/>
                  </a:lnTo>
                  <a:lnTo>
                    <a:pt x="40" y="494"/>
                  </a:lnTo>
                  <a:lnTo>
                    <a:pt x="42" y="473"/>
                  </a:lnTo>
                  <a:lnTo>
                    <a:pt x="33" y="473"/>
                  </a:lnTo>
                  <a:lnTo>
                    <a:pt x="37" y="464"/>
                  </a:lnTo>
                  <a:lnTo>
                    <a:pt x="44" y="464"/>
                  </a:lnTo>
                  <a:lnTo>
                    <a:pt x="56" y="457"/>
                  </a:lnTo>
                  <a:lnTo>
                    <a:pt x="58" y="438"/>
                  </a:lnTo>
                  <a:lnTo>
                    <a:pt x="58" y="425"/>
                  </a:lnTo>
                  <a:lnTo>
                    <a:pt x="60" y="414"/>
                  </a:lnTo>
                  <a:lnTo>
                    <a:pt x="64" y="395"/>
                  </a:lnTo>
                  <a:lnTo>
                    <a:pt x="56" y="399"/>
                  </a:lnTo>
                  <a:lnTo>
                    <a:pt x="51" y="409"/>
                  </a:lnTo>
                  <a:lnTo>
                    <a:pt x="49" y="410"/>
                  </a:lnTo>
                  <a:lnTo>
                    <a:pt x="48" y="413"/>
                  </a:lnTo>
                  <a:lnTo>
                    <a:pt x="47" y="416"/>
                  </a:lnTo>
                  <a:lnTo>
                    <a:pt x="47" y="420"/>
                  </a:lnTo>
                  <a:lnTo>
                    <a:pt x="45" y="424"/>
                  </a:lnTo>
                  <a:lnTo>
                    <a:pt x="45" y="428"/>
                  </a:lnTo>
                  <a:lnTo>
                    <a:pt x="45" y="433"/>
                  </a:lnTo>
                  <a:lnTo>
                    <a:pt x="44" y="438"/>
                  </a:lnTo>
                  <a:lnTo>
                    <a:pt x="44" y="442"/>
                  </a:lnTo>
                  <a:lnTo>
                    <a:pt x="42" y="444"/>
                  </a:lnTo>
                  <a:lnTo>
                    <a:pt x="41" y="447"/>
                  </a:lnTo>
                  <a:lnTo>
                    <a:pt x="40" y="449"/>
                  </a:lnTo>
                  <a:lnTo>
                    <a:pt x="38" y="450"/>
                  </a:lnTo>
                  <a:lnTo>
                    <a:pt x="37" y="451"/>
                  </a:lnTo>
                  <a:lnTo>
                    <a:pt x="36" y="451"/>
                  </a:lnTo>
                  <a:lnTo>
                    <a:pt x="36" y="451"/>
                  </a:lnTo>
                  <a:lnTo>
                    <a:pt x="33" y="418"/>
                  </a:lnTo>
                  <a:lnTo>
                    <a:pt x="42" y="389"/>
                  </a:lnTo>
                  <a:lnTo>
                    <a:pt x="51" y="363"/>
                  </a:lnTo>
                  <a:lnTo>
                    <a:pt x="55" y="341"/>
                  </a:lnTo>
                  <a:lnTo>
                    <a:pt x="58" y="322"/>
                  </a:lnTo>
                  <a:lnTo>
                    <a:pt x="59" y="307"/>
                  </a:lnTo>
                  <a:lnTo>
                    <a:pt x="59" y="296"/>
                  </a:lnTo>
                  <a:lnTo>
                    <a:pt x="59" y="288"/>
                  </a:lnTo>
                  <a:lnTo>
                    <a:pt x="59" y="286"/>
                  </a:lnTo>
                  <a:lnTo>
                    <a:pt x="59" y="278"/>
                  </a:lnTo>
                  <a:lnTo>
                    <a:pt x="62" y="268"/>
                  </a:lnTo>
                  <a:lnTo>
                    <a:pt x="64" y="259"/>
                  </a:lnTo>
                  <a:lnTo>
                    <a:pt x="69" y="248"/>
                  </a:lnTo>
                  <a:lnTo>
                    <a:pt x="73" y="238"/>
                  </a:lnTo>
                  <a:lnTo>
                    <a:pt x="75" y="230"/>
                  </a:lnTo>
                  <a:lnTo>
                    <a:pt x="78" y="225"/>
                  </a:lnTo>
                  <a:lnTo>
                    <a:pt x="80" y="222"/>
                  </a:lnTo>
                  <a:lnTo>
                    <a:pt x="80" y="222"/>
                  </a:lnTo>
                  <a:lnTo>
                    <a:pt x="80" y="219"/>
                  </a:lnTo>
                  <a:lnTo>
                    <a:pt x="80" y="215"/>
                  </a:lnTo>
                  <a:lnTo>
                    <a:pt x="80" y="211"/>
                  </a:lnTo>
                  <a:lnTo>
                    <a:pt x="80" y="207"/>
                  </a:lnTo>
                  <a:lnTo>
                    <a:pt x="80" y="201"/>
                  </a:lnTo>
                  <a:lnTo>
                    <a:pt x="80" y="197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89"/>
                  </a:lnTo>
                  <a:lnTo>
                    <a:pt x="81" y="185"/>
                  </a:lnTo>
                  <a:lnTo>
                    <a:pt x="81" y="182"/>
                  </a:lnTo>
                  <a:lnTo>
                    <a:pt x="82" y="178"/>
                  </a:lnTo>
                  <a:lnTo>
                    <a:pt x="82" y="175"/>
                  </a:lnTo>
                  <a:lnTo>
                    <a:pt x="82" y="172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4" y="165"/>
                  </a:lnTo>
                  <a:lnTo>
                    <a:pt x="84" y="161"/>
                  </a:lnTo>
                  <a:lnTo>
                    <a:pt x="84" y="157"/>
                  </a:lnTo>
                  <a:lnTo>
                    <a:pt x="84" y="153"/>
                  </a:lnTo>
                  <a:lnTo>
                    <a:pt x="84" y="148"/>
                  </a:lnTo>
                  <a:lnTo>
                    <a:pt x="84" y="143"/>
                  </a:lnTo>
                  <a:lnTo>
                    <a:pt x="82" y="139"/>
                  </a:lnTo>
                  <a:lnTo>
                    <a:pt x="82" y="135"/>
                  </a:lnTo>
                  <a:lnTo>
                    <a:pt x="82" y="132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4" y="123"/>
                  </a:lnTo>
                  <a:lnTo>
                    <a:pt x="84" y="120"/>
                  </a:lnTo>
                  <a:lnTo>
                    <a:pt x="84" y="117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6" y="106"/>
                  </a:lnTo>
                  <a:lnTo>
                    <a:pt x="86" y="98"/>
                  </a:lnTo>
                  <a:lnTo>
                    <a:pt x="88" y="90"/>
                  </a:lnTo>
                  <a:lnTo>
                    <a:pt x="88" y="79"/>
                  </a:lnTo>
                  <a:lnTo>
                    <a:pt x="86" y="68"/>
                  </a:lnTo>
                  <a:lnTo>
                    <a:pt x="85" y="57"/>
                  </a:lnTo>
                  <a:lnTo>
                    <a:pt x="81" y="44"/>
                  </a:lnTo>
                  <a:lnTo>
                    <a:pt x="80" y="40"/>
                  </a:lnTo>
                  <a:lnTo>
                    <a:pt x="77" y="36"/>
                  </a:lnTo>
                  <a:lnTo>
                    <a:pt x="74" y="32"/>
                  </a:lnTo>
                  <a:lnTo>
                    <a:pt x="71" y="28"/>
                  </a:lnTo>
                  <a:lnTo>
                    <a:pt x="69" y="24"/>
                  </a:lnTo>
                  <a:lnTo>
                    <a:pt x="64" y="21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3" y="11"/>
                  </a:lnTo>
                  <a:lnTo>
                    <a:pt x="55" y="11"/>
                  </a:lnTo>
                  <a:lnTo>
                    <a:pt x="58" y="11"/>
                  </a:lnTo>
                  <a:lnTo>
                    <a:pt x="60" y="10"/>
                  </a:lnTo>
                  <a:lnTo>
                    <a:pt x="64" y="10"/>
                  </a:lnTo>
                  <a:lnTo>
                    <a:pt x="70" y="9"/>
                  </a:lnTo>
                  <a:lnTo>
                    <a:pt x="75" y="6"/>
                  </a:lnTo>
                  <a:lnTo>
                    <a:pt x="81" y="3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8" y="6"/>
                  </a:lnTo>
                  <a:lnTo>
                    <a:pt x="89" y="10"/>
                  </a:lnTo>
                  <a:lnTo>
                    <a:pt x="92" y="16"/>
                  </a:lnTo>
                  <a:lnTo>
                    <a:pt x="95" y="24"/>
                  </a:lnTo>
                  <a:lnTo>
                    <a:pt x="100" y="32"/>
                  </a:lnTo>
                  <a:lnTo>
                    <a:pt x="108" y="42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18" y="55"/>
                  </a:lnTo>
                  <a:lnTo>
                    <a:pt x="118" y="57"/>
                  </a:lnTo>
                  <a:lnTo>
                    <a:pt x="119" y="58"/>
                  </a:lnTo>
                  <a:lnTo>
                    <a:pt x="119" y="61"/>
                  </a:lnTo>
                  <a:lnTo>
                    <a:pt x="121" y="64"/>
                  </a:lnTo>
                  <a:lnTo>
                    <a:pt x="121" y="68"/>
                  </a:lnTo>
                  <a:lnTo>
                    <a:pt x="121" y="72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3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6" y="128"/>
                  </a:lnTo>
                  <a:lnTo>
                    <a:pt x="139" y="128"/>
                  </a:lnTo>
                  <a:lnTo>
                    <a:pt x="140" y="127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1" y="135"/>
                  </a:lnTo>
                  <a:lnTo>
                    <a:pt x="141" y="139"/>
                  </a:lnTo>
                  <a:lnTo>
                    <a:pt x="140" y="142"/>
                  </a:lnTo>
                  <a:lnTo>
                    <a:pt x="140" y="146"/>
                  </a:lnTo>
                  <a:lnTo>
                    <a:pt x="140" y="149"/>
                  </a:lnTo>
                  <a:lnTo>
                    <a:pt x="139" y="149"/>
                  </a:lnTo>
                  <a:lnTo>
                    <a:pt x="137" y="150"/>
                  </a:lnTo>
                  <a:lnTo>
                    <a:pt x="135" y="152"/>
                  </a:lnTo>
                  <a:lnTo>
                    <a:pt x="133" y="154"/>
                  </a:lnTo>
                  <a:lnTo>
                    <a:pt x="130" y="157"/>
                  </a:lnTo>
                  <a:lnTo>
                    <a:pt x="128" y="161"/>
                  </a:lnTo>
                  <a:lnTo>
                    <a:pt x="126" y="167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1" y="181"/>
                  </a:lnTo>
                  <a:lnTo>
                    <a:pt x="118" y="186"/>
                  </a:lnTo>
                  <a:lnTo>
                    <a:pt x="114" y="194"/>
                  </a:lnTo>
                  <a:lnTo>
                    <a:pt x="110" y="201"/>
                  </a:lnTo>
                  <a:lnTo>
                    <a:pt x="106" y="209"/>
                  </a:lnTo>
                  <a:lnTo>
                    <a:pt x="103" y="216"/>
                  </a:lnTo>
                  <a:lnTo>
                    <a:pt x="102" y="220"/>
                  </a:lnTo>
                  <a:lnTo>
                    <a:pt x="102" y="225"/>
                  </a:lnTo>
                  <a:lnTo>
                    <a:pt x="100" y="229"/>
                  </a:lnTo>
                  <a:lnTo>
                    <a:pt x="100" y="234"/>
                  </a:lnTo>
                  <a:lnTo>
                    <a:pt x="99" y="240"/>
                  </a:lnTo>
                  <a:lnTo>
                    <a:pt x="99" y="247"/>
                  </a:lnTo>
                  <a:lnTo>
                    <a:pt x="99" y="256"/>
                  </a:lnTo>
                  <a:lnTo>
                    <a:pt x="99" y="266"/>
                  </a:lnTo>
                  <a:lnTo>
                    <a:pt x="99" y="278"/>
                  </a:lnTo>
                  <a:lnTo>
                    <a:pt x="97" y="384"/>
                  </a:lnTo>
                  <a:lnTo>
                    <a:pt x="97" y="385"/>
                  </a:lnTo>
                  <a:lnTo>
                    <a:pt x="95" y="388"/>
                  </a:lnTo>
                  <a:lnTo>
                    <a:pt x="91" y="394"/>
                  </a:lnTo>
                  <a:lnTo>
                    <a:pt x="88" y="398"/>
                  </a:lnTo>
                  <a:lnTo>
                    <a:pt x="84" y="403"/>
                  </a:lnTo>
                  <a:lnTo>
                    <a:pt x="80" y="409"/>
                  </a:lnTo>
                  <a:lnTo>
                    <a:pt x="78" y="414"/>
                  </a:lnTo>
                  <a:lnTo>
                    <a:pt x="77" y="418"/>
                  </a:lnTo>
                  <a:lnTo>
                    <a:pt x="73" y="439"/>
                  </a:lnTo>
                  <a:lnTo>
                    <a:pt x="69" y="440"/>
                  </a:lnTo>
                  <a:lnTo>
                    <a:pt x="69" y="444"/>
                  </a:lnTo>
                  <a:lnTo>
                    <a:pt x="73" y="453"/>
                  </a:lnTo>
                  <a:lnTo>
                    <a:pt x="69" y="464"/>
                  </a:lnTo>
                  <a:lnTo>
                    <a:pt x="70" y="473"/>
                  </a:lnTo>
                  <a:lnTo>
                    <a:pt x="69" y="490"/>
                  </a:lnTo>
                  <a:lnTo>
                    <a:pt x="63" y="491"/>
                  </a:lnTo>
                  <a:lnTo>
                    <a:pt x="64" y="501"/>
                  </a:lnTo>
                  <a:lnTo>
                    <a:pt x="67" y="501"/>
                  </a:lnTo>
                  <a:lnTo>
                    <a:pt x="67" y="502"/>
                  </a:lnTo>
                  <a:lnTo>
                    <a:pt x="67" y="506"/>
                  </a:lnTo>
                  <a:lnTo>
                    <a:pt x="67" y="512"/>
                  </a:lnTo>
                  <a:lnTo>
                    <a:pt x="67" y="520"/>
                  </a:lnTo>
                  <a:lnTo>
                    <a:pt x="67" y="527"/>
                  </a:lnTo>
                  <a:lnTo>
                    <a:pt x="67" y="534"/>
                  </a:lnTo>
                  <a:lnTo>
                    <a:pt x="67" y="541"/>
                  </a:lnTo>
                  <a:lnTo>
                    <a:pt x="67" y="546"/>
                  </a:lnTo>
                  <a:lnTo>
                    <a:pt x="66" y="549"/>
                  </a:lnTo>
                  <a:lnTo>
                    <a:pt x="66" y="552"/>
                  </a:lnTo>
                  <a:lnTo>
                    <a:pt x="66" y="553"/>
                  </a:lnTo>
                  <a:lnTo>
                    <a:pt x="64" y="554"/>
                  </a:lnTo>
                  <a:lnTo>
                    <a:pt x="64" y="556"/>
                  </a:lnTo>
                  <a:lnTo>
                    <a:pt x="64" y="557"/>
                  </a:lnTo>
                  <a:lnTo>
                    <a:pt x="64" y="559"/>
                  </a:lnTo>
                  <a:lnTo>
                    <a:pt x="64" y="560"/>
                  </a:lnTo>
                  <a:lnTo>
                    <a:pt x="64" y="561"/>
                  </a:lnTo>
                  <a:lnTo>
                    <a:pt x="66" y="563"/>
                  </a:lnTo>
                  <a:lnTo>
                    <a:pt x="66" y="563"/>
                  </a:lnTo>
                  <a:lnTo>
                    <a:pt x="67" y="564"/>
                  </a:lnTo>
                  <a:lnTo>
                    <a:pt x="67" y="565"/>
                  </a:lnTo>
                  <a:lnTo>
                    <a:pt x="67" y="565"/>
                  </a:lnTo>
                  <a:lnTo>
                    <a:pt x="69" y="567"/>
                  </a:lnTo>
                  <a:lnTo>
                    <a:pt x="69" y="570"/>
                  </a:lnTo>
                  <a:lnTo>
                    <a:pt x="69" y="572"/>
                  </a:lnTo>
                  <a:lnTo>
                    <a:pt x="69" y="578"/>
                  </a:lnTo>
                  <a:lnTo>
                    <a:pt x="70" y="583"/>
                  </a:lnTo>
                  <a:lnTo>
                    <a:pt x="70" y="591"/>
                  </a:lnTo>
                  <a:lnTo>
                    <a:pt x="70" y="598"/>
                  </a:lnTo>
                  <a:lnTo>
                    <a:pt x="70" y="605"/>
                  </a:lnTo>
                  <a:lnTo>
                    <a:pt x="69" y="611"/>
                  </a:lnTo>
                  <a:lnTo>
                    <a:pt x="67" y="615"/>
                  </a:lnTo>
                  <a:lnTo>
                    <a:pt x="66" y="616"/>
                  </a:lnTo>
                  <a:lnTo>
                    <a:pt x="64" y="618"/>
                  </a:lnTo>
                  <a:lnTo>
                    <a:pt x="60" y="620"/>
                  </a:lnTo>
                  <a:lnTo>
                    <a:pt x="58" y="623"/>
                  </a:lnTo>
                  <a:lnTo>
                    <a:pt x="53" y="627"/>
                  </a:lnTo>
                  <a:lnTo>
                    <a:pt x="51" y="631"/>
                  </a:lnTo>
                  <a:lnTo>
                    <a:pt x="48" y="637"/>
                  </a:lnTo>
                  <a:lnTo>
                    <a:pt x="47" y="644"/>
                  </a:lnTo>
                  <a:lnTo>
                    <a:pt x="45" y="652"/>
                  </a:lnTo>
                  <a:lnTo>
                    <a:pt x="45" y="666"/>
                  </a:lnTo>
                  <a:lnTo>
                    <a:pt x="45" y="681"/>
                  </a:lnTo>
                  <a:lnTo>
                    <a:pt x="45" y="696"/>
                  </a:lnTo>
                  <a:lnTo>
                    <a:pt x="45" y="711"/>
                  </a:lnTo>
                  <a:lnTo>
                    <a:pt x="45" y="723"/>
                  </a:lnTo>
                  <a:lnTo>
                    <a:pt x="45" y="733"/>
                  </a:lnTo>
                  <a:lnTo>
                    <a:pt x="45" y="736"/>
                  </a:lnTo>
                  <a:lnTo>
                    <a:pt x="42" y="737"/>
                  </a:lnTo>
                  <a:lnTo>
                    <a:pt x="42" y="743"/>
                  </a:lnTo>
                  <a:lnTo>
                    <a:pt x="45" y="751"/>
                  </a:lnTo>
                  <a:lnTo>
                    <a:pt x="47" y="765"/>
                  </a:lnTo>
                  <a:lnTo>
                    <a:pt x="60" y="780"/>
                  </a:lnTo>
                  <a:lnTo>
                    <a:pt x="106" y="781"/>
                  </a:lnTo>
                  <a:lnTo>
                    <a:pt x="106" y="783"/>
                  </a:lnTo>
                  <a:lnTo>
                    <a:pt x="106" y="783"/>
                  </a:lnTo>
                  <a:lnTo>
                    <a:pt x="107" y="783"/>
                  </a:lnTo>
                  <a:lnTo>
                    <a:pt x="107" y="785"/>
                  </a:lnTo>
                  <a:lnTo>
                    <a:pt x="107" y="788"/>
                  </a:lnTo>
                  <a:lnTo>
                    <a:pt x="108" y="791"/>
                  </a:lnTo>
                  <a:lnTo>
                    <a:pt x="108" y="796"/>
                  </a:lnTo>
                  <a:lnTo>
                    <a:pt x="108" y="803"/>
                  </a:lnTo>
                  <a:lnTo>
                    <a:pt x="108" y="833"/>
                  </a:lnTo>
                  <a:lnTo>
                    <a:pt x="114" y="865"/>
                  </a:lnTo>
                  <a:lnTo>
                    <a:pt x="162" y="866"/>
                  </a:lnTo>
                  <a:lnTo>
                    <a:pt x="179" y="89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49" name="Freeform 749"/>
            <p:cNvSpPr>
              <a:spLocks/>
            </p:cNvSpPr>
            <p:nvPr/>
          </p:nvSpPr>
          <p:spPr bwMode="auto">
            <a:xfrm>
              <a:off x="1949" y="2415"/>
              <a:ext cx="146" cy="729"/>
            </a:xfrm>
            <a:custGeom>
              <a:avLst/>
              <a:gdLst>
                <a:gd name="T0" fmla="*/ 144 w 179"/>
                <a:gd name="T1" fmla="*/ 886 h 901"/>
                <a:gd name="T2" fmla="*/ 122 w 179"/>
                <a:gd name="T3" fmla="*/ 872 h 901"/>
                <a:gd name="T4" fmla="*/ 64 w 179"/>
                <a:gd name="T5" fmla="*/ 869 h 901"/>
                <a:gd name="T6" fmla="*/ 84 w 179"/>
                <a:gd name="T7" fmla="*/ 818 h 901"/>
                <a:gd name="T8" fmla="*/ 67 w 179"/>
                <a:gd name="T9" fmla="*/ 806 h 901"/>
                <a:gd name="T10" fmla="*/ 42 w 179"/>
                <a:gd name="T11" fmla="*/ 811 h 901"/>
                <a:gd name="T12" fmla="*/ 0 w 179"/>
                <a:gd name="T13" fmla="*/ 766 h 901"/>
                <a:gd name="T14" fmla="*/ 5 w 179"/>
                <a:gd name="T15" fmla="*/ 675 h 901"/>
                <a:gd name="T16" fmla="*/ 36 w 179"/>
                <a:gd name="T17" fmla="*/ 576 h 901"/>
                <a:gd name="T18" fmla="*/ 33 w 179"/>
                <a:gd name="T19" fmla="*/ 473 h 901"/>
                <a:gd name="T20" fmla="*/ 58 w 179"/>
                <a:gd name="T21" fmla="*/ 425 h 901"/>
                <a:gd name="T22" fmla="*/ 49 w 179"/>
                <a:gd name="T23" fmla="*/ 410 h 901"/>
                <a:gd name="T24" fmla="*/ 45 w 179"/>
                <a:gd name="T25" fmla="*/ 428 h 901"/>
                <a:gd name="T26" fmla="*/ 41 w 179"/>
                <a:gd name="T27" fmla="*/ 447 h 901"/>
                <a:gd name="T28" fmla="*/ 33 w 179"/>
                <a:gd name="T29" fmla="*/ 418 h 901"/>
                <a:gd name="T30" fmla="*/ 59 w 179"/>
                <a:gd name="T31" fmla="*/ 307 h 901"/>
                <a:gd name="T32" fmla="*/ 62 w 179"/>
                <a:gd name="T33" fmla="*/ 268 h 901"/>
                <a:gd name="T34" fmla="*/ 78 w 179"/>
                <a:gd name="T35" fmla="*/ 225 h 901"/>
                <a:gd name="T36" fmla="*/ 80 w 179"/>
                <a:gd name="T37" fmla="*/ 207 h 901"/>
                <a:gd name="T38" fmla="*/ 81 w 179"/>
                <a:gd name="T39" fmla="*/ 189 h 901"/>
                <a:gd name="T40" fmla="*/ 82 w 179"/>
                <a:gd name="T41" fmla="*/ 172 h 901"/>
                <a:gd name="T42" fmla="*/ 84 w 179"/>
                <a:gd name="T43" fmla="*/ 157 h 901"/>
                <a:gd name="T44" fmla="*/ 82 w 179"/>
                <a:gd name="T45" fmla="*/ 135 h 901"/>
                <a:gd name="T46" fmla="*/ 84 w 179"/>
                <a:gd name="T47" fmla="*/ 120 h 901"/>
                <a:gd name="T48" fmla="*/ 86 w 179"/>
                <a:gd name="T49" fmla="*/ 98 h 901"/>
                <a:gd name="T50" fmla="*/ 81 w 179"/>
                <a:gd name="T51" fmla="*/ 44 h 901"/>
                <a:gd name="T52" fmla="*/ 69 w 179"/>
                <a:gd name="T53" fmla="*/ 24 h 901"/>
                <a:gd name="T54" fmla="*/ 55 w 179"/>
                <a:gd name="T55" fmla="*/ 11 h 901"/>
                <a:gd name="T56" fmla="*/ 75 w 179"/>
                <a:gd name="T57" fmla="*/ 6 h 901"/>
                <a:gd name="T58" fmla="*/ 89 w 179"/>
                <a:gd name="T59" fmla="*/ 10 h 901"/>
                <a:gd name="T60" fmla="*/ 118 w 179"/>
                <a:gd name="T61" fmla="*/ 54 h 901"/>
                <a:gd name="T62" fmla="*/ 121 w 179"/>
                <a:gd name="T63" fmla="*/ 64 h 901"/>
                <a:gd name="T64" fmla="*/ 133 w 179"/>
                <a:gd name="T65" fmla="*/ 128 h 901"/>
                <a:gd name="T66" fmla="*/ 140 w 179"/>
                <a:gd name="T67" fmla="*/ 130 h 901"/>
                <a:gd name="T68" fmla="*/ 140 w 179"/>
                <a:gd name="T69" fmla="*/ 146 h 901"/>
                <a:gd name="T70" fmla="*/ 133 w 179"/>
                <a:gd name="T71" fmla="*/ 154 h 901"/>
                <a:gd name="T72" fmla="*/ 124 w 179"/>
                <a:gd name="T73" fmla="*/ 176 h 901"/>
                <a:gd name="T74" fmla="*/ 106 w 179"/>
                <a:gd name="T75" fmla="*/ 209 h 901"/>
                <a:gd name="T76" fmla="*/ 100 w 179"/>
                <a:gd name="T77" fmla="*/ 234 h 901"/>
                <a:gd name="T78" fmla="*/ 99 w 179"/>
                <a:gd name="T79" fmla="*/ 278 h 901"/>
                <a:gd name="T80" fmla="*/ 88 w 179"/>
                <a:gd name="T81" fmla="*/ 398 h 901"/>
                <a:gd name="T82" fmla="*/ 73 w 179"/>
                <a:gd name="T83" fmla="*/ 439 h 901"/>
                <a:gd name="T84" fmla="*/ 70 w 179"/>
                <a:gd name="T85" fmla="*/ 473 h 901"/>
                <a:gd name="T86" fmla="*/ 67 w 179"/>
                <a:gd name="T87" fmla="*/ 502 h 901"/>
                <a:gd name="T88" fmla="*/ 67 w 179"/>
                <a:gd name="T89" fmla="*/ 534 h 901"/>
                <a:gd name="T90" fmla="*/ 66 w 179"/>
                <a:gd name="T91" fmla="*/ 553 h 901"/>
                <a:gd name="T92" fmla="*/ 64 w 179"/>
                <a:gd name="T93" fmla="*/ 560 h 901"/>
                <a:gd name="T94" fmla="*/ 69 w 179"/>
                <a:gd name="T95" fmla="*/ 567 h 901"/>
                <a:gd name="T96" fmla="*/ 70 w 179"/>
                <a:gd name="T97" fmla="*/ 591 h 901"/>
                <a:gd name="T98" fmla="*/ 66 w 179"/>
                <a:gd name="T99" fmla="*/ 616 h 901"/>
                <a:gd name="T100" fmla="*/ 51 w 179"/>
                <a:gd name="T101" fmla="*/ 631 h 901"/>
                <a:gd name="T102" fmla="*/ 45 w 179"/>
                <a:gd name="T103" fmla="*/ 681 h 901"/>
                <a:gd name="T104" fmla="*/ 45 w 179"/>
                <a:gd name="T105" fmla="*/ 736 h 901"/>
                <a:gd name="T106" fmla="*/ 60 w 179"/>
                <a:gd name="T107" fmla="*/ 780 h 901"/>
                <a:gd name="T108" fmla="*/ 107 w 179"/>
                <a:gd name="T109" fmla="*/ 788 h 901"/>
                <a:gd name="T110" fmla="*/ 114 w 179"/>
                <a:gd name="T111" fmla="*/ 86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9" h="901">
                  <a:moveTo>
                    <a:pt x="179" y="891"/>
                  </a:moveTo>
                  <a:lnTo>
                    <a:pt x="172" y="895"/>
                  </a:lnTo>
                  <a:lnTo>
                    <a:pt x="162" y="891"/>
                  </a:lnTo>
                  <a:lnTo>
                    <a:pt x="155" y="884"/>
                  </a:lnTo>
                  <a:lnTo>
                    <a:pt x="144" y="886"/>
                  </a:lnTo>
                  <a:lnTo>
                    <a:pt x="133" y="894"/>
                  </a:lnTo>
                  <a:lnTo>
                    <a:pt x="126" y="901"/>
                  </a:lnTo>
                  <a:lnTo>
                    <a:pt x="122" y="891"/>
                  </a:lnTo>
                  <a:lnTo>
                    <a:pt x="124" y="879"/>
                  </a:lnTo>
                  <a:lnTo>
                    <a:pt x="122" y="872"/>
                  </a:lnTo>
                  <a:lnTo>
                    <a:pt x="110" y="877"/>
                  </a:lnTo>
                  <a:lnTo>
                    <a:pt x="110" y="891"/>
                  </a:lnTo>
                  <a:lnTo>
                    <a:pt x="89" y="891"/>
                  </a:lnTo>
                  <a:lnTo>
                    <a:pt x="82" y="868"/>
                  </a:lnTo>
                  <a:lnTo>
                    <a:pt x="64" y="869"/>
                  </a:lnTo>
                  <a:lnTo>
                    <a:pt x="64" y="853"/>
                  </a:lnTo>
                  <a:lnTo>
                    <a:pt x="78" y="849"/>
                  </a:lnTo>
                  <a:lnTo>
                    <a:pt x="85" y="825"/>
                  </a:lnTo>
                  <a:lnTo>
                    <a:pt x="85" y="822"/>
                  </a:lnTo>
                  <a:lnTo>
                    <a:pt x="84" y="818"/>
                  </a:lnTo>
                  <a:lnTo>
                    <a:pt x="81" y="816"/>
                  </a:lnTo>
                  <a:lnTo>
                    <a:pt x="77" y="813"/>
                  </a:lnTo>
                  <a:lnTo>
                    <a:pt x="73" y="810"/>
                  </a:lnTo>
                  <a:lnTo>
                    <a:pt x="70" y="807"/>
                  </a:lnTo>
                  <a:lnTo>
                    <a:pt x="67" y="806"/>
                  </a:lnTo>
                  <a:lnTo>
                    <a:pt x="60" y="805"/>
                  </a:lnTo>
                  <a:lnTo>
                    <a:pt x="53" y="805"/>
                  </a:lnTo>
                  <a:lnTo>
                    <a:pt x="49" y="806"/>
                  </a:lnTo>
                  <a:lnTo>
                    <a:pt x="45" y="809"/>
                  </a:lnTo>
                  <a:lnTo>
                    <a:pt x="42" y="811"/>
                  </a:lnTo>
                  <a:lnTo>
                    <a:pt x="41" y="814"/>
                  </a:lnTo>
                  <a:lnTo>
                    <a:pt x="40" y="817"/>
                  </a:lnTo>
                  <a:lnTo>
                    <a:pt x="3" y="777"/>
                  </a:lnTo>
                  <a:lnTo>
                    <a:pt x="1" y="773"/>
                  </a:lnTo>
                  <a:lnTo>
                    <a:pt x="0" y="766"/>
                  </a:lnTo>
                  <a:lnTo>
                    <a:pt x="0" y="758"/>
                  </a:lnTo>
                  <a:lnTo>
                    <a:pt x="0" y="747"/>
                  </a:lnTo>
                  <a:lnTo>
                    <a:pt x="1" y="725"/>
                  </a:lnTo>
                  <a:lnTo>
                    <a:pt x="3" y="700"/>
                  </a:lnTo>
                  <a:lnTo>
                    <a:pt x="5" y="675"/>
                  </a:lnTo>
                  <a:lnTo>
                    <a:pt x="8" y="655"/>
                  </a:lnTo>
                  <a:lnTo>
                    <a:pt x="9" y="641"/>
                  </a:lnTo>
                  <a:lnTo>
                    <a:pt x="9" y="635"/>
                  </a:lnTo>
                  <a:lnTo>
                    <a:pt x="30" y="607"/>
                  </a:lnTo>
                  <a:lnTo>
                    <a:pt x="36" y="576"/>
                  </a:lnTo>
                  <a:lnTo>
                    <a:pt x="36" y="539"/>
                  </a:lnTo>
                  <a:lnTo>
                    <a:pt x="19" y="516"/>
                  </a:lnTo>
                  <a:lnTo>
                    <a:pt x="40" y="494"/>
                  </a:lnTo>
                  <a:lnTo>
                    <a:pt x="42" y="473"/>
                  </a:lnTo>
                  <a:lnTo>
                    <a:pt x="33" y="473"/>
                  </a:lnTo>
                  <a:lnTo>
                    <a:pt x="37" y="464"/>
                  </a:lnTo>
                  <a:lnTo>
                    <a:pt x="44" y="464"/>
                  </a:lnTo>
                  <a:lnTo>
                    <a:pt x="56" y="457"/>
                  </a:lnTo>
                  <a:lnTo>
                    <a:pt x="58" y="438"/>
                  </a:lnTo>
                  <a:lnTo>
                    <a:pt x="58" y="425"/>
                  </a:lnTo>
                  <a:lnTo>
                    <a:pt x="60" y="414"/>
                  </a:lnTo>
                  <a:lnTo>
                    <a:pt x="64" y="395"/>
                  </a:lnTo>
                  <a:lnTo>
                    <a:pt x="56" y="399"/>
                  </a:lnTo>
                  <a:lnTo>
                    <a:pt x="51" y="409"/>
                  </a:lnTo>
                  <a:lnTo>
                    <a:pt x="49" y="410"/>
                  </a:lnTo>
                  <a:lnTo>
                    <a:pt x="48" y="413"/>
                  </a:lnTo>
                  <a:lnTo>
                    <a:pt x="47" y="416"/>
                  </a:lnTo>
                  <a:lnTo>
                    <a:pt x="47" y="420"/>
                  </a:lnTo>
                  <a:lnTo>
                    <a:pt x="45" y="424"/>
                  </a:lnTo>
                  <a:lnTo>
                    <a:pt x="45" y="428"/>
                  </a:lnTo>
                  <a:lnTo>
                    <a:pt x="45" y="433"/>
                  </a:lnTo>
                  <a:lnTo>
                    <a:pt x="44" y="438"/>
                  </a:lnTo>
                  <a:lnTo>
                    <a:pt x="44" y="442"/>
                  </a:lnTo>
                  <a:lnTo>
                    <a:pt x="42" y="444"/>
                  </a:lnTo>
                  <a:lnTo>
                    <a:pt x="41" y="447"/>
                  </a:lnTo>
                  <a:lnTo>
                    <a:pt x="40" y="449"/>
                  </a:lnTo>
                  <a:lnTo>
                    <a:pt x="38" y="450"/>
                  </a:lnTo>
                  <a:lnTo>
                    <a:pt x="37" y="451"/>
                  </a:lnTo>
                  <a:lnTo>
                    <a:pt x="36" y="451"/>
                  </a:lnTo>
                  <a:lnTo>
                    <a:pt x="33" y="418"/>
                  </a:lnTo>
                  <a:lnTo>
                    <a:pt x="42" y="389"/>
                  </a:lnTo>
                  <a:lnTo>
                    <a:pt x="51" y="363"/>
                  </a:lnTo>
                  <a:lnTo>
                    <a:pt x="55" y="341"/>
                  </a:lnTo>
                  <a:lnTo>
                    <a:pt x="58" y="322"/>
                  </a:lnTo>
                  <a:lnTo>
                    <a:pt x="59" y="307"/>
                  </a:lnTo>
                  <a:lnTo>
                    <a:pt x="59" y="296"/>
                  </a:lnTo>
                  <a:lnTo>
                    <a:pt x="59" y="288"/>
                  </a:lnTo>
                  <a:lnTo>
                    <a:pt x="59" y="286"/>
                  </a:lnTo>
                  <a:lnTo>
                    <a:pt x="59" y="278"/>
                  </a:lnTo>
                  <a:lnTo>
                    <a:pt x="62" y="268"/>
                  </a:lnTo>
                  <a:lnTo>
                    <a:pt x="64" y="259"/>
                  </a:lnTo>
                  <a:lnTo>
                    <a:pt x="69" y="248"/>
                  </a:lnTo>
                  <a:lnTo>
                    <a:pt x="73" y="238"/>
                  </a:lnTo>
                  <a:lnTo>
                    <a:pt x="75" y="230"/>
                  </a:lnTo>
                  <a:lnTo>
                    <a:pt x="78" y="225"/>
                  </a:lnTo>
                  <a:lnTo>
                    <a:pt x="80" y="222"/>
                  </a:lnTo>
                  <a:lnTo>
                    <a:pt x="80" y="219"/>
                  </a:lnTo>
                  <a:lnTo>
                    <a:pt x="80" y="215"/>
                  </a:lnTo>
                  <a:lnTo>
                    <a:pt x="80" y="211"/>
                  </a:lnTo>
                  <a:lnTo>
                    <a:pt x="80" y="207"/>
                  </a:lnTo>
                  <a:lnTo>
                    <a:pt x="80" y="201"/>
                  </a:lnTo>
                  <a:lnTo>
                    <a:pt x="80" y="197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89"/>
                  </a:lnTo>
                  <a:lnTo>
                    <a:pt x="81" y="185"/>
                  </a:lnTo>
                  <a:lnTo>
                    <a:pt x="81" y="182"/>
                  </a:lnTo>
                  <a:lnTo>
                    <a:pt x="82" y="178"/>
                  </a:lnTo>
                  <a:lnTo>
                    <a:pt x="82" y="175"/>
                  </a:lnTo>
                  <a:lnTo>
                    <a:pt x="82" y="172"/>
                  </a:lnTo>
                  <a:lnTo>
                    <a:pt x="82" y="171"/>
                  </a:lnTo>
                  <a:lnTo>
                    <a:pt x="82" y="168"/>
                  </a:lnTo>
                  <a:lnTo>
                    <a:pt x="84" y="165"/>
                  </a:lnTo>
                  <a:lnTo>
                    <a:pt x="84" y="161"/>
                  </a:lnTo>
                  <a:lnTo>
                    <a:pt x="84" y="157"/>
                  </a:lnTo>
                  <a:lnTo>
                    <a:pt x="84" y="153"/>
                  </a:lnTo>
                  <a:lnTo>
                    <a:pt x="84" y="148"/>
                  </a:lnTo>
                  <a:lnTo>
                    <a:pt x="84" y="143"/>
                  </a:lnTo>
                  <a:lnTo>
                    <a:pt x="82" y="139"/>
                  </a:lnTo>
                  <a:lnTo>
                    <a:pt x="82" y="135"/>
                  </a:lnTo>
                  <a:lnTo>
                    <a:pt x="82" y="132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4" y="123"/>
                  </a:lnTo>
                  <a:lnTo>
                    <a:pt x="84" y="120"/>
                  </a:lnTo>
                  <a:lnTo>
                    <a:pt x="84" y="117"/>
                  </a:lnTo>
                  <a:lnTo>
                    <a:pt x="85" y="115"/>
                  </a:lnTo>
                  <a:lnTo>
                    <a:pt x="85" y="112"/>
                  </a:lnTo>
                  <a:lnTo>
                    <a:pt x="86" y="106"/>
                  </a:lnTo>
                  <a:lnTo>
                    <a:pt x="86" y="98"/>
                  </a:lnTo>
                  <a:lnTo>
                    <a:pt x="88" y="90"/>
                  </a:lnTo>
                  <a:lnTo>
                    <a:pt x="88" y="79"/>
                  </a:lnTo>
                  <a:lnTo>
                    <a:pt x="86" y="68"/>
                  </a:lnTo>
                  <a:lnTo>
                    <a:pt x="85" y="57"/>
                  </a:lnTo>
                  <a:lnTo>
                    <a:pt x="81" y="44"/>
                  </a:lnTo>
                  <a:lnTo>
                    <a:pt x="80" y="40"/>
                  </a:lnTo>
                  <a:lnTo>
                    <a:pt x="77" y="36"/>
                  </a:lnTo>
                  <a:lnTo>
                    <a:pt x="74" y="32"/>
                  </a:lnTo>
                  <a:lnTo>
                    <a:pt x="71" y="28"/>
                  </a:lnTo>
                  <a:lnTo>
                    <a:pt x="69" y="24"/>
                  </a:lnTo>
                  <a:lnTo>
                    <a:pt x="64" y="21"/>
                  </a:lnTo>
                  <a:lnTo>
                    <a:pt x="62" y="18"/>
                  </a:lnTo>
                  <a:lnTo>
                    <a:pt x="58" y="14"/>
                  </a:lnTo>
                  <a:lnTo>
                    <a:pt x="53" y="11"/>
                  </a:lnTo>
                  <a:lnTo>
                    <a:pt x="55" y="11"/>
                  </a:lnTo>
                  <a:lnTo>
                    <a:pt x="58" y="11"/>
                  </a:lnTo>
                  <a:lnTo>
                    <a:pt x="60" y="10"/>
                  </a:lnTo>
                  <a:lnTo>
                    <a:pt x="64" y="10"/>
                  </a:lnTo>
                  <a:lnTo>
                    <a:pt x="70" y="9"/>
                  </a:lnTo>
                  <a:lnTo>
                    <a:pt x="75" y="6"/>
                  </a:lnTo>
                  <a:lnTo>
                    <a:pt x="81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8" y="6"/>
                  </a:lnTo>
                  <a:lnTo>
                    <a:pt x="89" y="10"/>
                  </a:lnTo>
                  <a:lnTo>
                    <a:pt x="92" y="16"/>
                  </a:lnTo>
                  <a:lnTo>
                    <a:pt x="95" y="24"/>
                  </a:lnTo>
                  <a:lnTo>
                    <a:pt x="100" y="32"/>
                  </a:lnTo>
                  <a:lnTo>
                    <a:pt x="108" y="42"/>
                  </a:lnTo>
                  <a:lnTo>
                    <a:pt x="118" y="54"/>
                  </a:lnTo>
                  <a:lnTo>
                    <a:pt x="118" y="55"/>
                  </a:lnTo>
                  <a:lnTo>
                    <a:pt x="118" y="57"/>
                  </a:lnTo>
                  <a:lnTo>
                    <a:pt x="119" y="58"/>
                  </a:lnTo>
                  <a:lnTo>
                    <a:pt x="119" y="61"/>
                  </a:lnTo>
                  <a:lnTo>
                    <a:pt x="121" y="64"/>
                  </a:lnTo>
                  <a:lnTo>
                    <a:pt x="121" y="68"/>
                  </a:lnTo>
                  <a:lnTo>
                    <a:pt x="121" y="72"/>
                  </a:lnTo>
                  <a:lnTo>
                    <a:pt x="132" y="126"/>
                  </a:lnTo>
                  <a:lnTo>
                    <a:pt x="132" y="127"/>
                  </a:lnTo>
                  <a:lnTo>
                    <a:pt x="133" y="128"/>
                  </a:lnTo>
                  <a:lnTo>
                    <a:pt x="135" y="128"/>
                  </a:lnTo>
                  <a:lnTo>
                    <a:pt x="136" y="128"/>
                  </a:lnTo>
                  <a:lnTo>
                    <a:pt x="139" y="12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1" y="135"/>
                  </a:lnTo>
                  <a:lnTo>
                    <a:pt x="141" y="139"/>
                  </a:lnTo>
                  <a:lnTo>
                    <a:pt x="140" y="142"/>
                  </a:lnTo>
                  <a:lnTo>
                    <a:pt x="140" y="146"/>
                  </a:lnTo>
                  <a:lnTo>
                    <a:pt x="140" y="149"/>
                  </a:lnTo>
                  <a:lnTo>
                    <a:pt x="139" y="149"/>
                  </a:lnTo>
                  <a:lnTo>
                    <a:pt x="137" y="150"/>
                  </a:lnTo>
                  <a:lnTo>
                    <a:pt x="135" y="152"/>
                  </a:lnTo>
                  <a:lnTo>
                    <a:pt x="133" y="154"/>
                  </a:lnTo>
                  <a:lnTo>
                    <a:pt x="130" y="157"/>
                  </a:lnTo>
                  <a:lnTo>
                    <a:pt x="128" y="161"/>
                  </a:lnTo>
                  <a:lnTo>
                    <a:pt x="126" y="167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1" y="181"/>
                  </a:lnTo>
                  <a:lnTo>
                    <a:pt x="118" y="186"/>
                  </a:lnTo>
                  <a:lnTo>
                    <a:pt x="114" y="194"/>
                  </a:lnTo>
                  <a:lnTo>
                    <a:pt x="110" y="201"/>
                  </a:lnTo>
                  <a:lnTo>
                    <a:pt x="106" y="209"/>
                  </a:lnTo>
                  <a:lnTo>
                    <a:pt x="103" y="216"/>
                  </a:lnTo>
                  <a:lnTo>
                    <a:pt x="102" y="220"/>
                  </a:lnTo>
                  <a:lnTo>
                    <a:pt x="102" y="225"/>
                  </a:lnTo>
                  <a:lnTo>
                    <a:pt x="100" y="229"/>
                  </a:lnTo>
                  <a:lnTo>
                    <a:pt x="100" y="234"/>
                  </a:lnTo>
                  <a:lnTo>
                    <a:pt x="99" y="240"/>
                  </a:lnTo>
                  <a:lnTo>
                    <a:pt x="99" y="247"/>
                  </a:lnTo>
                  <a:lnTo>
                    <a:pt x="99" y="256"/>
                  </a:lnTo>
                  <a:lnTo>
                    <a:pt x="99" y="266"/>
                  </a:lnTo>
                  <a:lnTo>
                    <a:pt x="99" y="278"/>
                  </a:lnTo>
                  <a:lnTo>
                    <a:pt x="97" y="384"/>
                  </a:lnTo>
                  <a:lnTo>
                    <a:pt x="97" y="385"/>
                  </a:lnTo>
                  <a:lnTo>
                    <a:pt x="95" y="388"/>
                  </a:lnTo>
                  <a:lnTo>
                    <a:pt x="91" y="394"/>
                  </a:lnTo>
                  <a:lnTo>
                    <a:pt x="88" y="398"/>
                  </a:lnTo>
                  <a:lnTo>
                    <a:pt x="84" y="403"/>
                  </a:lnTo>
                  <a:lnTo>
                    <a:pt x="80" y="409"/>
                  </a:lnTo>
                  <a:lnTo>
                    <a:pt x="78" y="414"/>
                  </a:lnTo>
                  <a:lnTo>
                    <a:pt x="77" y="418"/>
                  </a:lnTo>
                  <a:lnTo>
                    <a:pt x="73" y="439"/>
                  </a:lnTo>
                  <a:lnTo>
                    <a:pt x="69" y="440"/>
                  </a:lnTo>
                  <a:lnTo>
                    <a:pt x="69" y="444"/>
                  </a:lnTo>
                  <a:lnTo>
                    <a:pt x="73" y="453"/>
                  </a:lnTo>
                  <a:lnTo>
                    <a:pt x="69" y="464"/>
                  </a:lnTo>
                  <a:lnTo>
                    <a:pt x="70" y="473"/>
                  </a:lnTo>
                  <a:lnTo>
                    <a:pt x="69" y="490"/>
                  </a:lnTo>
                  <a:lnTo>
                    <a:pt x="63" y="491"/>
                  </a:lnTo>
                  <a:lnTo>
                    <a:pt x="64" y="501"/>
                  </a:lnTo>
                  <a:lnTo>
                    <a:pt x="67" y="501"/>
                  </a:lnTo>
                  <a:lnTo>
                    <a:pt x="67" y="502"/>
                  </a:lnTo>
                  <a:lnTo>
                    <a:pt x="67" y="506"/>
                  </a:lnTo>
                  <a:lnTo>
                    <a:pt x="67" y="512"/>
                  </a:lnTo>
                  <a:lnTo>
                    <a:pt x="67" y="520"/>
                  </a:lnTo>
                  <a:lnTo>
                    <a:pt x="67" y="527"/>
                  </a:lnTo>
                  <a:lnTo>
                    <a:pt x="67" y="534"/>
                  </a:lnTo>
                  <a:lnTo>
                    <a:pt x="67" y="541"/>
                  </a:lnTo>
                  <a:lnTo>
                    <a:pt x="67" y="546"/>
                  </a:lnTo>
                  <a:lnTo>
                    <a:pt x="66" y="549"/>
                  </a:lnTo>
                  <a:lnTo>
                    <a:pt x="66" y="552"/>
                  </a:lnTo>
                  <a:lnTo>
                    <a:pt x="66" y="553"/>
                  </a:lnTo>
                  <a:lnTo>
                    <a:pt x="64" y="554"/>
                  </a:lnTo>
                  <a:lnTo>
                    <a:pt x="64" y="556"/>
                  </a:lnTo>
                  <a:lnTo>
                    <a:pt x="64" y="557"/>
                  </a:lnTo>
                  <a:lnTo>
                    <a:pt x="64" y="559"/>
                  </a:lnTo>
                  <a:lnTo>
                    <a:pt x="64" y="560"/>
                  </a:lnTo>
                  <a:lnTo>
                    <a:pt x="64" y="561"/>
                  </a:lnTo>
                  <a:lnTo>
                    <a:pt x="66" y="563"/>
                  </a:lnTo>
                  <a:lnTo>
                    <a:pt x="67" y="564"/>
                  </a:lnTo>
                  <a:lnTo>
                    <a:pt x="67" y="565"/>
                  </a:lnTo>
                  <a:lnTo>
                    <a:pt x="69" y="567"/>
                  </a:lnTo>
                  <a:lnTo>
                    <a:pt x="69" y="570"/>
                  </a:lnTo>
                  <a:lnTo>
                    <a:pt x="69" y="572"/>
                  </a:lnTo>
                  <a:lnTo>
                    <a:pt x="69" y="578"/>
                  </a:lnTo>
                  <a:lnTo>
                    <a:pt x="70" y="583"/>
                  </a:lnTo>
                  <a:lnTo>
                    <a:pt x="70" y="591"/>
                  </a:lnTo>
                  <a:lnTo>
                    <a:pt x="70" y="598"/>
                  </a:lnTo>
                  <a:lnTo>
                    <a:pt x="70" y="605"/>
                  </a:lnTo>
                  <a:lnTo>
                    <a:pt x="69" y="611"/>
                  </a:lnTo>
                  <a:lnTo>
                    <a:pt x="67" y="615"/>
                  </a:lnTo>
                  <a:lnTo>
                    <a:pt x="66" y="616"/>
                  </a:lnTo>
                  <a:lnTo>
                    <a:pt x="64" y="618"/>
                  </a:lnTo>
                  <a:lnTo>
                    <a:pt x="60" y="620"/>
                  </a:lnTo>
                  <a:lnTo>
                    <a:pt x="58" y="623"/>
                  </a:lnTo>
                  <a:lnTo>
                    <a:pt x="53" y="627"/>
                  </a:lnTo>
                  <a:lnTo>
                    <a:pt x="51" y="631"/>
                  </a:lnTo>
                  <a:lnTo>
                    <a:pt x="48" y="637"/>
                  </a:lnTo>
                  <a:lnTo>
                    <a:pt x="47" y="644"/>
                  </a:lnTo>
                  <a:lnTo>
                    <a:pt x="45" y="652"/>
                  </a:lnTo>
                  <a:lnTo>
                    <a:pt x="45" y="666"/>
                  </a:lnTo>
                  <a:lnTo>
                    <a:pt x="45" y="681"/>
                  </a:lnTo>
                  <a:lnTo>
                    <a:pt x="45" y="696"/>
                  </a:lnTo>
                  <a:lnTo>
                    <a:pt x="45" y="711"/>
                  </a:lnTo>
                  <a:lnTo>
                    <a:pt x="45" y="723"/>
                  </a:lnTo>
                  <a:lnTo>
                    <a:pt x="45" y="733"/>
                  </a:lnTo>
                  <a:lnTo>
                    <a:pt x="45" y="736"/>
                  </a:lnTo>
                  <a:lnTo>
                    <a:pt x="42" y="737"/>
                  </a:lnTo>
                  <a:lnTo>
                    <a:pt x="42" y="743"/>
                  </a:lnTo>
                  <a:lnTo>
                    <a:pt x="45" y="751"/>
                  </a:lnTo>
                  <a:lnTo>
                    <a:pt x="47" y="765"/>
                  </a:lnTo>
                  <a:lnTo>
                    <a:pt x="60" y="780"/>
                  </a:lnTo>
                  <a:lnTo>
                    <a:pt x="106" y="781"/>
                  </a:lnTo>
                  <a:lnTo>
                    <a:pt x="106" y="783"/>
                  </a:lnTo>
                  <a:lnTo>
                    <a:pt x="107" y="783"/>
                  </a:lnTo>
                  <a:lnTo>
                    <a:pt x="107" y="785"/>
                  </a:lnTo>
                  <a:lnTo>
                    <a:pt x="107" y="788"/>
                  </a:lnTo>
                  <a:lnTo>
                    <a:pt x="108" y="791"/>
                  </a:lnTo>
                  <a:lnTo>
                    <a:pt x="108" y="796"/>
                  </a:lnTo>
                  <a:lnTo>
                    <a:pt x="108" y="803"/>
                  </a:lnTo>
                  <a:lnTo>
                    <a:pt x="108" y="833"/>
                  </a:lnTo>
                  <a:lnTo>
                    <a:pt x="114" y="865"/>
                  </a:lnTo>
                  <a:lnTo>
                    <a:pt x="162" y="866"/>
                  </a:lnTo>
                  <a:lnTo>
                    <a:pt x="179" y="89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650" name="Group 750"/>
            <p:cNvGrpSpPr>
              <a:grpSpLocks/>
            </p:cNvGrpSpPr>
            <p:nvPr/>
          </p:nvGrpSpPr>
          <p:grpSpPr bwMode="auto">
            <a:xfrm>
              <a:off x="2533" y="576"/>
              <a:ext cx="2628" cy="1686"/>
              <a:chOff x="2335" y="945"/>
              <a:chExt cx="3249" cy="2085"/>
            </a:xfrm>
            <a:grpFill/>
          </p:grpSpPr>
          <p:sp>
            <p:nvSpPr>
              <p:cNvPr id="1019" name="Freeform 751"/>
              <p:cNvSpPr>
                <a:spLocks/>
              </p:cNvSpPr>
              <p:nvPr/>
            </p:nvSpPr>
            <p:spPr bwMode="auto">
              <a:xfrm>
                <a:off x="3618" y="1174"/>
                <a:ext cx="99" cy="222"/>
              </a:xfrm>
              <a:custGeom>
                <a:avLst/>
                <a:gdLst>
                  <a:gd name="T0" fmla="*/ 88 w 99"/>
                  <a:gd name="T1" fmla="*/ 10 h 222"/>
                  <a:gd name="T2" fmla="*/ 88 w 99"/>
                  <a:gd name="T3" fmla="*/ 4 h 222"/>
                  <a:gd name="T4" fmla="*/ 85 w 99"/>
                  <a:gd name="T5" fmla="*/ 0 h 222"/>
                  <a:gd name="T6" fmla="*/ 78 w 99"/>
                  <a:gd name="T7" fmla="*/ 4 h 222"/>
                  <a:gd name="T8" fmla="*/ 67 w 99"/>
                  <a:gd name="T9" fmla="*/ 18 h 222"/>
                  <a:gd name="T10" fmla="*/ 56 w 99"/>
                  <a:gd name="T11" fmla="*/ 29 h 222"/>
                  <a:gd name="T12" fmla="*/ 45 w 99"/>
                  <a:gd name="T13" fmla="*/ 36 h 222"/>
                  <a:gd name="T14" fmla="*/ 40 w 99"/>
                  <a:gd name="T15" fmla="*/ 39 h 222"/>
                  <a:gd name="T16" fmla="*/ 10 w 99"/>
                  <a:gd name="T17" fmla="*/ 107 h 222"/>
                  <a:gd name="T18" fmla="*/ 1 w 99"/>
                  <a:gd name="T19" fmla="*/ 149 h 222"/>
                  <a:gd name="T20" fmla="*/ 0 w 99"/>
                  <a:gd name="T21" fmla="*/ 176 h 222"/>
                  <a:gd name="T22" fmla="*/ 1 w 99"/>
                  <a:gd name="T23" fmla="*/ 176 h 222"/>
                  <a:gd name="T24" fmla="*/ 4 w 99"/>
                  <a:gd name="T25" fmla="*/ 179 h 222"/>
                  <a:gd name="T26" fmla="*/ 6 w 99"/>
                  <a:gd name="T27" fmla="*/ 184 h 222"/>
                  <a:gd name="T28" fmla="*/ 3 w 99"/>
                  <a:gd name="T29" fmla="*/ 193 h 222"/>
                  <a:gd name="T30" fmla="*/ 3 w 99"/>
                  <a:gd name="T31" fmla="*/ 202 h 222"/>
                  <a:gd name="T32" fmla="*/ 4 w 99"/>
                  <a:gd name="T33" fmla="*/ 208 h 222"/>
                  <a:gd name="T34" fmla="*/ 11 w 99"/>
                  <a:gd name="T35" fmla="*/ 212 h 222"/>
                  <a:gd name="T36" fmla="*/ 21 w 99"/>
                  <a:gd name="T37" fmla="*/ 213 h 222"/>
                  <a:gd name="T38" fmla="*/ 28 w 99"/>
                  <a:gd name="T39" fmla="*/ 215 h 222"/>
                  <a:gd name="T40" fmla="*/ 30 w 99"/>
                  <a:gd name="T41" fmla="*/ 217 h 222"/>
                  <a:gd name="T42" fmla="*/ 33 w 99"/>
                  <a:gd name="T43" fmla="*/ 220 h 222"/>
                  <a:gd name="T44" fmla="*/ 47 w 99"/>
                  <a:gd name="T45" fmla="*/ 222 h 222"/>
                  <a:gd name="T46" fmla="*/ 48 w 99"/>
                  <a:gd name="T47" fmla="*/ 222 h 222"/>
                  <a:gd name="T48" fmla="*/ 52 w 99"/>
                  <a:gd name="T49" fmla="*/ 220 h 222"/>
                  <a:gd name="T50" fmla="*/ 56 w 99"/>
                  <a:gd name="T51" fmla="*/ 217 h 222"/>
                  <a:gd name="T52" fmla="*/ 58 w 99"/>
                  <a:gd name="T53" fmla="*/ 212 h 222"/>
                  <a:gd name="T54" fmla="*/ 56 w 99"/>
                  <a:gd name="T55" fmla="*/ 206 h 222"/>
                  <a:gd name="T56" fmla="*/ 52 w 99"/>
                  <a:gd name="T57" fmla="*/ 204 h 222"/>
                  <a:gd name="T58" fmla="*/ 47 w 99"/>
                  <a:gd name="T59" fmla="*/ 202 h 222"/>
                  <a:gd name="T60" fmla="*/ 45 w 99"/>
                  <a:gd name="T61" fmla="*/ 202 h 222"/>
                  <a:gd name="T62" fmla="*/ 34 w 99"/>
                  <a:gd name="T63" fmla="*/ 186 h 222"/>
                  <a:gd name="T64" fmla="*/ 30 w 99"/>
                  <a:gd name="T65" fmla="*/ 172 h 222"/>
                  <a:gd name="T66" fmla="*/ 29 w 99"/>
                  <a:gd name="T67" fmla="*/ 150 h 222"/>
                  <a:gd name="T68" fmla="*/ 30 w 99"/>
                  <a:gd name="T69" fmla="*/ 134 h 222"/>
                  <a:gd name="T70" fmla="*/ 36 w 99"/>
                  <a:gd name="T71" fmla="*/ 124 h 222"/>
                  <a:gd name="T72" fmla="*/ 39 w 99"/>
                  <a:gd name="T73" fmla="*/ 118 h 222"/>
                  <a:gd name="T74" fmla="*/ 37 w 99"/>
                  <a:gd name="T75" fmla="*/ 114 h 222"/>
                  <a:gd name="T76" fmla="*/ 39 w 99"/>
                  <a:gd name="T77" fmla="*/ 106 h 222"/>
                  <a:gd name="T78" fmla="*/ 43 w 99"/>
                  <a:gd name="T79" fmla="*/ 96 h 222"/>
                  <a:gd name="T80" fmla="*/ 51 w 99"/>
                  <a:gd name="T81" fmla="*/ 85 h 222"/>
                  <a:gd name="T82" fmla="*/ 59 w 99"/>
                  <a:gd name="T83" fmla="*/ 70 h 222"/>
                  <a:gd name="T84" fmla="*/ 70 w 99"/>
                  <a:gd name="T85" fmla="*/ 52 h 222"/>
                  <a:gd name="T86" fmla="*/ 88 w 99"/>
                  <a:gd name="T87" fmla="*/ 35 h 222"/>
                  <a:gd name="T88" fmla="*/ 88 w 99"/>
                  <a:gd name="T89" fmla="*/ 1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9" h="222">
                    <a:moveTo>
                      <a:pt x="88" y="11"/>
                    </a:moveTo>
                    <a:lnTo>
                      <a:pt x="88" y="10"/>
                    </a:lnTo>
                    <a:lnTo>
                      <a:pt x="88" y="7"/>
                    </a:lnTo>
                    <a:lnTo>
                      <a:pt x="88" y="4"/>
                    </a:lnTo>
                    <a:lnTo>
                      <a:pt x="87" y="2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78" y="4"/>
                    </a:lnTo>
                    <a:lnTo>
                      <a:pt x="74" y="10"/>
                    </a:lnTo>
                    <a:lnTo>
                      <a:pt x="67" y="18"/>
                    </a:lnTo>
                    <a:lnTo>
                      <a:pt x="62" y="24"/>
                    </a:lnTo>
                    <a:lnTo>
                      <a:pt x="56" y="29"/>
                    </a:lnTo>
                    <a:lnTo>
                      <a:pt x="51" y="33"/>
                    </a:lnTo>
                    <a:lnTo>
                      <a:pt x="45" y="36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39" y="40"/>
                    </a:lnTo>
                    <a:lnTo>
                      <a:pt x="10" y="107"/>
                    </a:lnTo>
                    <a:lnTo>
                      <a:pt x="0" y="138"/>
                    </a:lnTo>
                    <a:lnTo>
                      <a:pt x="1" y="149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1" y="176"/>
                    </a:lnTo>
                    <a:lnTo>
                      <a:pt x="1" y="176"/>
                    </a:lnTo>
                    <a:lnTo>
                      <a:pt x="3" y="178"/>
                    </a:lnTo>
                    <a:lnTo>
                      <a:pt x="4" y="179"/>
                    </a:lnTo>
                    <a:lnTo>
                      <a:pt x="6" y="182"/>
                    </a:lnTo>
                    <a:lnTo>
                      <a:pt x="6" y="184"/>
                    </a:lnTo>
                    <a:lnTo>
                      <a:pt x="4" y="189"/>
                    </a:lnTo>
                    <a:lnTo>
                      <a:pt x="3" y="193"/>
                    </a:lnTo>
                    <a:lnTo>
                      <a:pt x="3" y="198"/>
                    </a:lnTo>
                    <a:lnTo>
                      <a:pt x="3" y="202"/>
                    </a:lnTo>
                    <a:lnTo>
                      <a:pt x="3" y="205"/>
                    </a:lnTo>
                    <a:lnTo>
                      <a:pt x="4" y="208"/>
                    </a:lnTo>
                    <a:lnTo>
                      <a:pt x="7" y="211"/>
                    </a:lnTo>
                    <a:lnTo>
                      <a:pt x="11" y="212"/>
                    </a:lnTo>
                    <a:lnTo>
                      <a:pt x="15" y="213"/>
                    </a:lnTo>
                    <a:lnTo>
                      <a:pt x="21" y="213"/>
                    </a:lnTo>
                    <a:lnTo>
                      <a:pt x="25" y="215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7"/>
                    </a:lnTo>
                    <a:lnTo>
                      <a:pt x="32" y="219"/>
                    </a:lnTo>
                    <a:lnTo>
                      <a:pt x="33" y="220"/>
                    </a:lnTo>
                    <a:lnTo>
                      <a:pt x="33" y="220"/>
                    </a:lnTo>
                    <a:lnTo>
                      <a:pt x="47" y="222"/>
                    </a:lnTo>
                    <a:lnTo>
                      <a:pt x="47" y="222"/>
                    </a:lnTo>
                    <a:lnTo>
                      <a:pt x="48" y="222"/>
                    </a:lnTo>
                    <a:lnTo>
                      <a:pt x="51" y="220"/>
                    </a:lnTo>
                    <a:lnTo>
                      <a:pt x="52" y="220"/>
                    </a:lnTo>
                    <a:lnTo>
                      <a:pt x="55" y="219"/>
                    </a:lnTo>
                    <a:lnTo>
                      <a:pt x="56" y="217"/>
                    </a:lnTo>
                    <a:lnTo>
                      <a:pt x="58" y="215"/>
                    </a:lnTo>
                    <a:lnTo>
                      <a:pt x="58" y="212"/>
                    </a:lnTo>
                    <a:lnTo>
                      <a:pt x="58" y="209"/>
                    </a:lnTo>
                    <a:lnTo>
                      <a:pt x="56" y="206"/>
                    </a:lnTo>
                    <a:lnTo>
                      <a:pt x="54" y="205"/>
                    </a:lnTo>
                    <a:lnTo>
                      <a:pt x="52" y="204"/>
                    </a:lnTo>
                    <a:lnTo>
                      <a:pt x="50" y="202"/>
                    </a:lnTo>
                    <a:lnTo>
                      <a:pt x="47" y="202"/>
                    </a:lnTo>
                    <a:lnTo>
                      <a:pt x="45" y="202"/>
                    </a:lnTo>
                    <a:lnTo>
                      <a:pt x="45" y="202"/>
                    </a:lnTo>
                    <a:lnTo>
                      <a:pt x="36" y="189"/>
                    </a:lnTo>
                    <a:lnTo>
                      <a:pt x="34" y="186"/>
                    </a:lnTo>
                    <a:lnTo>
                      <a:pt x="33" y="180"/>
                    </a:lnTo>
                    <a:lnTo>
                      <a:pt x="30" y="172"/>
                    </a:lnTo>
                    <a:lnTo>
                      <a:pt x="29" y="162"/>
                    </a:lnTo>
                    <a:lnTo>
                      <a:pt x="29" y="150"/>
                    </a:lnTo>
                    <a:lnTo>
                      <a:pt x="29" y="139"/>
                    </a:lnTo>
                    <a:lnTo>
                      <a:pt x="30" y="134"/>
                    </a:lnTo>
                    <a:lnTo>
                      <a:pt x="33" y="128"/>
                    </a:lnTo>
                    <a:lnTo>
                      <a:pt x="36" y="124"/>
                    </a:lnTo>
                    <a:lnTo>
                      <a:pt x="39" y="118"/>
                    </a:lnTo>
                    <a:lnTo>
                      <a:pt x="39" y="118"/>
                    </a:lnTo>
                    <a:lnTo>
                      <a:pt x="39" y="117"/>
                    </a:lnTo>
                    <a:lnTo>
                      <a:pt x="37" y="114"/>
                    </a:lnTo>
                    <a:lnTo>
                      <a:pt x="37" y="110"/>
                    </a:lnTo>
                    <a:lnTo>
                      <a:pt x="39" y="106"/>
                    </a:lnTo>
                    <a:lnTo>
                      <a:pt x="40" y="101"/>
                    </a:lnTo>
                    <a:lnTo>
                      <a:pt x="43" y="96"/>
                    </a:lnTo>
                    <a:lnTo>
                      <a:pt x="47" y="91"/>
                    </a:lnTo>
                    <a:lnTo>
                      <a:pt x="51" y="85"/>
                    </a:lnTo>
                    <a:lnTo>
                      <a:pt x="55" y="79"/>
                    </a:lnTo>
                    <a:lnTo>
                      <a:pt x="59" y="70"/>
                    </a:lnTo>
                    <a:lnTo>
                      <a:pt x="65" y="62"/>
                    </a:lnTo>
                    <a:lnTo>
                      <a:pt x="70" y="52"/>
                    </a:lnTo>
                    <a:lnTo>
                      <a:pt x="78" y="44"/>
                    </a:lnTo>
                    <a:lnTo>
                      <a:pt x="88" y="35"/>
                    </a:lnTo>
                    <a:lnTo>
                      <a:pt x="99" y="26"/>
                    </a:lnTo>
                    <a:lnTo>
                      <a:pt x="88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0" name="Freeform 752"/>
              <p:cNvSpPr>
                <a:spLocks/>
              </p:cNvSpPr>
              <p:nvPr/>
            </p:nvSpPr>
            <p:spPr bwMode="auto">
              <a:xfrm>
                <a:off x="3618" y="1174"/>
                <a:ext cx="99" cy="222"/>
              </a:xfrm>
              <a:custGeom>
                <a:avLst/>
                <a:gdLst>
                  <a:gd name="T0" fmla="*/ 88 w 99"/>
                  <a:gd name="T1" fmla="*/ 10 h 222"/>
                  <a:gd name="T2" fmla="*/ 88 w 99"/>
                  <a:gd name="T3" fmla="*/ 4 h 222"/>
                  <a:gd name="T4" fmla="*/ 85 w 99"/>
                  <a:gd name="T5" fmla="*/ 0 h 222"/>
                  <a:gd name="T6" fmla="*/ 78 w 99"/>
                  <a:gd name="T7" fmla="*/ 4 h 222"/>
                  <a:gd name="T8" fmla="*/ 67 w 99"/>
                  <a:gd name="T9" fmla="*/ 18 h 222"/>
                  <a:gd name="T10" fmla="*/ 56 w 99"/>
                  <a:gd name="T11" fmla="*/ 29 h 222"/>
                  <a:gd name="T12" fmla="*/ 45 w 99"/>
                  <a:gd name="T13" fmla="*/ 36 h 222"/>
                  <a:gd name="T14" fmla="*/ 40 w 99"/>
                  <a:gd name="T15" fmla="*/ 39 h 222"/>
                  <a:gd name="T16" fmla="*/ 10 w 99"/>
                  <a:gd name="T17" fmla="*/ 107 h 222"/>
                  <a:gd name="T18" fmla="*/ 1 w 99"/>
                  <a:gd name="T19" fmla="*/ 149 h 222"/>
                  <a:gd name="T20" fmla="*/ 1 w 99"/>
                  <a:gd name="T21" fmla="*/ 176 h 222"/>
                  <a:gd name="T22" fmla="*/ 4 w 99"/>
                  <a:gd name="T23" fmla="*/ 179 h 222"/>
                  <a:gd name="T24" fmla="*/ 6 w 99"/>
                  <a:gd name="T25" fmla="*/ 184 h 222"/>
                  <a:gd name="T26" fmla="*/ 3 w 99"/>
                  <a:gd name="T27" fmla="*/ 193 h 222"/>
                  <a:gd name="T28" fmla="*/ 3 w 99"/>
                  <a:gd name="T29" fmla="*/ 202 h 222"/>
                  <a:gd name="T30" fmla="*/ 4 w 99"/>
                  <a:gd name="T31" fmla="*/ 208 h 222"/>
                  <a:gd name="T32" fmla="*/ 11 w 99"/>
                  <a:gd name="T33" fmla="*/ 212 h 222"/>
                  <a:gd name="T34" fmla="*/ 21 w 99"/>
                  <a:gd name="T35" fmla="*/ 213 h 222"/>
                  <a:gd name="T36" fmla="*/ 28 w 99"/>
                  <a:gd name="T37" fmla="*/ 215 h 222"/>
                  <a:gd name="T38" fmla="*/ 30 w 99"/>
                  <a:gd name="T39" fmla="*/ 217 h 222"/>
                  <a:gd name="T40" fmla="*/ 33 w 99"/>
                  <a:gd name="T41" fmla="*/ 220 h 222"/>
                  <a:gd name="T42" fmla="*/ 48 w 99"/>
                  <a:gd name="T43" fmla="*/ 222 h 222"/>
                  <a:gd name="T44" fmla="*/ 52 w 99"/>
                  <a:gd name="T45" fmla="*/ 220 h 222"/>
                  <a:gd name="T46" fmla="*/ 56 w 99"/>
                  <a:gd name="T47" fmla="*/ 217 h 222"/>
                  <a:gd name="T48" fmla="*/ 58 w 99"/>
                  <a:gd name="T49" fmla="*/ 212 h 222"/>
                  <a:gd name="T50" fmla="*/ 56 w 99"/>
                  <a:gd name="T51" fmla="*/ 206 h 222"/>
                  <a:gd name="T52" fmla="*/ 52 w 99"/>
                  <a:gd name="T53" fmla="*/ 204 h 222"/>
                  <a:gd name="T54" fmla="*/ 47 w 99"/>
                  <a:gd name="T55" fmla="*/ 202 h 222"/>
                  <a:gd name="T56" fmla="*/ 36 w 99"/>
                  <a:gd name="T57" fmla="*/ 189 h 222"/>
                  <a:gd name="T58" fmla="*/ 33 w 99"/>
                  <a:gd name="T59" fmla="*/ 180 h 222"/>
                  <a:gd name="T60" fmla="*/ 29 w 99"/>
                  <a:gd name="T61" fmla="*/ 162 h 222"/>
                  <a:gd name="T62" fmla="*/ 29 w 99"/>
                  <a:gd name="T63" fmla="*/ 139 h 222"/>
                  <a:gd name="T64" fmla="*/ 33 w 99"/>
                  <a:gd name="T65" fmla="*/ 128 h 222"/>
                  <a:gd name="T66" fmla="*/ 39 w 99"/>
                  <a:gd name="T67" fmla="*/ 118 h 222"/>
                  <a:gd name="T68" fmla="*/ 37 w 99"/>
                  <a:gd name="T69" fmla="*/ 114 h 222"/>
                  <a:gd name="T70" fmla="*/ 39 w 99"/>
                  <a:gd name="T71" fmla="*/ 106 h 222"/>
                  <a:gd name="T72" fmla="*/ 43 w 99"/>
                  <a:gd name="T73" fmla="*/ 96 h 222"/>
                  <a:gd name="T74" fmla="*/ 51 w 99"/>
                  <a:gd name="T75" fmla="*/ 85 h 222"/>
                  <a:gd name="T76" fmla="*/ 59 w 99"/>
                  <a:gd name="T77" fmla="*/ 70 h 222"/>
                  <a:gd name="T78" fmla="*/ 70 w 99"/>
                  <a:gd name="T79" fmla="*/ 52 h 222"/>
                  <a:gd name="T80" fmla="*/ 88 w 99"/>
                  <a:gd name="T81" fmla="*/ 35 h 222"/>
                  <a:gd name="T82" fmla="*/ 88 w 99"/>
                  <a:gd name="T83" fmla="*/ 11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9" h="222">
                    <a:moveTo>
                      <a:pt x="88" y="11"/>
                    </a:moveTo>
                    <a:lnTo>
                      <a:pt x="88" y="10"/>
                    </a:lnTo>
                    <a:lnTo>
                      <a:pt x="88" y="7"/>
                    </a:lnTo>
                    <a:lnTo>
                      <a:pt x="88" y="4"/>
                    </a:lnTo>
                    <a:lnTo>
                      <a:pt x="87" y="2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78" y="4"/>
                    </a:lnTo>
                    <a:lnTo>
                      <a:pt x="74" y="10"/>
                    </a:lnTo>
                    <a:lnTo>
                      <a:pt x="67" y="18"/>
                    </a:lnTo>
                    <a:lnTo>
                      <a:pt x="62" y="24"/>
                    </a:lnTo>
                    <a:lnTo>
                      <a:pt x="56" y="29"/>
                    </a:lnTo>
                    <a:lnTo>
                      <a:pt x="51" y="33"/>
                    </a:lnTo>
                    <a:lnTo>
                      <a:pt x="45" y="36"/>
                    </a:lnTo>
                    <a:lnTo>
                      <a:pt x="43" y="39"/>
                    </a:lnTo>
                    <a:lnTo>
                      <a:pt x="40" y="39"/>
                    </a:lnTo>
                    <a:lnTo>
                      <a:pt x="39" y="40"/>
                    </a:lnTo>
                    <a:lnTo>
                      <a:pt x="10" y="107"/>
                    </a:lnTo>
                    <a:lnTo>
                      <a:pt x="0" y="138"/>
                    </a:lnTo>
                    <a:lnTo>
                      <a:pt x="1" y="149"/>
                    </a:lnTo>
                    <a:lnTo>
                      <a:pt x="0" y="176"/>
                    </a:lnTo>
                    <a:lnTo>
                      <a:pt x="1" y="176"/>
                    </a:lnTo>
                    <a:lnTo>
                      <a:pt x="3" y="178"/>
                    </a:lnTo>
                    <a:lnTo>
                      <a:pt x="4" y="179"/>
                    </a:lnTo>
                    <a:lnTo>
                      <a:pt x="6" y="182"/>
                    </a:lnTo>
                    <a:lnTo>
                      <a:pt x="6" y="184"/>
                    </a:lnTo>
                    <a:lnTo>
                      <a:pt x="4" y="189"/>
                    </a:lnTo>
                    <a:lnTo>
                      <a:pt x="3" y="193"/>
                    </a:lnTo>
                    <a:lnTo>
                      <a:pt x="3" y="198"/>
                    </a:lnTo>
                    <a:lnTo>
                      <a:pt x="3" y="202"/>
                    </a:lnTo>
                    <a:lnTo>
                      <a:pt x="3" y="205"/>
                    </a:lnTo>
                    <a:lnTo>
                      <a:pt x="4" y="208"/>
                    </a:lnTo>
                    <a:lnTo>
                      <a:pt x="7" y="211"/>
                    </a:lnTo>
                    <a:lnTo>
                      <a:pt x="11" y="212"/>
                    </a:lnTo>
                    <a:lnTo>
                      <a:pt x="15" y="213"/>
                    </a:lnTo>
                    <a:lnTo>
                      <a:pt x="21" y="213"/>
                    </a:lnTo>
                    <a:lnTo>
                      <a:pt x="25" y="215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7"/>
                    </a:lnTo>
                    <a:lnTo>
                      <a:pt x="32" y="219"/>
                    </a:lnTo>
                    <a:lnTo>
                      <a:pt x="33" y="220"/>
                    </a:lnTo>
                    <a:lnTo>
                      <a:pt x="47" y="222"/>
                    </a:lnTo>
                    <a:lnTo>
                      <a:pt x="48" y="222"/>
                    </a:lnTo>
                    <a:lnTo>
                      <a:pt x="51" y="220"/>
                    </a:lnTo>
                    <a:lnTo>
                      <a:pt x="52" y="220"/>
                    </a:lnTo>
                    <a:lnTo>
                      <a:pt x="55" y="219"/>
                    </a:lnTo>
                    <a:lnTo>
                      <a:pt x="56" y="217"/>
                    </a:lnTo>
                    <a:lnTo>
                      <a:pt x="58" y="215"/>
                    </a:lnTo>
                    <a:lnTo>
                      <a:pt x="58" y="212"/>
                    </a:lnTo>
                    <a:lnTo>
                      <a:pt x="58" y="209"/>
                    </a:lnTo>
                    <a:lnTo>
                      <a:pt x="56" y="206"/>
                    </a:lnTo>
                    <a:lnTo>
                      <a:pt x="54" y="205"/>
                    </a:lnTo>
                    <a:lnTo>
                      <a:pt x="52" y="204"/>
                    </a:lnTo>
                    <a:lnTo>
                      <a:pt x="50" y="202"/>
                    </a:lnTo>
                    <a:lnTo>
                      <a:pt x="47" y="202"/>
                    </a:lnTo>
                    <a:lnTo>
                      <a:pt x="45" y="202"/>
                    </a:lnTo>
                    <a:lnTo>
                      <a:pt x="36" y="189"/>
                    </a:lnTo>
                    <a:lnTo>
                      <a:pt x="34" y="186"/>
                    </a:lnTo>
                    <a:lnTo>
                      <a:pt x="33" y="180"/>
                    </a:lnTo>
                    <a:lnTo>
                      <a:pt x="30" y="172"/>
                    </a:lnTo>
                    <a:lnTo>
                      <a:pt x="29" y="162"/>
                    </a:lnTo>
                    <a:lnTo>
                      <a:pt x="29" y="150"/>
                    </a:lnTo>
                    <a:lnTo>
                      <a:pt x="29" y="139"/>
                    </a:lnTo>
                    <a:lnTo>
                      <a:pt x="30" y="134"/>
                    </a:lnTo>
                    <a:lnTo>
                      <a:pt x="33" y="128"/>
                    </a:lnTo>
                    <a:lnTo>
                      <a:pt x="36" y="124"/>
                    </a:lnTo>
                    <a:lnTo>
                      <a:pt x="39" y="118"/>
                    </a:lnTo>
                    <a:lnTo>
                      <a:pt x="39" y="117"/>
                    </a:lnTo>
                    <a:lnTo>
                      <a:pt x="37" y="114"/>
                    </a:lnTo>
                    <a:lnTo>
                      <a:pt x="37" y="110"/>
                    </a:lnTo>
                    <a:lnTo>
                      <a:pt x="39" y="106"/>
                    </a:lnTo>
                    <a:lnTo>
                      <a:pt x="40" y="101"/>
                    </a:lnTo>
                    <a:lnTo>
                      <a:pt x="43" y="96"/>
                    </a:lnTo>
                    <a:lnTo>
                      <a:pt x="47" y="91"/>
                    </a:lnTo>
                    <a:lnTo>
                      <a:pt x="51" y="85"/>
                    </a:lnTo>
                    <a:lnTo>
                      <a:pt x="55" y="79"/>
                    </a:lnTo>
                    <a:lnTo>
                      <a:pt x="59" y="70"/>
                    </a:lnTo>
                    <a:lnTo>
                      <a:pt x="65" y="62"/>
                    </a:lnTo>
                    <a:lnTo>
                      <a:pt x="70" y="52"/>
                    </a:lnTo>
                    <a:lnTo>
                      <a:pt x="78" y="44"/>
                    </a:lnTo>
                    <a:lnTo>
                      <a:pt x="88" y="35"/>
                    </a:lnTo>
                    <a:lnTo>
                      <a:pt x="99" y="26"/>
                    </a:lnTo>
                    <a:lnTo>
                      <a:pt x="88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1" name="Freeform 753"/>
              <p:cNvSpPr>
                <a:spLocks/>
              </p:cNvSpPr>
              <p:nvPr/>
            </p:nvSpPr>
            <p:spPr bwMode="auto">
              <a:xfrm>
                <a:off x="3405" y="990"/>
                <a:ext cx="130" cy="83"/>
              </a:xfrm>
              <a:custGeom>
                <a:avLst/>
                <a:gdLst>
                  <a:gd name="T0" fmla="*/ 31 w 130"/>
                  <a:gd name="T1" fmla="*/ 12 h 83"/>
                  <a:gd name="T2" fmla="*/ 30 w 130"/>
                  <a:gd name="T3" fmla="*/ 15 h 83"/>
                  <a:gd name="T4" fmla="*/ 27 w 130"/>
                  <a:gd name="T5" fmla="*/ 21 h 83"/>
                  <a:gd name="T6" fmla="*/ 22 w 130"/>
                  <a:gd name="T7" fmla="*/ 25 h 83"/>
                  <a:gd name="T8" fmla="*/ 11 w 130"/>
                  <a:gd name="T9" fmla="*/ 26 h 83"/>
                  <a:gd name="T10" fmla="*/ 3 w 130"/>
                  <a:gd name="T11" fmla="*/ 30 h 83"/>
                  <a:gd name="T12" fmla="*/ 0 w 130"/>
                  <a:gd name="T13" fmla="*/ 36 h 83"/>
                  <a:gd name="T14" fmla="*/ 4 w 130"/>
                  <a:gd name="T15" fmla="*/ 41 h 83"/>
                  <a:gd name="T16" fmla="*/ 16 w 130"/>
                  <a:gd name="T17" fmla="*/ 47 h 83"/>
                  <a:gd name="T18" fmla="*/ 33 w 130"/>
                  <a:gd name="T19" fmla="*/ 50 h 83"/>
                  <a:gd name="T20" fmla="*/ 48 w 130"/>
                  <a:gd name="T21" fmla="*/ 51 h 83"/>
                  <a:gd name="T22" fmla="*/ 58 w 130"/>
                  <a:gd name="T23" fmla="*/ 52 h 83"/>
                  <a:gd name="T24" fmla="*/ 81 w 130"/>
                  <a:gd name="T25" fmla="*/ 83 h 83"/>
                  <a:gd name="T26" fmla="*/ 104 w 130"/>
                  <a:gd name="T27" fmla="*/ 52 h 83"/>
                  <a:gd name="T28" fmla="*/ 108 w 130"/>
                  <a:gd name="T29" fmla="*/ 50 h 83"/>
                  <a:gd name="T30" fmla="*/ 117 w 130"/>
                  <a:gd name="T31" fmla="*/ 45 h 83"/>
                  <a:gd name="T32" fmla="*/ 126 w 130"/>
                  <a:gd name="T33" fmla="*/ 37 h 83"/>
                  <a:gd name="T34" fmla="*/ 130 w 130"/>
                  <a:gd name="T35" fmla="*/ 26 h 83"/>
                  <a:gd name="T36" fmla="*/ 129 w 130"/>
                  <a:gd name="T37" fmla="*/ 18 h 83"/>
                  <a:gd name="T38" fmla="*/ 125 w 130"/>
                  <a:gd name="T39" fmla="*/ 19 h 83"/>
                  <a:gd name="T40" fmla="*/ 119 w 130"/>
                  <a:gd name="T41" fmla="*/ 23 h 83"/>
                  <a:gd name="T42" fmla="*/ 117 w 130"/>
                  <a:gd name="T43" fmla="*/ 26 h 83"/>
                  <a:gd name="T44" fmla="*/ 74 w 130"/>
                  <a:gd name="T45" fmla="*/ 34 h 83"/>
                  <a:gd name="T46" fmla="*/ 71 w 130"/>
                  <a:gd name="T47" fmla="*/ 33 h 83"/>
                  <a:gd name="T48" fmla="*/ 69 w 130"/>
                  <a:gd name="T49" fmla="*/ 30 h 83"/>
                  <a:gd name="T50" fmla="*/ 66 w 130"/>
                  <a:gd name="T51" fmla="*/ 26 h 83"/>
                  <a:gd name="T52" fmla="*/ 67 w 130"/>
                  <a:gd name="T53" fmla="*/ 21 h 83"/>
                  <a:gd name="T54" fmla="*/ 70 w 130"/>
                  <a:gd name="T55" fmla="*/ 15 h 83"/>
                  <a:gd name="T56" fmla="*/ 74 w 130"/>
                  <a:gd name="T57" fmla="*/ 10 h 83"/>
                  <a:gd name="T58" fmla="*/ 77 w 130"/>
                  <a:gd name="T59" fmla="*/ 6 h 83"/>
                  <a:gd name="T60" fmla="*/ 78 w 130"/>
                  <a:gd name="T61" fmla="*/ 4 h 83"/>
                  <a:gd name="T62" fmla="*/ 73 w 130"/>
                  <a:gd name="T63" fmla="*/ 3 h 83"/>
                  <a:gd name="T64" fmla="*/ 59 w 130"/>
                  <a:gd name="T65" fmla="*/ 0 h 83"/>
                  <a:gd name="T66" fmla="*/ 44 w 130"/>
                  <a:gd name="T67" fmla="*/ 1 h 83"/>
                  <a:gd name="T68" fmla="*/ 37 w 130"/>
                  <a:gd name="T69" fmla="*/ 6 h 83"/>
                  <a:gd name="T70" fmla="*/ 31 w 130"/>
                  <a:gd name="T71" fmla="*/ 11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0" h="83">
                    <a:moveTo>
                      <a:pt x="31" y="11"/>
                    </a:moveTo>
                    <a:lnTo>
                      <a:pt x="31" y="12"/>
                    </a:lnTo>
                    <a:lnTo>
                      <a:pt x="31" y="14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7" y="21"/>
                    </a:lnTo>
                    <a:lnTo>
                      <a:pt x="25" y="22"/>
                    </a:lnTo>
                    <a:lnTo>
                      <a:pt x="22" y="25"/>
                    </a:lnTo>
                    <a:lnTo>
                      <a:pt x="16" y="26"/>
                    </a:lnTo>
                    <a:lnTo>
                      <a:pt x="11" y="26"/>
                    </a:lnTo>
                    <a:lnTo>
                      <a:pt x="7" y="29"/>
                    </a:lnTo>
                    <a:lnTo>
                      <a:pt x="3" y="30"/>
                    </a:lnTo>
                    <a:lnTo>
                      <a:pt x="1" y="33"/>
                    </a:lnTo>
                    <a:lnTo>
                      <a:pt x="0" y="36"/>
                    </a:lnTo>
                    <a:lnTo>
                      <a:pt x="0" y="39"/>
                    </a:lnTo>
                    <a:lnTo>
                      <a:pt x="4" y="41"/>
                    </a:lnTo>
                    <a:lnTo>
                      <a:pt x="9" y="44"/>
                    </a:lnTo>
                    <a:lnTo>
                      <a:pt x="16" y="47"/>
                    </a:lnTo>
                    <a:lnTo>
                      <a:pt x="25" y="48"/>
                    </a:lnTo>
                    <a:lnTo>
                      <a:pt x="33" y="50"/>
                    </a:lnTo>
                    <a:lnTo>
                      <a:pt x="41" y="51"/>
                    </a:lnTo>
                    <a:lnTo>
                      <a:pt x="48" y="51"/>
                    </a:lnTo>
                    <a:lnTo>
                      <a:pt x="53" y="52"/>
                    </a:lnTo>
                    <a:lnTo>
                      <a:pt x="58" y="52"/>
                    </a:lnTo>
                    <a:lnTo>
                      <a:pt x="59" y="52"/>
                    </a:lnTo>
                    <a:lnTo>
                      <a:pt x="81" y="83"/>
                    </a:lnTo>
                    <a:lnTo>
                      <a:pt x="103" y="66"/>
                    </a:lnTo>
                    <a:lnTo>
                      <a:pt x="104" y="52"/>
                    </a:lnTo>
                    <a:lnTo>
                      <a:pt x="106" y="51"/>
                    </a:lnTo>
                    <a:lnTo>
                      <a:pt x="108" y="50"/>
                    </a:lnTo>
                    <a:lnTo>
                      <a:pt x="113" y="48"/>
                    </a:lnTo>
                    <a:lnTo>
                      <a:pt x="117" y="45"/>
                    </a:lnTo>
                    <a:lnTo>
                      <a:pt x="121" y="41"/>
                    </a:lnTo>
                    <a:lnTo>
                      <a:pt x="126" y="37"/>
                    </a:lnTo>
                    <a:lnTo>
                      <a:pt x="129" y="32"/>
                    </a:lnTo>
                    <a:lnTo>
                      <a:pt x="130" y="26"/>
                    </a:lnTo>
                    <a:lnTo>
                      <a:pt x="130" y="21"/>
                    </a:lnTo>
                    <a:lnTo>
                      <a:pt x="129" y="18"/>
                    </a:lnTo>
                    <a:lnTo>
                      <a:pt x="128" y="18"/>
                    </a:lnTo>
                    <a:lnTo>
                      <a:pt x="125" y="19"/>
                    </a:lnTo>
                    <a:lnTo>
                      <a:pt x="122" y="21"/>
                    </a:lnTo>
                    <a:lnTo>
                      <a:pt x="119" y="23"/>
                    </a:lnTo>
                    <a:lnTo>
                      <a:pt x="117" y="25"/>
                    </a:lnTo>
                    <a:lnTo>
                      <a:pt x="117" y="26"/>
                    </a:lnTo>
                    <a:lnTo>
                      <a:pt x="95" y="37"/>
                    </a:lnTo>
                    <a:lnTo>
                      <a:pt x="74" y="34"/>
                    </a:lnTo>
                    <a:lnTo>
                      <a:pt x="73" y="34"/>
                    </a:lnTo>
                    <a:lnTo>
                      <a:pt x="71" y="33"/>
                    </a:lnTo>
                    <a:lnTo>
                      <a:pt x="70" y="32"/>
                    </a:lnTo>
                    <a:lnTo>
                      <a:pt x="69" y="30"/>
                    </a:lnTo>
                    <a:lnTo>
                      <a:pt x="67" y="29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67" y="21"/>
                    </a:lnTo>
                    <a:lnTo>
                      <a:pt x="69" y="18"/>
                    </a:lnTo>
                    <a:lnTo>
                      <a:pt x="70" y="15"/>
                    </a:lnTo>
                    <a:lnTo>
                      <a:pt x="73" y="12"/>
                    </a:lnTo>
                    <a:lnTo>
                      <a:pt x="74" y="10"/>
                    </a:lnTo>
                    <a:lnTo>
                      <a:pt x="75" y="7"/>
                    </a:lnTo>
                    <a:lnTo>
                      <a:pt x="77" y="6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7" y="3"/>
                    </a:lnTo>
                    <a:lnTo>
                      <a:pt x="73" y="3"/>
                    </a:lnTo>
                    <a:lnTo>
                      <a:pt x="66" y="1"/>
                    </a:lnTo>
                    <a:lnTo>
                      <a:pt x="59" y="0"/>
                    </a:lnTo>
                    <a:lnTo>
                      <a:pt x="51" y="0"/>
                    </a:lnTo>
                    <a:lnTo>
                      <a:pt x="44" y="1"/>
                    </a:lnTo>
                    <a:lnTo>
                      <a:pt x="40" y="4"/>
                    </a:lnTo>
                    <a:lnTo>
                      <a:pt x="37" y="6"/>
                    </a:lnTo>
                    <a:lnTo>
                      <a:pt x="33" y="8"/>
                    </a:lnTo>
                    <a:lnTo>
                      <a:pt x="31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2" name="Freeform 754"/>
              <p:cNvSpPr>
                <a:spLocks/>
              </p:cNvSpPr>
              <p:nvPr/>
            </p:nvSpPr>
            <p:spPr bwMode="auto">
              <a:xfrm>
                <a:off x="3405" y="990"/>
                <a:ext cx="130" cy="83"/>
              </a:xfrm>
              <a:custGeom>
                <a:avLst/>
                <a:gdLst>
                  <a:gd name="T0" fmla="*/ 31 w 130"/>
                  <a:gd name="T1" fmla="*/ 12 h 83"/>
                  <a:gd name="T2" fmla="*/ 30 w 130"/>
                  <a:gd name="T3" fmla="*/ 15 h 83"/>
                  <a:gd name="T4" fmla="*/ 27 w 130"/>
                  <a:gd name="T5" fmla="*/ 21 h 83"/>
                  <a:gd name="T6" fmla="*/ 22 w 130"/>
                  <a:gd name="T7" fmla="*/ 25 h 83"/>
                  <a:gd name="T8" fmla="*/ 11 w 130"/>
                  <a:gd name="T9" fmla="*/ 26 h 83"/>
                  <a:gd name="T10" fmla="*/ 3 w 130"/>
                  <a:gd name="T11" fmla="*/ 30 h 83"/>
                  <a:gd name="T12" fmla="*/ 0 w 130"/>
                  <a:gd name="T13" fmla="*/ 36 h 83"/>
                  <a:gd name="T14" fmla="*/ 4 w 130"/>
                  <a:gd name="T15" fmla="*/ 41 h 83"/>
                  <a:gd name="T16" fmla="*/ 16 w 130"/>
                  <a:gd name="T17" fmla="*/ 47 h 83"/>
                  <a:gd name="T18" fmla="*/ 33 w 130"/>
                  <a:gd name="T19" fmla="*/ 50 h 83"/>
                  <a:gd name="T20" fmla="*/ 48 w 130"/>
                  <a:gd name="T21" fmla="*/ 51 h 83"/>
                  <a:gd name="T22" fmla="*/ 58 w 130"/>
                  <a:gd name="T23" fmla="*/ 52 h 83"/>
                  <a:gd name="T24" fmla="*/ 81 w 130"/>
                  <a:gd name="T25" fmla="*/ 83 h 83"/>
                  <a:gd name="T26" fmla="*/ 104 w 130"/>
                  <a:gd name="T27" fmla="*/ 52 h 83"/>
                  <a:gd name="T28" fmla="*/ 108 w 130"/>
                  <a:gd name="T29" fmla="*/ 50 h 83"/>
                  <a:gd name="T30" fmla="*/ 117 w 130"/>
                  <a:gd name="T31" fmla="*/ 45 h 83"/>
                  <a:gd name="T32" fmla="*/ 126 w 130"/>
                  <a:gd name="T33" fmla="*/ 37 h 83"/>
                  <a:gd name="T34" fmla="*/ 130 w 130"/>
                  <a:gd name="T35" fmla="*/ 26 h 83"/>
                  <a:gd name="T36" fmla="*/ 129 w 130"/>
                  <a:gd name="T37" fmla="*/ 18 h 83"/>
                  <a:gd name="T38" fmla="*/ 125 w 130"/>
                  <a:gd name="T39" fmla="*/ 19 h 83"/>
                  <a:gd name="T40" fmla="*/ 119 w 130"/>
                  <a:gd name="T41" fmla="*/ 23 h 83"/>
                  <a:gd name="T42" fmla="*/ 117 w 130"/>
                  <a:gd name="T43" fmla="*/ 26 h 83"/>
                  <a:gd name="T44" fmla="*/ 74 w 130"/>
                  <a:gd name="T45" fmla="*/ 34 h 83"/>
                  <a:gd name="T46" fmla="*/ 71 w 130"/>
                  <a:gd name="T47" fmla="*/ 33 h 83"/>
                  <a:gd name="T48" fmla="*/ 69 w 130"/>
                  <a:gd name="T49" fmla="*/ 30 h 83"/>
                  <a:gd name="T50" fmla="*/ 66 w 130"/>
                  <a:gd name="T51" fmla="*/ 26 h 83"/>
                  <a:gd name="T52" fmla="*/ 67 w 130"/>
                  <a:gd name="T53" fmla="*/ 21 h 83"/>
                  <a:gd name="T54" fmla="*/ 70 w 130"/>
                  <a:gd name="T55" fmla="*/ 15 h 83"/>
                  <a:gd name="T56" fmla="*/ 74 w 130"/>
                  <a:gd name="T57" fmla="*/ 10 h 83"/>
                  <a:gd name="T58" fmla="*/ 77 w 130"/>
                  <a:gd name="T59" fmla="*/ 6 h 83"/>
                  <a:gd name="T60" fmla="*/ 77 w 130"/>
                  <a:gd name="T61" fmla="*/ 3 h 83"/>
                  <a:gd name="T62" fmla="*/ 66 w 130"/>
                  <a:gd name="T63" fmla="*/ 1 h 83"/>
                  <a:gd name="T64" fmla="*/ 51 w 130"/>
                  <a:gd name="T65" fmla="*/ 0 h 83"/>
                  <a:gd name="T66" fmla="*/ 40 w 130"/>
                  <a:gd name="T67" fmla="*/ 4 h 83"/>
                  <a:gd name="T68" fmla="*/ 33 w 130"/>
                  <a:gd name="T69" fmla="*/ 8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0" h="83">
                    <a:moveTo>
                      <a:pt x="31" y="11"/>
                    </a:moveTo>
                    <a:lnTo>
                      <a:pt x="31" y="12"/>
                    </a:lnTo>
                    <a:lnTo>
                      <a:pt x="31" y="14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7" y="21"/>
                    </a:lnTo>
                    <a:lnTo>
                      <a:pt x="25" y="22"/>
                    </a:lnTo>
                    <a:lnTo>
                      <a:pt x="22" y="25"/>
                    </a:lnTo>
                    <a:lnTo>
                      <a:pt x="16" y="26"/>
                    </a:lnTo>
                    <a:lnTo>
                      <a:pt x="11" y="26"/>
                    </a:lnTo>
                    <a:lnTo>
                      <a:pt x="7" y="29"/>
                    </a:lnTo>
                    <a:lnTo>
                      <a:pt x="3" y="30"/>
                    </a:lnTo>
                    <a:lnTo>
                      <a:pt x="1" y="33"/>
                    </a:lnTo>
                    <a:lnTo>
                      <a:pt x="0" y="36"/>
                    </a:lnTo>
                    <a:lnTo>
                      <a:pt x="0" y="39"/>
                    </a:lnTo>
                    <a:lnTo>
                      <a:pt x="4" y="41"/>
                    </a:lnTo>
                    <a:lnTo>
                      <a:pt x="9" y="44"/>
                    </a:lnTo>
                    <a:lnTo>
                      <a:pt x="16" y="47"/>
                    </a:lnTo>
                    <a:lnTo>
                      <a:pt x="25" y="48"/>
                    </a:lnTo>
                    <a:lnTo>
                      <a:pt x="33" y="50"/>
                    </a:lnTo>
                    <a:lnTo>
                      <a:pt x="41" y="51"/>
                    </a:lnTo>
                    <a:lnTo>
                      <a:pt x="48" y="51"/>
                    </a:lnTo>
                    <a:lnTo>
                      <a:pt x="53" y="52"/>
                    </a:lnTo>
                    <a:lnTo>
                      <a:pt x="58" y="52"/>
                    </a:lnTo>
                    <a:lnTo>
                      <a:pt x="59" y="52"/>
                    </a:lnTo>
                    <a:lnTo>
                      <a:pt x="81" y="83"/>
                    </a:lnTo>
                    <a:lnTo>
                      <a:pt x="103" y="66"/>
                    </a:lnTo>
                    <a:lnTo>
                      <a:pt x="104" y="52"/>
                    </a:lnTo>
                    <a:lnTo>
                      <a:pt x="106" y="51"/>
                    </a:lnTo>
                    <a:lnTo>
                      <a:pt x="108" y="50"/>
                    </a:lnTo>
                    <a:lnTo>
                      <a:pt x="113" y="48"/>
                    </a:lnTo>
                    <a:lnTo>
                      <a:pt x="117" y="45"/>
                    </a:lnTo>
                    <a:lnTo>
                      <a:pt x="121" y="41"/>
                    </a:lnTo>
                    <a:lnTo>
                      <a:pt x="126" y="37"/>
                    </a:lnTo>
                    <a:lnTo>
                      <a:pt x="129" y="32"/>
                    </a:lnTo>
                    <a:lnTo>
                      <a:pt x="130" y="26"/>
                    </a:lnTo>
                    <a:lnTo>
                      <a:pt x="130" y="21"/>
                    </a:lnTo>
                    <a:lnTo>
                      <a:pt x="129" y="18"/>
                    </a:lnTo>
                    <a:lnTo>
                      <a:pt x="128" y="18"/>
                    </a:lnTo>
                    <a:lnTo>
                      <a:pt x="125" y="19"/>
                    </a:lnTo>
                    <a:lnTo>
                      <a:pt x="122" y="21"/>
                    </a:lnTo>
                    <a:lnTo>
                      <a:pt x="119" y="23"/>
                    </a:lnTo>
                    <a:lnTo>
                      <a:pt x="117" y="25"/>
                    </a:lnTo>
                    <a:lnTo>
                      <a:pt x="117" y="26"/>
                    </a:lnTo>
                    <a:lnTo>
                      <a:pt x="95" y="37"/>
                    </a:lnTo>
                    <a:lnTo>
                      <a:pt x="74" y="34"/>
                    </a:lnTo>
                    <a:lnTo>
                      <a:pt x="73" y="34"/>
                    </a:lnTo>
                    <a:lnTo>
                      <a:pt x="71" y="33"/>
                    </a:lnTo>
                    <a:lnTo>
                      <a:pt x="70" y="32"/>
                    </a:lnTo>
                    <a:lnTo>
                      <a:pt x="69" y="30"/>
                    </a:lnTo>
                    <a:lnTo>
                      <a:pt x="67" y="29"/>
                    </a:lnTo>
                    <a:lnTo>
                      <a:pt x="66" y="26"/>
                    </a:lnTo>
                    <a:lnTo>
                      <a:pt x="66" y="23"/>
                    </a:lnTo>
                    <a:lnTo>
                      <a:pt x="67" y="21"/>
                    </a:lnTo>
                    <a:lnTo>
                      <a:pt x="69" y="18"/>
                    </a:lnTo>
                    <a:lnTo>
                      <a:pt x="70" y="15"/>
                    </a:lnTo>
                    <a:lnTo>
                      <a:pt x="73" y="12"/>
                    </a:lnTo>
                    <a:lnTo>
                      <a:pt x="74" y="10"/>
                    </a:lnTo>
                    <a:lnTo>
                      <a:pt x="75" y="7"/>
                    </a:lnTo>
                    <a:lnTo>
                      <a:pt x="77" y="6"/>
                    </a:lnTo>
                    <a:lnTo>
                      <a:pt x="78" y="4"/>
                    </a:lnTo>
                    <a:lnTo>
                      <a:pt x="77" y="3"/>
                    </a:lnTo>
                    <a:lnTo>
                      <a:pt x="73" y="3"/>
                    </a:lnTo>
                    <a:lnTo>
                      <a:pt x="66" y="1"/>
                    </a:lnTo>
                    <a:lnTo>
                      <a:pt x="59" y="0"/>
                    </a:lnTo>
                    <a:lnTo>
                      <a:pt x="51" y="0"/>
                    </a:lnTo>
                    <a:lnTo>
                      <a:pt x="44" y="1"/>
                    </a:lnTo>
                    <a:lnTo>
                      <a:pt x="40" y="4"/>
                    </a:lnTo>
                    <a:lnTo>
                      <a:pt x="37" y="6"/>
                    </a:lnTo>
                    <a:lnTo>
                      <a:pt x="33" y="8"/>
                    </a:lnTo>
                    <a:lnTo>
                      <a:pt x="31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3" name="Freeform 755"/>
              <p:cNvSpPr>
                <a:spLocks/>
              </p:cNvSpPr>
              <p:nvPr/>
            </p:nvSpPr>
            <p:spPr bwMode="auto">
              <a:xfrm>
                <a:off x="3508" y="987"/>
                <a:ext cx="27" cy="18"/>
              </a:xfrm>
              <a:custGeom>
                <a:avLst/>
                <a:gdLst>
                  <a:gd name="T0" fmla="*/ 8 w 27"/>
                  <a:gd name="T1" fmla="*/ 0 h 18"/>
                  <a:gd name="T2" fmla="*/ 8 w 27"/>
                  <a:gd name="T3" fmla="*/ 0 h 18"/>
                  <a:gd name="T4" fmla="*/ 7 w 27"/>
                  <a:gd name="T5" fmla="*/ 2 h 18"/>
                  <a:gd name="T6" fmla="*/ 4 w 27"/>
                  <a:gd name="T7" fmla="*/ 4 h 18"/>
                  <a:gd name="T8" fmla="*/ 3 w 27"/>
                  <a:gd name="T9" fmla="*/ 6 h 18"/>
                  <a:gd name="T10" fmla="*/ 1 w 27"/>
                  <a:gd name="T11" fmla="*/ 9 h 18"/>
                  <a:gd name="T12" fmla="*/ 0 w 27"/>
                  <a:gd name="T13" fmla="*/ 11 h 18"/>
                  <a:gd name="T14" fmla="*/ 0 w 27"/>
                  <a:gd name="T15" fmla="*/ 13 h 18"/>
                  <a:gd name="T16" fmla="*/ 1 w 27"/>
                  <a:gd name="T17" fmla="*/ 14 h 18"/>
                  <a:gd name="T18" fmla="*/ 4 w 27"/>
                  <a:gd name="T19" fmla="*/ 15 h 18"/>
                  <a:gd name="T20" fmla="*/ 8 w 27"/>
                  <a:gd name="T21" fmla="*/ 17 h 18"/>
                  <a:gd name="T22" fmla="*/ 14 w 27"/>
                  <a:gd name="T23" fmla="*/ 17 h 18"/>
                  <a:gd name="T24" fmla="*/ 18 w 27"/>
                  <a:gd name="T25" fmla="*/ 18 h 18"/>
                  <a:gd name="T26" fmla="*/ 22 w 27"/>
                  <a:gd name="T27" fmla="*/ 18 h 18"/>
                  <a:gd name="T28" fmla="*/ 25 w 27"/>
                  <a:gd name="T29" fmla="*/ 18 h 18"/>
                  <a:gd name="T30" fmla="*/ 27 w 27"/>
                  <a:gd name="T31" fmla="*/ 17 h 18"/>
                  <a:gd name="T32" fmla="*/ 27 w 27"/>
                  <a:gd name="T33" fmla="*/ 14 h 18"/>
                  <a:gd name="T34" fmla="*/ 27 w 27"/>
                  <a:gd name="T35" fmla="*/ 11 h 18"/>
                  <a:gd name="T36" fmla="*/ 25 w 27"/>
                  <a:gd name="T37" fmla="*/ 9 h 18"/>
                  <a:gd name="T38" fmla="*/ 22 w 27"/>
                  <a:gd name="T39" fmla="*/ 7 h 18"/>
                  <a:gd name="T40" fmla="*/ 18 w 27"/>
                  <a:gd name="T41" fmla="*/ 4 h 18"/>
                  <a:gd name="T42" fmla="*/ 15 w 27"/>
                  <a:gd name="T43" fmla="*/ 3 h 18"/>
                  <a:gd name="T44" fmla="*/ 12 w 27"/>
                  <a:gd name="T45" fmla="*/ 2 h 18"/>
                  <a:gd name="T46" fmla="*/ 10 w 27"/>
                  <a:gd name="T47" fmla="*/ 0 h 18"/>
                  <a:gd name="T48" fmla="*/ 8 w 27"/>
                  <a:gd name="T4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7" h="18">
                    <a:moveTo>
                      <a:pt x="8" y="0"/>
                    </a:moveTo>
                    <a:lnTo>
                      <a:pt x="8" y="0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1" y="14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5" y="18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5" y="9"/>
                    </a:lnTo>
                    <a:lnTo>
                      <a:pt x="22" y="7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4" name="Freeform 756"/>
              <p:cNvSpPr>
                <a:spLocks/>
              </p:cNvSpPr>
              <p:nvPr/>
            </p:nvSpPr>
            <p:spPr bwMode="auto">
              <a:xfrm>
                <a:off x="3508" y="987"/>
                <a:ext cx="27" cy="18"/>
              </a:xfrm>
              <a:custGeom>
                <a:avLst/>
                <a:gdLst>
                  <a:gd name="T0" fmla="*/ 8 w 27"/>
                  <a:gd name="T1" fmla="*/ 0 h 18"/>
                  <a:gd name="T2" fmla="*/ 7 w 27"/>
                  <a:gd name="T3" fmla="*/ 2 h 18"/>
                  <a:gd name="T4" fmla="*/ 4 w 27"/>
                  <a:gd name="T5" fmla="*/ 4 h 18"/>
                  <a:gd name="T6" fmla="*/ 3 w 27"/>
                  <a:gd name="T7" fmla="*/ 6 h 18"/>
                  <a:gd name="T8" fmla="*/ 1 w 27"/>
                  <a:gd name="T9" fmla="*/ 9 h 18"/>
                  <a:gd name="T10" fmla="*/ 0 w 27"/>
                  <a:gd name="T11" fmla="*/ 11 h 18"/>
                  <a:gd name="T12" fmla="*/ 0 w 27"/>
                  <a:gd name="T13" fmla="*/ 13 h 18"/>
                  <a:gd name="T14" fmla="*/ 1 w 27"/>
                  <a:gd name="T15" fmla="*/ 14 h 18"/>
                  <a:gd name="T16" fmla="*/ 4 w 27"/>
                  <a:gd name="T17" fmla="*/ 15 h 18"/>
                  <a:gd name="T18" fmla="*/ 8 w 27"/>
                  <a:gd name="T19" fmla="*/ 17 h 18"/>
                  <a:gd name="T20" fmla="*/ 14 w 27"/>
                  <a:gd name="T21" fmla="*/ 17 h 18"/>
                  <a:gd name="T22" fmla="*/ 18 w 27"/>
                  <a:gd name="T23" fmla="*/ 18 h 18"/>
                  <a:gd name="T24" fmla="*/ 22 w 27"/>
                  <a:gd name="T25" fmla="*/ 18 h 18"/>
                  <a:gd name="T26" fmla="*/ 25 w 27"/>
                  <a:gd name="T27" fmla="*/ 18 h 18"/>
                  <a:gd name="T28" fmla="*/ 27 w 27"/>
                  <a:gd name="T29" fmla="*/ 17 h 18"/>
                  <a:gd name="T30" fmla="*/ 27 w 27"/>
                  <a:gd name="T31" fmla="*/ 14 h 18"/>
                  <a:gd name="T32" fmla="*/ 27 w 27"/>
                  <a:gd name="T33" fmla="*/ 11 h 18"/>
                  <a:gd name="T34" fmla="*/ 25 w 27"/>
                  <a:gd name="T35" fmla="*/ 9 h 18"/>
                  <a:gd name="T36" fmla="*/ 22 w 27"/>
                  <a:gd name="T37" fmla="*/ 7 h 18"/>
                  <a:gd name="T38" fmla="*/ 18 w 27"/>
                  <a:gd name="T39" fmla="*/ 4 h 18"/>
                  <a:gd name="T40" fmla="*/ 15 w 27"/>
                  <a:gd name="T41" fmla="*/ 3 h 18"/>
                  <a:gd name="T42" fmla="*/ 12 w 27"/>
                  <a:gd name="T43" fmla="*/ 2 h 18"/>
                  <a:gd name="T44" fmla="*/ 10 w 27"/>
                  <a:gd name="T45" fmla="*/ 0 h 18"/>
                  <a:gd name="T46" fmla="*/ 8 w 27"/>
                  <a:gd name="T4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18">
                    <a:moveTo>
                      <a:pt x="8" y="0"/>
                    </a:moveTo>
                    <a:lnTo>
                      <a:pt x="7" y="2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1" y="14"/>
                    </a:lnTo>
                    <a:lnTo>
                      <a:pt x="4" y="15"/>
                    </a:lnTo>
                    <a:lnTo>
                      <a:pt x="8" y="17"/>
                    </a:lnTo>
                    <a:lnTo>
                      <a:pt x="14" y="17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5" y="18"/>
                    </a:lnTo>
                    <a:lnTo>
                      <a:pt x="27" y="17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5" y="9"/>
                    </a:lnTo>
                    <a:lnTo>
                      <a:pt x="22" y="7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5" name="Freeform 757"/>
              <p:cNvSpPr>
                <a:spLocks/>
              </p:cNvSpPr>
              <p:nvPr/>
            </p:nvSpPr>
            <p:spPr bwMode="auto">
              <a:xfrm>
                <a:off x="3516" y="1075"/>
                <a:ext cx="35" cy="20"/>
              </a:xfrm>
              <a:custGeom>
                <a:avLst/>
                <a:gdLst>
                  <a:gd name="T0" fmla="*/ 17 w 35"/>
                  <a:gd name="T1" fmla="*/ 0 h 20"/>
                  <a:gd name="T2" fmla="*/ 21 w 35"/>
                  <a:gd name="T3" fmla="*/ 0 h 20"/>
                  <a:gd name="T4" fmla="*/ 24 w 35"/>
                  <a:gd name="T5" fmla="*/ 0 h 20"/>
                  <a:gd name="T6" fmla="*/ 26 w 35"/>
                  <a:gd name="T7" fmla="*/ 2 h 20"/>
                  <a:gd name="T8" fmla="*/ 29 w 35"/>
                  <a:gd name="T9" fmla="*/ 3 h 20"/>
                  <a:gd name="T10" fmla="*/ 32 w 35"/>
                  <a:gd name="T11" fmla="*/ 4 h 20"/>
                  <a:gd name="T12" fmla="*/ 33 w 35"/>
                  <a:gd name="T13" fmla="*/ 6 h 20"/>
                  <a:gd name="T14" fmla="*/ 35 w 35"/>
                  <a:gd name="T15" fmla="*/ 7 h 20"/>
                  <a:gd name="T16" fmla="*/ 35 w 35"/>
                  <a:gd name="T17" fmla="*/ 10 h 20"/>
                  <a:gd name="T18" fmla="*/ 35 w 35"/>
                  <a:gd name="T19" fmla="*/ 11 h 20"/>
                  <a:gd name="T20" fmla="*/ 33 w 35"/>
                  <a:gd name="T21" fmla="*/ 13 h 20"/>
                  <a:gd name="T22" fmla="*/ 32 w 35"/>
                  <a:gd name="T23" fmla="*/ 15 h 20"/>
                  <a:gd name="T24" fmla="*/ 29 w 35"/>
                  <a:gd name="T25" fmla="*/ 17 h 20"/>
                  <a:gd name="T26" fmla="*/ 26 w 35"/>
                  <a:gd name="T27" fmla="*/ 18 h 20"/>
                  <a:gd name="T28" fmla="*/ 24 w 35"/>
                  <a:gd name="T29" fmla="*/ 18 h 20"/>
                  <a:gd name="T30" fmla="*/ 21 w 35"/>
                  <a:gd name="T31" fmla="*/ 20 h 20"/>
                  <a:gd name="T32" fmla="*/ 17 w 35"/>
                  <a:gd name="T33" fmla="*/ 20 h 20"/>
                  <a:gd name="T34" fmla="*/ 14 w 35"/>
                  <a:gd name="T35" fmla="*/ 20 h 20"/>
                  <a:gd name="T36" fmla="*/ 11 w 35"/>
                  <a:gd name="T37" fmla="*/ 18 h 20"/>
                  <a:gd name="T38" fmla="*/ 8 w 35"/>
                  <a:gd name="T39" fmla="*/ 18 h 20"/>
                  <a:gd name="T40" fmla="*/ 6 w 35"/>
                  <a:gd name="T41" fmla="*/ 17 h 20"/>
                  <a:gd name="T42" fmla="*/ 4 w 35"/>
                  <a:gd name="T43" fmla="*/ 15 h 20"/>
                  <a:gd name="T44" fmla="*/ 2 w 35"/>
                  <a:gd name="T45" fmla="*/ 13 h 20"/>
                  <a:gd name="T46" fmla="*/ 2 w 35"/>
                  <a:gd name="T47" fmla="*/ 11 h 20"/>
                  <a:gd name="T48" fmla="*/ 0 w 35"/>
                  <a:gd name="T49" fmla="*/ 10 h 20"/>
                  <a:gd name="T50" fmla="*/ 2 w 35"/>
                  <a:gd name="T51" fmla="*/ 7 h 20"/>
                  <a:gd name="T52" fmla="*/ 2 w 35"/>
                  <a:gd name="T53" fmla="*/ 6 h 20"/>
                  <a:gd name="T54" fmla="*/ 4 w 35"/>
                  <a:gd name="T55" fmla="*/ 4 h 20"/>
                  <a:gd name="T56" fmla="*/ 6 w 35"/>
                  <a:gd name="T57" fmla="*/ 3 h 20"/>
                  <a:gd name="T58" fmla="*/ 8 w 35"/>
                  <a:gd name="T59" fmla="*/ 2 h 20"/>
                  <a:gd name="T60" fmla="*/ 11 w 35"/>
                  <a:gd name="T61" fmla="*/ 0 h 20"/>
                  <a:gd name="T62" fmla="*/ 14 w 35"/>
                  <a:gd name="T63" fmla="*/ 0 h 20"/>
                  <a:gd name="T64" fmla="*/ 17 w 35"/>
                  <a:gd name="T6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" h="20">
                    <a:moveTo>
                      <a:pt x="17" y="0"/>
                    </a:moveTo>
                    <a:lnTo>
                      <a:pt x="21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3" y="6"/>
                    </a:lnTo>
                    <a:lnTo>
                      <a:pt x="35" y="7"/>
                    </a:lnTo>
                    <a:lnTo>
                      <a:pt x="35" y="10"/>
                    </a:lnTo>
                    <a:lnTo>
                      <a:pt x="35" y="11"/>
                    </a:lnTo>
                    <a:lnTo>
                      <a:pt x="33" y="13"/>
                    </a:lnTo>
                    <a:lnTo>
                      <a:pt x="32" y="15"/>
                    </a:lnTo>
                    <a:lnTo>
                      <a:pt x="29" y="17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7" y="20"/>
                    </a:lnTo>
                    <a:lnTo>
                      <a:pt x="14" y="20"/>
                    </a:lnTo>
                    <a:lnTo>
                      <a:pt x="11" y="18"/>
                    </a:lnTo>
                    <a:lnTo>
                      <a:pt x="8" y="18"/>
                    </a:lnTo>
                    <a:lnTo>
                      <a:pt x="6" y="17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6" name="Freeform 758"/>
              <p:cNvSpPr>
                <a:spLocks/>
              </p:cNvSpPr>
              <p:nvPr/>
            </p:nvSpPr>
            <p:spPr bwMode="auto">
              <a:xfrm>
                <a:off x="3516" y="1075"/>
                <a:ext cx="35" cy="20"/>
              </a:xfrm>
              <a:custGeom>
                <a:avLst/>
                <a:gdLst>
                  <a:gd name="T0" fmla="*/ 17 w 35"/>
                  <a:gd name="T1" fmla="*/ 0 h 20"/>
                  <a:gd name="T2" fmla="*/ 21 w 35"/>
                  <a:gd name="T3" fmla="*/ 0 h 20"/>
                  <a:gd name="T4" fmla="*/ 24 w 35"/>
                  <a:gd name="T5" fmla="*/ 0 h 20"/>
                  <a:gd name="T6" fmla="*/ 26 w 35"/>
                  <a:gd name="T7" fmla="*/ 2 h 20"/>
                  <a:gd name="T8" fmla="*/ 29 w 35"/>
                  <a:gd name="T9" fmla="*/ 3 h 20"/>
                  <a:gd name="T10" fmla="*/ 32 w 35"/>
                  <a:gd name="T11" fmla="*/ 4 h 20"/>
                  <a:gd name="T12" fmla="*/ 33 w 35"/>
                  <a:gd name="T13" fmla="*/ 6 h 20"/>
                  <a:gd name="T14" fmla="*/ 35 w 35"/>
                  <a:gd name="T15" fmla="*/ 7 h 20"/>
                  <a:gd name="T16" fmla="*/ 35 w 35"/>
                  <a:gd name="T17" fmla="*/ 10 h 20"/>
                  <a:gd name="T18" fmla="*/ 35 w 35"/>
                  <a:gd name="T19" fmla="*/ 11 h 20"/>
                  <a:gd name="T20" fmla="*/ 33 w 35"/>
                  <a:gd name="T21" fmla="*/ 13 h 20"/>
                  <a:gd name="T22" fmla="*/ 32 w 35"/>
                  <a:gd name="T23" fmla="*/ 15 h 20"/>
                  <a:gd name="T24" fmla="*/ 29 w 35"/>
                  <a:gd name="T25" fmla="*/ 17 h 20"/>
                  <a:gd name="T26" fmla="*/ 26 w 35"/>
                  <a:gd name="T27" fmla="*/ 18 h 20"/>
                  <a:gd name="T28" fmla="*/ 24 w 35"/>
                  <a:gd name="T29" fmla="*/ 18 h 20"/>
                  <a:gd name="T30" fmla="*/ 21 w 35"/>
                  <a:gd name="T31" fmla="*/ 20 h 20"/>
                  <a:gd name="T32" fmla="*/ 17 w 35"/>
                  <a:gd name="T33" fmla="*/ 20 h 20"/>
                  <a:gd name="T34" fmla="*/ 14 w 35"/>
                  <a:gd name="T35" fmla="*/ 20 h 20"/>
                  <a:gd name="T36" fmla="*/ 11 w 35"/>
                  <a:gd name="T37" fmla="*/ 18 h 20"/>
                  <a:gd name="T38" fmla="*/ 8 w 35"/>
                  <a:gd name="T39" fmla="*/ 18 h 20"/>
                  <a:gd name="T40" fmla="*/ 6 w 35"/>
                  <a:gd name="T41" fmla="*/ 17 h 20"/>
                  <a:gd name="T42" fmla="*/ 4 w 35"/>
                  <a:gd name="T43" fmla="*/ 15 h 20"/>
                  <a:gd name="T44" fmla="*/ 2 w 35"/>
                  <a:gd name="T45" fmla="*/ 13 h 20"/>
                  <a:gd name="T46" fmla="*/ 2 w 35"/>
                  <a:gd name="T47" fmla="*/ 11 h 20"/>
                  <a:gd name="T48" fmla="*/ 0 w 35"/>
                  <a:gd name="T49" fmla="*/ 10 h 20"/>
                  <a:gd name="T50" fmla="*/ 2 w 35"/>
                  <a:gd name="T51" fmla="*/ 7 h 20"/>
                  <a:gd name="T52" fmla="*/ 2 w 35"/>
                  <a:gd name="T53" fmla="*/ 6 h 20"/>
                  <a:gd name="T54" fmla="*/ 4 w 35"/>
                  <a:gd name="T55" fmla="*/ 4 h 20"/>
                  <a:gd name="T56" fmla="*/ 6 w 35"/>
                  <a:gd name="T57" fmla="*/ 3 h 20"/>
                  <a:gd name="T58" fmla="*/ 8 w 35"/>
                  <a:gd name="T59" fmla="*/ 2 h 20"/>
                  <a:gd name="T60" fmla="*/ 11 w 35"/>
                  <a:gd name="T61" fmla="*/ 0 h 20"/>
                  <a:gd name="T62" fmla="*/ 14 w 35"/>
                  <a:gd name="T63" fmla="*/ 0 h 20"/>
                  <a:gd name="T64" fmla="*/ 17 w 35"/>
                  <a:gd name="T65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" h="20">
                    <a:moveTo>
                      <a:pt x="17" y="0"/>
                    </a:moveTo>
                    <a:lnTo>
                      <a:pt x="21" y="0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29" y="3"/>
                    </a:lnTo>
                    <a:lnTo>
                      <a:pt x="32" y="4"/>
                    </a:lnTo>
                    <a:lnTo>
                      <a:pt x="33" y="6"/>
                    </a:lnTo>
                    <a:lnTo>
                      <a:pt x="35" y="7"/>
                    </a:lnTo>
                    <a:lnTo>
                      <a:pt x="35" y="10"/>
                    </a:lnTo>
                    <a:lnTo>
                      <a:pt x="35" y="11"/>
                    </a:lnTo>
                    <a:lnTo>
                      <a:pt x="33" y="13"/>
                    </a:lnTo>
                    <a:lnTo>
                      <a:pt x="32" y="15"/>
                    </a:lnTo>
                    <a:lnTo>
                      <a:pt x="29" y="17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1" y="20"/>
                    </a:lnTo>
                    <a:lnTo>
                      <a:pt x="17" y="20"/>
                    </a:lnTo>
                    <a:lnTo>
                      <a:pt x="14" y="20"/>
                    </a:lnTo>
                    <a:lnTo>
                      <a:pt x="11" y="18"/>
                    </a:lnTo>
                    <a:lnTo>
                      <a:pt x="8" y="18"/>
                    </a:lnTo>
                    <a:lnTo>
                      <a:pt x="6" y="17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7" name="Freeform 759"/>
              <p:cNvSpPr>
                <a:spLocks/>
              </p:cNvSpPr>
              <p:nvPr/>
            </p:nvSpPr>
            <p:spPr bwMode="auto">
              <a:xfrm>
                <a:off x="3624" y="1018"/>
                <a:ext cx="31" cy="50"/>
              </a:xfrm>
              <a:custGeom>
                <a:avLst/>
                <a:gdLst>
                  <a:gd name="T0" fmla="*/ 16 w 31"/>
                  <a:gd name="T1" fmla="*/ 0 h 50"/>
                  <a:gd name="T2" fmla="*/ 19 w 31"/>
                  <a:gd name="T3" fmla="*/ 1 h 50"/>
                  <a:gd name="T4" fmla="*/ 22 w 31"/>
                  <a:gd name="T5" fmla="*/ 2 h 50"/>
                  <a:gd name="T6" fmla="*/ 24 w 31"/>
                  <a:gd name="T7" fmla="*/ 4 h 50"/>
                  <a:gd name="T8" fmla="*/ 26 w 31"/>
                  <a:gd name="T9" fmla="*/ 6 h 50"/>
                  <a:gd name="T10" fmla="*/ 28 w 31"/>
                  <a:gd name="T11" fmla="*/ 11 h 50"/>
                  <a:gd name="T12" fmla="*/ 30 w 31"/>
                  <a:gd name="T13" fmla="*/ 15 h 50"/>
                  <a:gd name="T14" fmla="*/ 30 w 31"/>
                  <a:gd name="T15" fmla="*/ 19 h 50"/>
                  <a:gd name="T16" fmla="*/ 31 w 31"/>
                  <a:gd name="T17" fmla="*/ 24 h 50"/>
                  <a:gd name="T18" fmla="*/ 30 w 31"/>
                  <a:gd name="T19" fmla="*/ 30 h 50"/>
                  <a:gd name="T20" fmla="*/ 30 w 31"/>
                  <a:gd name="T21" fmla="*/ 34 h 50"/>
                  <a:gd name="T22" fmla="*/ 28 w 31"/>
                  <a:gd name="T23" fmla="*/ 39 h 50"/>
                  <a:gd name="T24" fmla="*/ 26 w 31"/>
                  <a:gd name="T25" fmla="*/ 42 h 50"/>
                  <a:gd name="T26" fmla="*/ 24 w 31"/>
                  <a:gd name="T27" fmla="*/ 45 h 50"/>
                  <a:gd name="T28" fmla="*/ 22 w 31"/>
                  <a:gd name="T29" fmla="*/ 48 h 50"/>
                  <a:gd name="T30" fmla="*/ 19 w 31"/>
                  <a:gd name="T31" fmla="*/ 49 h 50"/>
                  <a:gd name="T32" fmla="*/ 16 w 31"/>
                  <a:gd name="T33" fmla="*/ 50 h 50"/>
                  <a:gd name="T34" fmla="*/ 12 w 31"/>
                  <a:gd name="T35" fmla="*/ 49 h 50"/>
                  <a:gd name="T36" fmla="*/ 9 w 31"/>
                  <a:gd name="T37" fmla="*/ 48 h 50"/>
                  <a:gd name="T38" fmla="*/ 6 w 31"/>
                  <a:gd name="T39" fmla="*/ 45 h 50"/>
                  <a:gd name="T40" fmla="*/ 5 w 31"/>
                  <a:gd name="T41" fmla="*/ 42 h 50"/>
                  <a:gd name="T42" fmla="*/ 2 w 31"/>
                  <a:gd name="T43" fmla="*/ 39 h 50"/>
                  <a:gd name="T44" fmla="*/ 1 w 31"/>
                  <a:gd name="T45" fmla="*/ 34 h 50"/>
                  <a:gd name="T46" fmla="*/ 0 w 31"/>
                  <a:gd name="T47" fmla="*/ 30 h 50"/>
                  <a:gd name="T48" fmla="*/ 0 w 31"/>
                  <a:gd name="T49" fmla="*/ 24 h 50"/>
                  <a:gd name="T50" fmla="*/ 0 w 31"/>
                  <a:gd name="T51" fmla="*/ 19 h 50"/>
                  <a:gd name="T52" fmla="*/ 1 w 31"/>
                  <a:gd name="T53" fmla="*/ 15 h 50"/>
                  <a:gd name="T54" fmla="*/ 2 w 31"/>
                  <a:gd name="T55" fmla="*/ 11 h 50"/>
                  <a:gd name="T56" fmla="*/ 5 w 31"/>
                  <a:gd name="T57" fmla="*/ 6 h 50"/>
                  <a:gd name="T58" fmla="*/ 6 w 31"/>
                  <a:gd name="T59" fmla="*/ 4 h 50"/>
                  <a:gd name="T60" fmla="*/ 9 w 31"/>
                  <a:gd name="T61" fmla="*/ 2 h 50"/>
                  <a:gd name="T62" fmla="*/ 12 w 31"/>
                  <a:gd name="T63" fmla="*/ 1 h 50"/>
                  <a:gd name="T64" fmla="*/ 16 w 31"/>
                  <a:gd name="T6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50">
                    <a:moveTo>
                      <a:pt x="16" y="0"/>
                    </a:moveTo>
                    <a:lnTo>
                      <a:pt x="19" y="1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8" y="11"/>
                    </a:lnTo>
                    <a:lnTo>
                      <a:pt x="30" y="15"/>
                    </a:lnTo>
                    <a:lnTo>
                      <a:pt x="30" y="19"/>
                    </a:lnTo>
                    <a:lnTo>
                      <a:pt x="31" y="24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8" y="39"/>
                    </a:lnTo>
                    <a:lnTo>
                      <a:pt x="26" y="42"/>
                    </a:lnTo>
                    <a:lnTo>
                      <a:pt x="24" y="45"/>
                    </a:lnTo>
                    <a:lnTo>
                      <a:pt x="22" y="48"/>
                    </a:lnTo>
                    <a:lnTo>
                      <a:pt x="19" y="49"/>
                    </a:lnTo>
                    <a:lnTo>
                      <a:pt x="16" y="50"/>
                    </a:lnTo>
                    <a:lnTo>
                      <a:pt x="12" y="49"/>
                    </a:lnTo>
                    <a:lnTo>
                      <a:pt x="9" y="48"/>
                    </a:lnTo>
                    <a:lnTo>
                      <a:pt x="6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1" y="15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8" name="Freeform 760"/>
              <p:cNvSpPr>
                <a:spLocks/>
              </p:cNvSpPr>
              <p:nvPr/>
            </p:nvSpPr>
            <p:spPr bwMode="auto">
              <a:xfrm>
                <a:off x="3624" y="1018"/>
                <a:ext cx="31" cy="50"/>
              </a:xfrm>
              <a:custGeom>
                <a:avLst/>
                <a:gdLst>
                  <a:gd name="T0" fmla="*/ 16 w 31"/>
                  <a:gd name="T1" fmla="*/ 0 h 50"/>
                  <a:gd name="T2" fmla="*/ 19 w 31"/>
                  <a:gd name="T3" fmla="*/ 1 h 50"/>
                  <a:gd name="T4" fmla="*/ 22 w 31"/>
                  <a:gd name="T5" fmla="*/ 2 h 50"/>
                  <a:gd name="T6" fmla="*/ 24 w 31"/>
                  <a:gd name="T7" fmla="*/ 4 h 50"/>
                  <a:gd name="T8" fmla="*/ 26 w 31"/>
                  <a:gd name="T9" fmla="*/ 6 h 50"/>
                  <a:gd name="T10" fmla="*/ 28 w 31"/>
                  <a:gd name="T11" fmla="*/ 11 h 50"/>
                  <a:gd name="T12" fmla="*/ 30 w 31"/>
                  <a:gd name="T13" fmla="*/ 15 h 50"/>
                  <a:gd name="T14" fmla="*/ 30 w 31"/>
                  <a:gd name="T15" fmla="*/ 19 h 50"/>
                  <a:gd name="T16" fmla="*/ 31 w 31"/>
                  <a:gd name="T17" fmla="*/ 24 h 50"/>
                  <a:gd name="T18" fmla="*/ 30 w 31"/>
                  <a:gd name="T19" fmla="*/ 30 h 50"/>
                  <a:gd name="T20" fmla="*/ 30 w 31"/>
                  <a:gd name="T21" fmla="*/ 34 h 50"/>
                  <a:gd name="T22" fmla="*/ 28 w 31"/>
                  <a:gd name="T23" fmla="*/ 39 h 50"/>
                  <a:gd name="T24" fmla="*/ 26 w 31"/>
                  <a:gd name="T25" fmla="*/ 42 h 50"/>
                  <a:gd name="T26" fmla="*/ 24 w 31"/>
                  <a:gd name="T27" fmla="*/ 45 h 50"/>
                  <a:gd name="T28" fmla="*/ 22 w 31"/>
                  <a:gd name="T29" fmla="*/ 48 h 50"/>
                  <a:gd name="T30" fmla="*/ 19 w 31"/>
                  <a:gd name="T31" fmla="*/ 49 h 50"/>
                  <a:gd name="T32" fmla="*/ 16 w 31"/>
                  <a:gd name="T33" fmla="*/ 50 h 50"/>
                  <a:gd name="T34" fmla="*/ 12 w 31"/>
                  <a:gd name="T35" fmla="*/ 49 h 50"/>
                  <a:gd name="T36" fmla="*/ 9 w 31"/>
                  <a:gd name="T37" fmla="*/ 48 h 50"/>
                  <a:gd name="T38" fmla="*/ 6 w 31"/>
                  <a:gd name="T39" fmla="*/ 45 h 50"/>
                  <a:gd name="T40" fmla="*/ 5 w 31"/>
                  <a:gd name="T41" fmla="*/ 42 h 50"/>
                  <a:gd name="T42" fmla="*/ 2 w 31"/>
                  <a:gd name="T43" fmla="*/ 39 h 50"/>
                  <a:gd name="T44" fmla="*/ 1 w 31"/>
                  <a:gd name="T45" fmla="*/ 34 h 50"/>
                  <a:gd name="T46" fmla="*/ 0 w 31"/>
                  <a:gd name="T47" fmla="*/ 30 h 50"/>
                  <a:gd name="T48" fmla="*/ 0 w 31"/>
                  <a:gd name="T49" fmla="*/ 24 h 50"/>
                  <a:gd name="T50" fmla="*/ 0 w 31"/>
                  <a:gd name="T51" fmla="*/ 19 h 50"/>
                  <a:gd name="T52" fmla="*/ 1 w 31"/>
                  <a:gd name="T53" fmla="*/ 15 h 50"/>
                  <a:gd name="T54" fmla="*/ 2 w 31"/>
                  <a:gd name="T55" fmla="*/ 11 h 50"/>
                  <a:gd name="T56" fmla="*/ 5 w 31"/>
                  <a:gd name="T57" fmla="*/ 6 h 50"/>
                  <a:gd name="T58" fmla="*/ 6 w 31"/>
                  <a:gd name="T59" fmla="*/ 4 h 50"/>
                  <a:gd name="T60" fmla="*/ 9 w 31"/>
                  <a:gd name="T61" fmla="*/ 2 h 50"/>
                  <a:gd name="T62" fmla="*/ 12 w 31"/>
                  <a:gd name="T63" fmla="*/ 1 h 50"/>
                  <a:gd name="T64" fmla="*/ 16 w 31"/>
                  <a:gd name="T65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1" h="50">
                    <a:moveTo>
                      <a:pt x="16" y="0"/>
                    </a:moveTo>
                    <a:lnTo>
                      <a:pt x="19" y="1"/>
                    </a:lnTo>
                    <a:lnTo>
                      <a:pt x="22" y="2"/>
                    </a:lnTo>
                    <a:lnTo>
                      <a:pt x="24" y="4"/>
                    </a:lnTo>
                    <a:lnTo>
                      <a:pt x="26" y="6"/>
                    </a:lnTo>
                    <a:lnTo>
                      <a:pt x="28" y="11"/>
                    </a:lnTo>
                    <a:lnTo>
                      <a:pt x="30" y="15"/>
                    </a:lnTo>
                    <a:lnTo>
                      <a:pt x="30" y="19"/>
                    </a:lnTo>
                    <a:lnTo>
                      <a:pt x="31" y="24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8" y="39"/>
                    </a:lnTo>
                    <a:lnTo>
                      <a:pt x="26" y="42"/>
                    </a:lnTo>
                    <a:lnTo>
                      <a:pt x="24" y="45"/>
                    </a:lnTo>
                    <a:lnTo>
                      <a:pt x="22" y="48"/>
                    </a:lnTo>
                    <a:lnTo>
                      <a:pt x="19" y="49"/>
                    </a:lnTo>
                    <a:lnTo>
                      <a:pt x="16" y="50"/>
                    </a:lnTo>
                    <a:lnTo>
                      <a:pt x="12" y="49"/>
                    </a:lnTo>
                    <a:lnTo>
                      <a:pt x="9" y="48"/>
                    </a:lnTo>
                    <a:lnTo>
                      <a:pt x="6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4"/>
                    </a:lnTo>
                    <a:lnTo>
                      <a:pt x="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1" y="15"/>
                    </a:lnTo>
                    <a:lnTo>
                      <a:pt x="2" y="11"/>
                    </a:lnTo>
                    <a:lnTo>
                      <a:pt x="5" y="6"/>
                    </a:lnTo>
                    <a:lnTo>
                      <a:pt x="6" y="4"/>
                    </a:lnTo>
                    <a:lnTo>
                      <a:pt x="9" y="2"/>
                    </a:lnTo>
                    <a:lnTo>
                      <a:pt x="12" y="1"/>
                    </a:lnTo>
                    <a:lnTo>
                      <a:pt x="1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29" name="Freeform 761"/>
              <p:cNvSpPr>
                <a:spLocks/>
              </p:cNvSpPr>
              <p:nvPr/>
            </p:nvSpPr>
            <p:spPr bwMode="auto">
              <a:xfrm>
                <a:off x="3665" y="1013"/>
                <a:ext cx="16" cy="44"/>
              </a:xfrm>
              <a:custGeom>
                <a:avLst/>
                <a:gdLst>
                  <a:gd name="T0" fmla="*/ 8 w 16"/>
                  <a:gd name="T1" fmla="*/ 44 h 44"/>
                  <a:gd name="T2" fmla="*/ 9 w 16"/>
                  <a:gd name="T3" fmla="*/ 44 h 44"/>
                  <a:gd name="T4" fmla="*/ 11 w 16"/>
                  <a:gd name="T5" fmla="*/ 43 h 44"/>
                  <a:gd name="T6" fmla="*/ 12 w 16"/>
                  <a:gd name="T7" fmla="*/ 40 h 44"/>
                  <a:gd name="T8" fmla="*/ 14 w 16"/>
                  <a:gd name="T9" fmla="*/ 38 h 44"/>
                  <a:gd name="T10" fmla="*/ 15 w 16"/>
                  <a:gd name="T11" fmla="*/ 35 h 44"/>
                  <a:gd name="T12" fmla="*/ 15 w 16"/>
                  <a:gd name="T13" fmla="*/ 31 h 44"/>
                  <a:gd name="T14" fmla="*/ 15 w 16"/>
                  <a:gd name="T15" fmla="*/ 27 h 44"/>
                  <a:gd name="T16" fmla="*/ 16 w 16"/>
                  <a:gd name="T17" fmla="*/ 22 h 44"/>
                  <a:gd name="T18" fmla="*/ 15 w 16"/>
                  <a:gd name="T19" fmla="*/ 18 h 44"/>
                  <a:gd name="T20" fmla="*/ 15 w 16"/>
                  <a:gd name="T21" fmla="*/ 14 h 44"/>
                  <a:gd name="T22" fmla="*/ 15 w 16"/>
                  <a:gd name="T23" fmla="*/ 10 h 44"/>
                  <a:gd name="T24" fmla="*/ 14 w 16"/>
                  <a:gd name="T25" fmla="*/ 7 h 44"/>
                  <a:gd name="T26" fmla="*/ 12 w 16"/>
                  <a:gd name="T27" fmla="*/ 5 h 44"/>
                  <a:gd name="T28" fmla="*/ 11 w 16"/>
                  <a:gd name="T29" fmla="*/ 2 h 44"/>
                  <a:gd name="T30" fmla="*/ 9 w 16"/>
                  <a:gd name="T31" fmla="*/ 2 h 44"/>
                  <a:gd name="T32" fmla="*/ 8 w 16"/>
                  <a:gd name="T33" fmla="*/ 0 h 44"/>
                  <a:gd name="T34" fmla="*/ 5 w 16"/>
                  <a:gd name="T35" fmla="*/ 2 h 44"/>
                  <a:gd name="T36" fmla="*/ 4 w 16"/>
                  <a:gd name="T37" fmla="*/ 2 h 44"/>
                  <a:gd name="T38" fmla="*/ 3 w 16"/>
                  <a:gd name="T39" fmla="*/ 5 h 44"/>
                  <a:gd name="T40" fmla="*/ 1 w 16"/>
                  <a:gd name="T41" fmla="*/ 7 h 44"/>
                  <a:gd name="T42" fmla="*/ 1 w 16"/>
                  <a:gd name="T43" fmla="*/ 10 h 44"/>
                  <a:gd name="T44" fmla="*/ 0 w 16"/>
                  <a:gd name="T45" fmla="*/ 14 h 44"/>
                  <a:gd name="T46" fmla="*/ 0 w 16"/>
                  <a:gd name="T47" fmla="*/ 18 h 44"/>
                  <a:gd name="T48" fmla="*/ 0 w 16"/>
                  <a:gd name="T49" fmla="*/ 22 h 44"/>
                  <a:gd name="T50" fmla="*/ 0 w 16"/>
                  <a:gd name="T51" fmla="*/ 27 h 44"/>
                  <a:gd name="T52" fmla="*/ 0 w 16"/>
                  <a:gd name="T53" fmla="*/ 31 h 44"/>
                  <a:gd name="T54" fmla="*/ 1 w 16"/>
                  <a:gd name="T55" fmla="*/ 35 h 44"/>
                  <a:gd name="T56" fmla="*/ 1 w 16"/>
                  <a:gd name="T57" fmla="*/ 38 h 44"/>
                  <a:gd name="T58" fmla="*/ 3 w 16"/>
                  <a:gd name="T59" fmla="*/ 40 h 44"/>
                  <a:gd name="T60" fmla="*/ 4 w 16"/>
                  <a:gd name="T61" fmla="*/ 43 h 44"/>
                  <a:gd name="T62" fmla="*/ 5 w 16"/>
                  <a:gd name="T63" fmla="*/ 44 h 44"/>
                  <a:gd name="T64" fmla="*/ 8 w 16"/>
                  <a:gd name="T6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4">
                    <a:moveTo>
                      <a:pt x="8" y="44"/>
                    </a:moveTo>
                    <a:lnTo>
                      <a:pt x="9" y="44"/>
                    </a:lnTo>
                    <a:lnTo>
                      <a:pt x="11" y="43"/>
                    </a:lnTo>
                    <a:lnTo>
                      <a:pt x="12" y="40"/>
                    </a:lnTo>
                    <a:lnTo>
                      <a:pt x="14" y="38"/>
                    </a:lnTo>
                    <a:lnTo>
                      <a:pt x="15" y="35"/>
                    </a:lnTo>
                    <a:lnTo>
                      <a:pt x="15" y="31"/>
                    </a:lnTo>
                    <a:lnTo>
                      <a:pt x="15" y="27"/>
                    </a:lnTo>
                    <a:lnTo>
                      <a:pt x="16" y="22"/>
                    </a:lnTo>
                    <a:lnTo>
                      <a:pt x="15" y="18"/>
                    </a:lnTo>
                    <a:lnTo>
                      <a:pt x="15" y="14"/>
                    </a:lnTo>
                    <a:lnTo>
                      <a:pt x="15" y="10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3" y="40"/>
                    </a:lnTo>
                    <a:lnTo>
                      <a:pt x="4" y="43"/>
                    </a:lnTo>
                    <a:lnTo>
                      <a:pt x="5" y="44"/>
                    </a:lnTo>
                    <a:lnTo>
                      <a:pt x="8" y="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0" name="Freeform 762"/>
              <p:cNvSpPr>
                <a:spLocks/>
              </p:cNvSpPr>
              <p:nvPr/>
            </p:nvSpPr>
            <p:spPr bwMode="auto">
              <a:xfrm>
                <a:off x="3665" y="1013"/>
                <a:ext cx="16" cy="44"/>
              </a:xfrm>
              <a:custGeom>
                <a:avLst/>
                <a:gdLst>
                  <a:gd name="T0" fmla="*/ 8 w 16"/>
                  <a:gd name="T1" fmla="*/ 44 h 44"/>
                  <a:gd name="T2" fmla="*/ 9 w 16"/>
                  <a:gd name="T3" fmla="*/ 44 h 44"/>
                  <a:gd name="T4" fmla="*/ 11 w 16"/>
                  <a:gd name="T5" fmla="*/ 43 h 44"/>
                  <a:gd name="T6" fmla="*/ 12 w 16"/>
                  <a:gd name="T7" fmla="*/ 40 h 44"/>
                  <a:gd name="T8" fmla="*/ 14 w 16"/>
                  <a:gd name="T9" fmla="*/ 38 h 44"/>
                  <a:gd name="T10" fmla="*/ 15 w 16"/>
                  <a:gd name="T11" fmla="*/ 35 h 44"/>
                  <a:gd name="T12" fmla="*/ 15 w 16"/>
                  <a:gd name="T13" fmla="*/ 31 h 44"/>
                  <a:gd name="T14" fmla="*/ 15 w 16"/>
                  <a:gd name="T15" fmla="*/ 27 h 44"/>
                  <a:gd name="T16" fmla="*/ 16 w 16"/>
                  <a:gd name="T17" fmla="*/ 22 h 44"/>
                  <a:gd name="T18" fmla="*/ 15 w 16"/>
                  <a:gd name="T19" fmla="*/ 18 h 44"/>
                  <a:gd name="T20" fmla="*/ 15 w 16"/>
                  <a:gd name="T21" fmla="*/ 14 h 44"/>
                  <a:gd name="T22" fmla="*/ 15 w 16"/>
                  <a:gd name="T23" fmla="*/ 10 h 44"/>
                  <a:gd name="T24" fmla="*/ 14 w 16"/>
                  <a:gd name="T25" fmla="*/ 7 h 44"/>
                  <a:gd name="T26" fmla="*/ 12 w 16"/>
                  <a:gd name="T27" fmla="*/ 5 h 44"/>
                  <a:gd name="T28" fmla="*/ 11 w 16"/>
                  <a:gd name="T29" fmla="*/ 2 h 44"/>
                  <a:gd name="T30" fmla="*/ 9 w 16"/>
                  <a:gd name="T31" fmla="*/ 2 h 44"/>
                  <a:gd name="T32" fmla="*/ 8 w 16"/>
                  <a:gd name="T33" fmla="*/ 0 h 44"/>
                  <a:gd name="T34" fmla="*/ 5 w 16"/>
                  <a:gd name="T35" fmla="*/ 2 h 44"/>
                  <a:gd name="T36" fmla="*/ 4 w 16"/>
                  <a:gd name="T37" fmla="*/ 2 h 44"/>
                  <a:gd name="T38" fmla="*/ 3 w 16"/>
                  <a:gd name="T39" fmla="*/ 5 h 44"/>
                  <a:gd name="T40" fmla="*/ 1 w 16"/>
                  <a:gd name="T41" fmla="*/ 7 h 44"/>
                  <a:gd name="T42" fmla="*/ 1 w 16"/>
                  <a:gd name="T43" fmla="*/ 10 h 44"/>
                  <a:gd name="T44" fmla="*/ 0 w 16"/>
                  <a:gd name="T45" fmla="*/ 14 h 44"/>
                  <a:gd name="T46" fmla="*/ 0 w 16"/>
                  <a:gd name="T47" fmla="*/ 18 h 44"/>
                  <a:gd name="T48" fmla="*/ 0 w 16"/>
                  <a:gd name="T49" fmla="*/ 22 h 44"/>
                  <a:gd name="T50" fmla="*/ 0 w 16"/>
                  <a:gd name="T51" fmla="*/ 27 h 44"/>
                  <a:gd name="T52" fmla="*/ 0 w 16"/>
                  <a:gd name="T53" fmla="*/ 31 h 44"/>
                  <a:gd name="T54" fmla="*/ 1 w 16"/>
                  <a:gd name="T55" fmla="*/ 35 h 44"/>
                  <a:gd name="T56" fmla="*/ 1 w 16"/>
                  <a:gd name="T57" fmla="*/ 38 h 44"/>
                  <a:gd name="T58" fmla="*/ 3 w 16"/>
                  <a:gd name="T59" fmla="*/ 40 h 44"/>
                  <a:gd name="T60" fmla="*/ 4 w 16"/>
                  <a:gd name="T61" fmla="*/ 43 h 44"/>
                  <a:gd name="T62" fmla="*/ 5 w 16"/>
                  <a:gd name="T63" fmla="*/ 44 h 44"/>
                  <a:gd name="T64" fmla="*/ 8 w 16"/>
                  <a:gd name="T65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4">
                    <a:moveTo>
                      <a:pt x="8" y="44"/>
                    </a:moveTo>
                    <a:lnTo>
                      <a:pt x="9" y="44"/>
                    </a:lnTo>
                    <a:lnTo>
                      <a:pt x="11" y="43"/>
                    </a:lnTo>
                    <a:lnTo>
                      <a:pt x="12" y="40"/>
                    </a:lnTo>
                    <a:lnTo>
                      <a:pt x="14" y="38"/>
                    </a:lnTo>
                    <a:lnTo>
                      <a:pt x="15" y="35"/>
                    </a:lnTo>
                    <a:lnTo>
                      <a:pt x="15" y="31"/>
                    </a:lnTo>
                    <a:lnTo>
                      <a:pt x="15" y="27"/>
                    </a:lnTo>
                    <a:lnTo>
                      <a:pt x="16" y="22"/>
                    </a:lnTo>
                    <a:lnTo>
                      <a:pt x="15" y="18"/>
                    </a:lnTo>
                    <a:lnTo>
                      <a:pt x="15" y="14"/>
                    </a:lnTo>
                    <a:lnTo>
                      <a:pt x="15" y="10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4" y="2"/>
                    </a:lnTo>
                    <a:lnTo>
                      <a:pt x="3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1" y="35"/>
                    </a:lnTo>
                    <a:lnTo>
                      <a:pt x="1" y="38"/>
                    </a:lnTo>
                    <a:lnTo>
                      <a:pt x="3" y="40"/>
                    </a:lnTo>
                    <a:lnTo>
                      <a:pt x="4" y="43"/>
                    </a:lnTo>
                    <a:lnTo>
                      <a:pt x="5" y="44"/>
                    </a:lnTo>
                    <a:lnTo>
                      <a:pt x="8" y="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1" name="Freeform 763"/>
              <p:cNvSpPr>
                <a:spLocks/>
              </p:cNvSpPr>
              <p:nvPr/>
            </p:nvSpPr>
            <p:spPr bwMode="auto">
              <a:xfrm>
                <a:off x="3552" y="1046"/>
                <a:ext cx="34" cy="31"/>
              </a:xfrm>
              <a:custGeom>
                <a:avLst/>
                <a:gdLst>
                  <a:gd name="T0" fmla="*/ 16 w 34"/>
                  <a:gd name="T1" fmla="*/ 31 h 31"/>
                  <a:gd name="T2" fmla="*/ 21 w 34"/>
                  <a:gd name="T3" fmla="*/ 31 h 31"/>
                  <a:gd name="T4" fmla="*/ 23 w 34"/>
                  <a:gd name="T5" fmla="*/ 29 h 31"/>
                  <a:gd name="T6" fmla="*/ 26 w 34"/>
                  <a:gd name="T7" fmla="*/ 28 h 31"/>
                  <a:gd name="T8" fmla="*/ 29 w 34"/>
                  <a:gd name="T9" fmla="*/ 27 h 31"/>
                  <a:gd name="T10" fmla="*/ 32 w 34"/>
                  <a:gd name="T11" fmla="*/ 24 h 31"/>
                  <a:gd name="T12" fmla="*/ 33 w 34"/>
                  <a:gd name="T13" fmla="*/ 21 h 31"/>
                  <a:gd name="T14" fmla="*/ 34 w 34"/>
                  <a:gd name="T15" fmla="*/ 18 h 31"/>
                  <a:gd name="T16" fmla="*/ 34 w 34"/>
                  <a:gd name="T17" fmla="*/ 16 h 31"/>
                  <a:gd name="T18" fmla="*/ 34 w 34"/>
                  <a:gd name="T19" fmla="*/ 13 h 31"/>
                  <a:gd name="T20" fmla="*/ 33 w 34"/>
                  <a:gd name="T21" fmla="*/ 10 h 31"/>
                  <a:gd name="T22" fmla="*/ 32 w 34"/>
                  <a:gd name="T23" fmla="*/ 7 h 31"/>
                  <a:gd name="T24" fmla="*/ 29 w 34"/>
                  <a:gd name="T25" fmla="*/ 5 h 31"/>
                  <a:gd name="T26" fmla="*/ 26 w 34"/>
                  <a:gd name="T27" fmla="*/ 3 h 31"/>
                  <a:gd name="T28" fmla="*/ 23 w 34"/>
                  <a:gd name="T29" fmla="*/ 2 h 31"/>
                  <a:gd name="T30" fmla="*/ 21 w 34"/>
                  <a:gd name="T31" fmla="*/ 0 h 31"/>
                  <a:gd name="T32" fmla="*/ 16 w 34"/>
                  <a:gd name="T33" fmla="*/ 0 h 31"/>
                  <a:gd name="T34" fmla="*/ 14 w 34"/>
                  <a:gd name="T35" fmla="*/ 0 h 31"/>
                  <a:gd name="T36" fmla="*/ 11 w 34"/>
                  <a:gd name="T37" fmla="*/ 2 h 31"/>
                  <a:gd name="T38" fmla="*/ 8 w 34"/>
                  <a:gd name="T39" fmla="*/ 3 h 31"/>
                  <a:gd name="T40" fmla="*/ 5 w 34"/>
                  <a:gd name="T41" fmla="*/ 5 h 31"/>
                  <a:gd name="T42" fmla="*/ 3 w 34"/>
                  <a:gd name="T43" fmla="*/ 7 h 31"/>
                  <a:gd name="T44" fmla="*/ 1 w 34"/>
                  <a:gd name="T45" fmla="*/ 10 h 31"/>
                  <a:gd name="T46" fmla="*/ 1 w 34"/>
                  <a:gd name="T47" fmla="*/ 13 h 31"/>
                  <a:gd name="T48" fmla="*/ 0 w 34"/>
                  <a:gd name="T49" fmla="*/ 16 h 31"/>
                  <a:gd name="T50" fmla="*/ 1 w 34"/>
                  <a:gd name="T51" fmla="*/ 18 h 31"/>
                  <a:gd name="T52" fmla="*/ 1 w 34"/>
                  <a:gd name="T53" fmla="*/ 21 h 31"/>
                  <a:gd name="T54" fmla="*/ 3 w 34"/>
                  <a:gd name="T55" fmla="*/ 24 h 31"/>
                  <a:gd name="T56" fmla="*/ 5 w 34"/>
                  <a:gd name="T57" fmla="*/ 27 h 31"/>
                  <a:gd name="T58" fmla="*/ 8 w 34"/>
                  <a:gd name="T59" fmla="*/ 28 h 31"/>
                  <a:gd name="T60" fmla="*/ 11 w 34"/>
                  <a:gd name="T61" fmla="*/ 29 h 31"/>
                  <a:gd name="T62" fmla="*/ 14 w 34"/>
                  <a:gd name="T63" fmla="*/ 31 h 31"/>
                  <a:gd name="T64" fmla="*/ 16 w 34"/>
                  <a:gd name="T6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1">
                    <a:moveTo>
                      <a:pt x="16" y="31"/>
                    </a:moveTo>
                    <a:lnTo>
                      <a:pt x="21" y="31"/>
                    </a:lnTo>
                    <a:lnTo>
                      <a:pt x="23" y="29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3"/>
                    </a:lnTo>
                    <a:lnTo>
                      <a:pt x="33" y="10"/>
                    </a:lnTo>
                    <a:lnTo>
                      <a:pt x="32" y="7"/>
                    </a:lnTo>
                    <a:lnTo>
                      <a:pt x="29" y="5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4" y="31"/>
                    </a:lnTo>
                    <a:lnTo>
                      <a:pt x="16" y="3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2" name="Freeform 764"/>
              <p:cNvSpPr>
                <a:spLocks/>
              </p:cNvSpPr>
              <p:nvPr/>
            </p:nvSpPr>
            <p:spPr bwMode="auto">
              <a:xfrm>
                <a:off x="3552" y="1046"/>
                <a:ext cx="34" cy="31"/>
              </a:xfrm>
              <a:custGeom>
                <a:avLst/>
                <a:gdLst>
                  <a:gd name="T0" fmla="*/ 16 w 34"/>
                  <a:gd name="T1" fmla="*/ 31 h 31"/>
                  <a:gd name="T2" fmla="*/ 21 w 34"/>
                  <a:gd name="T3" fmla="*/ 31 h 31"/>
                  <a:gd name="T4" fmla="*/ 23 w 34"/>
                  <a:gd name="T5" fmla="*/ 29 h 31"/>
                  <a:gd name="T6" fmla="*/ 26 w 34"/>
                  <a:gd name="T7" fmla="*/ 28 h 31"/>
                  <a:gd name="T8" fmla="*/ 29 w 34"/>
                  <a:gd name="T9" fmla="*/ 27 h 31"/>
                  <a:gd name="T10" fmla="*/ 32 w 34"/>
                  <a:gd name="T11" fmla="*/ 24 h 31"/>
                  <a:gd name="T12" fmla="*/ 33 w 34"/>
                  <a:gd name="T13" fmla="*/ 21 h 31"/>
                  <a:gd name="T14" fmla="*/ 34 w 34"/>
                  <a:gd name="T15" fmla="*/ 18 h 31"/>
                  <a:gd name="T16" fmla="*/ 34 w 34"/>
                  <a:gd name="T17" fmla="*/ 16 h 31"/>
                  <a:gd name="T18" fmla="*/ 34 w 34"/>
                  <a:gd name="T19" fmla="*/ 13 h 31"/>
                  <a:gd name="T20" fmla="*/ 33 w 34"/>
                  <a:gd name="T21" fmla="*/ 10 h 31"/>
                  <a:gd name="T22" fmla="*/ 32 w 34"/>
                  <a:gd name="T23" fmla="*/ 7 h 31"/>
                  <a:gd name="T24" fmla="*/ 29 w 34"/>
                  <a:gd name="T25" fmla="*/ 5 h 31"/>
                  <a:gd name="T26" fmla="*/ 26 w 34"/>
                  <a:gd name="T27" fmla="*/ 3 h 31"/>
                  <a:gd name="T28" fmla="*/ 23 w 34"/>
                  <a:gd name="T29" fmla="*/ 2 h 31"/>
                  <a:gd name="T30" fmla="*/ 21 w 34"/>
                  <a:gd name="T31" fmla="*/ 0 h 31"/>
                  <a:gd name="T32" fmla="*/ 16 w 34"/>
                  <a:gd name="T33" fmla="*/ 0 h 31"/>
                  <a:gd name="T34" fmla="*/ 14 w 34"/>
                  <a:gd name="T35" fmla="*/ 0 h 31"/>
                  <a:gd name="T36" fmla="*/ 11 w 34"/>
                  <a:gd name="T37" fmla="*/ 2 h 31"/>
                  <a:gd name="T38" fmla="*/ 8 w 34"/>
                  <a:gd name="T39" fmla="*/ 3 h 31"/>
                  <a:gd name="T40" fmla="*/ 5 w 34"/>
                  <a:gd name="T41" fmla="*/ 5 h 31"/>
                  <a:gd name="T42" fmla="*/ 3 w 34"/>
                  <a:gd name="T43" fmla="*/ 7 h 31"/>
                  <a:gd name="T44" fmla="*/ 1 w 34"/>
                  <a:gd name="T45" fmla="*/ 10 h 31"/>
                  <a:gd name="T46" fmla="*/ 1 w 34"/>
                  <a:gd name="T47" fmla="*/ 13 h 31"/>
                  <a:gd name="T48" fmla="*/ 0 w 34"/>
                  <a:gd name="T49" fmla="*/ 16 h 31"/>
                  <a:gd name="T50" fmla="*/ 1 w 34"/>
                  <a:gd name="T51" fmla="*/ 18 h 31"/>
                  <a:gd name="T52" fmla="*/ 1 w 34"/>
                  <a:gd name="T53" fmla="*/ 21 h 31"/>
                  <a:gd name="T54" fmla="*/ 3 w 34"/>
                  <a:gd name="T55" fmla="*/ 24 h 31"/>
                  <a:gd name="T56" fmla="*/ 5 w 34"/>
                  <a:gd name="T57" fmla="*/ 27 h 31"/>
                  <a:gd name="T58" fmla="*/ 8 w 34"/>
                  <a:gd name="T59" fmla="*/ 28 h 31"/>
                  <a:gd name="T60" fmla="*/ 11 w 34"/>
                  <a:gd name="T61" fmla="*/ 29 h 31"/>
                  <a:gd name="T62" fmla="*/ 14 w 34"/>
                  <a:gd name="T63" fmla="*/ 31 h 31"/>
                  <a:gd name="T64" fmla="*/ 16 w 34"/>
                  <a:gd name="T6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4" h="31">
                    <a:moveTo>
                      <a:pt x="16" y="31"/>
                    </a:moveTo>
                    <a:lnTo>
                      <a:pt x="21" y="31"/>
                    </a:lnTo>
                    <a:lnTo>
                      <a:pt x="23" y="29"/>
                    </a:lnTo>
                    <a:lnTo>
                      <a:pt x="26" y="28"/>
                    </a:lnTo>
                    <a:lnTo>
                      <a:pt x="29" y="27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8"/>
                    </a:lnTo>
                    <a:lnTo>
                      <a:pt x="34" y="16"/>
                    </a:lnTo>
                    <a:lnTo>
                      <a:pt x="34" y="13"/>
                    </a:lnTo>
                    <a:lnTo>
                      <a:pt x="33" y="10"/>
                    </a:lnTo>
                    <a:lnTo>
                      <a:pt x="32" y="7"/>
                    </a:lnTo>
                    <a:lnTo>
                      <a:pt x="29" y="5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1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1" y="18"/>
                    </a:lnTo>
                    <a:lnTo>
                      <a:pt x="1" y="21"/>
                    </a:lnTo>
                    <a:lnTo>
                      <a:pt x="3" y="24"/>
                    </a:lnTo>
                    <a:lnTo>
                      <a:pt x="5" y="27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4" y="31"/>
                    </a:lnTo>
                    <a:lnTo>
                      <a:pt x="16" y="3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3" name="Freeform 765"/>
              <p:cNvSpPr>
                <a:spLocks/>
              </p:cNvSpPr>
              <p:nvPr/>
            </p:nvSpPr>
            <p:spPr bwMode="auto">
              <a:xfrm>
                <a:off x="3597" y="1037"/>
                <a:ext cx="20" cy="48"/>
              </a:xfrm>
              <a:custGeom>
                <a:avLst/>
                <a:gdLst>
                  <a:gd name="T0" fmla="*/ 10 w 20"/>
                  <a:gd name="T1" fmla="*/ 48 h 48"/>
                  <a:gd name="T2" fmla="*/ 13 w 20"/>
                  <a:gd name="T3" fmla="*/ 47 h 48"/>
                  <a:gd name="T4" fmla="*/ 14 w 20"/>
                  <a:gd name="T5" fmla="*/ 45 h 48"/>
                  <a:gd name="T6" fmla="*/ 16 w 20"/>
                  <a:gd name="T7" fmla="*/ 44 h 48"/>
                  <a:gd name="T8" fmla="*/ 17 w 20"/>
                  <a:gd name="T9" fmla="*/ 41 h 48"/>
                  <a:gd name="T10" fmla="*/ 18 w 20"/>
                  <a:gd name="T11" fmla="*/ 37 h 48"/>
                  <a:gd name="T12" fmla="*/ 20 w 20"/>
                  <a:gd name="T13" fmla="*/ 33 h 48"/>
                  <a:gd name="T14" fmla="*/ 20 w 20"/>
                  <a:gd name="T15" fmla="*/ 29 h 48"/>
                  <a:gd name="T16" fmla="*/ 20 w 20"/>
                  <a:gd name="T17" fmla="*/ 25 h 48"/>
                  <a:gd name="T18" fmla="*/ 20 w 20"/>
                  <a:gd name="T19" fmla="*/ 19 h 48"/>
                  <a:gd name="T20" fmla="*/ 20 w 20"/>
                  <a:gd name="T21" fmla="*/ 15 h 48"/>
                  <a:gd name="T22" fmla="*/ 18 w 20"/>
                  <a:gd name="T23" fmla="*/ 11 h 48"/>
                  <a:gd name="T24" fmla="*/ 17 w 20"/>
                  <a:gd name="T25" fmla="*/ 7 h 48"/>
                  <a:gd name="T26" fmla="*/ 16 w 20"/>
                  <a:gd name="T27" fmla="*/ 4 h 48"/>
                  <a:gd name="T28" fmla="*/ 14 w 20"/>
                  <a:gd name="T29" fmla="*/ 3 h 48"/>
                  <a:gd name="T30" fmla="*/ 13 w 20"/>
                  <a:gd name="T31" fmla="*/ 1 h 48"/>
                  <a:gd name="T32" fmla="*/ 10 w 20"/>
                  <a:gd name="T33" fmla="*/ 0 h 48"/>
                  <a:gd name="T34" fmla="*/ 9 w 20"/>
                  <a:gd name="T35" fmla="*/ 1 h 48"/>
                  <a:gd name="T36" fmla="*/ 6 w 20"/>
                  <a:gd name="T37" fmla="*/ 3 h 48"/>
                  <a:gd name="T38" fmla="*/ 5 w 20"/>
                  <a:gd name="T39" fmla="*/ 4 h 48"/>
                  <a:gd name="T40" fmla="*/ 3 w 20"/>
                  <a:gd name="T41" fmla="*/ 7 h 48"/>
                  <a:gd name="T42" fmla="*/ 2 w 20"/>
                  <a:gd name="T43" fmla="*/ 11 h 48"/>
                  <a:gd name="T44" fmla="*/ 0 w 20"/>
                  <a:gd name="T45" fmla="*/ 15 h 48"/>
                  <a:gd name="T46" fmla="*/ 0 w 20"/>
                  <a:gd name="T47" fmla="*/ 19 h 48"/>
                  <a:gd name="T48" fmla="*/ 0 w 20"/>
                  <a:gd name="T49" fmla="*/ 25 h 48"/>
                  <a:gd name="T50" fmla="*/ 0 w 20"/>
                  <a:gd name="T51" fmla="*/ 29 h 48"/>
                  <a:gd name="T52" fmla="*/ 0 w 20"/>
                  <a:gd name="T53" fmla="*/ 33 h 48"/>
                  <a:gd name="T54" fmla="*/ 2 w 20"/>
                  <a:gd name="T55" fmla="*/ 37 h 48"/>
                  <a:gd name="T56" fmla="*/ 3 w 20"/>
                  <a:gd name="T57" fmla="*/ 41 h 48"/>
                  <a:gd name="T58" fmla="*/ 5 w 20"/>
                  <a:gd name="T59" fmla="*/ 44 h 48"/>
                  <a:gd name="T60" fmla="*/ 6 w 20"/>
                  <a:gd name="T61" fmla="*/ 45 h 48"/>
                  <a:gd name="T62" fmla="*/ 9 w 20"/>
                  <a:gd name="T63" fmla="*/ 47 h 48"/>
                  <a:gd name="T64" fmla="*/ 10 w 20"/>
                  <a:gd name="T6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8">
                    <a:moveTo>
                      <a:pt x="10" y="48"/>
                    </a:moveTo>
                    <a:lnTo>
                      <a:pt x="13" y="47"/>
                    </a:lnTo>
                    <a:lnTo>
                      <a:pt x="14" y="45"/>
                    </a:lnTo>
                    <a:lnTo>
                      <a:pt x="16" y="44"/>
                    </a:lnTo>
                    <a:lnTo>
                      <a:pt x="17" y="41"/>
                    </a:lnTo>
                    <a:lnTo>
                      <a:pt x="18" y="37"/>
                    </a:lnTo>
                    <a:lnTo>
                      <a:pt x="20" y="33"/>
                    </a:lnTo>
                    <a:lnTo>
                      <a:pt x="20" y="29"/>
                    </a:lnTo>
                    <a:lnTo>
                      <a:pt x="20" y="25"/>
                    </a:lnTo>
                    <a:lnTo>
                      <a:pt x="20" y="19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7" y="7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0" y="33"/>
                    </a:lnTo>
                    <a:lnTo>
                      <a:pt x="2" y="37"/>
                    </a:lnTo>
                    <a:lnTo>
                      <a:pt x="3" y="41"/>
                    </a:lnTo>
                    <a:lnTo>
                      <a:pt x="5" y="44"/>
                    </a:lnTo>
                    <a:lnTo>
                      <a:pt x="6" y="45"/>
                    </a:lnTo>
                    <a:lnTo>
                      <a:pt x="9" y="47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4" name="Freeform 766"/>
              <p:cNvSpPr>
                <a:spLocks/>
              </p:cNvSpPr>
              <p:nvPr/>
            </p:nvSpPr>
            <p:spPr bwMode="auto">
              <a:xfrm>
                <a:off x="3597" y="1037"/>
                <a:ext cx="20" cy="48"/>
              </a:xfrm>
              <a:custGeom>
                <a:avLst/>
                <a:gdLst>
                  <a:gd name="T0" fmla="*/ 10 w 20"/>
                  <a:gd name="T1" fmla="*/ 48 h 48"/>
                  <a:gd name="T2" fmla="*/ 13 w 20"/>
                  <a:gd name="T3" fmla="*/ 47 h 48"/>
                  <a:gd name="T4" fmla="*/ 14 w 20"/>
                  <a:gd name="T5" fmla="*/ 45 h 48"/>
                  <a:gd name="T6" fmla="*/ 16 w 20"/>
                  <a:gd name="T7" fmla="*/ 44 h 48"/>
                  <a:gd name="T8" fmla="*/ 17 w 20"/>
                  <a:gd name="T9" fmla="*/ 41 h 48"/>
                  <a:gd name="T10" fmla="*/ 18 w 20"/>
                  <a:gd name="T11" fmla="*/ 37 h 48"/>
                  <a:gd name="T12" fmla="*/ 20 w 20"/>
                  <a:gd name="T13" fmla="*/ 33 h 48"/>
                  <a:gd name="T14" fmla="*/ 20 w 20"/>
                  <a:gd name="T15" fmla="*/ 29 h 48"/>
                  <a:gd name="T16" fmla="*/ 20 w 20"/>
                  <a:gd name="T17" fmla="*/ 25 h 48"/>
                  <a:gd name="T18" fmla="*/ 20 w 20"/>
                  <a:gd name="T19" fmla="*/ 19 h 48"/>
                  <a:gd name="T20" fmla="*/ 20 w 20"/>
                  <a:gd name="T21" fmla="*/ 15 h 48"/>
                  <a:gd name="T22" fmla="*/ 18 w 20"/>
                  <a:gd name="T23" fmla="*/ 11 h 48"/>
                  <a:gd name="T24" fmla="*/ 17 w 20"/>
                  <a:gd name="T25" fmla="*/ 7 h 48"/>
                  <a:gd name="T26" fmla="*/ 16 w 20"/>
                  <a:gd name="T27" fmla="*/ 4 h 48"/>
                  <a:gd name="T28" fmla="*/ 14 w 20"/>
                  <a:gd name="T29" fmla="*/ 3 h 48"/>
                  <a:gd name="T30" fmla="*/ 13 w 20"/>
                  <a:gd name="T31" fmla="*/ 1 h 48"/>
                  <a:gd name="T32" fmla="*/ 10 w 20"/>
                  <a:gd name="T33" fmla="*/ 0 h 48"/>
                  <a:gd name="T34" fmla="*/ 9 w 20"/>
                  <a:gd name="T35" fmla="*/ 1 h 48"/>
                  <a:gd name="T36" fmla="*/ 6 w 20"/>
                  <a:gd name="T37" fmla="*/ 3 h 48"/>
                  <a:gd name="T38" fmla="*/ 5 w 20"/>
                  <a:gd name="T39" fmla="*/ 4 h 48"/>
                  <a:gd name="T40" fmla="*/ 3 w 20"/>
                  <a:gd name="T41" fmla="*/ 7 h 48"/>
                  <a:gd name="T42" fmla="*/ 2 w 20"/>
                  <a:gd name="T43" fmla="*/ 11 h 48"/>
                  <a:gd name="T44" fmla="*/ 0 w 20"/>
                  <a:gd name="T45" fmla="*/ 15 h 48"/>
                  <a:gd name="T46" fmla="*/ 0 w 20"/>
                  <a:gd name="T47" fmla="*/ 19 h 48"/>
                  <a:gd name="T48" fmla="*/ 0 w 20"/>
                  <a:gd name="T49" fmla="*/ 25 h 48"/>
                  <a:gd name="T50" fmla="*/ 0 w 20"/>
                  <a:gd name="T51" fmla="*/ 29 h 48"/>
                  <a:gd name="T52" fmla="*/ 0 w 20"/>
                  <a:gd name="T53" fmla="*/ 33 h 48"/>
                  <a:gd name="T54" fmla="*/ 2 w 20"/>
                  <a:gd name="T55" fmla="*/ 37 h 48"/>
                  <a:gd name="T56" fmla="*/ 3 w 20"/>
                  <a:gd name="T57" fmla="*/ 41 h 48"/>
                  <a:gd name="T58" fmla="*/ 5 w 20"/>
                  <a:gd name="T59" fmla="*/ 44 h 48"/>
                  <a:gd name="T60" fmla="*/ 6 w 20"/>
                  <a:gd name="T61" fmla="*/ 45 h 48"/>
                  <a:gd name="T62" fmla="*/ 9 w 20"/>
                  <a:gd name="T63" fmla="*/ 47 h 48"/>
                  <a:gd name="T64" fmla="*/ 10 w 20"/>
                  <a:gd name="T6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8">
                    <a:moveTo>
                      <a:pt x="10" y="48"/>
                    </a:moveTo>
                    <a:lnTo>
                      <a:pt x="13" y="47"/>
                    </a:lnTo>
                    <a:lnTo>
                      <a:pt x="14" y="45"/>
                    </a:lnTo>
                    <a:lnTo>
                      <a:pt x="16" y="44"/>
                    </a:lnTo>
                    <a:lnTo>
                      <a:pt x="17" y="41"/>
                    </a:lnTo>
                    <a:lnTo>
                      <a:pt x="18" y="37"/>
                    </a:lnTo>
                    <a:lnTo>
                      <a:pt x="20" y="33"/>
                    </a:lnTo>
                    <a:lnTo>
                      <a:pt x="20" y="29"/>
                    </a:lnTo>
                    <a:lnTo>
                      <a:pt x="20" y="25"/>
                    </a:lnTo>
                    <a:lnTo>
                      <a:pt x="20" y="19"/>
                    </a:lnTo>
                    <a:lnTo>
                      <a:pt x="20" y="15"/>
                    </a:lnTo>
                    <a:lnTo>
                      <a:pt x="18" y="11"/>
                    </a:lnTo>
                    <a:lnTo>
                      <a:pt x="17" y="7"/>
                    </a:lnTo>
                    <a:lnTo>
                      <a:pt x="16" y="4"/>
                    </a:lnTo>
                    <a:lnTo>
                      <a:pt x="14" y="3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2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0" y="29"/>
                    </a:lnTo>
                    <a:lnTo>
                      <a:pt x="0" y="33"/>
                    </a:lnTo>
                    <a:lnTo>
                      <a:pt x="2" y="37"/>
                    </a:lnTo>
                    <a:lnTo>
                      <a:pt x="3" y="41"/>
                    </a:lnTo>
                    <a:lnTo>
                      <a:pt x="5" y="44"/>
                    </a:lnTo>
                    <a:lnTo>
                      <a:pt x="6" y="45"/>
                    </a:lnTo>
                    <a:lnTo>
                      <a:pt x="9" y="47"/>
                    </a:lnTo>
                    <a:lnTo>
                      <a:pt x="10" y="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5" name="Freeform 767"/>
              <p:cNvSpPr>
                <a:spLocks/>
              </p:cNvSpPr>
              <p:nvPr/>
            </p:nvSpPr>
            <p:spPr bwMode="auto">
              <a:xfrm>
                <a:off x="3549" y="1001"/>
                <a:ext cx="37" cy="30"/>
              </a:xfrm>
              <a:custGeom>
                <a:avLst/>
                <a:gdLst>
                  <a:gd name="T0" fmla="*/ 18 w 37"/>
                  <a:gd name="T1" fmla="*/ 30 h 30"/>
                  <a:gd name="T2" fmla="*/ 22 w 37"/>
                  <a:gd name="T3" fmla="*/ 30 h 30"/>
                  <a:gd name="T4" fmla="*/ 26 w 37"/>
                  <a:gd name="T5" fmla="*/ 29 h 30"/>
                  <a:gd name="T6" fmla="*/ 29 w 37"/>
                  <a:gd name="T7" fmla="*/ 28 h 30"/>
                  <a:gd name="T8" fmla="*/ 32 w 37"/>
                  <a:gd name="T9" fmla="*/ 26 h 30"/>
                  <a:gd name="T10" fmla="*/ 35 w 37"/>
                  <a:gd name="T11" fmla="*/ 25 h 30"/>
                  <a:gd name="T12" fmla="*/ 36 w 37"/>
                  <a:gd name="T13" fmla="*/ 22 h 30"/>
                  <a:gd name="T14" fmla="*/ 37 w 37"/>
                  <a:gd name="T15" fmla="*/ 19 h 30"/>
                  <a:gd name="T16" fmla="*/ 37 w 37"/>
                  <a:gd name="T17" fmla="*/ 15 h 30"/>
                  <a:gd name="T18" fmla="*/ 37 w 37"/>
                  <a:gd name="T19" fmla="*/ 12 h 30"/>
                  <a:gd name="T20" fmla="*/ 36 w 37"/>
                  <a:gd name="T21" fmla="*/ 10 h 30"/>
                  <a:gd name="T22" fmla="*/ 35 w 37"/>
                  <a:gd name="T23" fmla="*/ 7 h 30"/>
                  <a:gd name="T24" fmla="*/ 32 w 37"/>
                  <a:gd name="T25" fmla="*/ 4 h 30"/>
                  <a:gd name="T26" fmla="*/ 29 w 37"/>
                  <a:gd name="T27" fmla="*/ 3 h 30"/>
                  <a:gd name="T28" fmla="*/ 26 w 37"/>
                  <a:gd name="T29" fmla="*/ 1 h 30"/>
                  <a:gd name="T30" fmla="*/ 22 w 37"/>
                  <a:gd name="T31" fmla="*/ 0 h 30"/>
                  <a:gd name="T32" fmla="*/ 18 w 37"/>
                  <a:gd name="T33" fmla="*/ 0 h 30"/>
                  <a:gd name="T34" fmla="*/ 15 w 37"/>
                  <a:gd name="T35" fmla="*/ 0 h 30"/>
                  <a:gd name="T36" fmla="*/ 11 w 37"/>
                  <a:gd name="T37" fmla="*/ 1 h 30"/>
                  <a:gd name="T38" fmla="*/ 8 w 37"/>
                  <a:gd name="T39" fmla="*/ 3 h 30"/>
                  <a:gd name="T40" fmla="*/ 6 w 37"/>
                  <a:gd name="T41" fmla="*/ 4 h 30"/>
                  <a:gd name="T42" fmla="*/ 3 w 37"/>
                  <a:gd name="T43" fmla="*/ 7 h 30"/>
                  <a:gd name="T44" fmla="*/ 2 w 37"/>
                  <a:gd name="T45" fmla="*/ 10 h 30"/>
                  <a:gd name="T46" fmla="*/ 0 w 37"/>
                  <a:gd name="T47" fmla="*/ 12 h 30"/>
                  <a:gd name="T48" fmla="*/ 0 w 37"/>
                  <a:gd name="T49" fmla="*/ 15 h 30"/>
                  <a:gd name="T50" fmla="*/ 0 w 37"/>
                  <a:gd name="T51" fmla="*/ 19 h 30"/>
                  <a:gd name="T52" fmla="*/ 2 w 37"/>
                  <a:gd name="T53" fmla="*/ 22 h 30"/>
                  <a:gd name="T54" fmla="*/ 3 w 37"/>
                  <a:gd name="T55" fmla="*/ 25 h 30"/>
                  <a:gd name="T56" fmla="*/ 6 w 37"/>
                  <a:gd name="T57" fmla="*/ 26 h 30"/>
                  <a:gd name="T58" fmla="*/ 8 w 37"/>
                  <a:gd name="T59" fmla="*/ 28 h 30"/>
                  <a:gd name="T60" fmla="*/ 11 w 37"/>
                  <a:gd name="T61" fmla="*/ 29 h 30"/>
                  <a:gd name="T62" fmla="*/ 15 w 37"/>
                  <a:gd name="T63" fmla="*/ 30 h 30"/>
                  <a:gd name="T64" fmla="*/ 18 w 37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30">
                    <a:moveTo>
                      <a:pt x="18" y="30"/>
                    </a:moveTo>
                    <a:lnTo>
                      <a:pt x="22" y="30"/>
                    </a:lnTo>
                    <a:lnTo>
                      <a:pt x="26" y="29"/>
                    </a:lnTo>
                    <a:lnTo>
                      <a:pt x="29" y="28"/>
                    </a:lnTo>
                    <a:lnTo>
                      <a:pt x="32" y="26"/>
                    </a:lnTo>
                    <a:lnTo>
                      <a:pt x="35" y="25"/>
                    </a:lnTo>
                    <a:lnTo>
                      <a:pt x="36" y="22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6" y="10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9" y="3"/>
                    </a:lnTo>
                    <a:lnTo>
                      <a:pt x="26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5" y="30"/>
                    </a:lnTo>
                    <a:lnTo>
                      <a:pt x="18" y="3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6" name="Freeform 768"/>
              <p:cNvSpPr>
                <a:spLocks/>
              </p:cNvSpPr>
              <p:nvPr/>
            </p:nvSpPr>
            <p:spPr bwMode="auto">
              <a:xfrm>
                <a:off x="3549" y="1001"/>
                <a:ext cx="37" cy="30"/>
              </a:xfrm>
              <a:custGeom>
                <a:avLst/>
                <a:gdLst>
                  <a:gd name="T0" fmla="*/ 18 w 37"/>
                  <a:gd name="T1" fmla="*/ 30 h 30"/>
                  <a:gd name="T2" fmla="*/ 22 w 37"/>
                  <a:gd name="T3" fmla="*/ 30 h 30"/>
                  <a:gd name="T4" fmla="*/ 26 w 37"/>
                  <a:gd name="T5" fmla="*/ 29 h 30"/>
                  <a:gd name="T6" fmla="*/ 29 w 37"/>
                  <a:gd name="T7" fmla="*/ 28 h 30"/>
                  <a:gd name="T8" fmla="*/ 32 w 37"/>
                  <a:gd name="T9" fmla="*/ 26 h 30"/>
                  <a:gd name="T10" fmla="*/ 35 w 37"/>
                  <a:gd name="T11" fmla="*/ 25 h 30"/>
                  <a:gd name="T12" fmla="*/ 36 w 37"/>
                  <a:gd name="T13" fmla="*/ 22 h 30"/>
                  <a:gd name="T14" fmla="*/ 37 w 37"/>
                  <a:gd name="T15" fmla="*/ 19 h 30"/>
                  <a:gd name="T16" fmla="*/ 37 w 37"/>
                  <a:gd name="T17" fmla="*/ 15 h 30"/>
                  <a:gd name="T18" fmla="*/ 37 w 37"/>
                  <a:gd name="T19" fmla="*/ 12 h 30"/>
                  <a:gd name="T20" fmla="*/ 36 w 37"/>
                  <a:gd name="T21" fmla="*/ 10 h 30"/>
                  <a:gd name="T22" fmla="*/ 35 w 37"/>
                  <a:gd name="T23" fmla="*/ 7 h 30"/>
                  <a:gd name="T24" fmla="*/ 32 w 37"/>
                  <a:gd name="T25" fmla="*/ 4 h 30"/>
                  <a:gd name="T26" fmla="*/ 29 w 37"/>
                  <a:gd name="T27" fmla="*/ 3 h 30"/>
                  <a:gd name="T28" fmla="*/ 26 w 37"/>
                  <a:gd name="T29" fmla="*/ 1 h 30"/>
                  <a:gd name="T30" fmla="*/ 22 w 37"/>
                  <a:gd name="T31" fmla="*/ 0 h 30"/>
                  <a:gd name="T32" fmla="*/ 18 w 37"/>
                  <a:gd name="T33" fmla="*/ 0 h 30"/>
                  <a:gd name="T34" fmla="*/ 15 w 37"/>
                  <a:gd name="T35" fmla="*/ 0 h 30"/>
                  <a:gd name="T36" fmla="*/ 11 w 37"/>
                  <a:gd name="T37" fmla="*/ 1 h 30"/>
                  <a:gd name="T38" fmla="*/ 8 w 37"/>
                  <a:gd name="T39" fmla="*/ 3 h 30"/>
                  <a:gd name="T40" fmla="*/ 6 w 37"/>
                  <a:gd name="T41" fmla="*/ 4 h 30"/>
                  <a:gd name="T42" fmla="*/ 3 w 37"/>
                  <a:gd name="T43" fmla="*/ 7 h 30"/>
                  <a:gd name="T44" fmla="*/ 2 w 37"/>
                  <a:gd name="T45" fmla="*/ 10 h 30"/>
                  <a:gd name="T46" fmla="*/ 0 w 37"/>
                  <a:gd name="T47" fmla="*/ 12 h 30"/>
                  <a:gd name="T48" fmla="*/ 0 w 37"/>
                  <a:gd name="T49" fmla="*/ 15 h 30"/>
                  <a:gd name="T50" fmla="*/ 0 w 37"/>
                  <a:gd name="T51" fmla="*/ 19 h 30"/>
                  <a:gd name="T52" fmla="*/ 2 w 37"/>
                  <a:gd name="T53" fmla="*/ 22 h 30"/>
                  <a:gd name="T54" fmla="*/ 3 w 37"/>
                  <a:gd name="T55" fmla="*/ 25 h 30"/>
                  <a:gd name="T56" fmla="*/ 6 w 37"/>
                  <a:gd name="T57" fmla="*/ 26 h 30"/>
                  <a:gd name="T58" fmla="*/ 8 w 37"/>
                  <a:gd name="T59" fmla="*/ 28 h 30"/>
                  <a:gd name="T60" fmla="*/ 11 w 37"/>
                  <a:gd name="T61" fmla="*/ 29 h 30"/>
                  <a:gd name="T62" fmla="*/ 15 w 37"/>
                  <a:gd name="T63" fmla="*/ 30 h 30"/>
                  <a:gd name="T64" fmla="*/ 18 w 37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" h="30">
                    <a:moveTo>
                      <a:pt x="18" y="30"/>
                    </a:moveTo>
                    <a:lnTo>
                      <a:pt x="22" y="30"/>
                    </a:lnTo>
                    <a:lnTo>
                      <a:pt x="26" y="29"/>
                    </a:lnTo>
                    <a:lnTo>
                      <a:pt x="29" y="28"/>
                    </a:lnTo>
                    <a:lnTo>
                      <a:pt x="32" y="26"/>
                    </a:lnTo>
                    <a:lnTo>
                      <a:pt x="35" y="25"/>
                    </a:lnTo>
                    <a:lnTo>
                      <a:pt x="36" y="22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6" y="10"/>
                    </a:lnTo>
                    <a:lnTo>
                      <a:pt x="35" y="7"/>
                    </a:lnTo>
                    <a:lnTo>
                      <a:pt x="32" y="4"/>
                    </a:lnTo>
                    <a:lnTo>
                      <a:pt x="29" y="3"/>
                    </a:lnTo>
                    <a:lnTo>
                      <a:pt x="26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8" y="3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3" y="25"/>
                    </a:lnTo>
                    <a:lnTo>
                      <a:pt x="6" y="26"/>
                    </a:lnTo>
                    <a:lnTo>
                      <a:pt x="8" y="28"/>
                    </a:lnTo>
                    <a:lnTo>
                      <a:pt x="11" y="29"/>
                    </a:lnTo>
                    <a:lnTo>
                      <a:pt x="15" y="30"/>
                    </a:lnTo>
                    <a:lnTo>
                      <a:pt x="18" y="3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7" name="Freeform 769"/>
              <p:cNvSpPr>
                <a:spLocks/>
              </p:cNvSpPr>
              <p:nvPr/>
            </p:nvSpPr>
            <p:spPr bwMode="auto">
              <a:xfrm>
                <a:off x="3710" y="945"/>
                <a:ext cx="35" cy="33"/>
              </a:xfrm>
              <a:custGeom>
                <a:avLst/>
                <a:gdLst>
                  <a:gd name="T0" fmla="*/ 35 w 35"/>
                  <a:gd name="T1" fmla="*/ 1 h 33"/>
                  <a:gd name="T2" fmla="*/ 35 w 35"/>
                  <a:gd name="T3" fmla="*/ 1 h 33"/>
                  <a:gd name="T4" fmla="*/ 33 w 35"/>
                  <a:gd name="T5" fmla="*/ 1 h 33"/>
                  <a:gd name="T6" fmla="*/ 32 w 35"/>
                  <a:gd name="T7" fmla="*/ 0 h 33"/>
                  <a:gd name="T8" fmla="*/ 29 w 35"/>
                  <a:gd name="T9" fmla="*/ 0 h 33"/>
                  <a:gd name="T10" fmla="*/ 26 w 35"/>
                  <a:gd name="T11" fmla="*/ 0 h 33"/>
                  <a:gd name="T12" fmla="*/ 24 w 35"/>
                  <a:gd name="T13" fmla="*/ 1 h 33"/>
                  <a:gd name="T14" fmla="*/ 19 w 35"/>
                  <a:gd name="T15" fmla="*/ 2 h 33"/>
                  <a:gd name="T16" fmla="*/ 15 w 35"/>
                  <a:gd name="T17" fmla="*/ 7 h 33"/>
                  <a:gd name="T18" fmla="*/ 13 w 35"/>
                  <a:gd name="T19" fmla="*/ 11 h 33"/>
                  <a:gd name="T20" fmla="*/ 8 w 35"/>
                  <a:gd name="T21" fmla="*/ 15 h 33"/>
                  <a:gd name="T22" fmla="*/ 4 w 35"/>
                  <a:gd name="T23" fmla="*/ 19 h 33"/>
                  <a:gd name="T24" fmla="*/ 2 w 35"/>
                  <a:gd name="T25" fmla="*/ 22 h 33"/>
                  <a:gd name="T26" fmla="*/ 0 w 35"/>
                  <a:gd name="T27" fmla="*/ 26 h 33"/>
                  <a:gd name="T28" fmla="*/ 0 w 35"/>
                  <a:gd name="T29" fmla="*/ 29 h 33"/>
                  <a:gd name="T30" fmla="*/ 2 w 35"/>
                  <a:gd name="T31" fmla="*/ 30 h 33"/>
                  <a:gd name="T32" fmla="*/ 4 w 35"/>
                  <a:gd name="T33" fmla="*/ 33 h 33"/>
                  <a:gd name="T34" fmla="*/ 8 w 35"/>
                  <a:gd name="T35" fmla="*/ 33 h 33"/>
                  <a:gd name="T36" fmla="*/ 14 w 35"/>
                  <a:gd name="T37" fmla="*/ 31 h 33"/>
                  <a:gd name="T38" fmla="*/ 19 w 35"/>
                  <a:gd name="T39" fmla="*/ 27 h 33"/>
                  <a:gd name="T40" fmla="*/ 25 w 35"/>
                  <a:gd name="T41" fmla="*/ 23 h 33"/>
                  <a:gd name="T42" fmla="*/ 29 w 35"/>
                  <a:gd name="T43" fmla="*/ 16 h 33"/>
                  <a:gd name="T44" fmla="*/ 33 w 35"/>
                  <a:gd name="T45" fmla="*/ 11 h 33"/>
                  <a:gd name="T46" fmla="*/ 35 w 35"/>
                  <a:gd name="T47" fmla="*/ 5 h 33"/>
                  <a:gd name="T48" fmla="*/ 35 w 35"/>
                  <a:gd name="T49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5" h="33">
                    <a:moveTo>
                      <a:pt x="35" y="1"/>
                    </a:moveTo>
                    <a:lnTo>
                      <a:pt x="35" y="1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5" y="7"/>
                    </a:lnTo>
                    <a:lnTo>
                      <a:pt x="13" y="11"/>
                    </a:lnTo>
                    <a:lnTo>
                      <a:pt x="8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4" y="33"/>
                    </a:lnTo>
                    <a:lnTo>
                      <a:pt x="8" y="33"/>
                    </a:lnTo>
                    <a:lnTo>
                      <a:pt x="14" y="31"/>
                    </a:lnTo>
                    <a:lnTo>
                      <a:pt x="19" y="27"/>
                    </a:lnTo>
                    <a:lnTo>
                      <a:pt x="25" y="23"/>
                    </a:lnTo>
                    <a:lnTo>
                      <a:pt x="29" y="16"/>
                    </a:lnTo>
                    <a:lnTo>
                      <a:pt x="33" y="11"/>
                    </a:lnTo>
                    <a:lnTo>
                      <a:pt x="35" y="5"/>
                    </a:lnTo>
                    <a:lnTo>
                      <a:pt x="35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8" name="Freeform 770"/>
              <p:cNvSpPr>
                <a:spLocks/>
              </p:cNvSpPr>
              <p:nvPr/>
            </p:nvSpPr>
            <p:spPr bwMode="auto">
              <a:xfrm>
                <a:off x="3710" y="945"/>
                <a:ext cx="35" cy="33"/>
              </a:xfrm>
              <a:custGeom>
                <a:avLst/>
                <a:gdLst>
                  <a:gd name="T0" fmla="*/ 35 w 35"/>
                  <a:gd name="T1" fmla="*/ 1 h 33"/>
                  <a:gd name="T2" fmla="*/ 33 w 35"/>
                  <a:gd name="T3" fmla="*/ 1 h 33"/>
                  <a:gd name="T4" fmla="*/ 32 w 35"/>
                  <a:gd name="T5" fmla="*/ 0 h 33"/>
                  <a:gd name="T6" fmla="*/ 29 w 35"/>
                  <a:gd name="T7" fmla="*/ 0 h 33"/>
                  <a:gd name="T8" fmla="*/ 26 w 35"/>
                  <a:gd name="T9" fmla="*/ 0 h 33"/>
                  <a:gd name="T10" fmla="*/ 24 w 35"/>
                  <a:gd name="T11" fmla="*/ 1 h 33"/>
                  <a:gd name="T12" fmla="*/ 19 w 35"/>
                  <a:gd name="T13" fmla="*/ 2 h 33"/>
                  <a:gd name="T14" fmla="*/ 15 w 35"/>
                  <a:gd name="T15" fmla="*/ 7 h 33"/>
                  <a:gd name="T16" fmla="*/ 13 w 35"/>
                  <a:gd name="T17" fmla="*/ 11 h 33"/>
                  <a:gd name="T18" fmla="*/ 8 w 35"/>
                  <a:gd name="T19" fmla="*/ 15 h 33"/>
                  <a:gd name="T20" fmla="*/ 4 w 35"/>
                  <a:gd name="T21" fmla="*/ 19 h 33"/>
                  <a:gd name="T22" fmla="*/ 2 w 35"/>
                  <a:gd name="T23" fmla="*/ 22 h 33"/>
                  <a:gd name="T24" fmla="*/ 0 w 35"/>
                  <a:gd name="T25" fmla="*/ 26 h 33"/>
                  <a:gd name="T26" fmla="*/ 0 w 35"/>
                  <a:gd name="T27" fmla="*/ 29 h 33"/>
                  <a:gd name="T28" fmla="*/ 2 w 35"/>
                  <a:gd name="T29" fmla="*/ 30 h 33"/>
                  <a:gd name="T30" fmla="*/ 4 w 35"/>
                  <a:gd name="T31" fmla="*/ 33 h 33"/>
                  <a:gd name="T32" fmla="*/ 8 w 35"/>
                  <a:gd name="T33" fmla="*/ 33 h 33"/>
                  <a:gd name="T34" fmla="*/ 14 w 35"/>
                  <a:gd name="T35" fmla="*/ 31 h 33"/>
                  <a:gd name="T36" fmla="*/ 19 w 35"/>
                  <a:gd name="T37" fmla="*/ 27 h 33"/>
                  <a:gd name="T38" fmla="*/ 25 w 35"/>
                  <a:gd name="T39" fmla="*/ 23 h 33"/>
                  <a:gd name="T40" fmla="*/ 29 w 35"/>
                  <a:gd name="T41" fmla="*/ 16 h 33"/>
                  <a:gd name="T42" fmla="*/ 33 w 35"/>
                  <a:gd name="T43" fmla="*/ 11 h 33"/>
                  <a:gd name="T44" fmla="*/ 35 w 35"/>
                  <a:gd name="T45" fmla="*/ 5 h 33"/>
                  <a:gd name="T46" fmla="*/ 35 w 35"/>
                  <a:gd name="T47" fmla="*/ 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" h="33">
                    <a:moveTo>
                      <a:pt x="35" y="1"/>
                    </a:moveTo>
                    <a:lnTo>
                      <a:pt x="33" y="1"/>
                    </a:lnTo>
                    <a:lnTo>
                      <a:pt x="32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4" y="1"/>
                    </a:lnTo>
                    <a:lnTo>
                      <a:pt x="19" y="2"/>
                    </a:lnTo>
                    <a:lnTo>
                      <a:pt x="15" y="7"/>
                    </a:lnTo>
                    <a:lnTo>
                      <a:pt x="13" y="11"/>
                    </a:lnTo>
                    <a:lnTo>
                      <a:pt x="8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2" y="30"/>
                    </a:lnTo>
                    <a:lnTo>
                      <a:pt x="4" y="33"/>
                    </a:lnTo>
                    <a:lnTo>
                      <a:pt x="8" y="33"/>
                    </a:lnTo>
                    <a:lnTo>
                      <a:pt x="14" y="31"/>
                    </a:lnTo>
                    <a:lnTo>
                      <a:pt x="19" y="27"/>
                    </a:lnTo>
                    <a:lnTo>
                      <a:pt x="25" y="23"/>
                    </a:lnTo>
                    <a:lnTo>
                      <a:pt x="29" y="16"/>
                    </a:lnTo>
                    <a:lnTo>
                      <a:pt x="33" y="11"/>
                    </a:lnTo>
                    <a:lnTo>
                      <a:pt x="35" y="5"/>
                    </a:lnTo>
                    <a:lnTo>
                      <a:pt x="35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9" name="Freeform 771"/>
              <p:cNvSpPr>
                <a:spLocks/>
              </p:cNvSpPr>
              <p:nvPr/>
            </p:nvSpPr>
            <p:spPr bwMode="auto">
              <a:xfrm>
                <a:off x="3596" y="967"/>
                <a:ext cx="48" cy="37"/>
              </a:xfrm>
              <a:custGeom>
                <a:avLst/>
                <a:gdLst>
                  <a:gd name="T0" fmla="*/ 18 w 48"/>
                  <a:gd name="T1" fmla="*/ 4 h 37"/>
                  <a:gd name="T2" fmla="*/ 17 w 48"/>
                  <a:gd name="T3" fmla="*/ 2 h 37"/>
                  <a:gd name="T4" fmla="*/ 15 w 48"/>
                  <a:gd name="T5" fmla="*/ 2 h 37"/>
                  <a:gd name="T6" fmla="*/ 11 w 48"/>
                  <a:gd name="T7" fmla="*/ 1 h 37"/>
                  <a:gd name="T8" fmla="*/ 7 w 48"/>
                  <a:gd name="T9" fmla="*/ 0 h 37"/>
                  <a:gd name="T10" fmla="*/ 4 w 48"/>
                  <a:gd name="T11" fmla="*/ 0 h 37"/>
                  <a:gd name="T12" fmla="*/ 1 w 48"/>
                  <a:gd name="T13" fmla="*/ 1 h 37"/>
                  <a:gd name="T14" fmla="*/ 0 w 48"/>
                  <a:gd name="T15" fmla="*/ 4 h 37"/>
                  <a:gd name="T16" fmla="*/ 1 w 48"/>
                  <a:gd name="T17" fmla="*/ 8 h 37"/>
                  <a:gd name="T18" fmla="*/ 4 w 48"/>
                  <a:gd name="T19" fmla="*/ 15 h 37"/>
                  <a:gd name="T20" fmla="*/ 8 w 48"/>
                  <a:gd name="T21" fmla="*/ 20 h 37"/>
                  <a:gd name="T22" fmla="*/ 14 w 48"/>
                  <a:gd name="T23" fmla="*/ 24 h 37"/>
                  <a:gd name="T24" fmla="*/ 18 w 48"/>
                  <a:gd name="T25" fmla="*/ 29 h 37"/>
                  <a:gd name="T26" fmla="*/ 23 w 48"/>
                  <a:gd name="T27" fmla="*/ 31 h 37"/>
                  <a:gd name="T28" fmla="*/ 29 w 48"/>
                  <a:gd name="T29" fmla="*/ 34 h 37"/>
                  <a:gd name="T30" fmla="*/ 34 w 48"/>
                  <a:gd name="T31" fmla="*/ 35 h 37"/>
                  <a:gd name="T32" fmla="*/ 40 w 48"/>
                  <a:gd name="T33" fmla="*/ 37 h 37"/>
                  <a:gd name="T34" fmla="*/ 44 w 48"/>
                  <a:gd name="T35" fmla="*/ 35 h 37"/>
                  <a:gd name="T36" fmla="*/ 47 w 48"/>
                  <a:gd name="T37" fmla="*/ 35 h 37"/>
                  <a:gd name="T38" fmla="*/ 48 w 48"/>
                  <a:gd name="T39" fmla="*/ 33 h 37"/>
                  <a:gd name="T40" fmla="*/ 48 w 48"/>
                  <a:gd name="T41" fmla="*/ 31 h 37"/>
                  <a:gd name="T42" fmla="*/ 48 w 48"/>
                  <a:gd name="T43" fmla="*/ 29 h 37"/>
                  <a:gd name="T44" fmla="*/ 47 w 48"/>
                  <a:gd name="T45" fmla="*/ 26 h 37"/>
                  <a:gd name="T46" fmla="*/ 44 w 48"/>
                  <a:gd name="T47" fmla="*/ 24 h 37"/>
                  <a:gd name="T48" fmla="*/ 43 w 48"/>
                  <a:gd name="T49" fmla="*/ 22 h 37"/>
                  <a:gd name="T50" fmla="*/ 39 w 48"/>
                  <a:gd name="T51" fmla="*/ 20 h 37"/>
                  <a:gd name="T52" fmla="*/ 36 w 48"/>
                  <a:gd name="T53" fmla="*/ 18 h 37"/>
                  <a:gd name="T54" fmla="*/ 32 w 48"/>
                  <a:gd name="T55" fmla="*/ 13 h 37"/>
                  <a:gd name="T56" fmla="*/ 28 w 48"/>
                  <a:gd name="T57" fmla="*/ 11 h 37"/>
                  <a:gd name="T58" fmla="*/ 23 w 48"/>
                  <a:gd name="T59" fmla="*/ 8 h 37"/>
                  <a:gd name="T60" fmla="*/ 21 w 48"/>
                  <a:gd name="T61" fmla="*/ 5 h 37"/>
                  <a:gd name="T62" fmla="*/ 19 w 48"/>
                  <a:gd name="T63" fmla="*/ 4 h 37"/>
                  <a:gd name="T64" fmla="*/ 18 w 48"/>
                  <a:gd name="T6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7">
                    <a:moveTo>
                      <a:pt x="18" y="4"/>
                    </a:moveTo>
                    <a:lnTo>
                      <a:pt x="17" y="2"/>
                    </a:lnTo>
                    <a:lnTo>
                      <a:pt x="15" y="2"/>
                    </a:lnTo>
                    <a:lnTo>
                      <a:pt x="11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4" y="15"/>
                    </a:lnTo>
                    <a:lnTo>
                      <a:pt x="8" y="20"/>
                    </a:lnTo>
                    <a:lnTo>
                      <a:pt x="14" y="24"/>
                    </a:lnTo>
                    <a:lnTo>
                      <a:pt x="18" y="29"/>
                    </a:lnTo>
                    <a:lnTo>
                      <a:pt x="23" y="31"/>
                    </a:lnTo>
                    <a:lnTo>
                      <a:pt x="29" y="34"/>
                    </a:lnTo>
                    <a:lnTo>
                      <a:pt x="34" y="35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47" y="26"/>
                    </a:lnTo>
                    <a:lnTo>
                      <a:pt x="44" y="24"/>
                    </a:lnTo>
                    <a:lnTo>
                      <a:pt x="43" y="22"/>
                    </a:lnTo>
                    <a:lnTo>
                      <a:pt x="39" y="20"/>
                    </a:lnTo>
                    <a:lnTo>
                      <a:pt x="36" y="18"/>
                    </a:lnTo>
                    <a:lnTo>
                      <a:pt x="32" y="13"/>
                    </a:lnTo>
                    <a:lnTo>
                      <a:pt x="28" y="11"/>
                    </a:lnTo>
                    <a:lnTo>
                      <a:pt x="23" y="8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0" name="Freeform 772"/>
              <p:cNvSpPr>
                <a:spLocks/>
              </p:cNvSpPr>
              <p:nvPr/>
            </p:nvSpPr>
            <p:spPr bwMode="auto">
              <a:xfrm>
                <a:off x="3596" y="967"/>
                <a:ext cx="48" cy="37"/>
              </a:xfrm>
              <a:custGeom>
                <a:avLst/>
                <a:gdLst>
                  <a:gd name="T0" fmla="*/ 18 w 48"/>
                  <a:gd name="T1" fmla="*/ 4 h 37"/>
                  <a:gd name="T2" fmla="*/ 17 w 48"/>
                  <a:gd name="T3" fmla="*/ 2 h 37"/>
                  <a:gd name="T4" fmla="*/ 15 w 48"/>
                  <a:gd name="T5" fmla="*/ 2 h 37"/>
                  <a:gd name="T6" fmla="*/ 11 w 48"/>
                  <a:gd name="T7" fmla="*/ 1 h 37"/>
                  <a:gd name="T8" fmla="*/ 7 w 48"/>
                  <a:gd name="T9" fmla="*/ 0 h 37"/>
                  <a:gd name="T10" fmla="*/ 4 w 48"/>
                  <a:gd name="T11" fmla="*/ 0 h 37"/>
                  <a:gd name="T12" fmla="*/ 1 w 48"/>
                  <a:gd name="T13" fmla="*/ 1 h 37"/>
                  <a:gd name="T14" fmla="*/ 0 w 48"/>
                  <a:gd name="T15" fmla="*/ 4 h 37"/>
                  <a:gd name="T16" fmla="*/ 1 w 48"/>
                  <a:gd name="T17" fmla="*/ 8 h 37"/>
                  <a:gd name="T18" fmla="*/ 4 w 48"/>
                  <a:gd name="T19" fmla="*/ 15 h 37"/>
                  <a:gd name="T20" fmla="*/ 8 w 48"/>
                  <a:gd name="T21" fmla="*/ 20 h 37"/>
                  <a:gd name="T22" fmla="*/ 14 w 48"/>
                  <a:gd name="T23" fmla="*/ 24 h 37"/>
                  <a:gd name="T24" fmla="*/ 18 w 48"/>
                  <a:gd name="T25" fmla="*/ 29 h 37"/>
                  <a:gd name="T26" fmla="*/ 23 w 48"/>
                  <a:gd name="T27" fmla="*/ 31 h 37"/>
                  <a:gd name="T28" fmla="*/ 29 w 48"/>
                  <a:gd name="T29" fmla="*/ 34 h 37"/>
                  <a:gd name="T30" fmla="*/ 34 w 48"/>
                  <a:gd name="T31" fmla="*/ 35 h 37"/>
                  <a:gd name="T32" fmla="*/ 40 w 48"/>
                  <a:gd name="T33" fmla="*/ 37 h 37"/>
                  <a:gd name="T34" fmla="*/ 44 w 48"/>
                  <a:gd name="T35" fmla="*/ 35 h 37"/>
                  <a:gd name="T36" fmla="*/ 47 w 48"/>
                  <a:gd name="T37" fmla="*/ 35 h 37"/>
                  <a:gd name="T38" fmla="*/ 48 w 48"/>
                  <a:gd name="T39" fmla="*/ 33 h 37"/>
                  <a:gd name="T40" fmla="*/ 48 w 48"/>
                  <a:gd name="T41" fmla="*/ 31 h 37"/>
                  <a:gd name="T42" fmla="*/ 48 w 48"/>
                  <a:gd name="T43" fmla="*/ 29 h 37"/>
                  <a:gd name="T44" fmla="*/ 47 w 48"/>
                  <a:gd name="T45" fmla="*/ 26 h 37"/>
                  <a:gd name="T46" fmla="*/ 44 w 48"/>
                  <a:gd name="T47" fmla="*/ 24 h 37"/>
                  <a:gd name="T48" fmla="*/ 43 w 48"/>
                  <a:gd name="T49" fmla="*/ 22 h 37"/>
                  <a:gd name="T50" fmla="*/ 39 w 48"/>
                  <a:gd name="T51" fmla="*/ 20 h 37"/>
                  <a:gd name="T52" fmla="*/ 36 w 48"/>
                  <a:gd name="T53" fmla="*/ 18 h 37"/>
                  <a:gd name="T54" fmla="*/ 32 w 48"/>
                  <a:gd name="T55" fmla="*/ 13 h 37"/>
                  <a:gd name="T56" fmla="*/ 28 w 48"/>
                  <a:gd name="T57" fmla="*/ 11 h 37"/>
                  <a:gd name="T58" fmla="*/ 23 w 48"/>
                  <a:gd name="T59" fmla="*/ 8 h 37"/>
                  <a:gd name="T60" fmla="*/ 21 w 48"/>
                  <a:gd name="T61" fmla="*/ 5 h 37"/>
                  <a:gd name="T62" fmla="*/ 19 w 48"/>
                  <a:gd name="T63" fmla="*/ 4 h 37"/>
                  <a:gd name="T64" fmla="*/ 18 w 48"/>
                  <a:gd name="T65" fmla="*/ 4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37">
                    <a:moveTo>
                      <a:pt x="18" y="4"/>
                    </a:moveTo>
                    <a:lnTo>
                      <a:pt x="17" y="2"/>
                    </a:lnTo>
                    <a:lnTo>
                      <a:pt x="15" y="2"/>
                    </a:lnTo>
                    <a:lnTo>
                      <a:pt x="11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4" y="15"/>
                    </a:lnTo>
                    <a:lnTo>
                      <a:pt x="8" y="20"/>
                    </a:lnTo>
                    <a:lnTo>
                      <a:pt x="14" y="24"/>
                    </a:lnTo>
                    <a:lnTo>
                      <a:pt x="18" y="29"/>
                    </a:lnTo>
                    <a:lnTo>
                      <a:pt x="23" y="31"/>
                    </a:lnTo>
                    <a:lnTo>
                      <a:pt x="29" y="34"/>
                    </a:lnTo>
                    <a:lnTo>
                      <a:pt x="34" y="35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47" y="26"/>
                    </a:lnTo>
                    <a:lnTo>
                      <a:pt x="44" y="24"/>
                    </a:lnTo>
                    <a:lnTo>
                      <a:pt x="43" y="22"/>
                    </a:lnTo>
                    <a:lnTo>
                      <a:pt x="39" y="20"/>
                    </a:lnTo>
                    <a:lnTo>
                      <a:pt x="36" y="18"/>
                    </a:lnTo>
                    <a:lnTo>
                      <a:pt x="32" y="13"/>
                    </a:lnTo>
                    <a:lnTo>
                      <a:pt x="28" y="11"/>
                    </a:lnTo>
                    <a:lnTo>
                      <a:pt x="23" y="8"/>
                    </a:lnTo>
                    <a:lnTo>
                      <a:pt x="21" y="5"/>
                    </a:lnTo>
                    <a:lnTo>
                      <a:pt x="19" y="4"/>
                    </a:lnTo>
                    <a:lnTo>
                      <a:pt x="1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1" name="Freeform 773"/>
              <p:cNvSpPr>
                <a:spLocks/>
              </p:cNvSpPr>
              <p:nvPr/>
            </p:nvSpPr>
            <p:spPr bwMode="auto">
              <a:xfrm>
                <a:off x="3582" y="987"/>
                <a:ext cx="43" cy="37"/>
              </a:xfrm>
              <a:custGeom>
                <a:avLst/>
                <a:gdLst>
                  <a:gd name="T0" fmla="*/ 22 w 43"/>
                  <a:gd name="T1" fmla="*/ 11 h 37"/>
                  <a:gd name="T2" fmla="*/ 22 w 43"/>
                  <a:gd name="T3" fmla="*/ 11 h 37"/>
                  <a:gd name="T4" fmla="*/ 21 w 43"/>
                  <a:gd name="T5" fmla="*/ 9 h 37"/>
                  <a:gd name="T6" fmla="*/ 18 w 43"/>
                  <a:gd name="T7" fmla="*/ 6 h 37"/>
                  <a:gd name="T8" fmla="*/ 14 w 43"/>
                  <a:gd name="T9" fmla="*/ 3 h 37"/>
                  <a:gd name="T10" fmla="*/ 11 w 43"/>
                  <a:gd name="T11" fmla="*/ 0 h 37"/>
                  <a:gd name="T12" fmla="*/ 7 w 43"/>
                  <a:gd name="T13" fmla="*/ 0 h 37"/>
                  <a:gd name="T14" fmla="*/ 4 w 43"/>
                  <a:gd name="T15" fmla="*/ 0 h 37"/>
                  <a:gd name="T16" fmla="*/ 2 w 43"/>
                  <a:gd name="T17" fmla="*/ 4 h 37"/>
                  <a:gd name="T18" fmla="*/ 0 w 43"/>
                  <a:gd name="T19" fmla="*/ 10 h 37"/>
                  <a:gd name="T20" fmla="*/ 2 w 43"/>
                  <a:gd name="T21" fmla="*/ 14 h 37"/>
                  <a:gd name="T22" fmla="*/ 4 w 43"/>
                  <a:gd name="T23" fmla="*/ 18 h 37"/>
                  <a:gd name="T24" fmla="*/ 8 w 43"/>
                  <a:gd name="T25" fmla="*/ 22 h 37"/>
                  <a:gd name="T26" fmla="*/ 13 w 43"/>
                  <a:gd name="T27" fmla="*/ 25 h 37"/>
                  <a:gd name="T28" fmla="*/ 17 w 43"/>
                  <a:gd name="T29" fmla="*/ 26 h 37"/>
                  <a:gd name="T30" fmla="*/ 20 w 43"/>
                  <a:gd name="T31" fmla="*/ 28 h 37"/>
                  <a:gd name="T32" fmla="*/ 21 w 43"/>
                  <a:gd name="T33" fmla="*/ 29 h 37"/>
                  <a:gd name="T34" fmla="*/ 21 w 43"/>
                  <a:gd name="T35" fmla="*/ 29 h 37"/>
                  <a:gd name="T36" fmla="*/ 24 w 43"/>
                  <a:gd name="T37" fmla="*/ 31 h 37"/>
                  <a:gd name="T38" fmla="*/ 26 w 43"/>
                  <a:gd name="T39" fmla="*/ 33 h 37"/>
                  <a:gd name="T40" fmla="*/ 29 w 43"/>
                  <a:gd name="T41" fmla="*/ 36 h 37"/>
                  <a:gd name="T42" fmla="*/ 33 w 43"/>
                  <a:gd name="T43" fmla="*/ 37 h 37"/>
                  <a:gd name="T44" fmla="*/ 36 w 43"/>
                  <a:gd name="T45" fmla="*/ 37 h 37"/>
                  <a:gd name="T46" fmla="*/ 40 w 43"/>
                  <a:gd name="T47" fmla="*/ 36 h 37"/>
                  <a:gd name="T48" fmla="*/ 42 w 43"/>
                  <a:gd name="T49" fmla="*/ 33 h 37"/>
                  <a:gd name="T50" fmla="*/ 43 w 43"/>
                  <a:gd name="T51" fmla="*/ 29 h 37"/>
                  <a:gd name="T52" fmla="*/ 40 w 43"/>
                  <a:gd name="T53" fmla="*/ 25 h 37"/>
                  <a:gd name="T54" fmla="*/ 37 w 43"/>
                  <a:gd name="T55" fmla="*/ 21 h 37"/>
                  <a:gd name="T56" fmla="*/ 35 w 43"/>
                  <a:gd name="T57" fmla="*/ 18 h 37"/>
                  <a:gd name="T58" fmla="*/ 31 w 43"/>
                  <a:gd name="T59" fmla="*/ 15 h 37"/>
                  <a:gd name="T60" fmla="*/ 26 w 43"/>
                  <a:gd name="T61" fmla="*/ 13 h 37"/>
                  <a:gd name="T62" fmla="*/ 24 w 43"/>
                  <a:gd name="T63" fmla="*/ 13 h 37"/>
                  <a:gd name="T64" fmla="*/ 22 w 43"/>
                  <a:gd name="T65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3" h="37">
                    <a:moveTo>
                      <a:pt x="22" y="11"/>
                    </a:moveTo>
                    <a:lnTo>
                      <a:pt x="22" y="11"/>
                    </a:lnTo>
                    <a:lnTo>
                      <a:pt x="21" y="9"/>
                    </a:lnTo>
                    <a:lnTo>
                      <a:pt x="18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3" y="25"/>
                    </a:lnTo>
                    <a:lnTo>
                      <a:pt x="17" y="26"/>
                    </a:lnTo>
                    <a:lnTo>
                      <a:pt x="20" y="28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6" y="33"/>
                    </a:lnTo>
                    <a:lnTo>
                      <a:pt x="29" y="36"/>
                    </a:lnTo>
                    <a:lnTo>
                      <a:pt x="33" y="37"/>
                    </a:lnTo>
                    <a:lnTo>
                      <a:pt x="36" y="37"/>
                    </a:lnTo>
                    <a:lnTo>
                      <a:pt x="40" y="36"/>
                    </a:lnTo>
                    <a:lnTo>
                      <a:pt x="42" y="33"/>
                    </a:lnTo>
                    <a:lnTo>
                      <a:pt x="43" y="29"/>
                    </a:lnTo>
                    <a:lnTo>
                      <a:pt x="40" y="25"/>
                    </a:lnTo>
                    <a:lnTo>
                      <a:pt x="37" y="21"/>
                    </a:lnTo>
                    <a:lnTo>
                      <a:pt x="35" y="18"/>
                    </a:lnTo>
                    <a:lnTo>
                      <a:pt x="31" y="15"/>
                    </a:lnTo>
                    <a:lnTo>
                      <a:pt x="26" y="13"/>
                    </a:lnTo>
                    <a:lnTo>
                      <a:pt x="24" y="13"/>
                    </a:lnTo>
                    <a:lnTo>
                      <a:pt x="22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2" name="Freeform 774"/>
              <p:cNvSpPr>
                <a:spLocks/>
              </p:cNvSpPr>
              <p:nvPr/>
            </p:nvSpPr>
            <p:spPr bwMode="auto">
              <a:xfrm>
                <a:off x="3582" y="987"/>
                <a:ext cx="43" cy="37"/>
              </a:xfrm>
              <a:custGeom>
                <a:avLst/>
                <a:gdLst>
                  <a:gd name="T0" fmla="*/ 22 w 43"/>
                  <a:gd name="T1" fmla="*/ 11 h 37"/>
                  <a:gd name="T2" fmla="*/ 21 w 43"/>
                  <a:gd name="T3" fmla="*/ 9 h 37"/>
                  <a:gd name="T4" fmla="*/ 18 w 43"/>
                  <a:gd name="T5" fmla="*/ 6 h 37"/>
                  <a:gd name="T6" fmla="*/ 14 w 43"/>
                  <a:gd name="T7" fmla="*/ 3 h 37"/>
                  <a:gd name="T8" fmla="*/ 11 w 43"/>
                  <a:gd name="T9" fmla="*/ 0 h 37"/>
                  <a:gd name="T10" fmla="*/ 7 w 43"/>
                  <a:gd name="T11" fmla="*/ 0 h 37"/>
                  <a:gd name="T12" fmla="*/ 4 w 43"/>
                  <a:gd name="T13" fmla="*/ 0 h 37"/>
                  <a:gd name="T14" fmla="*/ 2 w 43"/>
                  <a:gd name="T15" fmla="*/ 4 h 37"/>
                  <a:gd name="T16" fmla="*/ 0 w 43"/>
                  <a:gd name="T17" fmla="*/ 10 h 37"/>
                  <a:gd name="T18" fmla="*/ 2 w 43"/>
                  <a:gd name="T19" fmla="*/ 14 h 37"/>
                  <a:gd name="T20" fmla="*/ 4 w 43"/>
                  <a:gd name="T21" fmla="*/ 18 h 37"/>
                  <a:gd name="T22" fmla="*/ 8 w 43"/>
                  <a:gd name="T23" fmla="*/ 22 h 37"/>
                  <a:gd name="T24" fmla="*/ 13 w 43"/>
                  <a:gd name="T25" fmla="*/ 25 h 37"/>
                  <a:gd name="T26" fmla="*/ 17 w 43"/>
                  <a:gd name="T27" fmla="*/ 26 h 37"/>
                  <a:gd name="T28" fmla="*/ 20 w 43"/>
                  <a:gd name="T29" fmla="*/ 28 h 37"/>
                  <a:gd name="T30" fmla="*/ 21 w 43"/>
                  <a:gd name="T31" fmla="*/ 29 h 37"/>
                  <a:gd name="T32" fmla="*/ 24 w 43"/>
                  <a:gd name="T33" fmla="*/ 31 h 37"/>
                  <a:gd name="T34" fmla="*/ 26 w 43"/>
                  <a:gd name="T35" fmla="*/ 33 h 37"/>
                  <a:gd name="T36" fmla="*/ 29 w 43"/>
                  <a:gd name="T37" fmla="*/ 36 h 37"/>
                  <a:gd name="T38" fmla="*/ 33 w 43"/>
                  <a:gd name="T39" fmla="*/ 37 h 37"/>
                  <a:gd name="T40" fmla="*/ 36 w 43"/>
                  <a:gd name="T41" fmla="*/ 37 h 37"/>
                  <a:gd name="T42" fmla="*/ 40 w 43"/>
                  <a:gd name="T43" fmla="*/ 36 h 37"/>
                  <a:gd name="T44" fmla="*/ 42 w 43"/>
                  <a:gd name="T45" fmla="*/ 33 h 37"/>
                  <a:gd name="T46" fmla="*/ 43 w 43"/>
                  <a:gd name="T47" fmla="*/ 29 h 37"/>
                  <a:gd name="T48" fmla="*/ 40 w 43"/>
                  <a:gd name="T49" fmla="*/ 25 h 37"/>
                  <a:gd name="T50" fmla="*/ 37 w 43"/>
                  <a:gd name="T51" fmla="*/ 21 h 37"/>
                  <a:gd name="T52" fmla="*/ 35 w 43"/>
                  <a:gd name="T53" fmla="*/ 18 h 37"/>
                  <a:gd name="T54" fmla="*/ 31 w 43"/>
                  <a:gd name="T55" fmla="*/ 15 h 37"/>
                  <a:gd name="T56" fmla="*/ 26 w 43"/>
                  <a:gd name="T57" fmla="*/ 13 h 37"/>
                  <a:gd name="T58" fmla="*/ 24 w 43"/>
                  <a:gd name="T59" fmla="*/ 13 h 37"/>
                  <a:gd name="T60" fmla="*/ 22 w 43"/>
                  <a:gd name="T61" fmla="*/ 1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3" h="37">
                    <a:moveTo>
                      <a:pt x="22" y="11"/>
                    </a:moveTo>
                    <a:lnTo>
                      <a:pt x="21" y="9"/>
                    </a:lnTo>
                    <a:lnTo>
                      <a:pt x="18" y="6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14"/>
                    </a:lnTo>
                    <a:lnTo>
                      <a:pt x="4" y="18"/>
                    </a:lnTo>
                    <a:lnTo>
                      <a:pt x="8" y="22"/>
                    </a:lnTo>
                    <a:lnTo>
                      <a:pt x="13" y="25"/>
                    </a:lnTo>
                    <a:lnTo>
                      <a:pt x="17" y="26"/>
                    </a:lnTo>
                    <a:lnTo>
                      <a:pt x="20" y="28"/>
                    </a:lnTo>
                    <a:lnTo>
                      <a:pt x="21" y="29"/>
                    </a:lnTo>
                    <a:lnTo>
                      <a:pt x="24" y="31"/>
                    </a:lnTo>
                    <a:lnTo>
                      <a:pt x="26" y="33"/>
                    </a:lnTo>
                    <a:lnTo>
                      <a:pt x="29" y="36"/>
                    </a:lnTo>
                    <a:lnTo>
                      <a:pt x="33" y="37"/>
                    </a:lnTo>
                    <a:lnTo>
                      <a:pt x="36" y="37"/>
                    </a:lnTo>
                    <a:lnTo>
                      <a:pt x="40" y="36"/>
                    </a:lnTo>
                    <a:lnTo>
                      <a:pt x="42" y="33"/>
                    </a:lnTo>
                    <a:lnTo>
                      <a:pt x="43" y="29"/>
                    </a:lnTo>
                    <a:lnTo>
                      <a:pt x="40" y="25"/>
                    </a:lnTo>
                    <a:lnTo>
                      <a:pt x="37" y="21"/>
                    </a:lnTo>
                    <a:lnTo>
                      <a:pt x="35" y="18"/>
                    </a:lnTo>
                    <a:lnTo>
                      <a:pt x="31" y="15"/>
                    </a:lnTo>
                    <a:lnTo>
                      <a:pt x="26" y="13"/>
                    </a:lnTo>
                    <a:lnTo>
                      <a:pt x="24" y="13"/>
                    </a:lnTo>
                    <a:lnTo>
                      <a:pt x="22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3" name="Freeform 775"/>
              <p:cNvSpPr>
                <a:spLocks/>
              </p:cNvSpPr>
              <p:nvPr/>
            </p:nvSpPr>
            <p:spPr bwMode="auto">
              <a:xfrm>
                <a:off x="3635" y="957"/>
                <a:ext cx="24" cy="30"/>
              </a:xfrm>
              <a:custGeom>
                <a:avLst/>
                <a:gdLst>
                  <a:gd name="T0" fmla="*/ 11 w 24"/>
                  <a:gd name="T1" fmla="*/ 1 h 30"/>
                  <a:gd name="T2" fmla="*/ 9 w 24"/>
                  <a:gd name="T3" fmla="*/ 1 h 30"/>
                  <a:gd name="T4" fmla="*/ 8 w 24"/>
                  <a:gd name="T5" fmla="*/ 1 h 30"/>
                  <a:gd name="T6" fmla="*/ 5 w 24"/>
                  <a:gd name="T7" fmla="*/ 0 h 30"/>
                  <a:gd name="T8" fmla="*/ 2 w 24"/>
                  <a:gd name="T9" fmla="*/ 1 h 30"/>
                  <a:gd name="T10" fmla="*/ 1 w 24"/>
                  <a:gd name="T11" fmla="*/ 3 h 30"/>
                  <a:gd name="T12" fmla="*/ 0 w 24"/>
                  <a:gd name="T13" fmla="*/ 6 h 30"/>
                  <a:gd name="T14" fmla="*/ 0 w 24"/>
                  <a:gd name="T15" fmla="*/ 10 h 30"/>
                  <a:gd name="T16" fmla="*/ 1 w 24"/>
                  <a:gd name="T17" fmla="*/ 15 h 30"/>
                  <a:gd name="T18" fmla="*/ 4 w 24"/>
                  <a:gd name="T19" fmla="*/ 22 h 30"/>
                  <a:gd name="T20" fmla="*/ 8 w 24"/>
                  <a:gd name="T21" fmla="*/ 26 h 30"/>
                  <a:gd name="T22" fmla="*/ 12 w 24"/>
                  <a:gd name="T23" fmla="*/ 29 h 30"/>
                  <a:gd name="T24" fmla="*/ 15 w 24"/>
                  <a:gd name="T25" fmla="*/ 30 h 30"/>
                  <a:gd name="T26" fmla="*/ 19 w 24"/>
                  <a:gd name="T27" fmla="*/ 30 h 30"/>
                  <a:gd name="T28" fmla="*/ 22 w 24"/>
                  <a:gd name="T29" fmla="*/ 30 h 30"/>
                  <a:gd name="T30" fmla="*/ 24 w 24"/>
                  <a:gd name="T31" fmla="*/ 30 h 30"/>
                  <a:gd name="T32" fmla="*/ 24 w 24"/>
                  <a:gd name="T33" fmla="*/ 30 h 30"/>
                  <a:gd name="T34" fmla="*/ 11 w 24"/>
                  <a:gd name="T35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30">
                    <a:moveTo>
                      <a:pt x="11" y="1"/>
                    </a:moveTo>
                    <a:lnTo>
                      <a:pt x="9" y="1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22"/>
                    </a:lnTo>
                    <a:lnTo>
                      <a:pt x="8" y="26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11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4" name="Freeform 776"/>
              <p:cNvSpPr>
                <a:spLocks/>
              </p:cNvSpPr>
              <p:nvPr/>
            </p:nvSpPr>
            <p:spPr bwMode="auto">
              <a:xfrm>
                <a:off x="3635" y="957"/>
                <a:ext cx="24" cy="30"/>
              </a:xfrm>
              <a:custGeom>
                <a:avLst/>
                <a:gdLst>
                  <a:gd name="T0" fmla="*/ 11 w 24"/>
                  <a:gd name="T1" fmla="*/ 1 h 30"/>
                  <a:gd name="T2" fmla="*/ 9 w 24"/>
                  <a:gd name="T3" fmla="*/ 1 h 30"/>
                  <a:gd name="T4" fmla="*/ 8 w 24"/>
                  <a:gd name="T5" fmla="*/ 1 h 30"/>
                  <a:gd name="T6" fmla="*/ 5 w 24"/>
                  <a:gd name="T7" fmla="*/ 0 h 30"/>
                  <a:gd name="T8" fmla="*/ 2 w 24"/>
                  <a:gd name="T9" fmla="*/ 1 h 30"/>
                  <a:gd name="T10" fmla="*/ 1 w 24"/>
                  <a:gd name="T11" fmla="*/ 3 h 30"/>
                  <a:gd name="T12" fmla="*/ 0 w 24"/>
                  <a:gd name="T13" fmla="*/ 6 h 30"/>
                  <a:gd name="T14" fmla="*/ 0 w 24"/>
                  <a:gd name="T15" fmla="*/ 10 h 30"/>
                  <a:gd name="T16" fmla="*/ 1 w 24"/>
                  <a:gd name="T17" fmla="*/ 15 h 30"/>
                  <a:gd name="T18" fmla="*/ 4 w 24"/>
                  <a:gd name="T19" fmla="*/ 22 h 30"/>
                  <a:gd name="T20" fmla="*/ 8 w 24"/>
                  <a:gd name="T21" fmla="*/ 26 h 30"/>
                  <a:gd name="T22" fmla="*/ 12 w 24"/>
                  <a:gd name="T23" fmla="*/ 29 h 30"/>
                  <a:gd name="T24" fmla="*/ 15 w 24"/>
                  <a:gd name="T25" fmla="*/ 30 h 30"/>
                  <a:gd name="T26" fmla="*/ 19 w 24"/>
                  <a:gd name="T27" fmla="*/ 30 h 30"/>
                  <a:gd name="T28" fmla="*/ 22 w 24"/>
                  <a:gd name="T29" fmla="*/ 30 h 30"/>
                  <a:gd name="T30" fmla="*/ 24 w 24"/>
                  <a:gd name="T31" fmla="*/ 30 h 30"/>
                  <a:gd name="T32" fmla="*/ 11 w 24"/>
                  <a:gd name="T3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30">
                    <a:moveTo>
                      <a:pt x="11" y="1"/>
                    </a:moveTo>
                    <a:lnTo>
                      <a:pt x="9" y="1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1" y="15"/>
                    </a:lnTo>
                    <a:lnTo>
                      <a:pt x="4" y="22"/>
                    </a:lnTo>
                    <a:lnTo>
                      <a:pt x="8" y="26"/>
                    </a:lnTo>
                    <a:lnTo>
                      <a:pt x="12" y="29"/>
                    </a:lnTo>
                    <a:lnTo>
                      <a:pt x="15" y="30"/>
                    </a:lnTo>
                    <a:lnTo>
                      <a:pt x="19" y="30"/>
                    </a:lnTo>
                    <a:lnTo>
                      <a:pt x="22" y="30"/>
                    </a:lnTo>
                    <a:lnTo>
                      <a:pt x="24" y="30"/>
                    </a:lnTo>
                    <a:lnTo>
                      <a:pt x="11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5" name="Freeform 777"/>
              <p:cNvSpPr>
                <a:spLocks/>
              </p:cNvSpPr>
              <p:nvPr/>
            </p:nvSpPr>
            <p:spPr bwMode="auto">
              <a:xfrm>
                <a:off x="3684" y="991"/>
                <a:ext cx="18" cy="29"/>
              </a:xfrm>
              <a:custGeom>
                <a:avLst/>
                <a:gdLst>
                  <a:gd name="T0" fmla="*/ 11 w 18"/>
                  <a:gd name="T1" fmla="*/ 0 h 29"/>
                  <a:gd name="T2" fmla="*/ 10 w 18"/>
                  <a:gd name="T3" fmla="*/ 0 h 29"/>
                  <a:gd name="T4" fmla="*/ 7 w 18"/>
                  <a:gd name="T5" fmla="*/ 2 h 29"/>
                  <a:gd name="T6" fmla="*/ 4 w 18"/>
                  <a:gd name="T7" fmla="*/ 2 h 29"/>
                  <a:gd name="T8" fmla="*/ 1 w 18"/>
                  <a:gd name="T9" fmla="*/ 5 h 29"/>
                  <a:gd name="T10" fmla="*/ 0 w 18"/>
                  <a:gd name="T11" fmla="*/ 7 h 29"/>
                  <a:gd name="T12" fmla="*/ 0 w 18"/>
                  <a:gd name="T13" fmla="*/ 13 h 29"/>
                  <a:gd name="T14" fmla="*/ 4 w 18"/>
                  <a:gd name="T15" fmla="*/ 20 h 29"/>
                  <a:gd name="T16" fmla="*/ 11 w 18"/>
                  <a:gd name="T17" fmla="*/ 29 h 29"/>
                  <a:gd name="T18" fmla="*/ 11 w 18"/>
                  <a:gd name="T19" fmla="*/ 29 h 29"/>
                  <a:gd name="T20" fmla="*/ 12 w 18"/>
                  <a:gd name="T21" fmla="*/ 28 h 29"/>
                  <a:gd name="T22" fmla="*/ 15 w 18"/>
                  <a:gd name="T23" fmla="*/ 27 h 29"/>
                  <a:gd name="T24" fmla="*/ 17 w 18"/>
                  <a:gd name="T25" fmla="*/ 24 h 29"/>
                  <a:gd name="T26" fmla="*/ 18 w 18"/>
                  <a:gd name="T27" fmla="*/ 20 h 29"/>
                  <a:gd name="T28" fmla="*/ 17 w 18"/>
                  <a:gd name="T29" fmla="*/ 14 h 29"/>
                  <a:gd name="T30" fmla="*/ 15 w 18"/>
                  <a:gd name="T31" fmla="*/ 9 h 29"/>
                  <a:gd name="T32" fmla="*/ 11 w 18"/>
                  <a:gd name="T3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29">
                    <a:moveTo>
                      <a:pt x="11" y="0"/>
                    </a:move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1" y="29"/>
                    </a:lnTo>
                    <a:lnTo>
                      <a:pt x="11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8" y="20"/>
                    </a:lnTo>
                    <a:lnTo>
                      <a:pt x="17" y="14"/>
                    </a:lnTo>
                    <a:lnTo>
                      <a:pt x="15" y="9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6" name="Freeform 778"/>
              <p:cNvSpPr>
                <a:spLocks/>
              </p:cNvSpPr>
              <p:nvPr/>
            </p:nvSpPr>
            <p:spPr bwMode="auto">
              <a:xfrm>
                <a:off x="3684" y="991"/>
                <a:ext cx="18" cy="29"/>
              </a:xfrm>
              <a:custGeom>
                <a:avLst/>
                <a:gdLst>
                  <a:gd name="T0" fmla="*/ 11 w 18"/>
                  <a:gd name="T1" fmla="*/ 0 h 29"/>
                  <a:gd name="T2" fmla="*/ 10 w 18"/>
                  <a:gd name="T3" fmla="*/ 0 h 29"/>
                  <a:gd name="T4" fmla="*/ 7 w 18"/>
                  <a:gd name="T5" fmla="*/ 2 h 29"/>
                  <a:gd name="T6" fmla="*/ 4 w 18"/>
                  <a:gd name="T7" fmla="*/ 2 h 29"/>
                  <a:gd name="T8" fmla="*/ 1 w 18"/>
                  <a:gd name="T9" fmla="*/ 5 h 29"/>
                  <a:gd name="T10" fmla="*/ 0 w 18"/>
                  <a:gd name="T11" fmla="*/ 7 h 29"/>
                  <a:gd name="T12" fmla="*/ 0 w 18"/>
                  <a:gd name="T13" fmla="*/ 13 h 29"/>
                  <a:gd name="T14" fmla="*/ 4 w 18"/>
                  <a:gd name="T15" fmla="*/ 20 h 29"/>
                  <a:gd name="T16" fmla="*/ 11 w 18"/>
                  <a:gd name="T17" fmla="*/ 29 h 29"/>
                  <a:gd name="T18" fmla="*/ 12 w 18"/>
                  <a:gd name="T19" fmla="*/ 28 h 29"/>
                  <a:gd name="T20" fmla="*/ 15 w 18"/>
                  <a:gd name="T21" fmla="*/ 27 h 29"/>
                  <a:gd name="T22" fmla="*/ 17 w 18"/>
                  <a:gd name="T23" fmla="*/ 24 h 29"/>
                  <a:gd name="T24" fmla="*/ 18 w 18"/>
                  <a:gd name="T25" fmla="*/ 20 h 29"/>
                  <a:gd name="T26" fmla="*/ 17 w 18"/>
                  <a:gd name="T27" fmla="*/ 14 h 29"/>
                  <a:gd name="T28" fmla="*/ 15 w 18"/>
                  <a:gd name="T29" fmla="*/ 9 h 29"/>
                  <a:gd name="T30" fmla="*/ 11 w 18"/>
                  <a:gd name="T3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8" h="29">
                    <a:moveTo>
                      <a:pt x="11" y="0"/>
                    </a:move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4" y="20"/>
                    </a:lnTo>
                    <a:lnTo>
                      <a:pt x="11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8" y="20"/>
                    </a:lnTo>
                    <a:lnTo>
                      <a:pt x="17" y="14"/>
                    </a:lnTo>
                    <a:lnTo>
                      <a:pt x="15" y="9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7" name="Freeform 779"/>
              <p:cNvSpPr>
                <a:spLocks/>
              </p:cNvSpPr>
              <p:nvPr/>
            </p:nvSpPr>
            <p:spPr bwMode="auto">
              <a:xfrm>
                <a:off x="2965" y="1009"/>
                <a:ext cx="130" cy="263"/>
              </a:xfrm>
              <a:custGeom>
                <a:avLst/>
                <a:gdLst>
                  <a:gd name="T0" fmla="*/ 52 w 130"/>
                  <a:gd name="T1" fmla="*/ 24 h 263"/>
                  <a:gd name="T2" fmla="*/ 48 w 130"/>
                  <a:gd name="T3" fmla="*/ 22 h 263"/>
                  <a:gd name="T4" fmla="*/ 44 w 130"/>
                  <a:gd name="T5" fmla="*/ 22 h 263"/>
                  <a:gd name="T6" fmla="*/ 39 w 130"/>
                  <a:gd name="T7" fmla="*/ 25 h 263"/>
                  <a:gd name="T8" fmla="*/ 41 w 130"/>
                  <a:gd name="T9" fmla="*/ 33 h 263"/>
                  <a:gd name="T10" fmla="*/ 38 w 130"/>
                  <a:gd name="T11" fmla="*/ 39 h 263"/>
                  <a:gd name="T12" fmla="*/ 33 w 130"/>
                  <a:gd name="T13" fmla="*/ 40 h 263"/>
                  <a:gd name="T14" fmla="*/ 28 w 130"/>
                  <a:gd name="T15" fmla="*/ 42 h 263"/>
                  <a:gd name="T16" fmla="*/ 28 w 130"/>
                  <a:gd name="T17" fmla="*/ 40 h 263"/>
                  <a:gd name="T18" fmla="*/ 24 w 130"/>
                  <a:gd name="T19" fmla="*/ 33 h 263"/>
                  <a:gd name="T20" fmla="*/ 17 w 130"/>
                  <a:gd name="T21" fmla="*/ 25 h 263"/>
                  <a:gd name="T22" fmla="*/ 8 w 130"/>
                  <a:gd name="T23" fmla="*/ 20 h 263"/>
                  <a:gd name="T24" fmla="*/ 0 w 130"/>
                  <a:gd name="T25" fmla="*/ 43 h 263"/>
                  <a:gd name="T26" fmla="*/ 0 w 130"/>
                  <a:gd name="T27" fmla="*/ 72 h 263"/>
                  <a:gd name="T28" fmla="*/ 2 w 130"/>
                  <a:gd name="T29" fmla="*/ 80 h 263"/>
                  <a:gd name="T30" fmla="*/ 6 w 130"/>
                  <a:gd name="T31" fmla="*/ 94 h 263"/>
                  <a:gd name="T32" fmla="*/ 12 w 130"/>
                  <a:gd name="T33" fmla="*/ 106 h 263"/>
                  <a:gd name="T34" fmla="*/ 33 w 130"/>
                  <a:gd name="T35" fmla="*/ 136 h 263"/>
                  <a:gd name="T36" fmla="*/ 52 w 130"/>
                  <a:gd name="T37" fmla="*/ 112 h 263"/>
                  <a:gd name="T38" fmla="*/ 70 w 130"/>
                  <a:gd name="T39" fmla="*/ 113 h 263"/>
                  <a:gd name="T40" fmla="*/ 75 w 130"/>
                  <a:gd name="T41" fmla="*/ 116 h 263"/>
                  <a:gd name="T42" fmla="*/ 81 w 130"/>
                  <a:gd name="T43" fmla="*/ 123 h 263"/>
                  <a:gd name="T44" fmla="*/ 79 w 130"/>
                  <a:gd name="T45" fmla="*/ 131 h 263"/>
                  <a:gd name="T46" fmla="*/ 67 w 130"/>
                  <a:gd name="T47" fmla="*/ 141 h 263"/>
                  <a:gd name="T48" fmla="*/ 56 w 130"/>
                  <a:gd name="T49" fmla="*/ 149 h 263"/>
                  <a:gd name="T50" fmla="*/ 48 w 130"/>
                  <a:gd name="T51" fmla="*/ 153 h 263"/>
                  <a:gd name="T52" fmla="*/ 44 w 130"/>
                  <a:gd name="T53" fmla="*/ 156 h 263"/>
                  <a:gd name="T54" fmla="*/ 42 w 130"/>
                  <a:gd name="T55" fmla="*/ 172 h 263"/>
                  <a:gd name="T56" fmla="*/ 42 w 130"/>
                  <a:gd name="T57" fmla="*/ 195 h 263"/>
                  <a:gd name="T58" fmla="*/ 44 w 130"/>
                  <a:gd name="T59" fmla="*/ 200 h 263"/>
                  <a:gd name="T60" fmla="*/ 46 w 130"/>
                  <a:gd name="T61" fmla="*/ 209 h 263"/>
                  <a:gd name="T62" fmla="*/ 50 w 130"/>
                  <a:gd name="T63" fmla="*/ 219 h 263"/>
                  <a:gd name="T64" fmla="*/ 57 w 130"/>
                  <a:gd name="T65" fmla="*/ 228 h 263"/>
                  <a:gd name="T66" fmla="*/ 64 w 130"/>
                  <a:gd name="T67" fmla="*/ 238 h 263"/>
                  <a:gd name="T68" fmla="*/ 71 w 130"/>
                  <a:gd name="T69" fmla="*/ 249 h 263"/>
                  <a:gd name="T70" fmla="*/ 77 w 130"/>
                  <a:gd name="T71" fmla="*/ 259 h 263"/>
                  <a:gd name="T72" fmla="*/ 78 w 130"/>
                  <a:gd name="T73" fmla="*/ 263 h 263"/>
                  <a:gd name="T74" fmla="*/ 100 w 130"/>
                  <a:gd name="T75" fmla="*/ 205 h 263"/>
                  <a:gd name="T76" fmla="*/ 111 w 130"/>
                  <a:gd name="T77" fmla="*/ 156 h 263"/>
                  <a:gd name="T78" fmla="*/ 123 w 130"/>
                  <a:gd name="T79" fmla="*/ 116 h 263"/>
                  <a:gd name="T80" fmla="*/ 126 w 130"/>
                  <a:gd name="T81" fmla="*/ 109 h 263"/>
                  <a:gd name="T82" fmla="*/ 129 w 130"/>
                  <a:gd name="T83" fmla="*/ 97 h 263"/>
                  <a:gd name="T84" fmla="*/ 129 w 130"/>
                  <a:gd name="T85" fmla="*/ 84 h 263"/>
                  <a:gd name="T86" fmla="*/ 117 w 130"/>
                  <a:gd name="T87" fmla="*/ 55 h 263"/>
                  <a:gd name="T88" fmla="*/ 84 w 130"/>
                  <a:gd name="T89" fmla="*/ 0 h 263"/>
                  <a:gd name="T90" fmla="*/ 81 w 130"/>
                  <a:gd name="T91" fmla="*/ 2 h 263"/>
                  <a:gd name="T92" fmla="*/ 75 w 130"/>
                  <a:gd name="T93" fmla="*/ 4 h 263"/>
                  <a:gd name="T94" fmla="*/ 70 w 130"/>
                  <a:gd name="T95" fmla="*/ 7 h 263"/>
                  <a:gd name="T96" fmla="*/ 68 w 130"/>
                  <a:gd name="T97" fmla="*/ 13 h 263"/>
                  <a:gd name="T98" fmla="*/ 68 w 130"/>
                  <a:gd name="T99" fmla="*/ 20 h 263"/>
                  <a:gd name="T100" fmla="*/ 67 w 130"/>
                  <a:gd name="T101" fmla="*/ 26 h 263"/>
                  <a:gd name="T102" fmla="*/ 66 w 130"/>
                  <a:gd name="T103" fmla="*/ 33 h 263"/>
                  <a:gd name="T104" fmla="*/ 64 w 130"/>
                  <a:gd name="T105" fmla="*/ 3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0" h="263">
                    <a:moveTo>
                      <a:pt x="52" y="25"/>
                    </a:moveTo>
                    <a:lnTo>
                      <a:pt x="52" y="24"/>
                    </a:lnTo>
                    <a:lnTo>
                      <a:pt x="50" y="24"/>
                    </a:lnTo>
                    <a:lnTo>
                      <a:pt x="48" y="22"/>
                    </a:lnTo>
                    <a:lnTo>
                      <a:pt x="45" y="22"/>
                    </a:lnTo>
                    <a:lnTo>
                      <a:pt x="44" y="22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9" y="29"/>
                    </a:lnTo>
                    <a:lnTo>
                      <a:pt x="41" y="33"/>
                    </a:lnTo>
                    <a:lnTo>
                      <a:pt x="39" y="36"/>
                    </a:lnTo>
                    <a:lnTo>
                      <a:pt x="38" y="39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1" y="40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0"/>
                    </a:lnTo>
                    <a:lnTo>
                      <a:pt x="26" y="37"/>
                    </a:lnTo>
                    <a:lnTo>
                      <a:pt x="24" y="33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2" y="21"/>
                    </a:lnTo>
                    <a:lnTo>
                      <a:pt x="8" y="20"/>
                    </a:lnTo>
                    <a:lnTo>
                      <a:pt x="2" y="20"/>
                    </a:lnTo>
                    <a:lnTo>
                      <a:pt x="0" y="43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1" y="75"/>
                    </a:lnTo>
                    <a:lnTo>
                      <a:pt x="2" y="80"/>
                    </a:lnTo>
                    <a:lnTo>
                      <a:pt x="4" y="87"/>
                    </a:lnTo>
                    <a:lnTo>
                      <a:pt x="6" y="94"/>
                    </a:lnTo>
                    <a:lnTo>
                      <a:pt x="9" y="99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33" y="136"/>
                    </a:lnTo>
                    <a:lnTo>
                      <a:pt x="49" y="127"/>
                    </a:lnTo>
                    <a:lnTo>
                      <a:pt x="52" y="112"/>
                    </a:lnTo>
                    <a:lnTo>
                      <a:pt x="68" y="112"/>
                    </a:lnTo>
                    <a:lnTo>
                      <a:pt x="70" y="113"/>
                    </a:lnTo>
                    <a:lnTo>
                      <a:pt x="73" y="114"/>
                    </a:lnTo>
                    <a:lnTo>
                      <a:pt x="75" y="116"/>
                    </a:lnTo>
                    <a:lnTo>
                      <a:pt x="78" y="119"/>
                    </a:lnTo>
                    <a:lnTo>
                      <a:pt x="81" y="123"/>
                    </a:lnTo>
                    <a:lnTo>
                      <a:pt x="81" y="127"/>
                    </a:lnTo>
                    <a:lnTo>
                      <a:pt x="79" y="131"/>
                    </a:lnTo>
                    <a:lnTo>
                      <a:pt x="74" y="136"/>
                    </a:lnTo>
                    <a:lnTo>
                      <a:pt x="67" y="141"/>
                    </a:lnTo>
                    <a:lnTo>
                      <a:pt x="60" y="145"/>
                    </a:lnTo>
                    <a:lnTo>
                      <a:pt x="56" y="149"/>
                    </a:lnTo>
                    <a:lnTo>
                      <a:pt x="50" y="152"/>
                    </a:lnTo>
                    <a:lnTo>
                      <a:pt x="48" y="153"/>
                    </a:lnTo>
                    <a:lnTo>
                      <a:pt x="45" y="154"/>
                    </a:lnTo>
                    <a:lnTo>
                      <a:pt x="44" y="156"/>
                    </a:lnTo>
                    <a:lnTo>
                      <a:pt x="42" y="156"/>
                    </a:lnTo>
                    <a:lnTo>
                      <a:pt x="42" y="172"/>
                    </a:lnTo>
                    <a:lnTo>
                      <a:pt x="55" y="182"/>
                    </a:lnTo>
                    <a:lnTo>
                      <a:pt x="42" y="195"/>
                    </a:lnTo>
                    <a:lnTo>
                      <a:pt x="44" y="197"/>
                    </a:lnTo>
                    <a:lnTo>
                      <a:pt x="44" y="200"/>
                    </a:lnTo>
                    <a:lnTo>
                      <a:pt x="45" y="204"/>
                    </a:lnTo>
                    <a:lnTo>
                      <a:pt x="46" y="209"/>
                    </a:lnTo>
                    <a:lnTo>
                      <a:pt x="48" y="213"/>
                    </a:lnTo>
                    <a:lnTo>
                      <a:pt x="50" y="219"/>
                    </a:lnTo>
                    <a:lnTo>
                      <a:pt x="53" y="224"/>
                    </a:lnTo>
                    <a:lnTo>
                      <a:pt x="57" y="228"/>
                    </a:lnTo>
                    <a:lnTo>
                      <a:pt x="60" y="233"/>
                    </a:lnTo>
                    <a:lnTo>
                      <a:pt x="64" y="238"/>
                    </a:lnTo>
                    <a:lnTo>
                      <a:pt x="68" y="244"/>
                    </a:lnTo>
                    <a:lnTo>
                      <a:pt x="71" y="249"/>
                    </a:lnTo>
                    <a:lnTo>
                      <a:pt x="74" y="255"/>
                    </a:lnTo>
                    <a:lnTo>
                      <a:pt x="77" y="259"/>
                    </a:lnTo>
                    <a:lnTo>
                      <a:pt x="78" y="261"/>
                    </a:lnTo>
                    <a:lnTo>
                      <a:pt x="78" y="263"/>
                    </a:lnTo>
                    <a:lnTo>
                      <a:pt x="88" y="253"/>
                    </a:lnTo>
                    <a:lnTo>
                      <a:pt x="100" y="205"/>
                    </a:lnTo>
                    <a:lnTo>
                      <a:pt x="107" y="183"/>
                    </a:lnTo>
                    <a:lnTo>
                      <a:pt x="111" y="156"/>
                    </a:lnTo>
                    <a:lnTo>
                      <a:pt x="123" y="117"/>
                    </a:lnTo>
                    <a:lnTo>
                      <a:pt x="123" y="116"/>
                    </a:lnTo>
                    <a:lnTo>
                      <a:pt x="125" y="113"/>
                    </a:lnTo>
                    <a:lnTo>
                      <a:pt x="126" y="109"/>
                    </a:lnTo>
                    <a:lnTo>
                      <a:pt x="128" y="103"/>
                    </a:lnTo>
                    <a:lnTo>
                      <a:pt x="129" y="97"/>
                    </a:lnTo>
                    <a:lnTo>
                      <a:pt x="130" y="91"/>
                    </a:lnTo>
                    <a:lnTo>
                      <a:pt x="129" y="84"/>
                    </a:lnTo>
                    <a:lnTo>
                      <a:pt x="129" y="79"/>
                    </a:lnTo>
                    <a:lnTo>
                      <a:pt x="117" y="55"/>
                    </a:lnTo>
                    <a:lnTo>
                      <a:pt x="121" y="26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1" y="2"/>
                    </a:lnTo>
                    <a:lnTo>
                      <a:pt x="78" y="3"/>
                    </a:lnTo>
                    <a:lnTo>
                      <a:pt x="75" y="4"/>
                    </a:lnTo>
                    <a:lnTo>
                      <a:pt x="73" y="6"/>
                    </a:lnTo>
                    <a:lnTo>
                      <a:pt x="70" y="7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70" y="15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7" y="26"/>
                    </a:lnTo>
                    <a:lnTo>
                      <a:pt x="66" y="31"/>
                    </a:lnTo>
                    <a:lnTo>
                      <a:pt x="66" y="33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52" y="2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8" name="Freeform 780"/>
              <p:cNvSpPr>
                <a:spLocks/>
              </p:cNvSpPr>
              <p:nvPr/>
            </p:nvSpPr>
            <p:spPr bwMode="auto">
              <a:xfrm>
                <a:off x="2965" y="1009"/>
                <a:ext cx="130" cy="263"/>
              </a:xfrm>
              <a:custGeom>
                <a:avLst/>
                <a:gdLst>
                  <a:gd name="T0" fmla="*/ 52 w 130"/>
                  <a:gd name="T1" fmla="*/ 24 h 263"/>
                  <a:gd name="T2" fmla="*/ 48 w 130"/>
                  <a:gd name="T3" fmla="*/ 22 h 263"/>
                  <a:gd name="T4" fmla="*/ 44 w 130"/>
                  <a:gd name="T5" fmla="*/ 22 h 263"/>
                  <a:gd name="T6" fmla="*/ 39 w 130"/>
                  <a:gd name="T7" fmla="*/ 25 h 263"/>
                  <a:gd name="T8" fmla="*/ 41 w 130"/>
                  <a:gd name="T9" fmla="*/ 33 h 263"/>
                  <a:gd name="T10" fmla="*/ 38 w 130"/>
                  <a:gd name="T11" fmla="*/ 39 h 263"/>
                  <a:gd name="T12" fmla="*/ 33 w 130"/>
                  <a:gd name="T13" fmla="*/ 40 h 263"/>
                  <a:gd name="T14" fmla="*/ 28 w 130"/>
                  <a:gd name="T15" fmla="*/ 42 h 263"/>
                  <a:gd name="T16" fmla="*/ 26 w 130"/>
                  <a:gd name="T17" fmla="*/ 37 h 263"/>
                  <a:gd name="T18" fmla="*/ 20 w 130"/>
                  <a:gd name="T19" fmla="*/ 29 h 263"/>
                  <a:gd name="T20" fmla="*/ 12 w 130"/>
                  <a:gd name="T21" fmla="*/ 21 h 263"/>
                  <a:gd name="T22" fmla="*/ 2 w 130"/>
                  <a:gd name="T23" fmla="*/ 20 h 263"/>
                  <a:gd name="T24" fmla="*/ 0 w 130"/>
                  <a:gd name="T25" fmla="*/ 70 h 263"/>
                  <a:gd name="T26" fmla="*/ 1 w 130"/>
                  <a:gd name="T27" fmla="*/ 75 h 263"/>
                  <a:gd name="T28" fmla="*/ 4 w 130"/>
                  <a:gd name="T29" fmla="*/ 87 h 263"/>
                  <a:gd name="T30" fmla="*/ 9 w 130"/>
                  <a:gd name="T31" fmla="*/ 99 h 263"/>
                  <a:gd name="T32" fmla="*/ 16 w 130"/>
                  <a:gd name="T33" fmla="*/ 110 h 263"/>
                  <a:gd name="T34" fmla="*/ 49 w 130"/>
                  <a:gd name="T35" fmla="*/ 127 h 263"/>
                  <a:gd name="T36" fmla="*/ 68 w 130"/>
                  <a:gd name="T37" fmla="*/ 112 h 263"/>
                  <a:gd name="T38" fmla="*/ 73 w 130"/>
                  <a:gd name="T39" fmla="*/ 114 h 263"/>
                  <a:gd name="T40" fmla="*/ 78 w 130"/>
                  <a:gd name="T41" fmla="*/ 119 h 263"/>
                  <a:gd name="T42" fmla="*/ 81 w 130"/>
                  <a:gd name="T43" fmla="*/ 127 h 263"/>
                  <a:gd name="T44" fmla="*/ 74 w 130"/>
                  <a:gd name="T45" fmla="*/ 136 h 263"/>
                  <a:gd name="T46" fmla="*/ 60 w 130"/>
                  <a:gd name="T47" fmla="*/ 145 h 263"/>
                  <a:gd name="T48" fmla="*/ 50 w 130"/>
                  <a:gd name="T49" fmla="*/ 152 h 263"/>
                  <a:gd name="T50" fmla="*/ 45 w 130"/>
                  <a:gd name="T51" fmla="*/ 154 h 263"/>
                  <a:gd name="T52" fmla="*/ 42 w 130"/>
                  <a:gd name="T53" fmla="*/ 156 h 263"/>
                  <a:gd name="T54" fmla="*/ 55 w 130"/>
                  <a:gd name="T55" fmla="*/ 182 h 263"/>
                  <a:gd name="T56" fmla="*/ 44 w 130"/>
                  <a:gd name="T57" fmla="*/ 197 h 263"/>
                  <a:gd name="T58" fmla="*/ 45 w 130"/>
                  <a:gd name="T59" fmla="*/ 204 h 263"/>
                  <a:gd name="T60" fmla="*/ 48 w 130"/>
                  <a:gd name="T61" fmla="*/ 213 h 263"/>
                  <a:gd name="T62" fmla="*/ 53 w 130"/>
                  <a:gd name="T63" fmla="*/ 224 h 263"/>
                  <a:gd name="T64" fmla="*/ 60 w 130"/>
                  <a:gd name="T65" fmla="*/ 233 h 263"/>
                  <a:gd name="T66" fmla="*/ 68 w 130"/>
                  <a:gd name="T67" fmla="*/ 244 h 263"/>
                  <a:gd name="T68" fmla="*/ 74 w 130"/>
                  <a:gd name="T69" fmla="*/ 255 h 263"/>
                  <a:gd name="T70" fmla="*/ 78 w 130"/>
                  <a:gd name="T71" fmla="*/ 261 h 263"/>
                  <a:gd name="T72" fmla="*/ 88 w 130"/>
                  <a:gd name="T73" fmla="*/ 253 h 263"/>
                  <a:gd name="T74" fmla="*/ 107 w 130"/>
                  <a:gd name="T75" fmla="*/ 183 h 263"/>
                  <a:gd name="T76" fmla="*/ 123 w 130"/>
                  <a:gd name="T77" fmla="*/ 117 h 263"/>
                  <a:gd name="T78" fmla="*/ 125 w 130"/>
                  <a:gd name="T79" fmla="*/ 113 h 263"/>
                  <a:gd name="T80" fmla="*/ 128 w 130"/>
                  <a:gd name="T81" fmla="*/ 103 h 263"/>
                  <a:gd name="T82" fmla="*/ 130 w 130"/>
                  <a:gd name="T83" fmla="*/ 91 h 263"/>
                  <a:gd name="T84" fmla="*/ 129 w 130"/>
                  <a:gd name="T85" fmla="*/ 79 h 263"/>
                  <a:gd name="T86" fmla="*/ 121 w 130"/>
                  <a:gd name="T87" fmla="*/ 26 h 263"/>
                  <a:gd name="T88" fmla="*/ 82 w 130"/>
                  <a:gd name="T89" fmla="*/ 0 h 263"/>
                  <a:gd name="T90" fmla="*/ 78 w 130"/>
                  <a:gd name="T91" fmla="*/ 3 h 263"/>
                  <a:gd name="T92" fmla="*/ 73 w 130"/>
                  <a:gd name="T93" fmla="*/ 6 h 263"/>
                  <a:gd name="T94" fmla="*/ 68 w 130"/>
                  <a:gd name="T95" fmla="*/ 10 h 263"/>
                  <a:gd name="T96" fmla="*/ 70 w 130"/>
                  <a:gd name="T97" fmla="*/ 15 h 263"/>
                  <a:gd name="T98" fmla="*/ 68 w 130"/>
                  <a:gd name="T99" fmla="*/ 24 h 263"/>
                  <a:gd name="T100" fmla="*/ 66 w 130"/>
                  <a:gd name="T101" fmla="*/ 31 h 263"/>
                  <a:gd name="T102" fmla="*/ 64 w 130"/>
                  <a:gd name="T103" fmla="*/ 36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" h="263">
                    <a:moveTo>
                      <a:pt x="52" y="25"/>
                    </a:moveTo>
                    <a:lnTo>
                      <a:pt x="52" y="24"/>
                    </a:lnTo>
                    <a:lnTo>
                      <a:pt x="50" y="24"/>
                    </a:lnTo>
                    <a:lnTo>
                      <a:pt x="48" y="22"/>
                    </a:lnTo>
                    <a:lnTo>
                      <a:pt x="45" y="22"/>
                    </a:lnTo>
                    <a:lnTo>
                      <a:pt x="44" y="22"/>
                    </a:lnTo>
                    <a:lnTo>
                      <a:pt x="41" y="24"/>
                    </a:lnTo>
                    <a:lnTo>
                      <a:pt x="39" y="25"/>
                    </a:lnTo>
                    <a:lnTo>
                      <a:pt x="39" y="29"/>
                    </a:lnTo>
                    <a:lnTo>
                      <a:pt x="41" y="33"/>
                    </a:lnTo>
                    <a:lnTo>
                      <a:pt x="39" y="36"/>
                    </a:lnTo>
                    <a:lnTo>
                      <a:pt x="38" y="39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1" y="40"/>
                    </a:lnTo>
                    <a:lnTo>
                      <a:pt x="28" y="42"/>
                    </a:lnTo>
                    <a:lnTo>
                      <a:pt x="28" y="40"/>
                    </a:lnTo>
                    <a:lnTo>
                      <a:pt x="26" y="37"/>
                    </a:lnTo>
                    <a:lnTo>
                      <a:pt x="24" y="33"/>
                    </a:lnTo>
                    <a:lnTo>
                      <a:pt x="20" y="29"/>
                    </a:lnTo>
                    <a:lnTo>
                      <a:pt x="17" y="25"/>
                    </a:lnTo>
                    <a:lnTo>
                      <a:pt x="12" y="21"/>
                    </a:lnTo>
                    <a:lnTo>
                      <a:pt x="8" y="20"/>
                    </a:lnTo>
                    <a:lnTo>
                      <a:pt x="2" y="20"/>
                    </a:lnTo>
                    <a:lnTo>
                      <a:pt x="0" y="43"/>
                    </a:lnTo>
                    <a:lnTo>
                      <a:pt x="0" y="70"/>
                    </a:lnTo>
                    <a:lnTo>
                      <a:pt x="0" y="72"/>
                    </a:lnTo>
                    <a:lnTo>
                      <a:pt x="1" y="75"/>
                    </a:lnTo>
                    <a:lnTo>
                      <a:pt x="2" y="80"/>
                    </a:lnTo>
                    <a:lnTo>
                      <a:pt x="4" y="87"/>
                    </a:lnTo>
                    <a:lnTo>
                      <a:pt x="6" y="94"/>
                    </a:lnTo>
                    <a:lnTo>
                      <a:pt x="9" y="99"/>
                    </a:lnTo>
                    <a:lnTo>
                      <a:pt x="12" y="106"/>
                    </a:lnTo>
                    <a:lnTo>
                      <a:pt x="16" y="110"/>
                    </a:lnTo>
                    <a:lnTo>
                      <a:pt x="33" y="136"/>
                    </a:lnTo>
                    <a:lnTo>
                      <a:pt x="49" y="127"/>
                    </a:lnTo>
                    <a:lnTo>
                      <a:pt x="52" y="112"/>
                    </a:lnTo>
                    <a:lnTo>
                      <a:pt x="68" y="112"/>
                    </a:lnTo>
                    <a:lnTo>
                      <a:pt x="70" y="113"/>
                    </a:lnTo>
                    <a:lnTo>
                      <a:pt x="73" y="114"/>
                    </a:lnTo>
                    <a:lnTo>
                      <a:pt x="75" y="116"/>
                    </a:lnTo>
                    <a:lnTo>
                      <a:pt x="78" y="119"/>
                    </a:lnTo>
                    <a:lnTo>
                      <a:pt x="81" y="123"/>
                    </a:lnTo>
                    <a:lnTo>
                      <a:pt x="81" y="127"/>
                    </a:lnTo>
                    <a:lnTo>
                      <a:pt x="79" y="131"/>
                    </a:lnTo>
                    <a:lnTo>
                      <a:pt x="74" y="136"/>
                    </a:lnTo>
                    <a:lnTo>
                      <a:pt x="67" y="141"/>
                    </a:lnTo>
                    <a:lnTo>
                      <a:pt x="60" y="145"/>
                    </a:lnTo>
                    <a:lnTo>
                      <a:pt x="56" y="149"/>
                    </a:lnTo>
                    <a:lnTo>
                      <a:pt x="50" y="152"/>
                    </a:lnTo>
                    <a:lnTo>
                      <a:pt x="48" y="153"/>
                    </a:lnTo>
                    <a:lnTo>
                      <a:pt x="45" y="154"/>
                    </a:lnTo>
                    <a:lnTo>
                      <a:pt x="44" y="156"/>
                    </a:lnTo>
                    <a:lnTo>
                      <a:pt x="42" y="156"/>
                    </a:lnTo>
                    <a:lnTo>
                      <a:pt x="42" y="172"/>
                    </a:lnTo>
                    <a:lnTo>
                      <a:pt x="55" y="182"/>
                    </a:lnTo>
                    <a:lnTo>
                      <a:pt x="42" y="195"/>
                    </a:lnTo>
                    <a:lnTo>
                      <a:pt x="44" y="197"/>
                    </a:lnTo>
                    <a:lnTo>
                      <a:pt x="44" y="200"/>
                    </a:lnTo>
                    <a:lnTo>
                      <a:pt x="45" y="204"/>
                    </a:lnTo>
                    <a:lnTo>
                      <a:pt x="46" y="209"/>
                    </a:lnTo>
                    <a:lnTo>
                      <a:pt x="48" y="213"/>
                    </a:lnTo>
                    <a:lnTo>
                      <a:pt x="50" y="219"/>
                    </a:lnTo>
                    <a:lnTo>
                      <a:pt x="53" y="224"/>
                    </a:lnTo>
                    <a:lnTo>
                      <a:pt x="57" y="228"/>
                    </a:lnTo>
                    <a:lnTo>
                      <a:pt x="60" y="233"/>
                    </a:lnTo>
                    <a:lnTo>
                      <a:pt x="64" y="238"/>
                    </a:lnTo>
                    <a:lnTo>
                      <a:pt x="68" y="244"/>
                    </a:lnTo>
                    <a:lnTo>
                      <a:pt x="71" y="249"/>
                    </a:lnTo>
                    <a:lnTo>
                      <a:pt x="74" y="255"/>
                    </a:lnTo>
                    <a:lnTo>
                      <a:pt x="77" y="259"/>
                    </a:lnTo>
                    <a:lnTo>
                      <a:pt x="78" y="261"/>
                    </a:lnTo>
                    <a:lnTo>
                      <a:pt x="78" y="263"/>
                    </a:lnTo>
                    <a:lnTo>
                      <a:pt x="88" y="253"/>
                    </a:lnTo>
                    <a:lnTo>
                      <a:pt x="100" y="205"/>
                    </a:lnTo>
                    <a:lnTo>
                      <a:pt x="107" y="183"/>
                    </a:lnTo>
                    <a:lnTo>
                      <a:pt x="111" y="156"/>
                    </a:lnTo>
                    <a:lnTo>
                      <a:pt x="123" y="117"/>
                    </a:lnTo>
                    <a:lnTo>
                      <a:pt x="123" y="116"/>
                    </a:lnTo>
                    <a:lnTo>
                      <a:pt x="125" y="113"/>
                    </a:lnTo>
                    <a:lnTo>
                      <a:pt x="126" y="109"/>
                    </a:lnTo>
                    <a:lnTo>
                      <a:pt x="128" y="103"/>
                    </a:lnTo>
                    <a:lnTo>
                      <a:pt x="129" y="97"/>
                    </a:lnTo>
                    <a:lnTo>
                      <a:pt x="130" y="91"/>
                    </a:lnTo>
                    <a:lnTo>
                      <a:pt x="129" y="84"/>
                    </a:lnTo>
                    <a:lnTo>
                      <a:pt x="129" y="79"/>
                    </a:lnTo>
                    <a:lnTo>
                      <a:pt x="117" y="55"/>
                    </a:lnTo>
                    <a:lnTo>
                      <a:pt x="121" y="26"/>
                    </a:lnTo>
                    <a:lnTo>
                      <a:pt x="84" y="0"/>
                    </a:lnTo>
                    <a:lnTo>
                      <a:pt x="82" y="0"/>
                    </a:lnTo>
                    <a:lnTo>
                      <a:pt x="81" y="2"/>
                    </a:lnTo>
                    <a:lnTo>
                      <a:pt x="78" y="3"/>
                    </a:lnTo>
                    <a:lnTo>
                      <a:pt x="75" y="4"/>
                    </a:lnTo>
                    <a:lnTo>
                      <a:pt x="73" y="6"/>
                    </a:lnTo>
                    <a:lnTo>
                      <a:pt x="70" y="7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70" y="15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7" y="26"/>
                    </a:lnTo>
                    <a:lnTo>
                      <a:pt x="66" y="31"/>
                    </a:lnTo>
                    <a:lnTo>
                      <a:pt x="66" y="33"/>
                    </a:lnTo>
                    <a:lnTo>
                      <a:pt x="64" y="36"/>
                    </a:lnTo>
                    <a:lnTo>
                      <a:pt x="52" y="2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49" name="Freeform 781"/>
              <p:cNvSpPr>
                <a:spLocks/>
              </p:cNvSpPr>
              <p:nvPr/>
            </p:nvSpPr>
            <p:spPr bwMode="auto">
              <a:xfrm>
                <a:off x="3069" y="961"/>
                <a:ext cx="146" cy="113"/>
              </a:xfrm>
              <a:custGeom>
                <a:avLst/>
                <a:gdLst>
                  <a:gd name="T0" fmla="*/ 26 w 146"/>
                  <a:gd name="T1" fmla="*/ 0 h 113"/>
                  <a:gd name="T2" fmla="*/ 17 w 146"/>
                  <a:gd name="T3" fmla="*/ 25 h 113"/>
                  <a:gd name="T4" fmla="*/ 0 w 146"/>
                  <a:gd name="T5" fmla="*/ 37 h 113"/>
                  <a:gd name="T6" fmla="*/ 0 w 146"/>
                  <a:gd name="T7" fmla="*/ 37 h 113"/>
                  <a:gd name="T8" fmla="*/ 2 w 146"/>
                  <a:gd name="T9" fmla="*/ 40 h 113"/>
                  <a:gd name="T10" fmla="*/ 3 w 146"/>
                  <a:gd name="T11" fmla="*/ 44 h 113"/>
                  <a:gd name="T12" fmla="*/ 4 w 146"/>
                  <a:gd name="T13" fmla="*/ 48 h 113"/>
                  <a:gd name="T14" fmla="*/ 7 w 146"/>
                  <a:gd name="T15" fmla="*/ 52 h 113"/>
                  <a:gd name="T16" fmla="*/ 10 w 146"/>
                  <a:gd name="T17" fmla="*/ 57 h 113"/>
                  <a:gd name="T18" fmla="*/ 13 w 146"/>
                  <a:gd name="T19" fmla="*/ 61 h 113"/>
                  <a:gd name="T20" fmla="*/ 15 w 146"/>
                  <a:gd name="T21" fmla="*/ 63 h 113"/>
                  <a:gd name="T22" fmla="*/ 18 w 146"/>
                  <a:gd name="T23" fmla="*/ 65 h 113"/>
                  <a:gd name="T24" fmla="*/ 22 w 146"/>
                  <a:gd name="T25" fmla="*/ 65 h 113"/>
                  <a:gd name="T26" fmla="*/ 28 w 146"/>
                  <a:gd name="T27" fmla="*/ 66 h 113"/>
                  <a:gd name="T28" fmla="*/ 32 w 146"/>
                  <a:gd name="T29" fmla="*/ 66 h 113"/>
                  <a:gd name="T30" fmla="*/ 36 w 146"/>
                  <a:gd name="T31" fmla="*/ 68 h 113"/>
                  <a:gd name="T32" fmla="*/ 37 w 146"/>
                  <a:gd name="T33" fmla="*/ 70 h 113"/>
                  <a:gd name="T34" fmla="*/ 37 w 146"/>
                  <a:gd name="T35" fmla="*/ 73 h 113"/>
                  <a:gd name="T36" fmla="*/ 35 w 146"/>
                  <a:gd name="T37" fmla="*/ 77 h 113"/>
                  <a:gd name="T38" fmla="*/ 30 w 146"/>
                  <a:gd name="T39" fmla="*/ 83 h 113"/>
                  <a:gd name="T40" fmla="*/ 29 w 146"/>
                  <a:gd name="T41" fmla="*/ 88 h 113"/>
                  <a:gd name="T42" fmla="*/ 29 w 146"/>
                  <a:gd name="T43" fmla="*/ 92 h 113"/>
                  <a:gd name="T44" fmla="*/ 32 w 146"/>
                  <a:gd name="T45" fmla="*/ 96 h 113"/>
                  <a:gd name="T46" fmla="*/ 36 w 146"/>
                  <a:gd name="T47" fmla="*/ 101 h 113"/>
                  <a:gd name="T48" fmla="*/ 40 w 146"/>
                  <a:gd name="T49" fmla="*/ 103 h 113"/>
                  <a:gd name="T50" fmla="*/ 44 w 146"/>
                  <a:gd name="T51" fmla="*/ 105 h 113"/>
                  <a:gd name="T52" fmla="*/ 48 w 146"/>
                  <a:gd name="T53" fmla="*/ 106 h 113"/>
                  <a:gd name="T54" fmla="*/ 52 w 146"/>
                  <a:gd name="T55" fmla="*/ 105 h 113"/>
                  <a:gd name="T56" fmla="*/ 57 w 146"/>
                  <a:gd name="T57" fmla="*/ 105 h 113"/>
                  <a:gd name="T58" fmla="*/ 62 w 146"/>
                  <a:gd name="T59" fmla="*/ 105 h 113"/>
                  <a:gd name="T60" fmla="*/ 68 w 146"/>
                  <a:gd name="T61" fmla="*/ 103 h 113"/>
                  <a:gd name="T62" fmla="*/ 74 w 146"/>
                  <a:gd name="T63" fmla="*/ 105 h 113"/>
                  <a:gd name="T64" fmla="*/ 81 w 146"/>
                  <a:gd name="T65" fmla="*/ 106 h 113"/>
                  <a:gd name="T66" fmla="*/ 88 w 146"/>
                  <a:gd name="T67" fmla="*/ 109 h 113"/>
                  <a:gd name="T68" fmla="*/ 95 w 146"/>
                  <a:gd name="T69" fmla="*/ 113 h 113"/>
                  <a:gd name="T70" fmla="*/ 146 w 146"/>
                  <a:gd name="T71" fmla="*/ 51 h 113"/>
                  <a:gd name="T72" fmla="*/ 136 w 146"/>
                  <a:gd name="T73" fmla="*/ 29 h 113"/>
                  <a:gd name="T74" fmla="*/ 110 w 146"/>
                  <a:gd name="T75" fmla="*/ 25 h 113"/>
                  <a:gd name="T76" fmla="*/ 68 w 146"/>
                  <a:gd name="T77" fmla="*/ 0 h 113"/>
                  <a:gd name="T78" fmla="*/ 65 w 146"/>
                  <a:gd name="T79" fmla="*/ 15 h 113"/>
                  <a:gd name="T80" fmla="*/ 48 w 146"/>
                  <a:gd name="T81" fmla="*/ 13 h 113"/>
                  <a:gd name="T82" fmla="*/ 26 w 146"/>
                  <a:gd name="T83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6" h="113">
                    <a:moveTo>
                      <a:pt x="26" y="0"/>
                    </a:moveTo>
                    <a:lnTo>
                      <a:pt x="17" y="25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2" y="40"/>
                    </a:lnTo>
                    <a:lnTo>
                      <a:pt x="3" y="44"/>
                    </a:lnTo>
                    <a:lnTo>
                      <a:pt x="4" y="48"/>
                    </a:lnTo>
                    <a:lnTo>
                      <a:pt x="7" y="52"/>
                    </a:lnTo>
                    <a:lnTo>
                      <a:pt x="10" y="57"/>
                    </a:lnTo>
                    <a:lnTo>
                      <a:pt x="13" y="61"/>
                    </a:lnTo>
                    <a:lnTo>
                      <a:pt x="15" y="63"/>
                    </a:lnTo>
                    <a:lnTo>
                      <a:pt x="18" y="65"/>
                    </a:lnTo>
                    <a:lnTo>
                      <a:pt x="22" y="65"/>
                    </a:lnTo>
                    <a:lnTo>
                      <a:pt x="28" y="66"/>
                    </a:lnTo>
                    <a:lnTo>
                      <a:pt x="32" y="66"/>
                    </a:lnTo>
                    <a:lnTo>
                      <a:pt x="36" y="68"/>
                    </a:lnTo>
                    <a:lnTo>
                      <a:pt x="37" y="70"/>
                    </a:lnTo>
                    <a:lnTo>
                      <a:pt x="37" y="73"/>
                    </a:lnTo>
                    <a:lnTo>
                      <a:pt x="35" y="77"/>
                    </a:lnTo>
                    <a:lnTo>
                      <a:pt x="30" y="83"/>
                    </a:lnTo>
                    <a:lnTo>
                      <a:pt x="29" y="88"/>
                    </a:lnTo>
                    <a:lnTo>
                      <a:pt x="29" y="92"/>
                    </a:lnTo>
                    <a:lnTo>
                      <a:pt x="32" y="96"/>
                    </a:lnTo>
                    <a:lnTo>
                      <a:pt x="36" y="101"/>
                    </a:lnTo>
                    <a:lnTo>
                      <a:pt x="40" y="103"/>
                    </a:lnTo>
                    <a:lnTo>
                      <a:pt x="44" y="105"/>
                    </a:lnTo>
                    <a:lnTo>
                      <a:pt x="48" y="106"/>
                    </a:lnTo>
                    <a:lnTo>
                      <a:pt x="52" y="105"/>
                    </a:lnTo>
                    <a:lnTo>
                      <a:pt x="57" y="105"/>
                    </a:lnTo>
                    <a:lnTo>
                      <a:pt x="62" y="105"/>
                    </a:lnTo>
                    <a:lnTo>
                      <a:pt x="68" y="103"/>
                    </a:lnTo>
                    <a:lnTo>
                      <a:pt x="74" y="105"/>
                    </a:lnTo>
                    <a:lnTo>
                      <a:pt x="81" y="106"/>
                    </a:lnTo>
                    <a:lnTo>
                      <a:pt x="88" y="109"/>
                    </a:lnTo>
                    <a:lnTo>
                      <a:pt x="95" y="113"/>
                    </a:lnTo>
                    <a:lnTo>
                      <a:pt x="146" y="51"/>
                    </a:lnTo>
                    <a:lnTo>
                      <a:pt x="136" y="29"/>
                    </a:lnTo>
                    <a:lnTo>
                      <a:pt x="110" y="25"/>
                    </a:lnTo>
                    <a:lnTo>
                      <a:pt x="68" y="0"/>
                    </a:lnTo>
                    <a:lnTo>
                      <a:pt x="65" y="15"/>
                    </a:lnTo>
                    <a:lnTo>
                      <a:pt x="48" y="13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0" name="Freeform 782"/>
              <p:cNvSpPr>
                <a:spLocks/>
              </p:cNvSpPr>
              <p:nvPr/>
            </p:nvSpPr>
            <p:spPr bwMode="auto">
              <a:xfrm>
                <a:off x="3069" y="961"/>
                <a:ext cx="146" cy="113"/>
              </a:xfrm>
              <a:custGeom>
                <a:avLst/>
                <a:gdLst>
                  <a:gd name="T0" fmla="*/ 26 w 146"/>
                  <a:gd name="T1" fmla="*/ 0 h 113"/>
                  <a:gd name="T2" fmla="*/ 17 w 146"/>
                  <a:gd name="T3" fmla="*/ 25 h 113"/>
                  <a:gd name="T4" fmla="*/ 0 w 146"/>
                  <a:gd name="T5" fmla="*/ 37 h 113"/>
                  <a:gd name="T6" fmla="*/ 2 w 146"/>
                  <a:gd name="T7" fmla="*/ 40 h 113"/>
                  <a:gd name="T8" fmla="*/ 3 w 146"/>
                  <a:gd name="T9" fmla="*/ 44 h 113"/>
                  <a:gd name="T10" fmla="*/ 4 w 146"/>
                  <a:gd name="T11" fmla="*/ 48 h 113"/>
                  <a:gd name="T12" fmla="*/ 7 w 146"/>
                  <a:gd name="T13" fmla="*/ 52 h 113"/>
                  <a:gd name="T14" fmla="*/ 10 w 146"/>
                  <a:gd name="T15" fmla="*/ 57 h 113"/>
                  <a:gd name="T16" fmla="*/ 13 w 146"/>
                  <a:gd name="T17" fmla="*/ 61 h 113"/>
                  <a:gd name="T18" fmla="*/ 15 w 146"/>
                  <a:gd name="T19" fmla="*/ 63 h 113"/>
                  <a:gd name="T20" fmla="*/ 18 w 146"/>
                  <a:gd name="T21" fmla="*/ 65 h 113"/>
                  <a:gd name="T22" fmla="*/ 22 w 146"/>
                  <a:gd name="T23" fmla="*/ 65 h 113"/>
                  <a:gd name="T24" fmla="*/ 28 w 146"/>
                  <a:gd name="T25" fmla="*/ 66 h 113"/>
                  <a:gd name="T26" fmla="*/ 32 w 146"/>
                  <a:gd name="T27" fmla="*/ 66 h 113"/>
                  <a:gd name="T28" fmla="*/ 36 w 146"/>
                  <a:gd name="T29" fmla="*/ 68 h 113"/>
                  <a:gd name="T30" fmla="*/ 37 w 146"/>
                  <a:gd name="T31" fmla="*/ 70 h 113"/>
                  <a:gd name="T32" fmla="*/ 37 w 146"/>
                  <a:gd name="T33" fmla="*/ 73 h 113"/>
                  <a:gd name="T34" fmla="*/ 35 w 146"/>
                  <a:gd name="T35" fmla="*/ 77 h 113"/>
                  <a:gd name="T36" fmla="*/ 30 w 146"/>
                  <a:gd name="T37" fmla="*/ 83 h 113"/>
                  <a:gd name="T38" fmla="*/ 29 w 146"/>
                  <a:gd name="T39" fmla="*/ 88 h 113"/>
                  <a:gd name="T40" fmla="*/ 29 w 146"/>
                  <a:gd name="T41" fmla="*/ 92 h 113"/>
                  <a:gd name="T42" fmla="*/ 32 w 146"/>
                  <a:gd name="T43" fmla="*/ 96 h 113"/>
                  <a:gd name="T44" fmla="*/ 36 w 146"/>
                  <a:gd name="T45" fmla="*/ 101 h 113"/>
                  <a:gd name="T46" fmla="*/ 40 w 146"/>
                  <a:gd name="T47" fmla="*/ 103 h 113"/>
                  <a:gd name="T48" fmla="*/ 44 w 146"/>
                  <a:gd name="T49" fmla="*/ 105 h 113"/>
                  <a:gd name="T50" fmla="*/ 48 w 146"/>
                  <a:gd name="T51" fmla="*/ 106 h 113"/>
                  <a:gd name="T52" fmla="*/ 52 w 146"/>
                  <a:gd name="T53" fmla="*/ 105 h 113"/>
                  <a:gd name="T54" fmla="*/ 57 w 146"/>
                  <a:gd name="T55" fmla="*/ 105 h 113"/>
                  <a:gd name="T56" fmla="*/ 62 w 146"/>
                  <a:gd name="T57" fmla="*/ 105 h 113"/>
                  <a:gd name="T58" fmla="*/ 68 w 146"/>
                  <a:gd name="T59" fmla="*/ 103 h 113"/>
                  <a:gd name="T60" fmla="*/ 74 w 146"/>
                  <a:gd name="T61" fmla="*/ 105 h 113"/>
                  <a:gd name="T62" fmla="*/ 81 w 146"/>
                  <a:gd name="T63" fmla="*/ 106 h 113"/>
                  <a:gd name="T64" fmla="*/ 88 w 146"/>
                  <a:gd name="T65" fmla="*/ 109 h 113"/>
                  <a:gd name="T66" fmla="*/ 95 w 146"/>
                  <a:gd name="T67" fmla="*/ 113 h 113"/>
                  <a:gd name="T68" fmla="*/ 146 w 146"/>
                  <a:gd name="T69" fmla="*/ 51 h 113"/>
                  <a:gd name="T70" fmla="*/ 136 w 146"/>
                  <a:gd name="T71" fmla="*/ 29 h 113"/>
                  <a:gd name="T72" fmla="*/ 110 w 146"/>
                  <a:gd name="T73" fmla="*/ 25 h 113"/>
                  <a:gd name="T74" fmla="*/ 68 w 146"/>
                  <a:gd name="T75" fmla="*/ 0 h 113"/>
                  <a:gd name="T76" fmla="*/ 65 w 146"/>
                  <a:gd name="T77" fmla="*/ 15 h 113"/>
                  <a:gd name="T78" fmla="*/ 48 w 146"/>
                  <a:gd name="T79" fmla="*/ 13 h 113"/>
                  <a:gd name="T80" fmla="*/ 26 w 146"/>
                  <a:gd name="T8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6" h="113">
                    <a:moveTo>
                      <a:pt x="26" y="0"/>
                    </a:moveTo>
                    <a:lnTo>
                      <a:pt x="17" y="25"/>
                    </a:lnTo>
                    <a:lnTo>
                      <a:pt x="0" y="37"/>
                    </a:lnTo>
                    <a:lnTo>
                      <a:pt x="2" y="40"/>
                    </a:lnTo>
                    <a:lnTo>
                      <a:pt x="3" y="44"/>
                    </a:lnTo>
                    <a:lnTo>
                      <a:pt x="4" y="48"/>
                    </a:lnTo>
                    <a:lnTo>
                      <a:pt x="7" y="52"/>
                    </a:lnTo>
                    <a:lnTo>
                      <a:pt x="10" y="57"/>
                    </a:lnTo>
                    <a:lnTo>
                      <a:pt x="13" y="61"/>
                    </a:lnTo>
                    <a:lnTo>
                      <a:pt x="15" y="63"/>
                    </a:lnTo>
                    <a:lnTo>
                      <a:pt x="18" y="65"/>
                    </a:lnTo>
                    <a:lnTo>
                      <a:pt x="22" y="65"/>
                    </a:lnTo>
                    <a:lnTo>
                      <a:pt x="28" y="66"/>
                    </a:lnTo>
                    <a:lnTo>
                      <a:pt x="32" y="66"/>
                    </a:lnTo>
                    <a:lnTo>
                      <a:pt x="36" y="68"/>
                    </a:lnTo>
                    <a:lnTo>
                      <a:pt x="37" y="70"/>
                    </a:lnTo>
                    <a:lnTo>
                      <a:pt x="37" y="73"/>
                    </a:lnTo>
                    <a:lnTo>
                      <a:pt x="35" y="77"/>
                    </a:lnTo>
                    <a:lnTo>
                      <a:pt x="30" y="83"/>
                    </a:lnTo>
                    <a:lnTo>
                      <a:pt x="29" y="88"/>
                    </a:lnTo>
                    <a:lnTo>
                      <a:pt x="29" y="92"/>
                    </a:lnTo>
                    <a:lnTo>
                      <a:pt x="32" y="96"/>
                    </a:lnTo>
                    <a:lnTo>
                      <a:pt x="36" y="101"/>
                    </a:lnTo>
                    <a:lnTo>
                      <a:pt x="40" y="103"/>
                    </a:lnTo>
                    <a:lnTo>
                      <a:pt x="44" y="105"/>
                    </a:lnTo>
                    <a:lnTo>
                      <a:pt x="48" y="106"/>
                    </a:lnTo>
                    <a:lnTo>
                      <a:pt x="52" y="105"/>
                    </a:lnTo>
                    <a:lnTo>
                      <a:pt x="57" y="105"/>
                    </a:lnTo>
                    <a:lnTo>
                      <a:pt x="62" y="105"/>
                    </a:lnTo>
                    <a:lnTo>
                      <a:pt x="68" y="103"/>
                    </a:lnTo>
                    <a:lnTo>
                      <a:pt x="74" y="105"/>
                    </a:lnTo>
                    <a:lnTo>
                      <a:pt x="81" y="106"/>
                    </a:lnTo>
                    <a:lnTo>
                      <a:pt x="88" y="109"/>
                    </a:lnTo>
                    <a:lnTo>
                      <a:pt x="95" y="113"/>
                    </a:lnTo>
                    <a:lnTo>
                      <a:pt x="146" y="51"/>
                    </a:lnTo>
                    <a:lnTo>
                      <a:pt x="136" y="29"/>
                    </a:lnTo>
                    <a:lnTo>
                      <a:pt x="110" y="25"/>
                    </a:lnTo>
                    <a:lnTo>
                      <a:pt x="68" y="0"/>
                    </a:lnTo>
                    <a:lnTo>
                      <a:pt x="65" y="15"/>
                    </a:lnTo>
                    <a:lnTo>
                      <a:pt x="48" y="13"/>
                    </a:lnTo>
                    <a:lnTo>
                      <a:pt x="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1" name="Freeform 783"/>
              <p:cNvSpPr>
                <a:spLocks/>
              </p:cNvSpPr>
              <p:nvPr/>
            </p:nvSpPr>
            <p:spPr bwMode="auto">
              <a:xfrm>
                <a:off x="3104" y="1155"/>
                <a:ext cx="55" cy="55"/>
              </a:xfrm>
              <a:custGeom>
                <a:avLst/>
                <a:gdLst>
                  <a:gd name="T0" fmla="*/ 33 w 55"/>
                  <a:gd name="T1" fmla="*/ 10 h 55"/>
                  <a:gd name="T2" fmla="*/ 31 w 55"/>
                  <a:gd name="T3" fmla="*/ 8 h 55"/>
                  <a:gd name="T4" fmla="*/ 30 w 55"/>
                  <a:gd name="T5" fmla="*/ 7 h 55"/>
                  <a:gd name="T6" fmla="*/ 27 w 55"/>
                  <a:gd name="T7" fmla="*/ 6 h 55"/>
                  <a:gd name="T8" fmla="*/ 24 w 55"/>
                  <a:gd name="T9" fmla="*/ 3 h 55"/>
                  <a:gd name="T10" fmla="*/ 20 w 55"/>
                  <a:gd name="T11" fmla="*/ 1 h 55"/>
                  <a:gd name="T12" fmla="*/ 17 w 55"/>
                  <a:gd name="T13" fmla="*/ 0 h 55"/>
                  <a:gd name="T14" fmla="*/ 13 w 55"/>
                  <a:gd name="T15" fmla="*/ 0 h 55"/>
                  <a:gd name="T16" fmla="*/ 11 w 55"/>
                  <a:gd name="T17" fmla="*/ 1 h 55"/>
                  <a:gd name="T18" fmla="*/ 8 w 55"/>
                  <a:gd name="T19" fmla="*/ 6 h 55"/>
                  <a:gd name="T20" fmla="*/ 5 w 55"/>
                  <a:gd name="T21" fmla="*/ 8 h 55"/>
                  <a:gd name="T22" fmla="*/ 2 w 55"/>
                  <a:gd name="T23" fmla="*/ 14 h 55"/>
                  <a:gd name="T24" fmla="*/ 1 w 55"/>
                  <a:gd name="T25" fmla="*/ 18 h 55"/>
                  <a:gd name="T26" fmla="*/ 0 w 55"/>
                  <a:gd name="T27" fmla="*/ 22 h 55"/>
                  <a:gd name="T28" fmla="*/ 0 w 55"/>
                  <a:gd name="T29" fmla="*/ 26 h 55"/>
                  <a:gd name="T30" fmla="*/ 1 w 55"/>
                  <a:gd name="T31" fmla="*/ 30 h 55"/>
                  <a:gd name="T32" fmla="*/ 4 w 55"/>
                  <a:gd name="T33" fmla="*/ 33 h 55"/>
                  <a:gd name="T34" fmla="*/ 8 w 55"/>
                  <a:gd name="T35" fmla="*/ 36 h 55"/>
                  <a:gd name="T36" fmla="*/ 12 w 55"/>
                  <a:gd name="T37" fmla="*/ 40 h 55"/>
                  <a:gd name="T38" fmla="*/ 16 w 55"/>
                  <a:gd name="T39" fmla="*/ 43 h 55"/>
                  <a:gd name="T40" fmla="*/ 22 w 55"/>
                  <a:gd name="T41" fmla="*/ 47 h 55"/>
                  <a:gd name="T42" fmla="*/ 26 w 55"/>
                  <a:gd name="T43" fmla="*/ 49 h 55"/>
                  <a:gd name="T44" fmla="*/ 28 w 55"/>
                  <a:gd name="T45" fmla="*/ 52 h 55"/>
                  <a:gd name="T46" fmla="*/ 31 w 55"/>
                  <a:gd name="T47" fmla="*/ 54 h 55"/>
                  <a:gd name="T48" fmla="*/ 33 w 55"/>
                  <a:gd name="T49" fmla="*/ 55 h 55"/>
                  <a:gd name="T50" fmla="*/ 33 w 55"/>
                  <a:gd name="T51" fmla="*/ 54 h 55"/>
                  <a:gd name="T52" fmla="*/ 37 w 55"/>
                  <a:gd name="T53" fmla="*/ 52 h 55"/>
                  <a:gd name="T54" fmla="*/ 41 w 55"/>
                  <a:gd name="T55" fmla="*/ 49 h 55"/>
                  <a:gd name="T56" fmla="*/ 45 w 55"/>
                  <a:gd name="T57" fmla="*/ 47 h 55"/>
                  <a:gd name="T58" fmla="*/ 49 w 55"/>
                  <a:gd name="T59" fmla="*/ 43 h 55"/>
                  <a:gd name="T60" fmla="*/ 53 w 55"/>
                  <a:gd name="T61" fmla="*/ 38 h 55"/>
                  <a:gd name="T62" fmla="*/ 55 w 55"/>
                  <a:gd name="T63" fmla="*/ 34 h 55"/>
                  <a:gd name="T64" fmla="*/ 53 w 55"/>
                  <a:gd name="T65" fmla="*/ 30 h 55"/>
                  <a:gd name="T66" fmla="*/ 50 w 55"/>
                  <a:gd name="T67" fmla="*/ 27 h 55"/>
                  <a:gd name="T68" fmla="*/ 46 w 55"/>
                  <a:gd name="T69" fmla="*/ 23 h 55"/>
                  <a:gd name="T70" fmla="*/ 44 w 55"/>
                  <a:gd name="T71" fmla="*/ 19 h 55"/>
                  <a:gd name="T72" fmla="*/ 39 w 55"/>
                  <a:gd name="T73" fmla="*/ 17 h 55"/>
                  <a:gd name="T74" fmla="*/ 37 w 55"/>
                  <a:gd name="T75" fmla="*/ 14 h 55"/>
                  <a:gd name="T76" fmla="*/ 34 w 55"/>
                  <a:gd name="T77" fmla="*/ 11 h 55"/>
                  <a:gd name="T78" fmla="*/ 33 w 55"/>
                  <a:gd name="T79" fmla="*/ 10 h 55"/>
                  <a:gd name="T80" fmla="*/ 33 w 55"/>
                  <a:gd name="T81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5" h="55">
                    <a:moveTo>
                      <a:pt x="33" y="10"/>
                    </a:moveTo>
                    <a:lnTo>
                      <a:pt x="31" y="8"/>
                    </a:lnTo>
                    <a:lnTo>
                      <a:pt x="30" y="7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2" y="14"/>
                    </a:lnTo>
                    <a:lnTo>
                      <a:pt x="1" y="18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1" y="30"/>
                    </a:lnTo>
                    <a:lnTo>
                      <a:pt x="4" y="33"/>
                    </a:lnTo>
                    <a:lnTo>
                      <a:pt x="8" y="36"/>
                    </a:lnTo>
                    <a:lnTo>
                      <a:pt x="12" y="40"/>
                    </a:lnTo>
                    <a:lnTo>
                      <a:pt x="16" y="43"/>
                    </a:lnTo>
                    <a:lnTo>
                      <a:pt x="22" y="47"/>
                    </a:lnTo>
                    <a:lnTo>
                      <a:pt x="26" y="49"/>
                    </a:lnTo>
                    <a:lnTo>
                      <a:pt x="28" y="52"/>
                    </a:lnTo>
                    <a:lnTo>
                      <a:pt x="31" y="54"/>
                    </a:lnTo>
                    <a:lnTo>
                      <a:pt x="33" y="55"/>
                    </a:lnTo>
                    <a:lnTo>
                      <a:pt x="33" y="54"/>
                    </a:lnTo>
                    <a:lnTo>
                      <a:pt x="37" y="52"/>
                    </a:lnTo>
                    <a:lnTo>
                      <a:pt x="41" y="49"/>
                    </a:lnTo>
                    <a:lnTo>
                      <a:pt x="45" y="47"/>
                    </a:lnTo>
                    <a:lnTo>
                      <a:pt x="49" y="43"/>
                    </a:lnTo>
                    <a:lnTo>
                      <a:pt x="53" y="38"/>
                    </a:lnTo>
                    <a:lnTo>
                      <a:pt x="55" y="34"/>
                    </a:lnTo>
                    <a:lnTo>
                      <a:pt x="53" y="30"/>
                    </a:lnTo>
                    <a:lnTo>
                      <a:pt x="50" y="27"/>
                    </a:lnTo>
                    <a:lnTo>
                      <a:pt x="46" y="23"/>
                    </a:lnTo>
                    <a:lnTo>
                      <a:pt x="44" y="19"/>
                    </a:lnTo>
                    <a:lnTo>
                      <a:pt x="39" y="17"/>
                    </a:lnTo>
                    <a:lnTo>
                      <a:pt x="37" y="14"/>
                    </a:lnTo>
                    <a:lnTo>
                      <a:pt x="34" y="11"/>
                    </a:lnTo>
                    <a:lnTo>
                      <a:pt x="33" y="10"/>
                    </a:lnTo>
                    <a:lnTo>
                      <a:pt x="33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2" name="Freeform 784"/>
              <p:cNvSpPr>
                <a:spLocks/>
              </p:cNvSpPr>
              <p:nvPr/>
            </p:nvSpPr>
            <p:spPr bwMode="auto">
              <a:xfrm>
                <a:off x="3104" y="1155"/>
                <a:ext cx="55" cy="55"/>
              </a:xfrm>
              <a:custGeom>
                <a:avLst/>
                <a:gdLst>
                  <a:gd name="T0" fmla="*/ 33 w 55"/>
                  <a:gd name="T1" fmla="*/ 10 h 55"/>
                  <a:gd name="T2" fmla="*/ 31 w 55"/>
                  <a:gd name="T3" fmla="*/ 8 h 55"/>
                  <a:gd name="T4" fmla="*/ 30 w 55"/>
                  <a:gd name="T5" fmla="*/ 7 h 55"/>
                  <a:gd name="T6" fmla="*/ 27 w 55"/>
                  <a:gd name="T7" fmla="*/ 6 h 55"/>
                  <a:gd name="T8" fmla="*/ 24 w 55"/>
                  <a:gd name="T9" fmla="*/ 3 h 55"/>
                  <a:gd name="T10" fmla="*/ 20 w 55"/>
                  <a:gd name="T11" fmla="*/ 1 h 55"/>
                  <a:gd name="T12" fmla="*/ 17 w 55"/>
                  <a:gd name="T13" fmla="*/ 0 h 55"/>
                  <a:gd name="T14" fmla="*/ 13 w 55"/>
                  <a:gd name="T15" fmla="*/ 0 h 55"/>
                  <a:gd name="T16" fmla="*/ 11 w 55"/>
                  <a:gd name="T17" fmla="*/ 1 h 55"/>
                  <a:gd name="T18" fmla="*/ 8 w 55"/>
                  <a:gd name="T19" fmla="*/ 6 h 55"/>
                  <a:gd name="T20" fmla="*/ 5 w 55"/>
                  <a:gd name="T21" fmla="*/ 8 h 55"/>
                  <a:gd name="T22" fmla="*/ 2 w 55"/>
                  <a:gd name="T23" fmla="*/ 14 h 55"/>
                  <a:gd name="T24" fmla="*/ 1 w 55"/>
                  <a:gd name="T25" fmla="*/ 18 h 55"/>
                  <a:gd name="T26" fmla="*/ 0 w 55"/>
                  <a:gd name="T27" fmla="*/ 22 h 55"/>
                  <a:gd name="T28" fmla="*/ 0 w 55"/>
                  <a:gd name="T29" fmla="*/ 26 h 55"/>
                  <a:gd name="T30" fmla="*/ 1 w 55"/>
                  <a:gd name="T31" fmla="*/ 30 h 55"/>
                  <a:gd name="T32" fmla="*/ 4 w 55"/>
                  <a:gd name="T33" fmla="*/ 33 h 55"/>
                  <a:gd name="T34" fmla="*/ 8 w 55"/>
                  <a:gd name="T35" fmla="*/ 36 h 55"/>
                  <a:gd name="T36" fmla="*/ 12 w 55"/>
                  <a:gd name="T37" fmla="*/ 40 h 55"/>
                  <a:gd name="T38" fmla="*/ 16 w 55"/>
                  <a:gd name="T39" fmla="*/ 43 h 55"/>
                  <a:gd name="T40" fmla="*/ 22 w 55"/>
                  <a:gd name="T41" fmla="*/ 47 h 55"/>
                  <a:gd name="T42" fmla="*/ 26 w 55"/>
                  <a:gd name="T43" fmla="*/ 49 h 55"/>
                  <a:gd name="T44" fmla="*/ 28 w 55"/>
                  <a:gd name="T45" fmla="*/ 52 h 55"/>
                  <a:gd name="T46" fmla="*/ 31 w 55"/>
                  <a:gd name="T47" fmla="*/ 54 h 55"/>
                  <a:gd name="T48" fmla="*/ 33 w 55"/>
                  <a:gd name="T49" fmla="*/ 55 h 55"/>
                  <a:gd name="T50" fmla="*/ 33 w 55"/>
                  <a:gd name="T51" fmla="*/ 54 h 55"/>
                  <a:gd name="T52" fmla="*/ 37 w 55"/>
                  <a:gd name="T53" fmla="*/ 52 h 55"/>
                  <a:gd name="T54" fmla="*/ 41 w 55"/>
                  <a:gd name="T55" fmla="*/ 49 h 55"/>
                  <a:gd name="T56" fmla="*/ 45 w 55"/>
                  <a:gd name="T57" fmla="*/ 47 h 55"/>
                  <a:gd name="T58" fmla="*/ 49 w 55"/>
                  <a:gd name="T59" fmla="*/ 43 h 55"/>
                  <a:gd name="T60" fmla="*/ 53 w 55"/>
                  <a:gd name="T61" fmla="*/ 38 h 55"/>
                  <a:gd name="T62" fmla="*/ 55 w 55"/>
                  <a:gd name="T63" fmla="*/ 34 h 55"/>
                  <a:gd name="T64" fmla="*/ 53 w 55"/>
                  <a:gd name="T65" fmla="*/ 30 h 55"/>
                  <a:gd name="T66" fmla="*/ 50 w 55"/>
                  <a:gd name="T67" fmla="*/ 27 h 55"/>
                  <a:gd name="T68" fmla="*/ 46 w 55"/>
                  <a:gd name="T69" fmla="*/ 23 h 55"/>
                  <a:gd name="T70" fmla="*/ 44 w 55"/>
                  <a:gd name="T71" fmla="*/ 19 h 55"/>
                  <a:gd name="T72" fmla="*/ 39 w 55"/>
                  <a:gd name="T73" fmla="*/ 17 h 55"/>
                  <a:gd name="T74" fmla="*/ 37 w 55"/>
                  <a:gd name="T75" fmla="*/ 14 h 55"/>
                  <a:gd name="T76" fmla="*/ 34 w 55"/>
                  <a:gd name="T77" fmla="*/ 11 h 55"/>
                  <a:gd name="T78" fmla="*/ 33 w 55"/>
                  <a:gd name="T79" fmla="*/ 1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5" h="55">
                    <a:moveTo>
                      <a:pt x="33" y="10"/>
                    </a:moveTo>
                    <a:lnTo>
                      <a:pt x="31" y="8"/>
                    </a:lnTo>
                    <a:lnTo>
                      <a:pt x="30" y="7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8" y="6"/>
                    </a:lnTo>
                    <a:lnTo>
                      <a:pt x="5" y="8"/>
                    </a:lnTo>
                    <a:lnTo>
                      <a:pt x="2" y="14"/>
                    </a:lnTo>
                    <a:lnTo>
                      <a:pt x="1" y="18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1" y="30"/>
                    </a:lnTo>
                    <a:lnTo>
                      <a:pt x="4" y="33"/>
                    </a:lnTo>
                    <a:lnTo>
                      <a:pt x="8" y="36"/>
                    </a:lnTo>
                    <a:lnTo>
                      <a:pt x="12" y="40"/>
                    </a:lnTo>
                    <a:lnTo>
                      <a:pt x="16" y="43"/>
                    </a:lnTo>
                    <a:lnTo>
                      <a:pt x="22" y="47"/>
                    </a:lnTo>
                    <a:lnTo>
                      <a:pt x="26" y="49"/>
                    </a:lnTo>
                    <a:lnTo>
                      <a:pt x="28" y="52"/>
                    </a:lnTo>
                    <a:lnTo>
                      <a:pt x="31" y="54"/>
                    </a:lnTo>
                    <a:lnTo>
                      <a:pt x="33" y="55"/>
                    </a:lnTo>
                    <a:lnTo>
                      <a:pt x="33" y="54"/>
                    </a:lnTo>
                    <a:lnTo>
                      <a:pt x="37" y="52"/>
                    </a:lnTo>
                    <a:lnTo>
                      <a:pt x="41" y="49"/>
                    </a:lnTo>
                    <a:lnTo>
                      <a:pt x="45" y="47"/>
                    </a:lnTo>
                    <a:lnTo>
                      <a:pt x="49" y="43"/>
                    </a:lnTo>
                    <a:lnTo>
                      <a:pt x="53" y="38"/>
                    </a:lnTo>
                    <a:lnTo>
                      <a:pt x="55" y="34"/>
                    </a:lnTo>
                    <a:lnTo>
                      <a:pt x="53" y="30"/>
                    </a:lnTo>
                    <a:lnTo>
                      <a:pt x="50" y="27"/>
                    </a:lnTo>
                    <a:lnTo>
                      <a:pt x="46" y="23"/>
                    </a:lnTo>
                    <a:lnTo>
                      <a:pt x="44" y="19"/>
                    </a:lnTo>
                    <a:lnTo>
                      <a:pt x="39" y="17"/>
                    </a:lnTo>
                    <a:lnTo>
                      <a:pt x="37" y="14"/>
                    </a:lnTo>
                    <a:lnTo>
                      <a:pt x="34" y="11"/>
                    </a:lnTo>
                    <a:lnTo>
                      <a:pt x="33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3" name="Freeform 785"/>
              <p:cNvSpPr>
                <a:spLocks/>
              </p:cNvSpPr>
              <p:nvPr/>
            </p:nvSpPr>
            <p:spPr bwMode="auto">
              <a:xfrm>
                <a:off x="2944" y="1095"/>
                <a:ext cx="45" cy="57"/>
              </a:xfrm>
              <a:custGeom>
                <a:avLst/>
                <a:gdLst>
                  <a:gd name="T0" fmla="*/ 0 w 45"/>
                  <a:gd name="T1" fmla="*/ 0 h 57"/>
                  <a:gd name="T2" fmla="*/ 0 w 45"/>
                  <a:gd name="T3" fmla="*/ 1 h 57"/>
                  <a:gd name="T4" fmla="*/ 0 w 45"/>
                  <a:gd name="T5" fmla="*/ 4 h 57"/>
                  <a:gd name="T6" fmla="*/ 1 w 45"/>
                  <a:gd name="T7" fmla="*/ 8 h 57"/>
                  <a:gd name="T8" fmla="*/ 3 w 45"/>
                  <a:gd name="T9" fmla="*/ 12 h 57"/>
                  <a:gd name="T10" fmla="*/ 5 w 45"/>
                  <a:gd name="T11" fmla="*/ 17 h 57"/>
                  <a:gd name="T12" fmla="*/ 7 w 45"/>
                  <a:gd name="T13" fmla="*/ 23 h 57"/>
                  <a:gd name="T14" fmla="*/ 11 w 45"/>
                  <a:gd name="T15" fmla="*/ 28 h 57"/>
                  <a:gd name="T16" fmla="*/ 14 w 45"/>
                  <a:gd name="T17" fmla="*/ 33 h 57"/>
                  <a:gd name="T18" fmla="*/ 18 w 45"/>
                  <a:gd name="T19" fmla="*/ 38 h 57"/>
                  <a:gd name="T20" fmla="*/ 21 w 45"/>
                  <a:gd name="T21" fmla="*/ 42 h 57"/>
                  <a:gd name="T22" fmla="*/ 25 w 45"/>
                  <a:gd name="T23" fmla="*/ 46 h 57"/>
                  <a:gd name="T24" fmla="*/ 27 w 45"/>
                  <a:gd name="T25" fmla="*/ 49 h 57"/>
                  <a:gd name="T26" fmla="*/ 32 w 45"/>
                  <a:gd name="T27" fmla="*/ 53 h 57"/>
                  <a:gd name="T28" fmla="*/ 34 w 45"/>
                  <a:gd name="T29" fmla="*/ 55 h 57"/>
                  <a:gd name="T30" fmla="*/ 38 w 45"/>
                  <a:gd name="T31" fmla="*/ 56 h 57"/>
                  <a:gd name="T32" fmla="*/ 41 w 45"/>
                  <a:gd name="T33" fmla="*/ 57 h 57"/>
                  <a:gd name="T34" fmla="*/ 44 w 45"/>
                  <a:gd name="T35" fmla="*/ 56 h 57"/>
                  <a:gd name="T36" fmla="*/ 45 w 45"/>
                  <a:gd name="T37" fmla="*/ 53 h 57"/>
                  <a:gd name="T38" fmla="*/ 45 w 45"/>
                  <a:gd name="T39" fmla="*/ 50 h 57"/>
                  <a:gd name="T40" fmla="*/ 43 w 45"/>
                  <a:gd name="T41" fmla="*/ 46 h 57"/>
                  <a:gd name="T42" fmla="*/ 41 w 45"/>
                  <a:gd name="T43" fmla="*/ 41 h 57"/>
                  <a:gd name="T44" fmla="*/ 37 w 45"/>
                  <a:gd name="T45" fmla="*/ 37 h 57"/>
                  <a:gd name="T46" fmla="*/ 34 w 45"/>
                  <a:gd name="T47" fmla="*/ 34 h 57"/>
                  <a:gd name="T48" fmla="*/ 30 w 45"/>
                  <a:gd name="T49" fmla="*/ 31 h 57"/>
                  <a:gd name="T50" fmla="*/ 26 w 45"/>
                  <a:gd name="T51" fmla="*/ 28 h 57"/>
                  <a:gd name="T52" fmla="*/ 22 w 45"/>
                  <a:gd name="T53" fmla="*/ 24 h 57"/>
                  <a:gd name="T54" fmla="*/ 16 w 45"/>
                  <a:gd name="T55" fmla="*/ 19 h 57"/>
                  <a:gd name="T56" fmla="*/ 11 w 45"/>
                  <a:gd name="T57" fmla="*/ 13 h 57"/>
                  <a:gd name="T58" fmla="*/ 7 w 45"/>
                  <a:gd name="T59" fmla="*/ 9 h 57"/>
                  <a:gd name="T60" fmla="*/ 3 w 45"/>
                  <a:gd name="T61" fmla="*/ 5 h 57"/>
                  <a:gd name="T62" fmla="*/ 0 w 45"/>
                  <a:gd name="T63" fmla="*/ 1 h 57"/>
                  <a:gd name="T64" fmla="*/ 0 w 45"/>
                  <a:gd name="T6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57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3" y="12"/>
                    </a:lnTo>
                    <a:lnTo>
                      <a:pt x="5" y="17"/>
                    </a:lnTo>
                    <a:lnTo>
                      <a:pt x="7" y="23"/>
                    </a:lnTo>
                    <a:lnTo>
                      <a:pt x="11" y="28"/>
                    </a:lnTo>
                    <a:lnTo>
                      <a:pt x="14" y="33"/>
                    </a:lnTo>
                    <a:lnTo>
                      <a:pt x="18" y="38"/>
                    </a:lnTo>
                    <a:lnTo>
                      <a:pt x="21" y="42"/>
                    </a:lnTo>
                    <a:lnTo>
                      <a:pt x="25" y="46"/>
                    </a:lnTo>
                    <a:lnTo>
                      <a:pt x="27" y="49"/>
                    </a:lnTo>
                    <a:lnTo>
                      <a:pt x="32" y="53"/>
                    </a:lnTo>
                    <a:lnTo>
                      <a:pt x="34" y="55"/>
                    </a:lnTo>
                    <a:lnTo>
                      <a:pt x="38" y="56"/>
                    </a:lnTo>
                    <a:lnTo>
                      <a:pt x="41" y="57"/>
                    </a:lnTo>
                    <a:lnTo>
                      <a:pt x="44" y="56"/>
                    </a:lnTo>
                    <a:lnTo>
                      <a:pt x="45" y="53"/>
                    </a:lnTo>
                    <a:lnTo>
                      <a:pt x="45" y="50"/>
                    </a:lnTo>
                    <a:lnTo>
                      <a:pt x="43" y="46"/>
                    </a:lnTo>
                    <a:lnTo>
                      <a:pt x="41" y="41"/>
                    </a:lnTo>
                    <a:lnTo>
                      <a:pt x="37" y="37"/>
                    </a:lnTo>
                    <a:lnTo>
                      <a:pt x="34" y="34"/>
                    </a:lnTo>
                    <a:lnTo>
                      <a:pt x="30" y="31"/>
                    </a:lnTo>
                    <a:lnTo>
                      <a:pt x="26" y="28"/>
                    </a:lnTo>
                    <a:lnTo>
                      <a:pt x="22" y="24"/>
                    </a:lnTo>
                    <a:lnTo>
                      <a:pt x="16" y="19"/>
                    </a:lnTo>
                    <a:lnTo>
                      <a:pt x="11" y="13"/>
                    </a:lnTo>
                    <a:lnTo>
                      <a:pt x="7" y="9"/>
                    </a:lnTo>
                    <a:lnTo>
                      <a:pt x="3" y="5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4" name="Freeform 786"/>
              <p:cNvSpPr>
                <a:spLocks/>
              </p:cNvSpPr>
              <p:nvPr/>
            </p:nvSpPr>
            <p:spPr bwMode="auto">
              <a:xfrm>
                <a:off x="2944" y="1095"/>
                <a:ext cx="45" cy="57"/>
              </a:xfrm>
              <a:custGeom>
                <a:avLst/>
                <a:gdLst>
                  <a:gd name="T0" fmla="*/ 0 w 45"/>
                  <a:gd name="T1" fmla="*/ 0 h 57"/>
                  <a:gd name="T2" fmla="*/ 0 w 45"/>
                  <a:gd name="T3" fmla="*/ 1 h 57"/>
                  <a:gd name="T4" fmla="*/ 0 w 45"/>
                  <a:gd name="T5" fmla="*/ 4 h 57"/>
                  <a:gd name="T6" fmla="*/ 1 w 45"/>
                  <a:gd name="T7" fmla="*/ 8 h 57"/>
                  <a:gd name="T8" fmla="*/ 3 w 45"/>
                  <a:gd name="T9" fmla="*/ 12 h 57"/>
                  <a:gd name="T10" fmla="*/ 5 w 45"/>
                  <a:gd name="T11" fmla="*/ 17 h 57"/>
                  <a:gd name="T12" fmla="*/ 7 w 45"/>
                  <a:gd name="T13" fmla="*/ 23 h 57"/>
                  <a:gd name="T14" fmla="*/ 11 w 45"/>
                  <a:gd name="T15" fmla="*/ 28 h 57"/>
                  <a:gd name="T16" fmla="*/ 14 w 45"/>
                  <a:gd name="T17" fmla="*/ 33 h 57"/>
                  <a:gd name="T18" fmla="*/ 18 w 45"/>
                  <a:gd name="T19" fmla="*/ 38 h 57"/>
                  <a:gd name="T20" fmla="*/ 21 w 45"/>
                  <a:gd name="T21" fmla="*/ 42 h 57"/>
                  <a:gd name="T22" fmla="*/ 25 w 45"/>
                  <a:gd name="T23" fmla="*/ 46 h 57"/>
                  <a:gd name="T24" fmla="*/ 27 w 45"/>
                  <a:gd name="T25" fmla="*/ 49 h 57"/>
                  <a:gd name="T26" fmla="*/ 32 w 45"/>
                  <a:gd name="T27" fmla="*/ 53 h 57"/>
                  <a:gd name="T28" fmla="*/ 34 w 45"/>
                  <a:gd name="T29" fmla="*/ 55 h 57"/>
                  <a:gd name="T30" fmla="*/ 38 w 45"/>
                  <a:gd name="T31" fmla="*/ 56 h 57"/>
                  <a:gd name="T32" fmla="*/ 41 w 45"/>
                  <a:gd name="T33" fmla="*/ 57 h 57"/>
                  <a:gd name="T34" fmla="*/ 44 w 45"/>
                  <a:gd name="T35" fmla="*/ 56 h 57"/>
                  <a:gd name="T36" fmla="*/ 45 w 45"/>
                  <a:gd name="T37" fmla="*/ 53 h 57"/>
                  <a:gd name="T38" fmla="*/ 45 w 45"/>
                  <a:gd name="T39" fmla="*/ 50 h 57"/>
                  <a:gd name="T40" fmla="*/ 43 w 45"/>
                  <a:gd name="T41" fmla="*/ 46 h 57"/>
                  <a:gd name="T42" fmla="*/ 41 w 45"/>
                  <a:gd name="T43" fmla="*/ 41 h 57"/>
                  <a:gd name="T44" fmla="*/ 37 w 45"/>
                  <a:gd name="T45" fmla="*/ 37 h 57"/>
                  <a:gd name="T46" fmla="*/ 34 w 45"/>
                  <a:gd name="T47" fmla="*/ 34 h 57"/>
                  <a:gd name="T48" fmla="*/ 30 w 45"/>
                  <a:gd name="T49" fmla="*/ 31 h 57"/>
                  <a:gd name="T50" fmla="*/ 26 w 45"/>
                  <a:gd name="T51" fmla="*/ 28 h 57"/>
                  <a:gd name="T52" fmla="*/ 22 w 45"/>
                  <a:gd name="T53" fmla="*/ 24 h 57"/>
                  <a:gd name="T54" fmla="*/ 16 w 45"/>
                  <a:gd name="T55" fmla="*/ 19 h 57"/>
                  <a:gd name="T56" fmla="*/ 11 w 45"/>
                  <a:gd name="T57" fmla="*/ 13 h 57"/>
                  <a:gd name="T58" fmla="*/ 7 w 45"/>
                  <a:gd name="T59" fmla="*/ 9 h 57"/>
                  <a:gd name="T60" fmla="*/ 3 w 45"/>
                  <a:gd name="T61" fmla="*/ 5 h 57"/>
                  <a:gd name="T62" fmla="*/ 0 w 45"/>
                  <a:gd name="T63" fmla="*/ 1 h 57"/>
                  <a:gd name="T64" fmla="*/ 0 w 45"/>
                  <a:gd name="T6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57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3" y="12"/>
                    </a:lnTo>
                    <a:lnTo>
                      <a:pt x="5" y="17"/>
                    </a:lnTo>
                    <a:lnTo>
                      <a:pt x="7" y="23"/>
                    </a:lnTo>
                    <a:lnTo>
                      <a:pt x="11" y="28"/>
                    </a:lnTo>
                    <a:lnTo>
                      <a:pt x="14" y="33"/>
                    </a:lnTo>
                    <a:lnTo>
                      <a:pt x="18" y="38"/>
                    </a:lnTo>
                    <a:lnTo>
                      <a:pt x="21" y="42"/>
                    </a:lnTo>
                    <a:lnTo>
                      <a:pt x="25" y="46"/>
                    </a:lnTo>
                    <a:lnTo>
                      <a:pt x="27" y="49"/>
                    </a:lnTo>
                    <a:lnTo>
                      <a:pt x="32" y="53"/>
                    </a:lnTo>
                    <a:lnTo>
                      <a:pt x="34" y="55"/>
                    </a:lnTo>
                    <a:lnTo>
                      <a:pt x="38" y="56"/>
                    </a:lnTo>
                    <a:lnTo>
                      <a:pt x="41" y="57"/>
                    </a:lnTo>
                    <a:lnTo>
                      <a:pt x="44" y="56"/>
                    </a:lnTo>
                    <a:lnTo>
                      <a:pt x="45" y="53"/>
                    </a:lnTo>
                    <a:lnTo>
                      <a:pt x="45" y="50"/>
                    </a:lnTo>
                    <a:lnTo>
                      <a:pt x="43" y="46"/>
                    </a:lnTo>
                    <a:lnTo>
                      <a:pt x="41" y="41"/>
                    </a:lnTo>
                    <a:lnTo>
                      <a:pt x="37" y="37"/>
                    </a:lnTo>
                    <a:lnTo>
                      <a:pt x="34" y="34"/>
                    </a:lnTo>
                    <a:lnTo>
                      <a:pt x="30" y="31"/>
                    </a:lnTo>
                    <a:lnTo>
                      <a:pt x="26" y="28"/>
                    </a:lnTo>
                    <a:lnTo>
                      <a:pt x="22" y="24"/>
                    </a:lnTo>
                    <a:lnTo>
                      <a:pt x="16" y="19"/>
                    </a:lnTo>
                    <a:lnTo>
                      <a:pt x="11" y="13"/>
                    </a:lnTo>
                    <a:lnTo>
                      <a:pt x="7" y="9"/>
                    </a:lnTo>
                    <a:lnTo>
                      <a:pt x="3" y="5"/>
                    </a:lnTo>
                    <a:lnTo>
                      <a:pt x="0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5" name="Freeform 787"/>
              <p:cNvSpPr>
                <a:spLocks/>
              </p:cNvSpPr>
              <p:nvPr/>
            </p:nvSpPr>
            <p:spPr bwMode="auto">
              <a:xfrm>
                <a:off x="3099" y="1112"/>
                <a:ext cx="38" cy="31"/>
              </a:xfrm>
              <a:custGeom>
                <a:avLst/>
                <a:gdLst>
                  <a:gd name="T0" fmla="*/ 20 w 38"/>
                  <a:gd name="T1" fmla="*/ 0 h 31"/>
                  <a:gd name="T2" fmla="*/ 22 w 38"/>
                  <a:gd name="T3" fmla="*/ 0 h 31"/>
                  <a:gd name="T4" fmla="*/ 27 w 38"/>
                  <a:gd name="T5" fmla="*/ 2 h 31"/>
                  <a:gd name="T6" fmla="*/ 29 w 38"/>
                  <a:gd name="T7" fmla="*/ 3 h 31"/>
                  <a:gd name="T8" fmla="*/ 32 w 38"/>
                  <a:gd name="T9" fmla="*/ 5 h 31"/>
                  <a:gd name="T10" fmla="*/ 35 w 38"/>
                  <a:gd name="T11" fmla="*/ 7 h 31"/>
                  <a:gd name="T12" fmla="*/ 36 w 38"/>
                  <a:gd name="T13" fmla="*/ 10 h 31"/>
                  <a:gd name="T14" fmla="*/ 38 w 38"/>
                  <a:gd name="T15" fmla="*/ 13 h 31"/>
                  <a:gd name="T16" fmla="*/ 38 w 38"/>
                  <a:gd name="T17" fmla="*/ 16 h 31"/>
                  <a:gd name="T18" fmla="*/ 38 w 38"/>
                  <a:gd name="T19" fmla="*/ 18 h 31"/>
                  <a:gd name="T20" fmla="*/ 36 w 38"/>
                  <a:gd name="T21" fmla="*/ 21 h 31"/>
                  <a:gd name="T22" fmla="*/ 35 w 38"/>
                  <a:gd name="T23" fmla="*/ 24 h 31"/>
                  <a:gd name="T24" fmla="*/ 32 w 38"/>
                  <a:gd name="T25" fmla="*/ 27 h 31"/>
                  <a:gd name="T26" fmla="*/ 29 w 38"/>
                  <a:gd name="T27" fmla="*/ 28 h 31"/>
                  <a:gd name="T28" fmla="*/ 27 w 38"/>
                  <a:gd name="T29" fmla="*/ 29 h 31"/>
                  <a:gd name="T30" fmla="*/ 22 w 38"/>
                  <a:gd name="T31" fmla="*/ 31 h 31"/>
                  <a:gd name="T32" fmla="*/ 20 w 38"/>
                  <a:gd name="T33" fmla="*/ 31 h 31"/>
                  <a:gd name="T34" fmla="*/ 16 w 38"/>
                  <a:gd name="T35" fmla="*/ 31 h 31"/>
                  <a:gd name="T36" fmla="*/ 11 w 38"/>
                  <a:gd name="T37" fmla="*/ 29 h 31"/>
                  <a:gd name="T38" fmla="*/ 9 w 38"/>
                  <a:gd name="T39" fmla="*/ 28 h 31"/>
                  <a:gd name="T40" fmla="*/ 6 w 38"/>
                  <a:gd name="T41" fmla="*/ 27 h 31"/>
                  <a:gd name="T42" fmla="*/ 3 w 38"/>
                  <a:gd name="T43" fmla="*/ 24 h 31"/>
                  <a:gd name="T44" fmla="*/ 2 w 38"/>
                  <a:gd name="T45" fmla="*/ 21 h 31"/>
                  <a:gd name="T46" fmla="*/ 0 w 38"/>
                  <a:gd name="T47" fmla="*/ 18 h 31"/>
                  <a:gd name="T48" fmla="*/ 0 w 38"/>
                  <a:gd name="T49" fmla="*/ 16 h 31"/>
                  <a:gd name="T50" fmla="*/ 0 w 38"/>
                  <a:gd name="T51" fmla="*/ 13 h 31"/>
                  <a:gd name="T52" fmla="*/ 2 w 38"/>
                  <a:gd name="T53" fmla="*/ 10 h 31"/>
                  <a:gd name="T54" fmla="*/ 3 w 38"/>
                  <a:gd name="T55" fmla="*/ 7 h 31"/>
                  <a:gd name="T56" fmla="*/ 6 w 38"/>
                  <a:gd name="T57" fmla="*/ 5 h 31"/>
                  <a:gd name="T58" fmla="*/ 9 w 38"/>
                  <a:gd name="T59" fmla="*/ 3 h 31"/>
                  <a:gd name="T60" fmla="*/ 11 w 38"/>
                  <a:gd name="T61" fmla="*/ 2 h 31"/>
                  <a:gd name="T62" fmla="*/ 16 w 38"/>
                  <a:gd name="T63" fmla="*/ 0 h 31"/>
                  <a:gd name="T64" fmla="*/ 20 w 38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1">
                    <a:moveTo>
                      <a:pt x="20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29" y="3"/>
                    </a:lnTo>
                    <a:lnTo>
                      <a:pt x="32" y="5"/>
                    </a:lnTo>
                    <a:lnTo>
                      <a:pt x="35" y="7"/>
                    </a:lnTo>
                    <a:lnTo>
                      <a:pt x="36" y="10"/>
                    </a:lnTo>
                    <a:lnTo>
                      <a:pt x="38" y="13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21"/>
                    </a:lnTo>
                    <a:lnTo>
                      <a:pt x="35" y="24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7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16" y="31"/>
                    </a:lnTo>
                    <a:lnTo>
                      <a:pt x="11" y="29"/>
                    </a:lnTo>
                    <a:lnTo>
                      <a:pt x="9" y="28"/>
                    </a:lnTo>
                    <a:lnTo>
                      <a:pt x="6" y="27"/>
                    </a:lnTo>
                    <a:lnTo>
                      <a:pt x="3" y="24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6" name="Freeform 788"/>
              <p:cNvSpPr>
                <a:spLocks/>
              </p:cNvSpPr>
              <p:nvPr/>
            </p:nvSpPr>
            <p:spPr bwMode="auto">
              <a:xfrm>
                <a:off x="3099" y="1112"/>
                <a:ext cx="38" cy="31"/>
              </a:xfrm>
              <a:custGeom>
                <a:avLst/>
                <a:gdLst>
                  <a:gd name="T0" fmla="*/ 20 w 38"/>
                  <a:gd name="T1" fmla="*/ 0 h 31"/>
                  <a:gd name="T2" fmla="*/ 22 w 38"/>
                  <a:gd name="T3" fmla="*/ 0 h 31"/>
                  <a:gd name="T4" fmla="*/ 27 w 38"/>
                  <a:gd name="T5" fmla="*/ 2 h 31"/>
                  <a:gd name="T6" fmla="*/ 29 w 38"/>
                  <a:gd name="T7" fmla="*/ 3 h 31"/>
                  <a:gd name="T8" fmla="*/ 32 w 38"/>
                  <a:gd name="T9" fmla="*/ 5 h 31"/>
                  <a:gd name="T10" fmla="*/ 35 w 38"/>
                  <a:gd name="T11" fmla="*/ 7 h 31"/>
                  <a:gd name="T12" fmla="*/ 36 w 38"/>
                  <a:gd name="T13" fmla="*/ 10 h 31"/>
                  <a:gd name="T14" fmla="*/ 38 w 38"/>
                  <a:gd name="T15" fmla="*/ 13 h 31"/>
                  <a:gd name="T16" fmla="*/ 38 w 38"/>
                  <a:gd name="T17" fmla="*/ 16 h 31"/>
                  <a:gd name="T18" fmla="*/ 38 w 38"/>
                  <a:gd name="T19" fmla="*/ 18 h 31"/>
                  <a:gd name="T20" fmla="*/ 36 w 38"/>
                  <a:gd name="T21" fmla="*/ 21 h 31"/>
                  <a:gd name="T22" fmla="*/ 35 w 38"/>
                  <a:gd name="T23" fmla="*/ 24 h 31"/>
                  <a:gd name="T24" fmla="*/ 32 w 38"/>
                  <a:gd name="T25" fmla="*/ 27 h 31"/>
                  <a:gd name="T26" fmla="*/ 29 w 38"/>
                  <a:gd name="T27" fmla="*/ 28 h 31"/>
                  <a:gd name="T28" fmla="*/ 27 w 38"/>
                  <a:gd name="T29" fmla="*/ 29 h 31"/>
                  <a:gd name="T30" fmla="*/ 22 w 38"/>
                  <a:gd name="T31" fmla="*/ 31 h 31"/>
                  <a:gd name="T32" fmla="*/ 20 w 38"/>
                  <a:gd name="T33" fmla="*/ 31 h 31"/>
                  <a:gd name="T34" fmla="*/ 16 w 38"/>
                  <a:gd name="T35" fmla="*/ 31 h 31"/>
                  <a:gd name="T36" fmla="*/ 11 w 38"/>
                  <a:gd name="T37" fmla="*/ 29 h 31"/>
                  <a:gd name="T38" fmla="*/ 9 w 38"/>
                  <a:gd name="T39" fmla="*/ 28 h 31"/>
                  <a:gd name="T40" fmla="*/ 6 w 38"/>
                  <a:gd name="T41" fmla="*/ 27 h 31"/>
                  <a:gd name="T42" fmla="*/ 3 w 38"/>
                  <a:gd name="T43" fmla="*/ 24 h 31"/>
                  <a:gd name="T44" fmla="*/ 2 w 38"/>
                  <a:gd name="T45" fmla="*/ 21 h 31"/>
                  <a:gd name="T46" fmla="*/ 0 w 38"/>
                  <a:gd name="T47" fmla="*/ 18 h 31"/>
                  <a:gd name="T48" fmla="*/ 0 w 38"/>
                  <a:gd name="T49" fmla="*/ 16 h 31"/>
                  <a:gd name="T50" fmla="*/ 0 w 38"/>
                  <a:gd name="T51" fmla="*/ 13 h 31"/>
                  <a:gd name="T52" fmla="*/ 2 w 38"/>
                  <a:gd name="T53" fmla="*/ 10 h 31"/>
                  <a:gd name="T54" fmla="*/ 3 w 38"/>
                  <a:gd name="T55" fmla="*/ 7 h 31"/>
                  <a:gd name="T56" fmla="*/ 6 w 38"/>
                  <a:gd name="T57" fmla="*/ 5 h 31"/>
                  <a:gd name="T58" fmla="*/ 9 w 38"/>
                  <a:gd name="T59" fmla="*/ 3 h 31"/>
                  <a:gd name="T60" fmla="*/ 11 w 38"/>
                  <a:gd name="T61" fmla="*/ 2 h 31"/>
                  <a:gd name="T62" fmla="*/ 16 w 38"/>
                  <a:gd name="T63" fmla="*/ 0 h 31"/>
                  <a:gd name="T64" fmla="*/ 20 w 38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8" h="31">
                    <a:moveTo>
                      <a:pt x="20" y="0"/>
                    </a:moveTo>
                    <a:lnTo>
                      <a:pt x="22" y="0"/>
                    </a:lnTo>
                    <a:lnTo>
                      <a:pt x="27" y="2"/>
                    </a:lnTo>
                    <a:lnTo>
                      <a:pt x="29" y="3"/>
                    </a:lnTo>
                    <a:lnTo>
                      <a:pt x="32" y="5"/>
                    </a:lnTo>
                    <a:lnTo>
                      <a:pt x="35" y="7"/>
                    </a:lnTo>
                    <a:lnTo>
                      <a:pt x="36" y="10"/>
                    </a:lnTo>
                    <a:lnTo>
                      <a:pt x="38" y="13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21"/>
                    </a:lnTo>
                    <a:lnTo>
                      <a:pt x="35" y="24"/>
                    </a:lnTo>
                    <a:lnTo>
                      <a:pt x="32" y="27"/>
                    </a:lnTo>
                    <a:lnTo>
                      <a:pt x="29" y="28"/>
                    </a:lnTo>
                    <a:lnTo>
                      <a:pt x="27" y="29"/>
                    </a:lnTo>
                    <a:lnTo>
                      <a:pt x="22" y="31"/>
                    </a:lnTo>
                    <a:lnTo>
                      <a:pt x="20" y="31"/>
                    </a:lnTo>
                    <a:lnTo>
                      <a:pt x="16" y="31"/>
                    </a:lnTo>
                    <a:lnTo>
                      <a:pt x="11" y="29"/>
                    </a:lnTo>
                    <a:lnTo>
                      <a:pt x="9" y="28"/>
                    </a:lnTo>
                    <a:lnTo>
                      <a:pt x="6" y="27"/>
                    </a:lnTo>
                    <a:lnTo>
                      <a:pt x="3" y="24"/>
                    </a:lnTo>
                    <a:lnTo>
                      <a:pt x="2" y="21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6" y="5"/>
                    </a:lnTo>
                    <a:lnTo>
                      <a:pt x="9" y="3"/>
                    </a:lnTo>
                    <a:lnTo>
                      <a:pt x="11" y="2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7" name="Freeform 789"/>
              <p:cNvSpPr>
                <a:spLocks/>
              </p:cNvSpPr>
              <p:nvPr/>
            </p:nvSpPr>
            <p:spPr bwMode="auto">
              <a:xfrm>
                <a:off x="5064" y="2018"/>
                <a:ext cx="11" cy="30"/>
              </a:xfrm>
              <a:custGeom>
                <a:avLst/>
                <a:gdLst>
                  <a:gd name="T0" fmla="*/ 5 w 11"/>
                  <a:gd name="T1" fmla="*/ 30 h 30"/>
                  <a:gd name="T2" fmla="*/ 4 w 11"/>
                  <a:gd name="T3" fmla="*/ 30 h 30"/>
                  <a:gd name="T4" fmla="*/ 3 w 11"/>
                  <a:gd name="T5" fmla="*/ 29 h 30"/>
                  <a:gd name="T6" fmla="*/ 3 w 11"/>
                  <a:gd name="T7" fmla="*/ 28 h 30"/>
                  <a:gd name="T8" fmla="*/ 1 w 11"/>
                  <a:gd name="T9" fmla="*/ 26 h 30"/>
                  <a:gd name="T10" fmla="*/ 1 w 11"/>
                  <a:gd name="T11" fmla="*/ 24 h 30"/>
                  <a:gd name="T12" fmla="*/ 1 w 11"/>
                  <a:gd name="T13" fmla="*/ 21 h 30"/>
                  <a:gd name="T14" fmla="*/ 0 w 11"/>
                  <a:gd name="T15" fmla="*/ 18 h 30"/>
                  <a:gd name="T16" fmla="*/ 0 w 11"/>
                  <a:gd name="T17" fmla="*/ 15 h 30"/>
                  <a:gd name="T18" fmla="*/ 0 w 11"/>
                  <a:gd name="T19" fmla="*/ 13 h 30"/>
                  <a:gd name="T20" fmla="*/ 1 w 11"/>
                  <a:gd name="T21" fmla="*/ 10 h 30"/>
                  <a:gd name="T22" fmla="*/ 1 w 11"/>
                  <a:gd name="T23" fmla="*/ 7 h 30"/>
                  <a:gd name="T24" fmla="*/ 1 w 11"/>
                  <a:gd name="T25" fmla="*/ 4 h 30"/>
                  <a:gd name="T26" fmla="*/ 3 w 11"/>
                  <a:gd name="T27" fmla="*/ 3 h 30"/>
                  <a:gd name="T28" fmla="*/ 3 w 11"/>
                  <a:gd name="T29" fmla="*/ 2 h 30"/>
                  <a:gd name="T30" fmla="*/ 4 w 11"/>
                  <a:gd name="T31" fmla="*/ 0 h 30"/>
                  <a:gd name="T32" fmla="*/ 5 w 11"/>
                  <a:gd name="T33" fmla="*/ 0 h 30"/>
                  <a:gd name="T34" fmla="*/ 7 w 11"/>
                  <a:gd name="T35" fmla="*/ 0 h 30"/>
                  <a:gd name="T36" fmla="*/ 7 w 11"/>
                  <a:gd name="T37" fmla="*/ 2 h 30"/>
                  <a:gd name="T38" fmla="*/ 8 w 11"/>
                  <a:gd name="T39" fmla="*/ 3 h 30"/>
                  <a:gd name="T40" fmla="*/ 9 w 11"/>
                  <a:gd name="T41" fmla="*/ 4 h 30"/>
                  <a:gd name="T42" fmla="*/ 9 w 11"/>
                  <a:gd name="T43" fmla="*/ 7 h 30"/>
                  <a:gd name="T44" fmla="*/ 9 w 11"/>
                  <a:gd name="T45" fmla="*/ 10 h 30"/>
                  <a:gd name="T46" fmla="*/ 11 w 11"/>
                  <a:gd name="T47" fmla="*/ 13 h 30"/>
                  <a:gd name="T48" fmla="*/ 11 w 11"/>
                  <a:gd name="T49" fmla="*/ 15 h 30"/>
                  <a:gd name="T50" fmla="*/ 11 w 11"/>
                  <a:gd name="T51" fmla="*/ 18 h 30"/>
                  <a:gd name="T52" fmla="*/ 9 w 11"/>
                  <a:gd name="T53" fmla="*/ 21 h 30"/>
                  <a:gd name="T54" fmla="*/ 9 w 11"/>
                  <a:gd name="T55" fmla="*/ 24 h 30"/>
                  <a:gd name="T56" fmla="*/ 9 w 11"/>
                  <a:gd name="T57" fmla="*/ 26 h 30"/>
                  <a:gd name="T58" fmla="*/ 8 w 11"/>
                  <a:gd name="T59" fmla="*/ 28 h 30"/>
                  <a:gd name="T60" fmla="*/ 7 w 11"/>
                  <a:gd name="T61" fmla="*/ 29 h 30"/>
                  <a:gd name="T62" fmla="*/ 7 w 11"/>
                  <a:gd name="T63" fmla="*/ 30 h 30"/>
                  <a:gd name="T64" fmla="*/ 5 w 11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30">
                    <a:moveTo>
                      <a:pt x="5" y="30"/>
                    </a:moveTo>
                    <a:lnTo>
                      <a:pt x="4" y="30"/>
                    </a:lnTo>
                    <a:lnTo>
                      <a:pt x="3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9" y="7"/>
                    </a:lnTo>
                    <a:lnTo>
                      <a:pt x="9" y="10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8" y="28"/>
                    </a:lnTo>
                    <a:lnTo>
                      <a:pt x="7" y="29"/>
                    </a:lnTo>
                    <a:lnTo>
                      <a:pt x="7" y="30"/>
                    </a:lnTo>
                    <a:lnTo>
                      <a:pt x="5" y="3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8" name="Freeform 790"/>
              <p:cNvSpPr>
                <a:spLocks/>
              </p:cNvSpPr>
              <p:nvPr/>
            </p:nvSpPr>
            <p:spPr bwMode="auto">
              <a:xfrm>
                <a:off x="5064" y="2018"/>
                <a:ext cx="11" cy="30"/>
              </a:xfrm>
              <a:custGeom>
                <a:avLst/>
                <a:gdLst>
                  <a:gd name="T0" fmla="*/ 5 w 11"/>
                  <a:gd name="T1" fmla="*/ 30 h 30"/>
                  <a:gd name="T2" fmla="*/ 4 w 11"/>
                  <a:gd name="T3" fmla="*/ 30 h 30"/>
                  <a:gd name="T4" fmla="*/ 3 w 11"/>
                  <a:gd name="T5" fmla="*/ 29 h 30"/>
                  <a:gd name="T6" fmla="*/ 3 w 11"/>
                  <a:gd name="T7" fmla="*/ 28 h 30"/>
                  <a:gd name="T8" fmla="*/ 1 w 11"/>
                  <a:gd name="T9" fmla="*/ 26 h 30"/>
                  <a:gd name="T10" fmla="*/ 1 w 11"/>
                  <a:gd name="T11" fmla="*/ 24 h 30"/>
                  <a:gd name="T12" fmla="*/ 1 w 11"/>
                  <a:gd name="T13" fmla="*/ 21 h 30"/>
                  <a:gd name="T14" fmla="*/ 0 w 11"/>
                  <a:gd name="T15" fmla="*/ 18 h 30"/>
                  <a:gd name="T16" fmla="*/ 0 w 11"/>
                  <a:gd name="T17" fmla="*/ 15 h 30"/>
                  <a:gd name="T18" fmla="*/ 0 w 11"/>
                  <a:gd name="T19" fmla="*/ 13 h 30"/>
                  <a:gd name="T20" fmla="*/ 1 w 11"/>
                  <a:gd name="T21" fmla="*/ 10 h 30"/>
                  <a:gd name="T22" fmla="*/ 1 w 11"/>
                  <a:gd name="T23" fmla="*/ 7 h 30"/>
                  <a:gd name="T24" fmla="*/ 1 w 11"/>
                  <a:gd name="T25" fmla="*/ 4 h 30"/>
                  <a:gd name="T26" fmla="*/ 3 w 11"/>
                  <a:gd name="T27" fmla="*/ 3 h 30"/>
                  <a:gd name="T28" fmla="*/ 3 w 11"/>
                  <a:gd name="T29" fmla="*/ 2 h 30"/>
                  <a:gd name="T30" fmla="*/ 4 w 11"/>
                  <a:gd name="T31" fmla="*/ 0 h 30"/>
                  <a:gd name="T32" fmla="*/ 5 w 11"/>
                  <a:gd name="T33" fmla="*/ 0 h 30"/>
                  <a:gd name="T34" fmla="*/ 7 w 11"/>
                  <a:gd name="T35" fmla="*/ 0 h 30"/>
                  <a:gd name="T36" fmla="*/ 7 w 11"/>
                  <a:gd name="T37" fmla="*/ 2 h 30"/>
                  <a:gd name="T38" fmla="*/ 8 w 11"/>
                  <a:gd name="T39" fmla="*/ 3 h 30"/>
                  <a:gd name="T40" fmla="*/ 9 w 11"/>
                  <a:gd name="T41" fmla="*/ 4 h 30"/>
                  <a:gd name="T42" fmla="*/ 9 w 11"/>
                  <a:gd name="T43" fmla="*/ 7 h 30"/>
                  <a:gd name="T44" fmla="*/ 9 w 11"/>
                  <a:gd name="T45" fmla="*/ 10 h 30"/>
                  <a:gd name="T46" fmla="*/ 11 w 11"/>
                  <a:gd name="T47" fmla="*/ 13 h 30"/>
                  <a:gd name="T48" fmla="*/ 11 w 11"/>
                  <a:gd name="T49" fmla="*/ 15 h 30"/>
                  <a:gd name="T50" fmla="*/ 11 w 11"/>
                  <a:gd name="T51" fmla="*/ 18 h 30"/>
                  <a:gd name="T52" fmla="*/ 9 w 11"/>
                  <a:gd name="T53" fmla="*/ 21 h 30"/>
                  <a:gd name="T54" fmla="*/ 9 w 11"/>
                  <a:gd name="T55" fmla="*/ 24 h 30"/>
                  <a:gd name="T56" fmla="*/ 9 w 11"/>
                  <a:gd name="T57" fmla="*/ 26 h 30"/>
                  <a:gd name="T58" fmla="*/ 8 w 11"/>
                  <a:gd name="T59" fmla="*/ 28 h 30"/>
                  <a:gd name="T60" fmla="*/ 7 w 11"/>
                  <a:gd name="T61" fmla="*/ 29 h 30"/>
                  <a:gd name="T62" fmla="*/ 7 w 11"/>
                  <a:gd name="T63" fmla="*/ 30 h 30"/>
                  <a:gd name="T64" fmla="*/ 5 w 11"/>
                  <a:gd name="T6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30">
                    <a:moveTo>
                      <a:pt x="5" y="30"/>
                    </a:moveTo>
                    <a:lnTo>
                      <a:pt x="4" y="30"/>
                    </a:lnTo>
                    <a:lnTo>
                      <a:pt x="3" y="29"/>
                    </a:lnTo>
                    <a:lnTo>
                      <a:pt x="3" y="28"/>
                    </a:lnTo>
                    <a:lnTo>
                      <a:pt x="1" y="26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1" y="7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9" y="7"/>
                    </a:lnTo>
                    <a:lnTo>
                      <a:pt x="9" y="10"/>
                    </a:lnTo>
                    <a:lnTo>
                      <a:pt x="11" y="13"/>
                    </a:lnTo>
                    <a:lnTo>
                      <a:pt x="11" y="15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9" y="24"/>
                    </a:lnTo>
                    <a:lnTo>
                      <a:pt x="9" y="26"/>
                    </a:lnTo>
                    <a:lnTo>
                      <a:pt x="8" y="28"/>
                    </a:lnTo>
                    <a:lnTo>
                      <a:pt x="7" y="29"/>
                    </a:lnTo>
                    <a:lnTo>
                      <a:pt x="7" y="30"/>
                    </a:lnTo>
                    <a:lnTo>
                      <a:pt x="5" y="3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59" name="Freeform 791"/>
              <p:cNvSpPr>
                <a:spLocks/>
              </p:cNvSpPr>
              <p:nvPr/>
            </p:nvSpPr>
            <p:spPr bwMode="auto">
              <a:xfrm>
                <a:off x="5053" y="2053"/>
                <a:ext cx="11" cy="12"/>
              </a:xfrm>
              <a:custGeom>
                <a:avLst/>
                <a:gdLst>
                  <a:gd name="T0" fmla="*/ 5 w 11"/>
                  <a:gd name="T1" fmla="*/ 12 h 12"/>
                  <a:gd name="T2" fmla="*/ 7 w 11"/>
                  <a:gd name="T3" fmla="*/ 12 h 12"/>
                  <a:gd name="T4" fmla="*/ 8 w 11"/>
                  <a:gd name="T5" fmla="*/ 12 h 12"/>
                  <a:gd name="T6" fmla="*/ 8 w 11"/>
                  <a:gd name="T7" fmla="*/ 11 h 12"/>
                  <a:gd name="T8" fmla="*/ 9 w 11"/>
                  <a:gd name="T9" fmla="*/ 11 h 12"/>
                  <a:gd name="T10" fmla="*/ 9 w 11"/>
                  <a:gd name="T11" fmla="*/ 9 h 12"/>
                  <a:gd name="T12" fmla="*/ 11 w 11"/>
                  <a:gd name="T13" fmla="*/ 8 h 12"/>
                  <a:gd name="T14" fmla="*/ 11 w 11"/>
                  <a:gd name="T15" fmla="*/ 6 h 12"/>
                  <a:gd name="T16" fmla="*/ 11 w 11"/>
                  <a:gd name="T17" fmla="*/ 5 h 12"/>
                  <a:gd name="T18" fmla="*/ 11 w 11"/>
                  <a:gd name="T19" fmla="*/ 5 h 12"/>
                  <a:gd name="T20" fmla="*/ 11 w 11"/>
                  <a:gd name="T21" fmla="*/ 4 h 12"/>
                  <a:gd name="T22" fmla="*/ 9 w 11"/>
                  <a:gd name="T23" fmla="*/ 2 h 12"/>
                  <a:gd name="T24" fmla="*/ 9 w 11"/>
                  <a:gd name="T25" fmla="*/ 1 h 12"/>
                  <a:gd name="T26" fmla="*/ 8 w 11"/>
                  <a:gd name="T27" fmla="*/ 1 h 12"/>
                  <a:gd name="T28" fmla="*/ 8 w 11"/>
                  <a:gd name="T29" fmla="*/ 0 h 12"/>
                  <a:gd name="T30" fmla="*/ 7 w 11"/>
                  <a:gd name="T31" fmla="*/ 0 h 12"/>
                  <a:gd name="T32" fmla="*/ 5 w 11"/>
                  <a:gd name="T33" fmla="*/ 0 h 12"/>
                  <a:gd name="T34" fmla="*/ 5 w 11"/>
                  <a:gd name="T35" fmla="*/ 0 h 12"/>
                  <a:gd name="T36" fmla="*/ 4 w 11"/>
                  <a:gd name="T37" fmla="*/ 0 h 12"/>
                  <a:gd name="T38" fmla="*/ 3 w 11"/>
                  <a:gd name="T39" fmla="*/ 1 h 12"/>
                  <a:gd name="T40" fmla="*/ 3 w 11"/>
                  <a:gd name="T41" fmla="*/ 1 h 12"/>
                  <a:gd name="T42" fmla="*/ 1 w 11"/>
                  <a:gd name="T43" fmla="*/ 2 h 12"/>
                  <a:gd name="T44" fmla="*/ 1 w 11"/>
                  <a:gd name="T45" fmla="*/ 4 h 12"/>
                  <a:gd name="T46" fmla="*/ 0 w 11"/>
                  <a:gd name="T47" fmla="*/ 5 h 12"/>
                  <a:gd name="T48" fmla="*/ 0 w 11"/>
                  <a:gd name="T49" fmla="*/ 5 h 12"/>
                  <a:gd name="T50" fmla="*/ 0 w 11"/>
                  <a:gd name="T51" fmla="*/ 6 h 12"/>
                  <a:gd name="T52" fmla="*/ 1 w 11"/>
                  <a:gd name="T53" fmla="*/ 8 h 12"/>
                  <a:gd name="T54" fmla="*/ 1 w 11"/>
                  <a:gd name="T55" fmla="*/ 9 h 12"/>
                  <a:gd name="T56" fmla="*/ 3 w 11"/>
                  <a:gd name="T57" fmla="*/ 11 h 12"/>
                  <a:gd name="T58" fmla="*/ 3 w 11"/>
                  <a:gd name="T59" fmla="*/ 11 h 12"/>
                  <a:gd name="T60" fmla="*/ 4 w 11"/>
                  <a:gd name="T61" fmla="*/ 12 h 12"/>
                  <a:gd name="T62" fmla="*/ 5 w 11"/>
                  <a:gd name="T63" fmla="*/ 12 h 12"/>
                  <a:gd name="T64" fmla="*/ 5 w 11"/>
                  <a:gd name="T6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12">
                    <a:moveTo>
                      <a:pt x="5" y="12"/>
                    </a:moveTo>
                    <a:lnTo>
                      <a:pt x="7" y="12"/>
                    </a:lnTo>
                    <a:lnTo>
                      <a:pt x="8" y="12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0" name="Freeform 792"/>
              <p:cNvSpPr>
                <a:spLocks/>
              </p:cNvSpPr>
              <p:nvPr/>
            </p:nvSpPr>
            <p:spPr bwMode="auto">
              <a:xfrm>
                <a:off x="5053" y="2053"/>
                <a:ext cx="11" cy="12"/>
              </a:xfrm>
              <a:custGeom>
                <a:avLst/>
                <a:gdLst>
                  <a:gd name="T0" fmla="*/ 5 w 11"/>
                  <a:gd name="T1" fmla="*/ 12 h 12"/>
                  <a:gd name="T2" fmla="*/ 7 w 11"/>
                  <a:gd name="T3" fmla="*/ 12 h 12"/>
                  <a:gd name="T4" fmla="*/ 8 w 11"/>
                  <a:gd name="T5" fmla="*/ 12 h 12"/>
                  <a:gd name="T6" fmla="*/ 8 w 11"/>
                  <a:gd name="T7" fmla="*/ 11 h 12"/>
                  <a:gd name="T8" fmla="*/ 9 w 11"/>
                  <a:gd name="T9" fmla="*/ 11 h 12"/>
                  <a:gd name="T10" fmla="*/ 9 w 11"/>
                  <a:gd name="T11" fmla="*/ 9 h 12"/>
                  <a:gd name="T12" fmla="*/ 11 w 11"/>
                  <a:gd name="T13" fmla="*/ 8 h 12"/>
                  <a:gd name="T14" fmla="*/ 11 w 11"/>
                  <a:gd name="T15" fmla="*/ 6 h 12"/>
                  <a:gd name="T16" fmla="*/ 11 w 11"/>
                  <a:gd name="T17" fmla="*/ 5 h 12"/>
                  <a:gd name="T18" fmla="*/ 11 w 11"/>
                  <a:gd name="T19" fmla="*/ 4 h 12"/>
                  <a:gd name="T20" fmla="*/ 9 w 11"/>
                  <a:gd name="T21" fmla="*/ 2 h 12"/>
                  <a:gd name="T22" fmla="*/ 9 w 11"/>
                  <a:gd name="T23" fmla="*/ 1 h 12"/>
                  <a:gd name="T24" fmla="*/ 8 w 11"/>
                  <a:gd name="T25" fmla="*/ 1 h 12"/>
                  <a:gd name="T26" fmla="*/ 8 w 11"/>
                  <a:gd name="T27" fmla="*/ 0 h 12"/>
                  <a:gd name="T28" fmla="*/ 7 w 11"/>
                  <a:gd name="T29" fmla="*/ 0 h 12"/>
                  <a:gd name="T30" fmla="*/ 5 w 11"/>
                  <a:gd name="T31" fmla="*/ 0 h 12"/>
                  <a:gd name="T32" fmla="*/ 4 w 11"/>
                  <a:gd name="T33" fmla="*/ 0 h 12"/>
                  <a:gd name="T34" fmla="*/ 3 w 11"/>
                  <a:gd name="T35" fmla="*/ 1 h 12"/>
                  <a:gd name="T36" fmla="*/ 1 w 11"/>
                  <a:gd name="T37" fmla="*/ 2 h 12"/>
                  <a:gd name="T38" fmla="*/ 1 w 11"/>
                  <a:gd name="T39" fmla="*/ 4 h 12"/>
                  <a:gd name="T40" fmla="*/ 0 w 11"/>
                  <a:gd name="T41" fmla="*/ 5 h 12"/>
                  <a:gd name="T42" fmla="*/ 0 w 11"/>
                  <a:gd name="T43" fmla="*/ 6 h 12"/>
                  <a:gd name="T44" fmla="*/ 1 w 11"/>
                  <a:gd name="T45" fmla="*/ 8 h 12"/>
                  <a:gd name="T46" fmla="*/ 1 w 11"/>
                  <a:gd name="T47" fmla="*/ 9 h 12"/>
                  <a:gd name="T48" fmla="*/ 3 w 11"/>
                  <a:gd name="T49" fmla="*/ 11 h 12"/>
                  <a:gd name="T50" fmla="*/ 4 w 11"/>
                  <a:gd name="T51" fmla="*/ 12 h 12"/>
                  <a:gd name="T52" fmla="*/ 5 w 11"/>
                  <a:gd name="T5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" h="12">
                    <a:moveTo>
                      <a:pt x="5" y="12"/>
                    </a:moveTo>
                    <a:lnTo>
                      <a:pt x="7" y="12"/>
                    </a:lnTo>
                    <a:lnTo>
                      <a:pt x="8" y="12"/>
                    </a:lnTo>
                    <a:lnTo>
                      <a:pt x="8" y="11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1" y="5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3" y="11"/>
                    </a:lnTo>
                    <a:lnTo>
                      <a:pt x="4" y="12"/>
                    </a:lnTo>
                    <a:lnTo>
                      <a:pt x="5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1" name="Freeform 793"/>
              <p:cNvSpPr>
                <a:spLocks/>
              </p:cNvSpPr>
              <p:nvPr/>
            </p:nvSpPr>
            <p:spPr bwMode="auto">
              <a:xfrm>
                <a:off x="5040" y="2068"/>
                <a:ext cx="7" cy="12"/>
              </a:xfrm>
              <a:custGeom>
                <a:avLst/>
                <a:gdLst>
                  <a:gd name="T0" fmla="*/ 5 w 7"/>
                  <a:gd name="T1" fmla="*/ 12 h 12"/>
                  <a:gd name="T2" fmla="*/ 5 w 7"/>
                  <a:gd name="T3" fmla="*/ 12 h 12"/>
                  <a:gd name="T4" fmla="*/ 6 w 7"/>
                  <a:gd name="T5" fmla="*/ 12 h 12"/>
                  <a:gd name="T6" fmla="*/ 6 w 7"/>
                  <a:gd name="T7" fmla="*/ 11 h 12"/>
                  <a:gd name="T8" fmla="*/ 7 w 7"/>
                  <a:gd name="T9" fmla="*/ 11 h 12"/>
                  <a:gd name="T10" fmla="*/ 7 w 7"/>
                  <a:gd name="T11" fmla="*/ 9 h 12"/>
                  <a:gd name="T12" fmla="*/ 7 w 7"/>
                  <a:gd name="T13" fmla="*/ 8 h 12"/>
                  <a:gd name="T14" fmla="*/ 7 w 7"/>
                  <a:gd name="T15" fmla="*/ 8 h 12"/>
                  <a:gd name="T16" fmla="*/ 7 w 7"/>
                  <a:gd name="T17" fmla="*/ 7 h 12"/>
                  <a:gd name="T18" fmla="*/ 7 w 7"/>
                  <a:gd name="T19" fmla="*/ 5 h 12"/>
                  <a:gd name="T20" fmla="*/ 7 w 7"/>
                  <a:gd name="T21" fmla="*/ 4 h 12"/>
                  <a:gd name="T22" fmla="*/ 7 w 7"/>
                  <a:gd name="T23" fmla="*/ 2 h 12"/>
                  <a:gd name="T24" fmla="*/ 7 w 7"/>
                  <a:gd name="T25" fmla="*/ 2 h 12"/>
                  <a:gd name="T26" fmla="*/ 6 w 7"/>
                  <a:gd name="T27" fmla="*/ 1 h 12"/>
                  <a:gd name="T28" fmla="*/ 6 w 7"/>
                  <a:gd name="T29" fmla="*/ 1 h 12"/>
                  <a:gd name="T30" fmla="*/ 5 w 7"/>
                  <a:gd name="T31" fmla="*/ 1 h 12"/>
                  <a:gd name="T32" fmla="*/ 5 w 7"/>
                  <a:gd name="T33" fmla="*/ 0 h 12"/>
                  <a:gd name="T34" fmla="*/ 3 w 7"/>
                  <a:gd name="T35" fmla="*/ 1 h 12"/>
                  <a:gd name="T36" fmla="*/ 3 w 7"/>
                  <a:gd name="T37" fmla="*/ 1 h 12"/>
                  <a:gd name="T38" fmla="*/ 2 w 7"/>
                  <a:gd name="T39" fmla="*/ 1 h 12"/>
                  <a:gd name="T40" fmla="*/ 2 w 7"/>
                  <a:gd name="T41" fmla="*/ 2 h 12"/>
                  <a:gd name="T42" fmla="*/ 2 w 7"/>
                  <a:gd name="T43" fmla="*/ 2 h 12"/>
                  <a:gd name="T44" fmla="*/ 2 w 7"/>
                  <a:gd name="T45" fmla="*/ 4 h 12"/>
                  <a:gd name="T46" fmla="*/ 0 w 7"/>
                  <a:gd name="T47" fmla="*/ 5 h 12"/>
                  <a:gd name="T48" fmla="*/ 0 w 7"/>
                  <a:gd name="T49" fmla="*/ 7 h 12"/>
                  <a:gd name="T50" fmla="*/ 0 w 7"/>
                  <a:gd name="T51" fmla="*/ 8 h 12"/>
                  <a:gd name="T52" fmla="*/ 2 w 7"/>
                  <a:gd name="T53" fmla="*/ 8 h 12"/>
                  <a:gd name="T54" fmla="*/ 2 w 7"/>
                  <a:gd name="T55" fmla="*/ 9 h 12"/>
                  <a:gd name="T56" fmla="*/ 2 w 7"/>
                  <a:gd name="T57" fmla="*/ 11 h 12"/>
                  <a:gd name="T58" fmla="*/ 2 w 7"/>
                  <a:gd name="T59" fmla="*/ 11 h 12"/>
                  <a:gd name="T60" fmla="*/ 3 w 7"/>
                  <a:gd name="T61" fmla="*/ 12 h 12"/>
                  <a:gd name="T62" fmla="*/ 3 w 7"/>
                  <a:gd name="T63" fmla="*/ 12 h 12"/>
                  <a:gd name="T64" fmla="*/ 5 w 7"/>
                  <a:gd name="T6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" h="12">
                    <a:moveTo>
                      <a:pt x="5" y="12"/>
                    </a:moveTo>
                    <a:lnTo>
                      <a:pt x="5" y="12"/>
                    </a:lnTo>
                    <a:lnTo>
                      <a:pt x="6" y="12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2" name="Freeform 794"/>
              <p:cNvSpPr>
                <a:spLocks/>
              </p:cNvSpPr>
              <p:nvPr/>
            </p:nvSpPr>
            <p:spPr bwMode="auto">
              <a:xfrm>
                <a:off x="5040" y="2068"/>
                <a:ext cx="7" cy="12"/>
              </a:xfrm>
              <a:custGeom>
                <a:avLst/>
                <a:gdLst>
                  <a:gd name="T0" fmla="*/ 5 w 7"/>
                  <a:gd name="T1" fmla="*/ 12 h 12"/>
                  <a:gd name="T2" fmla="*/ 6 w 7"/>
                  <a:gd name="T3" fmla="*/ 12 h 12"/>
                  <a:gd name="T4" fmla="*/ 6 w 7"/>
                  <a:gd name="T5" fmla="*/ 11 h 12"/>
                  <a:gd name="T6" fmla="*/ 7 w 7"/>
                  <a:gd name="T7" fmla="*/ 11 h 12"/>
                  <a:gd name="T8" fmla="*/ 7 w 7"/>
                  <a:gd name="T9" fmla="*/ 9 h 12"/>
                  <a:gd name="T10" fmla="*/ 7 w 7"/>
                  <a:gd name="T11" fmla="*/ 8 h 12"/>
                  <a:gd name="T12" fmla="*/ 7 w 7"/>
                  <a:gd name="T13" fmla="*/ 7 h 12"/>
                  <a:gd name="T14" fmla="*/ 7 w 7"/>
                  <a:gd name="T15" fmla="*/ 5 h 12"/>
                  <a:gd name="T16" fmla="*/ 7 w 7"/>
                  <a:gd name="T17" fmla="*/ 4 h 12"/>
                  <a:gd name="T18" fmla="*/ 7 w 7"/>
                  <a:gd name="T19" fmla="*/ 2 h 12"/>
                  <a:gd name="T20" fmla="*/ 6 w 7"/>
                  <a:gd name="T21" fmla="*/ 1 h 12"/>
                  <a:gd name="T22" fmla="*/ 5 w 7"/>
                  <a:gd name="T23" fmla="*/ 1 h 12"/>
                  <a:gd name="T24" fmla="*/ 5 w 7"/>
                  <a:gd name="T25" fmla="*/ 0 h 12"/>
                  <a:gd name="T26" fmla="*/ 3 w 7"/>
                  <a:gd name="T27" fmla="*/ 1 h 12"/>
                  <a:gd name="T28" fmla="*/ 2 w 7"/>
                  <a:gd name="T29" fmla="*/ 1 h 12"/>
                  <a:gd name="T30" fmla="*/ 2 w 7"/>
                  <a:gd name="T31" fmla="*/ 2 h 12"/>
                  <a:gd name="T32" fmla="*/ 2 w 7"/>
                  <a:gd name="T33" fmla="*/ 4 h 12"/>
                  <a:gd name="T34" fmla="*/ 0 w 7"/>
                  <a:gd name="T35" fmla="*/ 5 h 12"/>
                  <a:gd name="T36" fmla="*/ 0 w 7"/>
                  <a:gd name="T37" fmla="*/ 7 h 12"/>
                  <a:gd name="T38" fmla="*/ 0 w 7"/>
                  <a:gd name="T39" fmla="*/ 8 h 12"/>
                  <a:gd name="T40" fmla="*/ 2 w 7"/>
                  <a:gd name="T41" fmla="*/ 8 h 12"/>
                  <a:gd name="T42" fmla="*/ 2 w 7"/>
                  <a:gd name="T43" fmla="*/ 9 h 12"/>
                  <a:gd name="T44" fmla="*/ 2 w 7"/>
                  <a:gd name="T45" fmla="*/ 11 h 12"/>
                  <a:gd name="T46" fmla="*/ 3 w 7"/>
                  <a:gd name="T47" fmla="*/ 12 h 12"/>
                  <a:gd name="T48" fmla="*/ 5 w 7"/>
                  <a:gd name="T4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" h="12">
                    <a:moveTo>
                      <a:pt x="5" y="12"/>
                    </a:moveTo>
                    <a:lnTo>
                      <a:pt x="6" y="12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7" y="9"/>
                    </a:lnTo>
                    <a:lnTo>
                      <a:pt x="7" y="8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6" y="1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3" name="Freeform 795"/>
              <p:cNvSpPr>
                <a:spLocks/>
              </p:cNvSpPr>
              <p:nvPr/>
            </p:nvSpPr>
            <p:spPr bwMode="auto">
              <a:xfrm>
                <a:off x="5029" y="2080"/>
                <a:ext cx="10" cy="15"/>
              </a:xfrm>
              <a:custGeom>
                <a:avLst/>
                <a:gdLst>
                  <a:gd name="T0" fmla="*/ 6 w 10"/>
                  <a:gd name="T1" fmla="*/ 15 h 15"/>
                  <a:gd name="T2" fmla="*/ 7 w 10"/>
                  <a:gd name="T3" fmla="*/ 15 h 15"/>
                  <a:gd name="T4" fmla="*/ 7 w 10"/>
                  <a:gd name="T5" fmla="*/ 14 h 15"/>
                  <a:gd name="T6" fmla="*/ 9 w 10"/>
                  <a:gd name="T7" fmla="*/ 14 h 15"/>
                  <a:gd name="T8" fmla="*/ 9 w 10"/>
                  <a:gd name="T9" fmla="*/ 12 h 15"/>
                  <a:gd name="T10" fmla="*/ 10 w 10"/>
                  <a:gd name="T11" fmla="*/ 11 h 15"/>
                  <a:gd name="T12" fmla="*/ 10 w 10"/>
                  <a:gd name="T13" fmla="*/ 11 h 15"/>
                  <a:gd name="T14" fmla="*/ 10 w 10"/>
                  <a:gd name="T15" fmla="*/ 10 h 15"/>
                  <a:gd name="T16" fmla="*/ 10 w 10"/>
                  <a:gd name="T17" fmla="*/ 7 h 15"/>
                  <a:gd name="T18" fmla="*/ 10 w 10"/>
                  <a:gd name="T19" fmla="*/ 6 h 15"/>
                  <a:gd name="T20" fmla="*/ 10 w 10"/>
                  <a:gd name="T21" fmla="*/ 4 h 15"/>
                  <a:gd name="T22" fmla="*/ 10 w 10"/>
                  <a:gd name="T23" fmla="*/ 3 h 15"/>
                  <a:gd name="T24" fmla="*/ 9 w 10"/>
                  <a:gd name="T25" fmla="*/ 3 h 15"/>
                  <a:gd name="T26" fmla="*/ 9 w 10"/>
                  <a:gd name="T27" fmla="*/ 1 h 15"/>
                  <a:gd name="T28" fmla="*/ 7 w 10"/>
                  <a:gd name="T29" fmla="*/ 0 h 15"/>
                  <a:gd name="T30" fmla="*/ 7 w 10"/>
                  <a:gd name="T31" fmla="*/ 0 h 15"/>
                  <a:gd name="T32" fmla="*/ 6 w 10"/>
                  <a:gd name="T33" fmla="*/ 0 h 15"/>
                  <a:gd name="T34" fmla="*/ 5 w 10"/>
                  <a:gd name="T35" fmla="*/ 0 h 15"/>
                  <a:gd name="T36" fmla="*/ 3 w 10"/>
                  <a:gd name="T37" fmla="*/ 0 h 15"/>
                  <a:gd name="T38" fmla="*/ 3 w 10"/>
                  <a:gd name="T39" fmla="*/ 1 h 15"/>
                  <a:gd name="T40" fmla="*/ 2 w 10"/>
                  <a:gd name="T41" fmla="*/ 3 h 15"/>
                  <a:gd name="T42" fmla="*/ 2 w 10"/>
                  <a:gd name="T43" fmla="*/ 3 h 15"/>
                  <a:gd name="T44" fmla="*/ 2 w 10"/>
                  <a:gd name="T45" fmla="*/ 4 h 15"/>
                  <a:gd name="T46" fmla="*/ 0 w 10"/>
                  <a:gd name="T47" fmla="*/ 6 h 15"/>
                  <a:gd name="T48" fmla="*/ 0 w 10"/>
                  <a:gd name="T49" fmla="*/ 7 h 15"/>
                  <a:gd name="T50" fmla="*/ 0 w 10"/>
                  <a:gd name="T51" fmla="*/ 10 h 15"/>
                  <a:gd name="T52" fmla="*/ 2 w 10"/>
                  <a:gd name="T53" fmla="*/ 11 h 15"/>
                  <a:gd name="T54" fmla="*/ 2 w 10"/>
                  <a:gd name="T55" fmla="*/ 11 h 15"/>
                  <a:gd name="T56" fmla="*/ 2 w 10"/>
                  <a:gd name="T57" fmla="*/ 12 h 15"/>
                  <a:gd name="T58" fmla="*/ 3 w 10"/>
                  <a:gd name="T59" fmla="*/ 14 h 15"/>
                  <a:gd name="T60" fmla="*/ 3 w 10"/>
                  <a:gd name="T61" fmla="*/ 14 h 15"/>
                  <a:gd name="T62" fmla="*/ 5 w 10"/>
                  <a:gd name="T63" fmla="*/ 15 h 15"/>
                  <a:gd name="T64" fmla="*/ 6 w 1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" h="15">
                    <a:moveTo>
                      <a:pt x="6" y="15"/>
                    </a:moveTo>
                    <a:lnTo>
                      <a:pt x="7" y="15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0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2" y="12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5"/>
                    </a:lnTo>
                    <a:lnTo>
                      <a:pt x="6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4" name="Freeform 796"/>
              <p:cNvSpPr>
                <a:spLocks/>
              </p:cNvSpPr>
              <p:nvPr/>
            </p:nvSpPr>
            <p:spPr bwMode="auto">
              <a:xfrm>
                <a:off x="5029" y="2080"/>
                <a:ext cx="10" cy="15"/>
              </a:xfrm>
              <a:custGeom>
                <a:avLst/>
                <a:gdLst>
                  <a:gd name="T0" fmla="*/ 6 w 10"/>
                  <a:gd name="T1" fmla="*/ 15 h 15"/>
                  <a:gd name="T2" fmla="*/ 7 w 10"/>
                  <a:gd name="T3" fmla="*/ 15 h 15"/>
                  <a:gd name="T4" fmla="*/ 7 w 10"/>
                  <a:gd name="T5" fmla="*/ 14 h 15"/>
                  <a:gd name="T6" fmla="*/ 9 w 10"/>
                  <a:gd name="T7" fmla="*/ 14 h 15"/>
                  <a:gd name="T8" fmla="*/ 9 w 10"/>
                  <a:gd name="T9" fmla="*/ 12 h 15"/>
                  <a:gd name="T10" fmla="*/ 10 w 10"/>
                  <a:gd name="T11" fmla="*/ 11 h 15"/>
                  <a:gd name="T12" fmla="*/ 10 w 10"/>
                  <a:gd name="T13" fmla="*/ 10 h 15"/>
                  <a:gd name="T14" fmla="*/ 10 w 10"/>
                  <a:gd name="T15" fmla="*/ 7 h 15"/>
                  <a:gd name="T16" fmla="*/ 10 w 10"/>
                  <a:gd name="T17" fmla="*/ 6 h 15"/>
                  <a:gd name="T18" fmla="*/ 10 w 10"/>
                  <a:gd name="T19" fmla="*/ 4 h 15"/>
                  <a:gd name="T20" fmla="*/ 10 w 10"/>
                  <a:gd name="T21" fmla="*/ 3 h 15"/>
                  <a:gd name="T22" fmla="*/ 9 w 10"/>
                  <a:gd name="T23" fmla="*/ 3 h 15"/>
                  <a:gd name="T24" fmla="*/ 9 w 10"/>
                  <a:gd name="T25" fmla="*/ 1 h 15"/>
                  <a:gd name="T26" fmla="*/ 7 w 10"/>
                  <a:gd name="T27" fmla="*/ 0 h 15"/>
                  <a:gd name="T28" fmla="*/ 6 w 10"/>
                  <a:gd name="T29" fmla="*/ 0 h 15"/>
                  <a:gd name="T30" fmla="*/ 5 w 10"/>
                  <a:gd name="T31" fmla="*/ 0 h 15"/>
                  <a:gd name="T32" fmla="*/ 3 w 10"/>
                  <a:gd name="T33" fmla="*/ 0 h 15"/>
                  <a:gd name="T34" fmla="*/ 3 w 10"/>
                  <a:gd name="T35" fmla="*/ 1 h 15"/>
                  <a:gd name="T36" fmla="*/ 2 w 10"/>
                  <a:gd name="T37" fmla="*/ 3 h 15"/>
                  <a:gd name="T38" fmla="*/ 2 w 10"/>
                  <a:gd name="T39" fmla="*/ 4 h 15"/>
                  <a:gd name="T40" fmla="*/ 0 w 10"/>
                  <a:gd name="T41" fmla="*/ 6 h 15"/>
                  <a:gd name="T42" fmla="*/ 0 w 10"/>
                  <a:gd name="T43" fmla="*/ 7 h 15"/>
                  <a:gd name="T44" fmla="*/ 0 w 10"/>
                  <a:gd name="T45" fmla="*/ 10 h 15"/>
                  <a:gd name="T46" fmla="*/ 2 w 10"/>
                  <a:gd name="T47" fmla="*/ 11 h 15"/>
                  <a:gd name="T48" fmla="*/ 2 w 10"/>
                  <a:gd name="T49" fmla="*/ 12 h 15"/>
                  <a:gd name="T50" fmla="*/ 3 w 10"/>
                  <a:gd name="T51" fmla="*/ 14 h 15"/>
                  <a:gd name="T52" fmla="*/ 5 w 10"/>
                  <a:gd name="T53" fmla="*/ 15 h 15"/>
                  <a:gd name="T54" fmla="*/ 6 w 10"/>
                  <a:gd name="T5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" h="15">
                    <a:moveTo>
                      <a:pt x="6" y="15"/>
                    </a:moveTo>
                    <a:lnTo>
                      <a:pt x="7" y="15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10" y="11"/>
                    </a:lnTo>
                    <a:lnTo>
                      <a:pt x="10" y="10"/>
                    </a:lnTo>
                    <a:lnTo>
                      <a:pt x="10" y="7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2" y="12"/>
                    </a:lnTo>
                    <a:lnTo>
                      <a:pt x="3" y="14"/>
                    </a:lnTo>
                    <a:lnTo>
                      <a:pt x="5" y="15"/>
                    </a:lnTo>
                    <a:lnTo>
                      <a:pt x="6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5" name="Freeform 797"/>
              <p:cNvSpPr>
                <a:spLocks/>
              </p:cNvSpPr>
              <p:nvPr/>
            </p:nvSpPr>
            <p:spPr bwMode="auto">
              <a:xfrm>
                <a:off x="4978" y="2134"/>
                <a:ext cx="14" cy="13"/>
              </a:xfrm>
              <a:custGeom>
                <a:avLst/>
                <a:gdLst>
                  <a:gd name="T0" fmla="*/ 7 w 14"/>
                  <a:gd name="T1" fmla="*/ 13 h 13"/>
                  <a:gd name="T2" fmla="*/ 9 w 14"/>
                  <a:gd name="T3" fmla="*/ 13 h 13"/>
                  <a:gd name="T4" fmla="*/ 10 w 14"/>
                  <a:gd name="T5" fmla="*/ 12 h 13"/>
                  <a:gd name="T6" fmla="*/ 11 w 14"/>
                  <a:gd name="T7" fmla="*/ 12 h 13"/>
                  <a:gd name="T8" fmla="*/ 13 w 14"/>
                  <a:gd name="T9" fmla="*/ 11 h 13"/>
                  <a:gd name="T10" fmla="*/ 14 w 14"/>
                  <a:gd name="T11" fmla="*/ 9 h 13"/>
                  <a:gd name="T12" fmla="*/ 14 w 14"/>
                  <a:gd name="T13" fmla="*/ 9 h 13"/>
                  <a:gd name="T14" fmla="*/ 14 w 14"/>
                  <a:gd name="T15" fmla="*/ 8 h 13"/>
                  <a:gd name="T16" fmla="*/ 14 w 14"/>
                  <a:gd name="T17" fmla="*/ 7 h 13"/>
                  <a:gd name="T18" fmla="*/ 14 w 14"/>
                  <a:gd name="T19" fmla="*/ 5 h 13"/>
                  <a:gd name="T20" fmla="*/ 14 w 14"/>
                  <a:gd name="T21" fmla="*/ 4 h 13"/>
                  <a:gd name="T22" fmla="*/ 14 w 14"/>
                  <a:gd name="T23" fmla="*/ 2 h 13"/>
                  <a:gd name="T24" fmla="*/ 13 w 14"/>
                  <a:gd name="T25" fmla="*/ 1 h 13"/>
                  <a:gd name="T26" fmla="*/ 11 w 14"/>
                  <a:gd name="T27" fmla="*/ 1 h 13"/>
                  <a:gd name="T28" fmla="*/ 10 w 14"/>
                  <a:gd name="T29" fmla="*/ 0 h 13"/>
                  <a:gd name="T30" fmla="*/ 9 w 14"/>
                  <a:gd name="T31" fmla="*/ 0 h 13"/>
                  <a:gd name="T32" fmla="*/ 7 w 14"/>
                  <a:gd name="T33" fmla="*/ 0 h 13"/>
                  <a:gd name="T34" fmla="*/ 6 w 14"/>
                  <a:gd name="T35" fmla="*/ 0 h 13"/>
                  <a:gd name="T36" fmla="*/ 5 w 14"/>
                  <a:gd name="T37" fmla="*/ 0 h 13"/>
                  <a:gd name="T38" fmla="*/ 3 w 14"/>
                  <a:gd name="T39" fmla="*/ 1 h 13"/>
                  <a:gd name="T40" fmla="*/ 2 w 14"/>
                  <a:gd name="T41" fmla="*/ 1 h 13"/>
                  <a:gd name="T42" fmla="*/ 0 w 14"/>
                  <a:gd name="T43" fmla="*/ 2 h 13"/>
                  <a:gd name="T44" fmla="*/ 0 w 14"/>
                  <a:gd name="T45" fmla="*/ 4 h 13"/>
                  <a:gd name="T46" fmla="*/ 0 w 14"/>
                  <a:gd name="T47" fmla="*/ 5 h 13"/>
                  <a:gd name="T48" fmla="*/ 0 w 14"/>
                  <a:gd name="T49" fmla="*/ 7 h 13"/>
                  <a:gd name="T50" fmla="*/ 0 w 14"/>
                  <a:gd name="T51" fmla="*/ 8 h 13"/>
                  <a:gd name="T52" fmla="*/ 0 w 14"/>
                  <a:gd name="T53" fmla="*/ 9 h 13"/>
                  <a:gd name="T54" fmla="*/ 0 w 14"/>
                  <a:gd name="T55" fmla="*/ 9 h 13"/>
                  <a:gd name="T56" fmla="*/ 2 w 14"/>
                  <a:gd name="T57" fmla="*/ 11 h 13"/>
                  <a:gd name="T58" fmla="*/ 3 w 14"/>
                  <a:gd name="T59" fmla="*/ 12 h 13"/>
                  <a:gd name="T60" fmla="*/ 5 w 14"/>
                  <a:gd name="T61" fmla="*/ 12 h 13"/>
                  <a:gd name="T62" fmla="*/ 6 w 14"/>
                  <a:gd name="T63" fmla="*/ 13 h 13"/>
                  <a:gd name="T64" fmla="*/ 7 w 14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lnTo>
                      <a:pt x="9" y="13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3" y="1"/>
                    </a:lnTo>
                    <a:lnTo>
                      <a:pt x="11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7" y="1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6" name="Freeform 798"/>
              <p:cNvSpPr>
                <a:spLocks/>
              </p:cNvSpPr>
              <p:nvPr/>
            </p:nvSpPr>
            <p:spPr bwMode="auto">
              <a:xfrm>
                <a:off x="4978" y="2134"/>
                <a:ext cx="14" cy="13"/>
              </a:xfrm>
              <a:custGeom>
                <a:avLst/>
                <a:gdLst>
                  <a:gd name="T0" fmla="*/ 7 w 14"/>
                  <a:gd name="T1" fmla="*/ 13 h 13"/>
                  <a:gd name="T2" fmla="*/ 9 w 14"/>
                  <a:gd name="T3" fmla="*/ 13 h 13"/>
                  <a:gd name="T4" fmla="*/ 10 w 14"/>
                  <a:gd name="T5" fmla="*/ 12 h 13"/>
                  <a:gd name="T6" fmla="*/ 11 w 14"/>
                  <a:gd name="T7" fmla="*/ 12 h 13"/>
                  <a:gd name="T8" fmla="*/ 13 w 14"/>
                  <a:gd name="T9" fmla="*/ 11 h 13"/>
                  <a:gd name="T10" fmla="*/ 14 w 14"/>
                  <a:gd name="T11" fmla="*/ 9 h 13"/>
                  <a:gd name="T12" fmla="*/ 14 w 14"/>
                  <a:gd name="T13" fmla="*/ 8 h 13"/>
                  <a:gd name="T14" fmla="*/ 14 w 14"/>
                  <a:gd name="T15" fmla="*/ 7 h 13"/>
                  <a:gd name="T16" fmla="*/ 14 w 14"/>
                  <a:gd name="T17" fmla="*/ 5 h 13"/>
                  <a:gd name="T18" fmla="*/ 14 w 14"/>
                  <a:gd name="T19" fmla="*/ 4 h 13"/>
                  <a:gd name="T20" fmla="*/ 14 w 14"/>
                  <a:gd name="T21" fmla="*/ 2 h 13"/>
                  <a:gd name="T22" fmla="*/ 13 w 14"/>
                  <a:gd name="T23" fmla="*/ 1 h 13"/>
                  <a:gd name="T24" fmla="*/ 11 w 14"/>
                  <a:gd name="T25" fmla="*/ 1 h 13"/>
                  <a:gd name="T26" fmla="*/ 10 w 14"/>
                  <a:gd name="T27" fmla="*/ 0 h 13"/>
                  <a:gd name="T28" fmla="*/ 9 w 14"/>
                  <a:gd name="T29" fmla="*/ 0 h 13"/>
                  <a:gd name="T30" fmla="*/ 7 w 14"/>
                  <a:gd name="T31" fmla="*/ 0 h 13"/>
                  <a:gd name="T32" fmla="*/ 6 w 14"/>
                  <a:gd name="T33" fmla="*/ 0 h 13"/>
                  <a:gd name="T34" fmla="*/ 5 w 14"/>
                  <a:gd name="T35" fmla="*/ 0 h 13"/>
                  <a:gd name="T36" fmla="*/ 3 w 14"/>
                  <a:gd name="T37" fmla="*/ 1 h 13"/>
                  <a:gd name="T38" fmla="*/ 2 w 14"/>
                  <a:gd name="T39" fmla="*/ 1 h 13"/>
                  <a:gd name="T40" fmla="*/ 0 w 14"/>
                  <a:gd name="T41" fmla="*/ 2 h 13"/>
                  <a:gd name="T42" fmla="*/ 0 w 14"/>
                  <a:gd name="T43" fmla="*/ 4 h 13"/>
                  <a:gd name="T44" fmla="*/ 0 w 14"/>
                  <a:gd name="T45" fmla="*/ 5 h 13"/>
                  <a:gd name="T46" fmla="*/ 0 w 14"/>
                  <a:gd name="T47" fmla="*/ 7 h 13"/>
                  <a:gd name="T48" fmla="*/ 0 w 14"/>
                  <a:gd name="T49" fmla="*/ 8 h 13"/>
                  <a:gd name="T50" fmla="*/ 0 w 14"/>
                  <a:gd name="T51" fmla="*/ 9 h 13"/>
                  <a:gd name="T52" fmla="*/ 2 w 14"/>
                  <a:gd name="T53" fmla="*/ 11 h 13"/>
                  <a:gd name="T54" fmla="*/ 3 w 14"/>
                  <a:gd name="T55" fmla="*/ 12 h 13"/>
                  <a:gd name="T56" fmla="*/ 5 w 14"/>
                  <a:gd name="T57" fmla="*/ 12 h 13"/>
                  <a:gd name="T58" fmla="*/ 6 w 14"/>
                  <a:gd name="T59" fmla="*/ 13 h 13"/>
                  <a:gd name="T60" fmla="*/ 7 w 14"/>
                  <a:gd name="T61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lnTo>
                      <a:pt x="9" y="13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3" y="1"/>
                    </a:lnTo>
                    <a:lnTo>
                      <a:pt x="11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3"/>
                    </a:lnTo>
                    <a:lnTo>
                      <a:pt x="7" y="1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7" name="Freeform 799"/>
              <p:cNvSpPr>
                <a:spLocks/>
              </p:cNvSpPr>
              <p:nvPr/>
            </p:nvSpPr>
            <p:spPr bwMode="auto">
              <a:xfrm>
                <a:off x="4950" y="2149"/>
                <a:ext cx="13" cy="11"/>
              </a:xfrm>
              <a:custGeom>
                <a:avLst/>
                <a:gdLst>
                  <a:gd name="T0" fmla="*/ 6 w 13"/>
                  <a:gd name="T1" fmla="*/ 11 h 11"/>
                  <a:gd name="T2" fmla="*/ 8 w 13"/>
                  <a:gd name="T3" fmla="*/ 11 h 11"/>
                  <a:gd name="T4" fmla="*/ 9 w 13"/>
                  <a:gd name="T5" fmla="*/ 9 h 11"/>
                  <a:gd name="T6" fmla="*/ 9 w 13"/>
                  <a:gd name="T7" fmla="*/ 9 h 11"/>
                  <a:gd name="T8" fmla="*/ 11 w 13"/>
                  <a:gd name="T9" fmla="*/ 9 h 11"/>
                  <a:gd name="T10" fmla="*/ 12 w 13"/>
                  <a:gd name="T11" fmla="*/ 8 h 11"/>
                  <a:gd name="T12" fmla="*/ 12 w 13"/>
                  <a:gd name="T13" fmla="*/ 8 h 11"/>
                  <a:gd name="T14" fmla="*/ 12 w 13"/>
                  <a:gd name="T15" fmla="*/ 7 h 11"/>
                  <a:gd name="T16" fmla="*/ 13 w 13"/>
                  <a:gd name="T17" fmla="*/ 5 h 11"/>
                  <a:gd name="T18" fmla="*/ 12 w 13"/>
                  <a:gd name="T19" fmla="*/ 5 h 11"/>
                  <a:gd name="T20" fmla="*/ 12 w 13"/>
                  <a:gd name="T21" fmla="*/ 4 h 11"/>
                  <a:gd name="T22" fmla="*/ 12 w 13"/>
                  <a:gd name="T23" fmla="*/ 3 h 11"/>
                  <a:gd name="T24" fmla="*/ 11 w 13"/>
                  <a:gd name="T25" fmla="*/ 3 h 11"/>
                  <a:gd name="T26" fmla="*/ 9 w 13"/>
                  <a:gd name="T27" fmla="*/ 1 h 11"/>
                  <a:gd name="T28" fmla="*/ 9 w 13"/>
                  <a:gd name="T29" fmla="*/ 1 h 11"/>
                  <a:gd name="T30" fmla="*/ 8 w 13"/>
                  <a:gd name="T31" fmla="*/ 0 h 11"/>
                  <a:gd name="T32" fmla="*/ 6 w 13"/>
                  <a:gd name="T33" fmla="*/ 0 h 11"/>
                  <a:gd name="T34" fmla="*/ 5 w 13"/>
                  <a:gd name="T35" fmla="*/ 0 h 11"/>
                  <a:gd name="T36" fmla="*/ 4 w 13"/>
                  <a:gd name="T37" fmla="*/ 1 h 11"/>
                  <a:gd name="T38" fmla="*/ 2 w 13"/>
                  <a:gd name="T39" fmla="*/ 1 h 11"/>
                  <a:gd name="T40" fmla="*/ 1 w 13"/>
                  <a:gd name="T41" fmla="*/ 3 h 11"/>
                  <a:gd name="T42" fmla="*/ 1 w 13"/>
                  <a:gd name="T43" fmla="*/ 3 h 11"/>
                  <a:gd name="T44" fmla="*/ 0 w 13"/>
                  <a:gd name="T45" fmla="*/ 4 h 11"/>
                  <a:gd name="T46" fmla="*/ 0 w 13"/>
                  <a:gd name="T47" fmla="*/ 5 h 11"/>
                  <a:gd name="T48" fmla="*/ 0 w 13"/>
                  <a:gd name="T49" fmla="*/ 5 h 11"/>
                  <a:gd name="T50" fmla="*/ 0 w 13"/>
                  <a:gd name="T51" fmla="*/ 7 h 11"/>
                  <a:gd name="T52" fmla="*/ 0 w 13"/>
                  <a:gd name="T53" fmla="*/ 8 h 11"/>
                  <a:gd name="T54" fmla="*/ 1 w 13"/>
                  <a:gd name="T55" fmla="*/ 8 h 11"/>
                  <a:gd name="T56" fmla="*/ 1 w 13"/>
                  <a:gd name="T57" fmla="*/ 9 h 11"/>
                  <a:gd name="T58" fmla="*/ 2 w 13"/>
                  <a:gd name="T59" fmla="*/ 9 h 11"/>
                  <a:gd name="T60" fmla="*/ 4 w 13"/>
                  <a:gd name="T61" fmla="*/ 9 h 11"/>
                  <a:gd name="T62" fmla="*/ 5 w 13"/>
                  <a:gd name="T63" fmla="*/ 11 h 11"/>
                  <a:gd name="T64" fmla="*/ 6 w 13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" h="11">
                    <a:moveTo>
                      <a:pt x="6" y="11"/>
                    </a:moveTo>
                    <a:lnTo>
                      <a:pt x="8" y="1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1" y="9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4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8" name="Freeform 800"/>
              <p:cNvSpPr>
                <a:spLocks/>
              </p:cNvSpPr>
              <p:nvPr/>
            </p:nvSpPr>
            <p:spPr bwMode="auto">
              <a:xfrm>
                <a:off x="4950" y="2149"/>
                <a:ext cx="13" cy="11"/>
              </a:xfrm>
              <a:custGeom>
                <a:avLst/>
                <a:gdLst>
                  <a:gd name="T0" fmla="*/ 6 w 13"/>
                  <a:gd name="T1" fmla="*/ 11 h 11"/>
                  <a:gd name="T2" fmla="*/ 8 w 13"/>
                  <a:gd name="T3" fmla="*/ 11 h 11"/>
                  <a:gd name="T4" fmla="*/ 9 w 13"/>
                  <a:gd name="T5" fmla="*/ 9 h 11"/>
                  <a:gd name="T6" fmla="*/ 11 w 13"/>
                  <a:gd name="T7" fmla="*/ 9 h 11"/>
                  <a:gd name="T8" fmla="*/ 12 w 13"/>
                  <a:gd name="T9" fmla="*/ 8 h 11"/>
                  <a:gd name="T10" fmla="*/ 12 w 13"/>
                  <a:gd name="T11" fmla="*/ 7 h 11"/>
                  <a:gd name="T12" fmla="*/ 13 w 13"/>
                  <a:gd name="T13" fmla="*/ 5 h 11"/>
                  <a:gd name="T14" fmla="*/ 12 w 13"/>
                  <a:gd name="T15" fmla="*/ 5 h 11"/>
                  <a:gd name="T16" fmla="*/ 12 w 13"/>
                  <a:gd name="T17" fmla="*/ 4 h 11"/>
                  <a:gd name="T18" fmla="*/ 12 w 13"/>
                  <a:gd name="T19" fmla="*/ 3 h 11"/>
                  <a:gd name="T20" fmla="*/ 11 w 13"/>
                  <a:gd name="T21" fmla="*/ 3 h 11"/>
                  <a:gd name="T22" fmla="*/ 9 w 13"/>
                  <a:gd name="T23" fmla="*/ 1 h 11"/>
                  <a:gd name="T24" fmla="*/ 8 w 13"/>
                  <a:gd name="T25" fmla="*/ 0 h 11"/>
                  <a:gd name="T26" fmla="*/ 6 w 13"/>
                  <a:gd name="T27" fmla="*/ 0 h 11"/>
                  <a:gd name="T28" fmla="*/ 5 w 13"/>
                  <a:gd name="T29" fmla="*/ 0 h 11"/>
                  <a:gd name="T30" fmla="*/ 4 w 13"/>
                  <a:gd name="T31" fmla="*/ 1 h 11"/>
                  <a:gd name="T32" fmla="*/ 2 w 13"/>
                  <a:gd name="T33" fmla="*/ 1 h 11"/>
                  <a:gd name="T34" fmla="*/ 1 w 13"/>
                  <a:gd name="T35" fmla="*/ 3 h 11"/>
                  <a:gd name="T36" fmla="*/ 0 w 13"/>
                  <a:gd name="T37" fmla="*/ 4 h 11"/>
                  <a:gd name="T38" fmla="*/ 0 w 13"/>
                  <a:gd name="T39" fmla="*/ 5 h 11"/>
                  <a:gd name="T40" fmla="*/ 0 w 13"/>
                  <a:gd name="T41" fmla="*/ 7 h 11"/>
                  <a:gd name="T42" fmla="*/ 0 w 13"/>
                  <a:gd name="T43" fmla="*/ 8 h 11"/>
                  <a:gd name="T44" fmla="*/ 1 w 13"/>
                  <a:gd name="T45" fmla="*/ 8 h 11"/>
                  <a:gd name="T46" fmla="*/ 1 w 13"/>
                  <a:gd name="T47" fmla="*/ 9 h 11"/>
                  <a:gd name="T48" fmla="*/ 2 w 13"/>
                  <a:gd name="T49" fmla="*/ 9 h 11"/>
                  <a:gd name="T50" fmla="*/ 4 w 13"/>
                  <a:gd name="T51" fmla="*/ 9 h 11"/>
                  <a:gd name="T52" fmla="*/ 5 w 13"/>
                  <a:gd name="T53" fmla="*/ 11 h 11"/>
                  <a:gd name="T54" fmla="*/ 6 w 13"/>
                  <a:gd name="T5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" h="11">
                    <a:moveTo>
                      <a:pt x="6" y="11"/>
                    </a:moveTo>
                    <a:lnTo>
                      <a:pt x="8" y="11"/>
                    </a:lnTo>
                    <a:lnTo>
                      <a:pt x="9" y="9"/>
                    </a:lnTo>
                    <a:lnTo>
                      <a:pt x="11" y="9"/>
                    </a:lnTo>
                    <a:lnTo>
                      <a:pt x="12" y="8"/>
                    </a:lnTo>
                    <a:lnTo>
                      <a:pt x="12" y="7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4"/>
                    </a:lnTo>
                    <a:lnTo>
                      <a:pt x="12" y="3"/>
                    </a:lnTo>
                    <a:lnTo>
                      <a:pt x="11" y="3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" y="9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6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69" name="Freeform 801"/>
              <p:cNvSpPr>
                <a:spLocks/>
              </p:cNvSpPr>
              <p:nvPr/>
            </p:nvSpPr>
            <p:spPr bwMode="auto">
              <a:xfrm>
                <a:off x="4855" y="1941"/>
                <a:ext cx="40" cy="195"/>
              </a:xfrm>
              <a:custGeom>
                <a:avLst/>
                <a:gdLst>
                  <a:gd name="T0" fmla="*/ 33 w 40"/>
                  <a:gd name="T1" fmla="*/ 8 h 195"/>
                  <a:gd name="T2" fmla="*/ 30 w 40"/>
                  <a:gd name="T3" fmla="*/ 6 h 195"/>
                  <a:gd name="T4" fmla="*/ 26 w 40"/>
                  <a:gd name="T5" fmla="*/ 2 h 195"/>
                  <a:gd name="T6" fmla="*/ 22 w 40"/>
                  <a:gd name="T7" fmla="*/ 2 h 195"/>
                  <a:gd name="T8" fmla="*/ 18 w 40"/>
                  <a:gd name="T9" fmla="*/ 6 h 195"/>
                  <a:gd name="T10" fmla="*/ 15 w 40"/>
                  <a:gd name="T11" fmla="*/ 14 h 195"/>
                  <a:gd name="T12" fmla="*/ 12 w 40"/>
                  <a:gd name="T13" fmla="*/ 21 h 195"/>
                  <a:gd name="T14" fmla="*/ 9 w 40"/>
                  <a:gd name="T15" fmla="*/ 26 h 195"/>
                  <a:gd name="T16" fmla="*/ 4 w 40"/>
                  <a:gd name="T17" fmla="*/ 50 h 195"/>
                  <a:gd name="T18" fmla="*/ 4 w 40"/>
                  <a:gd name="T19" fmla="*/ 52 h 195"/>
                  <a:gd name="T20" fmla="*/ 5 w 40"/>
                  <a:gd name="T21" fmla="*/ 58 h 195"/>
                  <a:gd name="T22" fmla="*/ 7 w 40"/>
                  <a:gd name="T23" fmla="*/ 65 h 195"/>
                  <a:gd name="T24" fmla="*/ 8 w 40"/>
                  <a:gd name="T25" fmla="*/ 70 h 195"/>
                  <a:gd name="T26" fmla="*/ 9 w 40"/>
                  <a:gd name="T27" fmla="*/ 87 h 195"/>
                  <a:gd name="T28" fmla="*/ 9 w 40"/>
                  <a:gd name="T29" fmla="*/ 117 h 195"/>
                  <a:gd name="T30" fmla="*/ 9 w 40"/>
                  <a:gd name="T31" fmla="*/ 149 h 195"/>
                  <a:gd name="T32" fmla="*/ 8 w 40"/>
                  <a:gd name="T33" fmla="*/ 165 h 195"/>
                  <a:gd name="T34" fmla="*/ 7 w 40"/>
                  <a:gd name="T35" fmla="*/ 171 h 195"/>
                  <a:gd name="T36" fmla="*/ 4 w 40"/>
                  <a:gd name="T37" fmla="*/ 179 h 195"/>
                  <a:gd name="T38" fmla="*/ 1 w 40"/>
                  <a:gd name="T39" fmla="*/ 186 h 195"/>
                  <a:gd name="T40" fmla="*/ 0 w 40"/>
                  <a:gd name="T41" fmla="*/ 190 h 195"/>
                  <a:gd name="T42" fmla="*/ 15 w 40"/>
                  <a:gd name="T43" fmla="*/ 180 h 195"/>
                  <a:gd name="T44" fmla="*/ 26 w 40"/>
                  <a:gd name="T45" fmla="*/ 191 h 195"/>
                  <a:gd name="T46" fmla="*/ 27 w 40"/>
                  <a:gd name="T47" fmla="*/ 187 h 195"/>
                  <a:gd name="T48" fmla="*/ 27 w 40"/>
                  <a:gd name="T49" fmla="*/ 180 h 195"/>
                  <a:gd name="T50" fmla="*/ 26 w 40"/>
                  <a:gd name="T51" fmla="*/ 171 h 195"/>
                  <a:gd name="T52" fmla="*/ 23 w 40"/>
                  <a:gd name="T53" fmla="*/ 162 h 195"/>
                  <a:gd name="T54" fmla="*/ 22 w 40"/>
                  <a:gd name="T55" fmla="*/ 153 h 195"/>
                  <a:gd name="T56" fmla="*/ 20 w 40"/>
                  <a:gd name="T57" fmla="*/ 142 h 195"/>
                  <a:gd name="T58" fmla="*/ 26 w 40"/>
                  <a:gd name="T59" fmla="*/ 131 h 195"/>
                  <a:gd name="T60" fmla="*/ 34 w 40"/>
                  <a:gd name="T61" fmla="*/ 123 h 195"/>
                  <a:gd name="T62" fmla="*/ 38 w 40"/>
                  <a:gd name="T63" fmla="*/ 113 h 195"/>
                  <a:gd name="T64" fmla="*/ 40 w 40"/>
                  <a:gd name="T65" fmla="*/ 105 h 195"/>
                  <a:gd name="T66" fmla="*/ 38 w 40"/>
                  <a:gd name="T67" fmla="*/ 98 h 195"/>
                  <a:gd name="T68" fmla="*/ 37 w 40"/>
                  <a:gd name="T69" fmla="*/ 92 h 195"/>
                  <a:gd name="T70" fmla="*/ 34 w 40"/>
                  <a:gd name="T71" fmla="*/ 76 h 195"/>
                  <a:gd name="T72" fmla="*/ 31 w 40"/>
                  <a:gd name="T73" fmla="*/ 58 h 195"/>
                  <a:gd name="T74" fmla="*/ 30 w 40"/>
                  <a:gd name="T75" fmla="*/ 46 h 195"/>
                  <a:gd name="T76" fmla="*/ 30 w 40"/>
                  <a:gd name="T77" fmla="*/ 41 h 195"/>
                  <a:gd name="T78" fmla="*/ 29 w 40"/>
                  <a:gd name="T79" fmla="*/ 35 h 195"/>
                  <a:gd name="T80" fmla="*/ 27 w 40"/>
                  <a:gd name="T81" fmla="*/ 24 h 195"/>
                  <a:gd name="T82" fmla="*/ 30 w 40"/>
                  <a:gd name="T83" fmla="*/ 13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0" h="195">
                    <a:moveTo>
                      <a:pt x="33" y="8"/>
                    </a:moveTo>
                    <a:lnTo>
                      <a:pt x="33" y="8"/>
                    </a:lnTo>
                    <a:lnTo>
                      <a:pt x="31" y="7"/>
                    </a:lnTo>
                    <a:lnTo>
                      <a:pt x="30" y="6"/>
                    </a:lnTo>
                    <a:lnTo>
                      <a:pt x="29" y="3"/>
                    </a:lnTo>
                    <a:lnTo>
                      <a:pt x="26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19" y="3"/>
                    </a:lnTo>
                    <a:lnTo>
                      <a:pt x="18" y="6"/>
                    </a:lnTo>
                    <a:lnTo>
                      <a:pt x="16" y="10"/>
                    </a:lnTo>
                    <a:lnTo>
                      <a:pt x="15" y="14"/>
                    </a:lnTo>
                    <a:lnTo>
                      <a:pt x="13" y="18"/>
                    </a:lnTo>
                    <a:lnTo>
                      <a:pt x="12" y="21"/>
                    </a:lnTo>
                    <a:lnTo>
                      <a:pt x="11" y="24"/>
                    </a:lnTo>
                    <a:lnTo>
                      <a:pt x="9" y="26"/>
                    </a:lnTo>
                    <a:lnTo>
                      <a:pt x="9" y="26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5" y="55"/>
                    </a:lnTo>
                    <a:lnTo>
                      <a:pt x="5" y="58"/>
                    </a:lnTo>
                    <a:lnTo>
                      <a:pt x="7" y="62"/>
                    </a:lnTo>
                    <a:lnTo>
                      <a:pt x="7" y="65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9" y="76"/>
                    </a:lnTo>
                    <a:lnTo>
                      <a:pt x="9" y="87"/>
                    </a:lnTo>
                    <a:lnTo>
                      <a:pt x="9" y="101"/>
                    </a:lnTo>
                    <a:lnTo>
                      <a:pt x="9" y="117"/>
                    </a:lnTo>
                    <a:lnTo>
                      <a:pt x="9" y="135"/>
                    </a:lnTo>
                    <a:lnTo>
                      <a:pt x="9" y="149"/>
                    </a:lnTo>
                    <a:lnTo>
                      <a:pt x="8" y="160"/>
                    </a:lnTo>
                    <a:lnTo>
                      <a:pt x="8" y="165"/>
                    </a:lnTo>
                    <a:lnTo>
                      <a:pt x="8" y="168"/>
                    </a:lnTo>
                    <a:lnTo>
                      <a:pt x="7" y="171"/>
                    </a:lnTo>
                    <a:lnTo>
                      <a:pt x="5" y="175"/>
                    </a:lnTo>
                    <a:lnTo>
                      <a:pt x="4" y="179"/>
                    </a:lnTo>
                    <a:lnTo>
                      <a:pt x="2" y="183"/>
                    </a:lnTo>
                    <a:lnTo>
                      <a:pt x="1" y="186"/>
                    </a:lnTo>
                    <a:lnTo>
                      <a:pt x="1" y="189"/>
                    </a:lnTo>
                    <a:lnTo>
                      <a:pt x="0" y="190"/>
                    </a:lnTo>
                    <a:lnTo>
                      <a:pt x="9" y="195"/>
                    </a:lnTo>
                    <a:lnTo>
                      <a:pt x="15" y="180"/>
                    </a:lnTo>
                    <a:lnTo>
                      <a:pt x="26" y="193"/>
                    </a:lnTo>
                    <a:lnTo>
                      <a:pt x="26" y="191"/>
                    </a:lnTo>
                    <a:lnTo>
                      <a:pt x="27" y="190"/>
                    </a:lnTo>
                    <a:lnTo>
                      <a:pt x="27" y="187"/>
                    </a:lnTo>
                    <a:lnTo>
                      <a:pt x="27" y="184"/>
                    </a:lnTo>
                    <a:lnTo>
                      <a:pt x="27" y="180"/>
                    </a:lnTo>
                    <a:lnTo>
                      <a:pt x="27" y="176"/>
                    </a:lnTo>
                    <a:lnTo>
                      <a:pt x="26" y="171"/>
                    </a:lnTo>
                    <a:lnTo>
                      <a:pt x="24" y="167"/>
                    </a:lnTo>
                    <a:lnTo>
                      <a:pt x="23" y="162"/>
                    </a:lnTo>
                    <a:lnTo>
                      <a:pt x="22" y="158"/>
                    </a:lnTo>
                    <a:lnTo>
                      <a:pt x="22" y="153"/>
                    </a:lnTo>
                    <a:lnTo>
                      <a:pt x="20" y="147"/>
                    </a:lnTo>
                    <a:lnTo>
                      <a:pt x="20" y="142"/>
                    </a:lnTo>
                    <a:lnTo>
                      <a:pt x="22" y="136"/>
                    </a:lnTo>
                    <a:lnTo>
                      <a:pt x="26" y="131"/>
                    </a:lnTo>
                    <a:lnTo>
                      <a:pt x="30" y="127"/>
                    </a:lnTo>
                    <a:lnTo>
                      <a:pt x="34" y="123"/>
                    </a:lnTo>
                    <a:lnTo>
                      <a:pt x="37" y="118"/>
                    </a:lnTo>
                    <a:lnTo>
                      <a:pt x="38" y="113"/>
                    </a:lnTo>
                    <a:lnTo>
                      <a:pt x="40" y="109"/>
                    </a:lnTo>
                    <a:lnTo>
                      <a:pt x="40" y="105"/>
                    </a:lnTo>
                    <a:lnTo>
                      <a:pt x="38" y="102"/>
                    </a:lnTo>
                    <a:lnTo>
                      <a:pt x="38" y="98"/>
                    </a:lnTo>
                    <a:lnTo>
                      <a:pt x="37" y="96"/>
                    </a:lnTo>
                    <a:lnTo>
                      <a:pt x="37" y="92"/>
                    </a:lnTo>
                    <a:lnTo>
                      <a:pt x="35" y="85"/>
                    </a:lnTo>
                    <a:lnTo>
                      <a:pt x="34" y="76"/>
                    </a:lnTo>
                    <a:lnTo>
                      <a:pt x="33" y="68"/>
                    </a:lnTo>
                    <a:lnTo>
                      <a:pt x="31" y="58"/>
                    </a:lnTo>
                    <a:lnTo>
                      <a:pt x="30" y="51"/>
                    </a:lnTo>
                    <a:lnTo>
                      <a:pt x="30" y="46"/>
                    </a:lnTo>
                    <a:lnTo>
                      <a:pt x="30" y="43"/>
                    </a:lnTo>
                    <a:lnTo>
                      <a:pt x="30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7" y="29"/>
                    </a:lnTo>
                    <a:lnTo>
                      <a:pt x="27" y="24"/>
                    </a:lnTo>
                    <a:lnTo>
                      <a:pt x="29" y="18"/>
                    </a:lnTo>
                    <a:lnTo>
                      <a:pt x="30" y="13"/>
                    </a:lnTo>
                    <a:lnTo>
                      <a:pt x="33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0" name="Freeform 802"/>
              <p:cNvSpPr>
                <a:spLocks/>
              </p:cNvSpPr>
              <p:nvPr/>
            </p:nvSpPr>
            <p:spPr bwMode="auto">
              <a:xfrm>
                <a:off x="4855" y="1941"/>
                <a:ext cx="40" cy="195"/>
              </a:xfrm>
              <a:custGeom>
                <a:avLst/>
                <a:gdLst>
                  <a:gd name="T0" fmla="*/ 31 w 40"/>
                  <a:gd name="T1" fmla="*/ 7 h 195"/>
                  <a:gd name="T2" fmla="*/ 29 w 40"/>
                  <a:gd name="T3" fmla="*/ 3 h 195"/>
                  <a:gd name="T4" fmla="*/ 23 w 40"/>
                  <a:gd name="T5" fmla="*/ 0 h 195"/>
                  <a:gd name="T6" fmla="*/ 19 w 40"/>
                  <a:gd name="T7" fmla="*/ 3 h 195"/>
                  <a:gd name="T8" fmla="*/ 16 w 40"/>
                  <a:gd name="T9" fmla="*/ 10 h 195"/>
                  <a:gd name="T10" fmla="*/ 13 w 40"/>
                  <a:gd name="T11" fmla="*/ 18 h 195"/>
                  <a:gd name="T12" fmla="*/ 11 w 40"/>
                  <a:gd name="T13" fmla="*/ 24 h 195"/>
                  <a:gd name="T14" fmla="*/ 4 w 40"/>
                  <a:gd name="T15" fmla="*/ 50 h 195"/>
                  <a:gd name="T16" fmla="*/ 5 w 40"/>
                  <a:gd name="T17" fmla="*/ 55 h 195"/>
                  <a:gd name="T18" fmla="*/ 7 w 40"/>
                  <a:gd name="T19" fmla="*/ 62 h 195"/>
                  <a:gd name="T20" fmla="*/ 8 w 40"/>
                  <a:gd name="T21" fmla="*/ 68 h 195"/>
                  <a:gd name="T22" fmla="*/ 9 w 40"/>
                  <a:gd name="T23" fmla="*/ 76 h 195"/>
                  <a:gd name="T24" fmla="*/ 9 w 40"/>
                  <a:gd name="T25" fmla="*/ 101 h 195"/>
                  <a:gd name="T26" fmla="*/ 9 w 40"/>
                  <a:gd name="T27" fmla="*/ 135 h 195"/>
                  <a:gd name="T28" fmla="*/ 8 w 40"/>
                  <a:gd name="T29" fmla="*/ 160 h 195"/>
                  <a:gd name="T30" fmla="*/ 8 w 40"/>
                  <a:gd name="T31" fmla="*/ 168 h 195"/>
                  <a:gd name="T32" fmla="*/ 5 w 40"/>
                  <a:gd name="T33" fmla="*/ 175 h 195"/>
                  <a:gd name="T34" fmla="*/ 2 w 40"/>
                  <a:gd name="T35" fmla="*/ 183 h 195"/>
                  <a:gd name="T36" fmla="*/ 1 w 40"/>
                  <a:gd name="T37" fmla="*/ 189 h 195"/>
                  <a:gd name="T38" fmla="*/ 9 w 40"/>
                  <a:gd name="T39" fmla="*/ 195 h 195"/>
                  <a:gd name="T40" fmla="*/ 26 w 40"/>
                  <a:gd name="T41" fmla="*/ 193 h 195"/>
                  <a:gd name="T42" fmla="*/ 27 w 40"/>
                  <a:gd name="T43" fmla="*/ 190 h 195"/>
                  <a:gd name="T44" fmla="*/ 27 w 40"/>
                  <a:gd name="T45" fmla="*/ 184 h 195"/>
                  <a:gd name="T46" fmla="*/ 27 w 40"/>
                  <a:gd name="T47" fmla="*/ 176 h 195"/>
                  <a:gd name="T48" fmla="*/ 24 w 40"/>
                  <a:gd name="T49" fmla="*/ 167 h 195"/>
                  <a:gd name="T50" fmla="*/ 22 w 40"/>
                  <a:gd name="T51" fmla="*/ 158 h 195"/>
                  <a:gd name="T52" fmla="*/ 20 w 40"/>
                  <a:gd name="T53" fmla="*/ 147 h 195"/>
                  <a:gd name="T54" fmla="*/ 22 w 40"/>
                  <a:gd name="T55" fmla="*/ 136 h 195"/>
                  <a:gd name="T56" fmla="*/ 30 w 40"/>
                  <a:gd name="T57" fmla="*/ 127 h 195"/>
                  <a:gd name="T58" fmla="*/ 37 w 40"/>
                  <a:gd name="T59" fmla="*/ 118 h 195"/>
                  <a:gd name="T60" fmla="*/ 40 w 40"/>
                  <a:gd name="T61" fmla="*/ 109 h 195"/>
                  <a:gd name="T62" fmla="*/ 38 w 40"/>
                  <a:gd name="T63" fmla="*/ 102 h 195"/>
                  <a:gd name="T64" fmla="*/ 37 w 40"/>
                  <a:gd name="T65" fmla="*/ 96 h 195"/>
                  <a:gd name="T66" fmla="*/ 35 w 40"/>
                  <a:gd name="T67" fmla="*/ 85 h 195"/>
                  <a:gd name="T68" fmla="*/ 33 w 40"/>
                  <a:gd name="T69" fmla="*/ 68 h 195"/>
                  <a:gd name="T70" fmla="*/ 30 w 40"/>
                  <a:gd name="T71" fmla="*/ 51 h 195"/>
                  <a:gd name="T72" fmla="*/ 30 w 40"/>
                  <a:gd name="T73" fmla="*/ 43 h 195"/>
                  <a:gd name="T74" fmla="*/ 29 w 40"/>
                  <a:gd name="T75" fmla="*/ 39 h 195"/>
                  <a:gd name="T76" fmla="*/ 27 w 40"/>
                  <a:gd name="T77" fmla="*/ 29 h 195"/>
                  <a:gd name="T78" fmla="*/ 29 w 40"/>
                  <a:gd name="T79" fmla="*/ 18 h 195"/>
                  <a:gd name="T80" fmla="*/ 33 w 40"/>
                  <a:gd name="T81" fmla="*/ 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" h="195">
                    <a:moveTo>
                      <a:pt x="33" y="8"/>
                    </a:moveTo>
                    <a:lnTo>
                      <a:pt x="31" y="7"/>
                    </a:lnTo>
                    <a:lnTo>
                      <a:pt x="30" y="6"/>
                    </a:lnTo>
                    <a:lnTo>
                      <a:pt x="29" y="3"/>
                    </a:lnTo>
                    <a:lnTo>
                      <a:pt x="26" y="2"/>
                    </a:lnTo>
                    <a:lnTo>
                      <a:pt x="23" y="0"/>
                    </a:lnTo>
                    <a:lnTo>
                      <a:pt x="22" y="2"/>
                    </a:lnTo>
                    <a:lnTo>
                      <a:pt x="19" y="3"/>
                    </a:lnTo>
                    <a:lnTo>
                      <a:pt x="18" y="6"/>
                    </a:lnTo>
                    <a:lnTo>
                      <a:pt x="16" y="10"/>
                    </a:lnTo>
                    <a:lnTo>
                      <a:pt x="15" y="14"/>
                    </a:lnTo>
                    <a:lnTo>
                      <a:pt x="13" y="18"/>
                    </a:lnTo>
                    <a:lnTo>
                      <a:pt x="12" y="21"/>
                    </a:lnTo>
                    <a:lnTo>
                      <a:pt x="11" y="24"/>
                    </a:lnTo>
                    <a:lnTo>
                      <a:pt x="9" y="26"/>
                    </a:lnTo>
                    <a:lnTo>
                      <a:pt x="4" y="50"/>
                    </a:lnTo>
                    <a:lnTo>
                      <a:pt x="4" y="52"/>
                    </a:lnTo>
                    <a:lnTo>
                      <a:pt x="5" y="55"/>
                    </a:lnTo>
                    <a:lnTo>
                      <a:pt x="5" y="58"/>
                    </a:lnTo>
                    <a:lnTo>
                      <a:pt x="7" y="62"/>
                    </a:lnTo>
                    <a:lnTo>
                      <a:pt x="7" y="65"/>
                    </a:lnTo>
                    <a:lnTo>
                      <a:pt x="8" y="68"/>
                    </a:lnTo>
                    <a:lnTo>
                      <a:pt x="8" y="70"/>
                    </a:lnTo>
                    <a:lnTo>
                      <a:pt x="9" y="76"/>
                    </a:lnTo>
                    <a:lnTo>
                      <a:pt x="9" y="87"/>
                    </a:lnTo>
                    <a:lnTo>
                      <a:pt x="9" y="101"/>
                    </a:lnTo>
                    <a:lnTo>
                      <a:pt x="9" y="117"/>
                    </a:lnTo>
                    <a:lnTo>
                      <a:pt x="9" y="135"/>
                    </a:lnTo>
                    <a:lnTo>
                      <a:pt x="9" y="149"/>
                    </a:lnTo>
                    <a:lnTo>
                      <a:pt x="8" y="160"/>
                    </a:lnTo>
                    <a:lnTo>
                      <a:pt x="8" y="165"/>
                    </a:lnTo>
                    <a:lnTo>
                      <a:pt x="8" y="168"/>
                    </a:lnTo>
                    <a:lnTo>
                      <a:pt x="7" y="171"/>
                    </a:lnTo>
                    <a:lnTo>
                      <a:pt x="5" y="175"/>
                    </a:lnTo>
                    <a:lnTo>
                      <a:pt x="4" y="179"/>
                    </a:lnTo>
                    <a:lnTo>
                      <a:pt x="2" y="183"/>
                    </a:lnTo>
                    <a:lnTo>
                      <a:pt x="1" y="186"/>
                    </a:lnTo>
                    <a:lnTo>
                      <a:pt x="1" y="189"/>
                    </a:lnTo>
                    <a:lnTo>
                      <a:pt x="0" y="190"/>
                    </a:lnTo>
                    <a:lnTo>
                      <a:pt x="9" y="195"/>
                    </a:lnTo>
                    <a:lnTo>
                      <a:pt x="15" y="180"/>
                    </a:lnTo>
                    <a:lnTo>
                      <a:pt x="26" y="193"/>
                    </a:lnTo>
                    <a:lnTo>
                      <a:pt x="26" y="191"/>
                    </a:lnTo>
                    <a:lnTo>
                      <a:pt x="27" y="190"/>
                    </a:lnTo>
                    <a:lnTo>
                      <a:pt x="27" y="187"/>
                    </a:lnTo>
                    <a:lnTo>
                      <a:pt x="27" y="184"/>
                    </a:lnTo>
                    <a:lnTo>
                      <a:pt x="27" y="180"/>
                    </a:lnTo>
                    <a:lnTo>
                      <a:pt x="27" y="176"/>
                    </a:lnTo>
                    <a:lnTo>
                      <a:pt x="26" y="171"/>
                    </a:lnTo>
                    <a:lnTo>
                      <a:pt x="24" y="167"/>
                    </a:lnTo>
                    <a:lnTo>
                      <a:pt x="23" y="162"/>
                    </a:lnTo>
                    <a:lnTo>
                      <a:pt x="22" y="158"/>
                    </a:lnTo>
                    <a:lnTo>
                      <a:pt x="22" y="153"/>
                    </a:lnTo>
                    <a:lnTo>
                      <a:pt x="20" y="147"/>
                    </a:lnTo>
                    <a:lnTo>
                      <a:pt x="20" y="142"/>
                    </a:lnTo>
                    <a:lnTo>
                      <a:pt x="22" y="136"/>
                    </a:lnTo>
                    <a:lnTo>
                      <a:pt x="26" y="131"/>
                    </a:lnTo>
                    <a:lnTo>
                      <a:pt x="30" y="127"/>
                    </a:lnTo>
                    <a:lnTo>
                      <a:pt x="34" y="123"/>
                    </a:lnTo>
                    <a:lnTo>
                      <a:pt x="37" y="118"/>
                    </a:lnTo>
                    <a:lnTo>
                      <a:pt x="38" y="113"/>
                    </a:lnTo>
                    <a:lnTo>
                      <a:pt x="40" y="109"/>
                    </a:lnTo>
                    <a:lnTo>
                      <a:pt x="40" y="105"/>
                    </a:lnTo>
                    <a:lnTo>
                      <a:pt x="38" y="102"/>
                    </a:lnTo>
                    <a:lnTo>
                      <a:pt x="38" y="98"/>
                    </a:lnTo>
                    <a:lnTo>
                      <a:pt x="37" y="96"/>
                    </a:lnTo>
                    <a:lnTo>
                      <a:pt x="37" y="92"/>
                    </a:lnTo>
                    <a:lnTo>
                      <a:pt x="35" y="85"/>
                    </a:lnTo>
                    <a:lnTo>
                      <a:pt x="34" y="76"/>
                    </a:lnTo>
                    <a:lnTo>
                      <a:pt x="33" y="68"/>
                    </a:lnTo>
                    <a:lnTo>
                      <a:pt x="31" y="58"/>
                    </a:lnTo>
                    <a:lnTo>
                      <a:pt x="30" y="51"/>
                    </a:lnTo>
                    <a:lnTo>
                      <a:pt x="30" y="46"/>
                    </a:lnTo>
                    <a:lnTo>
                      <a:pt x="30" y="43"/>
                    </a:lnTo>
                    <a:lnTo>
                      <a:pt x="30" y="41"/>
                    </a:lnTo>
                    <a:lnTo>
                      <a:pt x="29" y="39"/>
                    </a:lnTo>
                    <a:lnTo>
                      <a:pt x="29" y="35"/>
                    </a:lnTo>
                    <a:lnTo>
                      <a:pt x="27" y="29"/>
                    </a:lnTo>
                    <a:lnTo>
                      <a:pt x="27" y="24"/>
                    </a:lnTo>
                    <a:lnTo>
                      <a:pt x="29" y="18"/>
                    </a:lnTo>
                    <a:lnTo>
                      <a:pt x="30" y="13"/>
                    </a:lnTo>
                    <a:lnTo>
                      <a:pt x="33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1" name="Freeform 803"/>
              <p:cNvSpPr>
                <a:spLocks/>
              </p:cNvSpPr>
              <p:nvPr/>
            </p:nvSpPr>
            <p:spPr bwMode="auto">
              <a:xfrm>
                <a:off x="4629" y="2017"/>
                <a:ext cx="215" cy="195"/>
              </a:xfrm>
              <a:custGeom>
                <a:avLst/>
                <a:gdLst>
                  <a:gd name="T0" fmla="*/ 81 w 215"/>
                  <a:gd name="T1" fmla="*/ 148 h 195"/>
                  <a:gd name="T2" fmla="*/ 81 w 215"/>
                  <a:gd name="T3" fmla="*/ 150 h 195"/>
                  <a:gd name="T4" fmla="*/ 80 w 215"/>
                  <a:gd name="T5" fmla="*/ 159 h 195"/>
                  <a:gd name="T6" fmla="*/ 77 w 215"/>
                  <a:gd name="T7" fmla="*/ 167 h 195"/>
                  <a:gd name="T8" fmla="*/ 78 w 215"/>
                  <a:gd name="T9" fmla="*/ 176 h 195"/>
                  <a:gd name="T10" fmla="*/ 85 w 215"/>
                  <a:gd name="T11" fmla="*/ 185 h 195"/>
                  <a:gd name="T12" fmla="*/ 94 w 215"/>
                  <a:gd name="T13" fmla="*/ 192 h 195"/>
                  <a:gd name="T14" fmla="*/ 99 w 215"/>
                  <a:gd name="T15" fmla="*/ 194 h 195"/>
                  <a:gd name="T16" fmla="*/ 106 w 215"/>
                  <a:gd name="T17" fmla="*/ 191 h 195"/>
                  <a:gd name="T18" fmla="*/ 121 w 215"/>
                  <a:gd name="T19" fmla="*/ 176 h 195"/>
                  <a:gd name="T20" fmla="*/ 145 w 215"/>
                  <a:gd name="T21" fmla="*/ 144 h 195"/>
                  <a:gd name="T22" fmla="*/ 175 w 215"/>
                  <a:gd name="T23" fmla="*/ 95 h 195"/>
                  <a:gd name="T24" fmla="*/ 194 w 215"/>
                  <a:gd name="T25" fmla="*/ 59 h 195"/>
                  <a:gd name="T26" fmla="*/ 198 w 215"/>
                  <a:gd name="T27" fmla="*/ 44 h 195"/>
                  <a:gd name="T28" fmla="*/ 202 w 215"/>
                  <a:gd name="T29" fmla="*/ 26 h 195"/>
                  <a:gd name="T30" fmla="*/ 209 w 215"/>
                  <a:gd name="T31" fmla="*/ 11 h 195"/>
                  <a:gd name="T32" fmla="*/ 213 w 215"/>
                  <a:gd name="T33" fmla="*/ 3 h 195"/>
                  <a:gd name="T34" fmla="*/ 215 w 215"/>
                  <a:gd name="T35" fmla="*/ 0 h 195"/>
                  <a:gd name="T36" fmla="*/ 0 w 215"/>
                  <a:gd name="T37" fmla="*/ 0 h 195"/>
                  <a:gd name="T38" fmla="*/ 0 w 215"/>
                  <a:gd name="T39" fmla="*/ 1 h 195"/>
                  <a:gd name="T40" fmla="*/ 0 w 215"/>
                  <a:gd name="T41" fmla="*/ 3 h 195"/>
                  <a:gd name="T42" fmla="*/ 0 w 215"/>
                  <a:gd name="T43" fmla="*/ 4 h 195"/>
                  <a:gd name="T44" fmla="*/ 1 w 215"/>
                  <a:gd name="T45" fmla="*/ 5 h 195"/>
                  <a:gd name="T46" fmla="*/ 11 w 215"/>
                  <a:gd name="T47" fmla="*/ 15 h 195"/>
                  <a:gd name="T48" fmla="*/ 23 w 215"/>
                  <a:gd name="T49" fmla="*/ 29 h 195"/>
                  <a:gd name="T50" fmla="*/ 33 w 215"/>
                  <a:gd name="T51" fmla="*/ 45 h 195"/>
                  <a:gd name="T52" fmla="*/ 34 w 215"/>
                  <a:gd name="T53" fmla="*/ 53 h 195"/>
                  <a:gd name="T54" fmla="*/ 43 w 215"/>
                  <a:gd name="T55" fmla="*/ 52 h 195"/>
                  <a:gd name="T56" fmla="*/ 54 w 215"/>
                  <a:gd name="T57" fmla="*/ 52 h 195"/>
                  <a:gd name="T58" fmla="*/ 65 w 215"/>
                  <a:gd name="T59" fmla="*/ 60 h 195"/>
                  <a:gd name="T60" fmla="*/ 69 w 215"/>
                  <a:gd name="T61" fmla="*/ 70 h 195"/>
                  <a:gd name="T62" fmla="*/ 72 w 215"/>
                  <a:gd name="T63" fmla="*/ 75 h 195"/>
                  <a:gd name="T64" fmla="*/ 78 w 215"/>
                  <a:gd name="T65" fmla="*/ 80 h 195"/>
                  <a:gd name="T66" fmla="*/ 91 w 215"/>
                  <a:gd name="T67" fmla="*/ 78 h 195"/>
                  <a:gd name="T68" fmla="*/ 100 w 215"/>
                  <a:gd name="T69" fmla="*/ 71 h 195"/>
                  <a:gd name="T70" fmla="*/ 107 w 215"/>
                  <a:gd name="T71" fmla="*/ 63 h 195"/>
                  <a:gd name="T72" fmla="*/ 117 w 215"/>
                  <a:gd name="T73" fmla="*/ 51 h 195"/>
                  <a:gd name="T74" fmla="*/ 129 w 215"/>
                  <a:gd name="T75" fmla="*/ 41 h 195"/>
                  <a:gd name="T76" fmla="*/ 136 w 215"/>
                  <a:gd name="T77" fmla="*/ 38 h 195"/>
                  <a:gd name="T78" fmla="*/ 138 w 215"/>
                  <a:gd name="T79" fmla="*/ 40 h 195"/>
                  <a:gd name="T80" fmla="*/ 138 w 215"/>
                  <a:gd name="T81" fmla="*/ 47 h 195"/>
                  <a:gd name="T82" fmla="*/ 135 w 215"/>
                  <a:gd name="T83" fmla="*/ 59 h 195"/>
                  <a:gd name="T84" fmla="*/ 131 w 215"/>
                  <a:gd name="T85" fmla="*/ 70 h 195"/>
                  <a:gd name="T86" fmla="*/ 127 w 215"/>
                  <a:gd name="T87" fmla="*/ 80 h 195"/>
                  <a:gd name="T88" fmla="*/ 120 w 215"/>
                  <a:gd name="T89" fmla="*/ 95 h 195"/>
                  <a:gd name="T90" fmla="*/ 110 w 215"/>
                  <a:gd name="T91" fmla="*/ 110 h 195"/>
                  <a:gd name="T92" fmla="*/ 84 w 215"/>
                  <a:gd name="T93" fmla="*/ 140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15" h="195">
                    <a:moveTo>
                      <a:pt x="78" y="152"/>
                    </a:moveTo>
                    <a:lnTo>
                      <a:pt x="81" y="148"/>
                    </a:lnTo>
                    <a:lnTo>
                      <a:pt x="83" y="147"/>
                    </a:lnTo>
                    <a:lnTo>
                      <a:pt x="81" y="150"/>
                    </a:lnTo>
                    <a:lnTo>
                      <a:pt x="81" y="154"/>
                    </a:lnTo>
                    <a:lnTo>
                      <a:pt x="80" y="159"/>
                    </a:lnTo>
                    <a:lnTo>
                      <a:pt x="77" y="163"/>
                    </a:lnTo>
                    <a:lnTo>
                      <a:pt x="77" y="167"/>
                    </a:lnTo>
                    <a:lnTo>
                      <a:pt x="76" y="169"/>
                    </a:lnTo>
                    <a:lnTo>
                      <a:pt x="78" y="176"/>
                    </a:lnTo>
                    <a:lnTo>
                      <a:pt x="81" y="181"/>
                    </a:lnTo>
                    <a:lnTo>
                      <a:pt x="85" y="185"/>
                    </a:lnTo>
                    <a:lnTo>
                      <a:pt x="89" y="189"/>
                    </a:lnTo>
                    <a:lnTo>
                      <a:pt x="94" y="192"/>
                    </a:lnTo>
                    <a:lnTo>
                      <a:pt x="96" y="194"/>
                    </a:lnTo>
                    <a:lnTo>
                      <a:pt x="99" y="194"/>
                    </a:lnTo>
                    <a:lnTo>
                      <a:pt x="100" y="195"/>
                    </a:lnTo>
                    <a:lnTo>
                      <a:pt x="106" y="191"/>
                    </a:lnTo>
                    <a:lnTo>
                      <a:pt x="113" y="184"/>
                    </a:lnTo>
                    <a:lnTo>
                      <a:pt x="121" y="176"/>
                    </a:lnTo>
                    <a:lnTo>
                      <a:pt x="128" y="166"/>
                    </a:lnTo>
                    <a:lnTo>
                      <a:pt x="145" y="144"/>
                    </a:lnTo>
                    <a:lnTo>
                      <a:pt x="160" y="119"/>
                    </a:lnTo>
                    <a:lnTo>
                      <a:pt x="175" y="95"/>
                    </a:lnTo>
                    <a:lnTo>
                      <a:pt x="187" y="74"/>
                    </a:lnTo>
                    <a:lnTo>
                      <a:pt x="194" y="59"/>
                    </a:lnTo>
                    <a:lnTo>
                      <a:pt x="197" y="53"/>
                    </a:lnTo>
                    <a:lnTo>
                      <a:pt x="198" y="44"/>
                    </a:lnTo>
                    <a:lnTo>
                      <a:pt x="200" y="34"/>
                    </a:lnTo>
                    <a:lnTo>
                      <a:pt x="202" y="26"/>
                    </a:lnTo>
                    <a:lnTo>
                      <a:pt x="205" y="18"/>
                    </a:lnTo>
                    <a:lnTo>
                      <a:pt x="209" y="11"/>
                    </a:lnTo>
                    <a:lnTo>
                      <a:pt x="212" y="7"/>
                    </a:lnTo>
                    <a:lnTo>
                      <a:pt x="213" y="3"/>
                    </a:lnTo>
                    <a:lnTo>
                      <a:pt x="215" y="3"/>
                    </a:lnTo>
                    <a:lnTo>
                      <a:pt x="21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6" y="9"/>
                    </a:lnTo>
                    <a:lnTo>
                      <a:pt x="11" y="15"/>
                    </a:lnTo>
                    <a:lnTo>
                      <a:pt x="18" y="20"/>
                    </a:lnTo>
                    <a:lnTo>
                      <a:pt x="23" y="29"/>
                    </a:lnTo>
                    <a:lnTo>
                      <a:pt x="29" y="37"/>
                    </a:lnTo>
                    <a:lnTo>
                      <a:pt x="33" y="45"/>
                    </a:lnTo>
                    <a:lnTo>
                      <a:pt x="33" y="53"/>
                    </a:lnTo>
                    <a:lnTo>
                      <a:pt x="34" y="53"/>
                    </a:lnTo>
                    <a:lnTo>
                      <a:pt x="37" y="52"/>
                    </a:lnTo>
                    <a:lnTo>
                      <a:pt x="43" y="52"/>
                    </a:lnTo>
                    <a:lnTo>
                      <a:pt x="48" y="52"/>
                    </a:lnTo>
                    <a:lnTo>
                      <a:pt x="54" y="52"/>
                    </a:lnTo>
                    <a:lnTo>
                      <a:pt x="59" y="55"/>
                    </a:lnTo>
                    <a:lnTo>
                      <a:pt x="65" y="60"/>
                    </a:lnTo>
                    <a:lnTo>
                      <a:pt x="69" y="69"/>
                    </a:lnTo>
                    <a:lnTo>
                      <a:pt x="69" y="70"/>
                    </a:lnTo>
                    <a:lnTo>
                      <a:pt x="70" y="71"/>
                    </a:lnTo>
                    <a:lnTo>
                      <a:pt x="72" y="75"/>
                    </a:lnTo>
                    <a:lnTo>
                      <a:pt x="74" y="78"/>
                    </a:lnTo>
                    <a:lnTo>
                      <a:pt x="78" y="80"/>
                    </a:lnTo>
                    <a:lnTo>
                      <a:pt x="84" y="81"/>
                    </a:lnTo>
                    <a:lnTo>
                      <a:pt x="91" y="78"/>
                    </a:lnTo>
                    <a:lnTo>
                      <a:pt x="100" y="73"/>
                    </a:lnTo>
                    <a:lnTo>
                      <a:pt x="100" y="71"/>
                    </a:lnTo>
                    <a:lnTo>
                      <a:pt x="103" y="69"/>
                    </a:lnTo>
                    <a:lnTo>
                      <a:pt x="107" y="63"/>
                    </a:lnTo>
                    <a:lnTo>
                      <a:pt x="112" y="58"/>
                    </a:lnTo>
                    <a:lnTo>
                      <a:pt x="117" y="51"/>
                    </a:lnTo>
                    <a:lnTo>
                      <a:pt x="124" y="45"/>
                    </a:lnTo>
                    <a:lnTo>
                      <a:pt x="129" y="41"/>
                    </a:lnTo>
                    <a:lnTo>
                      <a:pt x="136" y="38"/>
                    </a:lnTo>
                    <a:lnTo>
                      <a:pt x="136" y="38"/>
                    </a:lnTo>
                    <a:lnTo>
                      <a:pt x="136" y="38"/>
                    </a:lnTo>
                    <a:lnTo>
                      <a:pt x="138" y="40"/>
                    </a:lnTo>
                    <a:lnTo>
                      <a:pt x="138" y="42"/>
                    </a:lnTo>
                    <a:lnTo>
                      <a:pt x="138" y="47"/>
                    </a:lnTo>
                    <a:lnTo>
                      <a:pt x="136" y="52"/>
                    </a:lnTo>
                    <a:lnTo>
                      <a:pt x="135" y="59"/>
                    </a:lnTo>
                    <a:lnTo>
                      <a:pt x="131" y="69"/>
                    </a:lnTo>
                    <a:lnTo>
                      <a:pt x="131" y="70"/>
                    </a:lnTo>
                    <a:lnTo>
                      <a:pt x="129" y="74"/>
                    </a:lnTo>
                    <a:lnTo>
                      <a:pt x="127" y="80"/>
                    </a:lnTo>
                    <a:lnTo>
                      <a:pt x="124" y="86"/>
                    </a:lnTo>
                    <a:lnTo>
                      <a:pt x="120" y="95"/>
                    </a:lnTo>
                    <a:lnTo>
                      <a:pt x="116" y="103"/>
                    </a:lnTo>
                    <a:lnTo>
                      <a:pt x="110" y="110"/>
                    </a:lnTo>
                    <a:lnTo>
                      <a:pt x="105" y="117"/>
                    </a:lnTo>
                    <a:lnTo>
                      <a:pt x="84" y="140"/>
                    </a:lnTo>
                    <a:lnTo>
                      <a:pt x="78" y="1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2" name="Freeform 804"/>
              <p:cNvSpPr>
                <a:spLocks/>
              </p:cNvSpPr>
              <p:nvPr/>
            </p:nvSpPr>
            <p:spPr bwMode="auto">
              <a:xfrm>
                <a:off x="5091" y="2017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1 h 4"/>
                  <a:gd name="T4" fmla="*/ 2 w 4"/>
                  <a:gd name="T5" fmla="*/ 1 h 4"/>
                  <a:gd name="T6" fmla="*/ 2 w 4"/>
                  <a:gd name="T7" fmla="*/ 3 h 4"/>
                  <a:gd name="T8" fmla="*/ 2 w 4"/>
                  <a:gd name="T9" fmla="*/ 3 h 4"/>
                  <a:gd name="T10" fmla="*/ 2 w 4"/>
                  <a:gd name="T11" fmla="*/ 4 h 4"/>
                  <a:gd name="T12" fmla="*/ 2 w 4"/>
                  <a:gd name="T13" fmla="*/ 4 h 4"/>
                  <a:gd name="T14" fmla="*/ 2 w 4"/>
                  <a:gd name="T15" fmla="*/ 4 h 4"/>
                  <a:gd name="T16" fmla="*/ 2 w 4"/>
                  <a:gd name="T17" fmla="*/ 4 h 4"/>
                  <a:gd name="T18" fmla="*/ 4 w 4"/>
                  <a:gd name="T19" fmla="*/ 0 h 4"/>
                  <a:gd name="T20" fmla="*/ 0 w 4"/>
                  <a:gd name="T2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3" name="Freeform 805"/>
              <p:cNvSpPr>
                <a:spLocks noEditPoints="1"/>
              </p:cNvSpPr>
              <p:nvPr/>
            </p:nvSpPr>
            <p:spPr bwMode="auto">
              <a:xfrm>
                <a:off x="3320" y="2189"/>
                <a:ext cx="1433" cy="173"/>
              </a:xfrm>
              <a:custGeom>
                <a:avLst/>
                <a:gdLst>
                  <a:gd name="T0" fmla="*/ 1398 w 1433"/>
                  <a:gd name="T1" fmla="*/ 17 h 173"/>
                  <a:gd name="T2" fmla="*/ 1412 w 1433"/>
                  <a:gd name="T3" fmla="*/ 22 h 173"/>
                  <a:gd name="T4" fmla="*/ 1426 w 1433"/>
                  <a:gd name="T5" fmla="*/ 8 h 173"/>
                  <a:gd name="T6" fmla="*/ 123 w 1433"/>
                  <a:gd name="T7" fmla="*/ 0 h 173"/>
                  <a:gd name="T8" fmla="*/ 140 w 1433"/>
                  <a:gd name="T9" fmla="*/ 22 h 173"/>
                  <a:gd name="T10" fmla="*/ 140 w 1433"/>
                  <a:gd name="T11" fmla="*/ 27 h 173"/>
                  <a:gd name="T12" fmla="*/ 141 w 1433"/>
                  <a:gd name="T13" fmla="*/ 48 h 173"/>
                  <a:gd name="T14" fmla="*/ 141 w 1433"/>
                  <a:gd name="T15" fmla="*/ 57 h 173"/>
                  <a:gd name="T16" fmla="*/ 141 w 1433"/>
                  <a:gd name="T17" fmla="*/ 85 h 173"/>
                  <a:gd name="T18" fmla="*/ 137 w 1433"/>
                  <a:gd name="T19" fmla="*/ 86 h 173"/>
                  <a:gd name="T20" fmla="*/ 127 w 1433"/>
                  <a:gd name="T21" fmla="*/ 78 h 173"/>
                  <a:gd name="T22" fmla="*/ 105 w 1433"/>
                  <a:gd name="T23" fmla="*/ 92 h 173"/>
                  <a:gd name="T24" fmla="*/ 92 w 1433"/>
                  <a:gd name="T25" fmla="*/ 92 h 173"/>
                  <a:gd name="T26" fmla="*/ 56 w 1433"/>
                  <a:gd name="T27" fmla="*/ 74 h 173"/>
                  <a:gd name="T28" fmla="*/ 45 w 1433"/>
                  <a:gd name="T29" fmla="*/ 68 h 173"/>
                  <a:gd name="T30" fmla="*/ 30 w 1433"/>
                  <a:gd name="T31" fmla="*/ 59 h 173"/>
                  <a:gd name="T32" fmla="*/ 30 w 1433"/>
                  <a:gd name="T33" fmla="*/ 50 h 173"/>
                  <a:gd name="T34" fmla="*/ 33 w 1433"/>
                  <a:gd name="T35" fmla="*/ 26 h 173"/>
                  <a:gd name="T36" fmla="*/ 17 w 1433"/>
                  <a:gd name="T37" fmla="*/ 12 h 173"/>
                  <a:gd name="T38" fmla="*/ 170 w 1433"/>
                  <a:gd name="T39" fmla="*/ 0 h 173"/>
                  <a:gd name="T40" fmla="*/ 598 w 1433"/>
                  <a:gd name="T41" fmla="*/ 9 h 173"/>
                  <a:gd name="T42" fmla="*/ 608 w 1433"/>
                  <a:gd name="T43" fmla="*/ 16 h 173"/>
                  <a:gd name="T44" fmla="*/ 603 w 1433"/>
                  <a:gd name="T45" fmla="*/ 31 h 173"/>
                  <a:gd name="T46" fmla="*/ 588 w 1433"/>
                  <a:gd name="T47" fmla="*/ 53 h 173"/>
                  <a:gd name="T48" fmla="*/ 570 w 1433"/>
                  <a:gd name="T49" fmla="*/ 60 h 173"/>
                  <a:gd name="T50" fmla="*/ 555 w 1433"/>
                  <a:gd name="T51" fmla="*/ 63 h 173"/>
                  <a:gd name="T52" fmla="*/ 528 w 1433"/>
                  <a:gd name="T53" fmla="*/ 72 h 173"/>
                  <a:gd name="T54" fmla="*/ 506 w 1433"/>
                  <a:gd name="T55" fmla="*/ 89 h 173"/>
                  <a:gd name="T56" fmla="*/ 507 w 1433"/>
                  <a:gd name="T57" fmla="*/ 103 h 173"/>
                  <a:gd name="T58" fmla="*/ 515 w 1433"/>
                  <a:gd name="T59" fmla="*/ 107 h 173"/>
                  <a:gd name="T60" fmla="*/ 524 w 1433"/>
                  <a:gd name="T61" fmla="*/ 114 h 173"/>
                  <a:gd name="T62" fmla="*/ 526 w 1433"/>
                  <a:gd name="T63" fmla="*/ 123 h 173"/>
                  <a:gd name="T64" fmla="*/ 536 w 1433"/>
                  <a:gd name="T65" fmla="*/ 144 h 173"/>
                  <a:gd name="T66" fmla="*/ 491 w 1433"/>
                  <a:gd name="T67" fmla="*/ 145 h 173"/>
                  <a:gd name="T68" fmla="*/ 474 w 1433"/>
                  <a:gd name="T69" fmla="*/ 133 h 173"/>
                  <a:gd name="T70" fmla="*/ 436 w 1433"/>
                  <a:gd name="T71" fmla="*/ 134 h 173"/>
                  <a:gd name="T72" fmla="*/ 397 w 1433"/>
                  <a:gd name="T73" fmla="*/ 134 h 173"/>
                  <a:gd name="T74" fmla="*/ 383 w 1433"/>
                  <a:gd name="T75" fmla="*/ 133 h 173"/>
                  <a:gd name="T76" fmla="*/ 375 w 1433"/>
                  <a:gd name="T77" fmla="*/ 138 h 173"/>
                  <a:gd name="T78" fmla="*/ 352 w 1433"/>
                  <a:gd name="T79" fmla="*/ 158 h 173"/>
                  <a:gd name="T80" fmla="*/ 320 w 1433"/>
                  <a:gd name="T81" fmla="*/ 173 h 173"/>
                  <a:gd name="T82" fmla="*/ 312 w 1433"/>
                  <a:gd name="T83" fmla="*/ 151 h 173"/>
                  <a:gd name="T84" fmla="*/ 280 w 1433"/>
                  <a:gd name="T85" fmla="*/ 133 h 173"/>
                  <a:gd name="T86" fmla="*/ 269 w 1433"/>
                  <a:gd name="T87" fmla="*/ 130 h 173"/>
                  <a:gd name="T88" fmla="*/ 251 w 1433"/>
                  <a:gd name="T89" fmla="*/ 125 h 173"/>
                  <a:gd name="T90" fmla="*/ 213 w 1433"/>
                  <a:gd name="T91" fmla="*/ 137 h 173"/>
                  <a:gd name="T92" fmla="*/ 210 w 1433"/>
                  <a:gd name="T93" fmla="*/ 110 h 173"/>
                  <a:gd name="T94" fmla="*/ 203 w 1433"/>
                  <a:gd name="T95" fmla="*/ 86 h 173"/>
                  <a:gd name="T96" fmla="*/ 200 w 1433"/>
                  <a:gd name="T97" fmla="*/ 83 h 173"/>
                  <a:gd name="T98" fmla="*/ 198 w 1433"/>
                  <a:gd name="T99" fmla="*/ 70 h 173"/>
                  <a:gd name="T100" fmla="*/ 206 w 1433"/>
                  <a:gd name="T101" fmla="*/ 66 h 173"/>
                  <a:gd name="T102" fmla="*/ 213 w 1433"/>
                  <a:gd name="T103" fmla="*/ 67 h 173"/>
                  <a:gd name="T104" fmla="*/ 218 w 1433"/>
                  <a:gd name="T105" fmla="*/ 56 h 173"/>
                  <a:gd name="T106" fmla="*/ 214 w 1433"/>
                  <a:gd name="T107" fmla="*/ 49 h 173"/>
                  <a:gd name="T108" fmla="*/ 207 w 1433"/>
                  <a:gd name="T109" fmla="*/ 41 h 173"/>
                  <a:gd name="T110" fmla="*/ 200 w 1433"/>
                  <a:gd name="T111" fmla="*/ 45 h 173"/>
                  <a:gd name="T112" fmla="*/ 195 w 1433"/>
                  <a:gd name="T113" fmla="*/ 45 h 173"/>
                  <a:gd name="T114" fmla="*/ 192 w 1433"/>
                  <a:gd name="T115" fmla="*/ 26 h 173"/>
                  <a:gd name="T116" fmla="*/ 188 w 1433"/>
                  <a:gd name="T117" fmla="*/ 17 h 173"/>
                  <a:gd name="T118" fmla="*/ 170 w 1433"/>
                  <a:gd name="T119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3" h="173">
                    <a:moveTo>
                      <a:pt x="1386" y="0"/>
                    </a:moveTo>
                    <a:lnTo>
                      <a:pt x="1387" y="6"/>
                    </a:lnTo>
                    <a:lnTo>
                      <a:pt x="1392" y="11"/>
                    </a:lnTo>
                    <a:lnTo>
                      <a:pt x="1396" y="15"/>
                    </a:lnTo>
                    <a:lnTo>
                      <a:pt x="1398" y="17"/>
                    </a:lnTo>
                    <a:lnTo>
                      <a:pt x="1403" y="20"/>
                    </a:lnTo>
                    <a:lnTo>
                      <a:pt x="1407" y="22"/>
                    </a:lnTo>
                    <a:lnTo>
                      <a:pt x="1408" y="22"/>
                    </a:lnTo>
                    <a:lnTo>
                      <a:pt x="1409" y="23"/>
                    </a:lnTo>
                    <a:lnTo>
                      <a:pt x="1412" y="22"/>
                    </a:lnTo>
                    <a:lnTo>
                      <a:pt x="1415" y="19"/>
                    </a:lnTo>
                    <a:lnTo>
                      <a:pt x="1418" y="17"/>
                    </a:lnTo>
                    <a:lnTo>
                      <a:pt x="1421" y="15"/>
                    </a:lnTo>
                    <a:lnTo>
                      <a:pt x="1423" y="11"/>
                    </a:lnTo>
                    <a:lnTo>
                      <a:pt x="1426" y="8"/>
                    </a:lnTo>
                    <a:lnTo>
                      <a:pt x="1430" y="4"/>
                    </a:lnTo>
                    <a:lnTo>
                      <a:pt x="1433" y="0"/>
                    </a:lnTo>
                    <a:lnTo>
                      <a:pt x="1386" y="0"/>
                    </a:lnTo>
                    <a:close/>
                    <a:moveTo>
                      <a:pt x="0" y="0"/>
                    </a:moveTo>
                    <a:lnTo>
                      <a:pt x="123" y="0"/>
                    </a:lnTo>
                    <a:lnTo>
                      <a:pt x="126" y="8"/>
                    </a:lnTo>
                    <a:lnTo>
                      <a:pt x="129" y="13"/>
                    </a:lnTo>
                    <a:lnTo>
                      <a:pt x="133" y="17"/>
                    </a:lnTo>
                    <a:lnTo>
                      <a:pt x="136" y="20"/>
                    </a:lnTo>
                    <a:lnTo>
                      <a:pt x="140" y="22"/>
                    </a:lnTo>
                    <a:lnTo>
                      <a:pt x="143" y="23"/>
                    </a:lnTo>
                    <a:lnTo>
                      <a:pt x="145" y="23"/>
                    </a:lnTo>
                    <a:lnTo>
                      <a:pt x="145" y="24"/>
                    </a:lnTo>
                    <a:lnTo>
                      <a:pt x="143" y="24"/>
                    </a:lnTo>
                    <a:lnTo>
                      <a:pt x="140" y="27"/>
                    </a:lnTo>
                    <a:lnTo>
                      <a:pt x="138" y="28"/>
                    </a:lnTo>
                    <a:lnTo>
                      <a:pt x="138" y="31"/>
                    </a:lnTo>
                    <a:lnTo>
                      <a:pt x="138" y="37"/>
                    </a:lnTo>
                    <a:lnTo>
                      <a:pt x="140" y="42"/>
                    </a:lnTo>
                    <a:lnTo>
                      <a:pt x="141" y="48"/>
                    </a:lnTo>
                    <a:lnTo>
                      <a:pt x="144" y="52"/>
                    </a:lnTo>
                    <a:lnTo>
                      <a:pt x="147" y="56"/>
                    </a:lnTo>
                    <a:lnTo>
                      <a:pt x="147" y="57"/>
                    </a:lnTo>
                    <a:lnTo>
                      <a:pt x="144" y="56"/>
                    </a:lnTo>
                    <a:lnTo>
                      <a:pt x="141" y="57"/>
                    </a:lnTo>
                    <a:lnTo>
                      <a:pt x="140" y="59"/>
                    </a:lnTo>
                    <a:lnTo>
                      <a:pt x="140" y="61"/>
                    </a:lnTo>
                    <a:lnTo>
                      <a:pt x="138" y="68"/>
                    </a:lnTo>
                    <a:lnTo>
                      <a:pt x="140" y="77"/>
                    </a:lnTo>
                    <a:lnTo>
                      <a:pt x="141" y="85"/>
                    </a:lnTo>
                    <a:lnTo>
                      <a:pt x="143" y="92"/>
                    </a:lnTo>
                    <a:lnTo>
                      <a:pt x="145" y="97"/>
                    </a:lnTo>
                    <a:lnTo>
                      <a:pt x="145" y="100"/>
                    </a:lnTo>
                    <a:lnTo>
                      <a:pt x="137" y="86"/>
                    </a:lnTo>
                    <a:lnTo>
                      <a:pt x="137" y="86"/>
                    </a:lnTo>
                    <a:lnTo>
                      <a:pt x="136" y="85"/>
                    </a:lnTo>
                    <a:lnTo>
                      <a:pt x="134" y="83"/>
                    </a:lnTo>
                    <a:lnTo>
                      <a:pt x="132" y="82"/>
                    </a:lnTo>
                    <a:lnTo>
                      <a:pt x="130" y="79"/>
                    </a:lnTo>
                    <a:lnTo>
                      <a:pt x="127" y="78"/>
                    </a:lnTo>
                    <a:lnTo>
                      <a:pt x="126" y="75"/>
                    </a:lnTo>
                    <a:lnTo>
                      <a:pt x="126" y="72"/>
                    </a:lnTo>
                    <a:lnTo>
                      <a:pt x="108" y="92"/>
                    </a:lnTo>
                    <a:lnTo>
                      <a:pt x="107" y="92"/>
                    </a:lnTo>
                    <a:lnTo>
                      <a:pt x="105" y="92"/>
                    </a:lnTo>
                    <a:lnTo>
                      <a:pt x="103" y="93"/>
                    </a:lnTo>
                    <a:lnTo>
                      <a:pt x="100" y="93"/>
                    </a:lnTo>
                    <a:lnTo>
                      <a:pt x="97" y="93"/>
                    </a:lnTo>
                    <a:lnTo>
                      <a:pt x="94" y="93"/>
                    </a:lnTo>
                    <a:lnTo>
                      <a:pt x="92" y="92"/>
                    </a:lnTo>
                    <a:lnTo>
                      <a:pt x="89" y="90"/>
                    </a:lnTo>
                    <a:lnTo>
                      <a:pt x="63" y="85"/>
                    </a:lnTo>
                    <a:lnTo>
                      <a:pt x="60" y="81"/>
                    </a:lnTo>
                    <a:lnTo>
                      <a:pt x="59" y="77"/>
                    </a:lnTo>
                    <a:lnTo>
                      <a:pt x="56" y="74"/>
                    </a:lnTo>
                    <a:lnTo>
                      <a:pt x="53" y="71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6" y="68"/>
                    </a:lnTo>
                    <a:lnTo>
                      <a:pt x="45" y="68"/>
                    </a:lnTo>
                    <a:lnTo>
                      <a:pt x="44" y="66"/>
                    </a:lnTo>
                    <a:lnTo>
                      <a:pt x="39" y="64"/>
                    </a:lnTo>
                    <a:lnTo>
                      <a:pt x="37" y="61"/>
                    </a:lnTo>
                    <a:lnTo>
                      <a:pt x="33" y="60"/>
                    </a:lnTo>
                    <a:lnTo>
                      <a:pt x="30" y="59"/>
                    </a:lnTo>
                    <a:lnTo>
                      <a:pt x="27" y="57"/>
                    </a:lnTo>
                    <a:lnTo>
                      <a:pt x="24" y="57"/>
                    </a:lnTo>
                    <a:lnTo>
                      <a:pt x="24" y="57"/>
                    </a:lnTo>
                    <a:lnTo>
                      <a:pt x="27" y="53"/>
                    </a:lnTo>
                    <a:lnTo>
                      <a:pt x="30" y="50"/>
                    </a:lnTo>
                    <a:lnTo>
                      <a:pt x="31" y="46"/>
                    </a:lnTo>
                    <a:lnTo>
                      <a:pt x="33" y="41"/>
                    </a:lnTo>
                    <a:lnTo>
                      <a:pt x="34" y="37"/>
                    </a:lnTo>
                    <a:lnTo>
                      <a:pt x="33" y="31"/>
                    </a:lnTo>
                    <a:lnTo>
                      <a:pt x="33" y="26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7" y="19"/>
                    </a:lnTo>
                    <a:lnTo>
                      <a:pt x="23" y="16"/>
                    </a:lnTo>
                    <a:lnTo>
                      <a:pt x="17" y="12"/>
                    </a:lnTo>
                    <a:lnTo>
                      <a:pt x="12" y="9"/>
                    </a:lnTo>
                    <a:lnTo>
                      <a:pt x="8" y="5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  <a:moveTo>
                      <a:pt x="170" y="0"/>
                    </a:moveTo>
                    <a:lnTo>
                      <a:pt x="594" y="0"/>
                    </a:lnTo>
                    <a:lnTo>
                      <a:pt x="594" y="2"/>
                    </a:lnTo>
                    <a:lnTo>
                      <a:pt x="595" y="5"/>
                    </a:lnTo>
                    <a:lnTo>
                      <a:pt x="597" y="6"/>
                    </a:lnTo>
                    <a:lnTo>
                      <a:pt x="598" y="9"/>
                    </a:lnTo>
                    <a:lnTo>
                      <a:pt x="601" y="11"/>
                    </a:lnTo>
                    <a:lnTo>
                      <a:pt x="602" y="12"/>
                    </a:lnTo>
                    <a:lnTo>
                      <a:pt x="603" y="13"/>
                    </a:lnTo>
                    <a:lnTo>
                      <a:pt x="605" y="15"/>
                    </a:lnTo>
                    <a:lnTo>
                      <a:pt x="608" y="16"/>
                    </a:lnTo>
                    <a:lnTo>
                      <a:pt x="608" y="19"/>
                    </a:lnTo>
                    <a:lnTo>
                      <a:pt x="608" y="22"/>
                    </a:lnTo>
                    <a:lnTo>
                      <a:pt x="606" y="26"/>
                    </a:lnTo>
                    <a:lnTo>
                      <a:pt x="605" y="28"/>
                    </a:lnTo>
                    <a:lnTo>
                      <a:pt x="603" y="31"/>
                    </a:lnTo>
                    <a:lnTo>
                      <a:pt x="603" y="34"/>
                    </a:lnTo>
                    <a:lnTo>
                      <a:pt x="602" y="34"/>
                    </a:lnTo>
                    <a:lnTo>
                      <a:pt x="599" y="42"/>
                    </a:lnTo>
                    <a:lnTo>
                      <a:pt x="594" y="49"/>
                    </a:lnTo>
                    <a:lnTo>
                      <a:pt x="588" y="53"/>
                    </a:lnTo>
                    <a:lnTo>
                      <a:pt x="583" y="57"/>
                    </a:lnTo>
                    <a:lnTo>
                      <a:pt x="579" y="59"/>
                    </a:lnTo>
                    <a:lnTo>
                      <a:pt x="575" y="59"/>
                    </a:lnTo>
                    <a:lnTo>
                      <a:pt x="572" y="60"/>
                    </a:lnTo>
                    <a:lnTo>
                      <a:pt x="570" y="60"/>
                    </a:lnTo>
                    <a:lnTo>
                      <a:pt x="566" y="59"/>
                    </a:lnTo>
                    <a:lnTo>
                      <a:pt x="564" y="60"/>
                    </a:lnTo>
                    <a:lnTo>
                      <a:pt x="561" y="60"/>
                    </a:lnTo>
                    <a:lnTo>
                      <a:pt x="558" y="61"/>
                    </a:lnTo>
                    <a:lnTo>
                      <a:pt x="555" y="63"/>
                    </a:lnTo>
                    <a:lnTo>
                      <a:pt x="554" y="64"/>
                    </a:lnTo>
                    <a:lnTo>
                      <a:pt x="554" y="66"/>
                    </a:lnTo>
                    <a:lnTo>
                      <a:pt x="554" y="66"/>
                    </a:lnTo>
                    <a:lnTo>
                      <a:pt x="540" y="74"/>
                    </a:lnTo>
                    <a:lnTo>
                      <a:pt x="528" y="72"/>
                    </a:lnTo>
                    <a:lnTo>
                      <a:pt x="519" y="74"/>
                    </a:lnTo>
                    <a:lnTo>
                      <a:pt x="514" y="75"/>
                    </a:lnTo>
                    <a:lnTo>
                      <a:pt x="510" y="79"/>
                    </a:lnTo>
                    <a:lnTo>
                      <a:pt x="507" y="83"/>
                    </a:lnTo>
                    <a:lnTo>
                      <a:pt x="506" y="89"/>
                    </a:lnTo>
                    <a:lnTo>
                      <a:pt x="506" y="93"/>
                    </a:lnTo>
                    <a:lnTo>
                      <a:pt x="506" y="96"/>
                    </a:lnTo>
                    <a:lnTo>
                      <a:pt x="506" y="97"/>
                    </a:lnTo>
                    <a:lnTo>
                      <a:pt x="507" y="100"/>
                    </a:lnTo>
                    <a:lnTo>
                      <a:pt x="507" y="103"/>
                    </a:lnTo>
                    <a:lnTo>
                      <a:pt x="508" y="104"/>
                    </a:lnTo>
                    <a:lnTo>
                      <a:pt x="510" y="105"/>
                    </a:lnTo>
                    <a:lnTo>
                      <a:pt x="511" y="107"/>
                    </a:lnTo>
                    <a:lnTo>
                      <a:pt x="514" y="107"/>
                    </a:lnTo>
                    <a:lnTo>
                      <a:pt x="515" y="107"/>
                    </a:lnTo>
                    <a:lnTo>
                      <a:pt x="518" y="108"/>
                    </a:lnTo>
                    <a:lnTo>
                      <a:pt x="519" y="110"/>
                    </a:lnTo>
                    <a:lnTo>
                      <a:pt x="521" y="111"/>
                    </a:lnTo>
                    <a:lnTo>
                      <a:pt x="522" y="112"/>
                    </a:lnTo>
                    <a:lnTo>
                      <a:pt x="524" y="114"/>
                    </a:lnTo>
                    <a:lnTo>
                      <a:pt x="525" y="116"/>
                    </a:lnTo>
                    <a:lnTo>
                      <a:pt x="526" y="116"/>
                    </a:lnTo>
                    <a:lnTo>
                      <a:pt x="526" y="118"/>
                    </a:lnTo>
                    <a:lnTo>
                      <a:pt x="526" y="118"/>
                    </a:lnTo>
                    <a:lnTo>
                      <a:pt x="526" y="123"/>
                    </a:lnTo>
                    <a:lnTo>
                      <a:pt x="526" y="127"/>
                    </a:lnTo>
                    <a:lnTo>
                      <a:pt x="529" y="133"/>
                    </a:lnTo>
                    <a:lnTo>
                      <a:pt x="530" y="137"/>
                    </a:lnTo>
                    <a:lnTo>
                      <a:pt x="533" y="141"/>
                    </a:lnTo>
                    <a:lnTo>
                      <a:pt x="536" y="144"/>
                    </a:lnTo>
                    <a:lnTo>
                      <a:pt x="539" y="147"/>
                    </a:lnTo>
                    <a:lnTo>
                      <a:pt x="539" y="147"/>
                    </a:lnTo>
                    <a:lnTo>
                      <a:pt x="500" y="147"/>
                    </a:lnTo>
                    <a:lnTo>
                      <a:pt x="496" y="147"/>
                    </a:lnTo>
                    <a:lnTo>
                      <a:pt x="491" y="145"/>
                    </a:lnTo>
                    <a:lnTo>
                      <a:pt x="486" y="143"/>
                    </a:lnTo>
                    <a:lnTo>
                      <a:pt x="482" y="140"/>
                    </a:lnTo>
                    <a:lnTo>
                      <a:pt x="480" y="137"/>
                    </a:lnTo>
                    <a:lnTo>
                      <a:pt x="477" y="134"/>
                    </a:lnTo>
                    <a:lnTo>
                      <a:pt x="474" y="133"/>
                    </a:lnTo>
                    <a:lnTo>
                      <a:pt x="474" y="132"/>
                    </a:lnTo>
                    <a:lnTo>
                      <a:pt x="464" y="122"/>
                    </a:lnTo>
                    <a:lnTo>
                      <a:pt x="452" y="123"/>
                    </a:lnTo>
                    <a:lnTo>
                      <a:pt x="444" y="130"/>
                    </a:lnTo>
                    <a:lnTo>
                      <a:pt x="436" y="134"/>
                    </a:lnTo>
                    <a:lnTo>
                      <a:pt x="426" y="136"/>
                    </a:lnTo>
                    <a:lnTo>
                      <a:pt x="418" y="137"/>
                    </a:lnTo>
                    <a:lnTo>
                      <a:pt x="409" y="136"/>
                    </a:lnTo>
                    <a:lnTo>
                      <a:pt x="403" y="136"/>
                    </a:lnTo>
                    <a:lnTo>
                      <a:pt x="397" y="134"/>
                    </a:lnTo>
                    <a:lnTo>
                      <a:pt x="394" y="134"/>
                    </a:lnTo>
                    <a:lnTo>
                      <a:pt x="392" y="134"/>
                    </a:lnTo>
                    <a:lnTo>
                      <a:pt x="389" y="134"/>
                    </a:lnTo>
                    <a:lnTo>
                      <a:pt x="386" y="134"/>
                    </a:lnTo>
                    <a:lnTo>
                      <a:pt x="383" y="133"/>
                    </a:lnTo>
                    <a:lnTo>
                      <a:pt x="381" y="133"/>
                    </a:lnTo>
                    <a:lnTo>
                      <a:pt x="379" y="133"/>
                    </a:lnTo>
                    <a:lnTo>
                      <a:pt x="376" y="132"/>
                    </a:lnTo>
                    <a:lnTo>
                      <a:pt x="376" y="132"/>
                    </a:lnTo>
                    <a:lnTo>
                      <a:pt x="375" y="138"/>
                    </a:lnTo>
                    <a:lnTo>
                      <a:pt x="371" y="144"/>
                    </a:lnTo>
                    <a:lnTo>
                      <a:pt x="365" y="148"/>
                    </a:lnTo>
                    <a:lnTo>
                      <a:pt x="361" y="152"/>
                    </a:lnTo>
                    <a:lnTo>
                      <a:pt x="356" y="156"/>
                    </a:lnTo>
                    <a:lnTo>
                      <a:pt x="352" y="158"/>
                    </a:lnTo>
                    <a:lnTo>
                      <a:pt x="348" y="159"/>
                    </a:lnTo>
                    <a:lnTo>
                      <a:pt x="348" y="160"/>
                    </a:lnTo>
                    <a:lnTo>
                      <a:pt x="341" y="171"/>
                    </a:lnTo>
                    <a:lnTo>
                      <a:pt x="332" y="171"/>
                    </a:lnTo>
                    <a:lnTo>
                      <a:pt x="320" y="173"/>
                    </a:lnTo>
                    <a:lnTo>
                      <a:pt x="320" y="167"/>
                    </a:lnTo>
                    <a:lnTo>
                      <a:pt x="320" y="166"/>
                    </a:lnTo>
                    <a:lnTo>
                      <a:pt x="319" y="162"/>
                    </a:lnTo>
                    <a:lnTo>
                      <a:pt x="316" y="156"/>
                    </a:lnTo>
                    <a:lnTo>
                      <a:pt x="312" y="151"/>
                    </a:lnTo>
                    <a:lnTo>
                      <a:pt x="306" y="144"/>
                    </a:lnTo>
                    <a:lnTo>
                      <a:pt x="299" y="138"/>
                    </a:lnTo>
                    <a:lnTo>
                      <a:pt x="291" y="136"/>
                    </a:lnTo>
                    <a:lnTo>
                      <a:pt x="282" y="133"/>
                    </a:lnTo>
                    <a:lnTo>
                      <a:pt x="280" y="133"/>
                    </a:lnTo>
                    <a:lnTo>
                      <a:pt x="279" y="133"/>
                    </a:lnTo>
                    <a:lnTo>
                      <a:pt x="277" y="133"/>
                    </a:lnTo>
                    <a:lnTo>
                      <a:pt x="275" y="132"/>
                    </a:lnTo>
                    <a:lnTo>
                      <a:pt x="272" y="130"/>
                    </a:lnTo>
                    <a:lnTo>
                      <a:pt x="269" y="130"/>
                    </a:lnTo>
                    <a:lnTo>
                      <a:pt x="266" y="129"/>
                    </a:lnTo>
                    <a:lnTo>
                      <a:pt x="265" y="127"/>
                    </a:lnTo>
                    <a:lnTo>
                      <a:pt x="262" y="126"/>
                    </a:lnTo>
                    <a:lnTo>
                      <a:pt x="258" y="125"/>
                    </a:lnTo>
                    <a:lnTo>
                      <a:pt x="251" y="125"/>
                    </a:lnTo>
                    <a:lnTo>
                      <a:pt x="244" y="125"/>
                    </a:lnTo>
                    <a:lnTo>
                      <a:pt x="237" y="125"/>
                    </a:lnTo>
                    <a:lnTo>
                      <a:pt x="229" y="127"/>
                    </a:lnTo>
                    <a:lnTo>
                      <a:pt x="221" y="132"/>
                    </a:lnTo>
                    <a:lnTo>
                      <a:pt x="213" y="137"/>
                    </a:lnTo>
                    <a:lnTo>
                      <a:pt x="213" y="119"/>
                    </a:lnTo>
                    <a:lnTo>
                      <a:pt x="213" y="115"/>
                    </a:lnTo>
                    <a:lnTo>
                      <a:pt x="213" y="114"/>
                    </a:lnTo>
                    <a:lnTo>
                      <a:pt x="211" y="111"/>
                    </a:lnTo>
                    <a:lnTo>
                      <a:pt x="210" y="110"/>
                    </a:lnTo>
                    <a:lnTo>
                      <a:pt x="209" y="108"/>
                    </a:lnTo>
                    <a:lnTo>
                      <a:pt x="207" y="107"/>
                    </a:lnTo>
                    <a:lnTo>
                      <a:pt x="206" y="107"/>
                    </a:lnTo>
                    <a:lnTo>
                      <a:pt x="204" y="107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3" y="86"/>
                    </a:lnTo>
                    <a:lnTo>
                      <a:pt x="202" y="86"/>
                    </a:lnTo>
                    <a:lnTo>
                      <a:pt x="200" y="85"/>
                    </a:lnTo>
                    <a:lnTo>
                      <a:pt x="200" y="83"/>
                    </a:lnTo>
                    <a:lnTo>
                      <a:pt x="199" y="82"/>
                    </a:lnTo>
                    <a:lnTo>
                      <a:pt x="198" y="79"/>
                    </a:lnTo>
                    <a:lnTo>
                      <a:pt x="196" y="75"/>
                    </a:lnTo>
                    <a:lnTo>
                      <a:pt x="198" y="72"/>
                    </a:lnTo>
                    <a:lnTo>
                      <a:pt x="198" y="70"/>
                    </a:lnTo>
                    <a:lnTo>
                      <a:pt x="199" y="68"/>
                    </a:lnTo>
                    <a:lnTo>
                      <a:pt x="202" y="67"/>
                    </a:lnTo>
                    <a:lnTo>
                      <a:pt x="203" y="67"/>
                    </a:lnTo>
                    <a:lnTo>
                      <a:pt x="204" y="66"/>
                    </a:lnTo>
                    <a:lnTo>
                      <a:pt x="206" y="66"/>
                    </a:lnTo>
                    <a:lnTo>
                      <a:pt x="206" y="66"/>
                    </a:lnTo>
                    <a:lnTo>
                      <a:pt x="209" y="66"/>
                    </a:lnTo>
                    <a:lnTo>
                      <a:pt x="210" y="67"/>
                    </a:lnTo>
                    <a:lnTo>
                      <a:pt x="211" y="67"/>
                    </a:lnTo>
                    <a:lnTo>
                      <a:pt x="213" y="67"/>
                    </a:lnTo>
                    <a:lnTo>
                      <a:pt x="214" y="66"/>
                    </a:lnTo>
                    <a:lnTo>
                      <a:pt x="215" y="66"/>
                    </a:lnTo>
                    <a:lnTo>
                      <a:pt x="215" y="66"/>
                    </a:lnTo>
                    <a:lnTo>
                      <a:pt x="215" y="66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7" y="55"/>
                    </a:lnTo>
                    <a:lnTo>
                      <a:pt x="217" y="53"/>
                    </a:lnTo>
                    <a:lnTo>
                      <a:pt x="215" y="52"/>
                    </a:lnTo>
                    <a:lnTo>
                      <a:pt x="214" y="49"/>
                    </a:lnTo>
                    <a:lnTo>
                      <a:pt x="213" y="48"/>
                    </a:lnTo>
                    <a:lnTo>
                      <a:pt x="211" y="45"/>
                    </a:lnTo>
                    <a:lnTo>
                      <a:pt x="210" y="44"/>
                    </a:lnTo>
                    <a:lnTo>
                      <a:pt x="209" y="41"/>
                    </a:lnTo>
                    <a:lnTo>
                      <a:pt x="207" y="41"/>
                    </a:lnTo>
                    <a:lnTo>
                      <a:pt x="206" y="41"/>
                    </a:lnTo>
                    <a:lnTo>
                      <a:pt x="204" y="41"/>
                    </a:lnTo>
                    <a:lnTo>
                      <a:pt x="203" y="42"/>
                    </a:lnTo>
                    <a:lnTo>
                      <a:pt x="202" y="44"/>
                    </a:lnTo>
                    <a:lnTo>
                      <a:pt x="200" y="45"/>
                    </a:lnTo>
                    <a:lnTo>
                      <a:pt x="199" y="46"/>
                    </a:lnTo>
                    <a:lnTo>
                      <a:pt x="198" y="46"/>
                    </a:lnTo>
                    <a:lnTo>
                      <a:pt x="198" y="46"/>
                    </a:lnTo>
                    <a:lnTo>
                      <a:pt x="196" y="46"/>
                    </a:lnTo>
                    <a:lnTo>
                      <a:pt x="195" y="45"/>
                    </a:lnTo>
                    <a:lnTo>
                      <a:pt x="193" y="44"/>
                    </a:lnTo>
                    <a:lnTo>
                      <a:pt x="193" y="42"/>
                    </a:lnTo>
                    <a:lnTo>
                      <a:pt x="192" y="42"/>
                    </a:lnTo>
                    <a:lnTo>
                      <a:pt x="192" y="42"/>
                    </a:lnTo>
                    <a:lnTo>
                      <a:pt x="192" y="26"/>
                    </a:lnTo>
                    <a:lnTo>
                      <a:pt x="192" y="23"/>
                    </a:lnTo>
                    <a:lnTo>
                      <a:pt x="191" y="22"/>
                    </a:lnTo>
                    <a:lnTo>
                      <a:pt x="191" y="19"/>
                    </a:lnTo>
                    <a:lnTo>
                      <a:pt x="189" y="17"/>
                    </a:lnTo>
                    <a:lnTo>
                      <a:pt x="188" y="17"/>
                    </a:lnTo>
                    <a:lnTo>
                      <a:pt x="187" y="16"/>
                    </a:lnTo>
                    <a:lnTo>
                      <a:pt x="187" y="16"/>
                    </a:lnTo>
                    <a:lnTo>
                      <a:pt x="187" y="16"/>
                    </a:lnTo>
                    <a:lnTo>
                      <a:pt x="178" y="15"/>
                    </a:lnTo>
                    <a:lnTo>
                      <a:pt x="17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4" name="Freeform 806"/>
              <p:cNvSpPr>
                <a:spLocks noEditPoints="1"/>
              </p:cNvSpPr>
              <p:nvPr/>
            </p:nvSpPr>
            <p:spPr bwMode="auto">
              <a:xfrm>
                <a:off x="3075" y="2017"/>
                <a:ext cx="2020" cy="172"/>
              </a:xfrm>
              <a:custGeom>
                <a:avLst/>
                <a:gdLst>
                  <a:gd name="T0" fmla="*/ 1630 w 2020"/>
                  <a:gd name="T1" fmla="*/ 169 h 172"/>
                  <a:gd name="T2" fmla="*/ 1678 w 2020"/>
                  <a:gd name="T3" fmla="*/ 172 h 172"/>
                  <a:gd name="T4" fmla="*/ 1752 w 2020"/>
                  <a:gd name="T5" fmla="*/ 44 h 172"/>
                  <a:gd name="T6" fmla="*/ 1554 w 2020"/>
                  <a:gd name="T7" fmla="*/ 0 h 172"/>
                  <a:gd name="T8" fmla="*/ 1555 w 2020"/>
                  <a:gd name="T9" fmla="*/ 5 h 172"/>
                  <a:gd name="T10" fmla="*/ 1591 w 2020"/>
                  <a:gd name="T11" fmla="*/ 52 h 172"/>
                  <a:gd name="T12" fmla="*/ 1626 w 2020"/>
                  <a:gd name="T13" fmla="*/ 75 h 172"/>
                  <a:gd name="T14" fmla="*/ 1666 w 2020"/>
                  <a:gd name="T15" fmla="*/ 58 h 172"/>
                  <a:gd name="T16" fmla="*/ 1692 w 2020"/>
                  <a:gd name="T17" fmla="*/ 47 h 172"/>
                  <a:gd name="T18" fmla="*/ 1670 w 2020"/>
                  <a:gd name="T19" fmla="*/ 103 h 172"/>
                  <a:gd name="T20" fmla="*/ 411 w 2020"/>
                  <a:gd name="T21" fmla="*/ 159 h 172"/>
                  <a:gd name="T22" fmla="*/ 426 w 2020"/>
                  <a:gd name="T23" fmla="*/ 144 h 172"/>
                  <a:gd name="T24" fmla="*/ 458 w 2020"/>
                  <a:gd name="T25" fmla="*/ 135 h 172"/>
                  <a:gd name="T26" fmla="*/ 451 w 2020"/>
                  <a:gd name="T27" fmla="*/ 107 h 172"/>
                  <a:gd name="T28" fmla="*/ 382 w 2020"/>
                  <a:gd name="T29" fmla="*/ 111 h 172"/>
                  <a:gd name="T30" fmla="*/ 367 w 2020"/>
                  <a:gd name="T31" fmla="*/ 167 h 172"/>
                  <a:gd name="T32" fmla="*/ 245 w 2020"/>
                  <a:gd name="T33" fmla="*/ 172 h 172"/>
                  <a:gd name="T34" fmla="*/ 238 w 2020"/>
                  <a:gd name="T35" fmla="*/ 166 h 172"/>
                  <a:gd name="T36" fmla="*/ 222 w 2020"/>
                  <a:gd name="T37" fmla="*/ 152 h 172"/>
                  <a:gd name="T38" fmla="*/ 210 w 2020"/>
                  <a:gd name="T39" fmla="*/ 137 h 172"/>
                  <a:gd name="T40" fmla="*/ 218 w 2020"/>
                  <a:gd name="T41" fmla="*/ 125 h 172"/>
                  <a:gd name="T42" fmla="*/ 229 w 2020"/>
                  <a:gd name="T43" fmla="*/ 115 h 172"/>
                  <a:gd name="T44" fmla="*/ 211 w 2020"/>
                  <a:gd name="T45" fmla="*/ 107 h 172"/>
                  <a:gd name="T46" fmla="*/ 194 w 2020"/>
                  <a:gd name="T47" fmla="*/ 125 h 172"/>
                  <a:gd name="T48" fmla="*/ 203 w 2020"/>
                  <a:gd name="T49" fmla="*/ 136 h 172"/>
                  <a:gd name="T50" fmla="*/ 180 w 2020"/>
                  <a:gd name="T51" fmla="*/ 144 h 172"/>
                  <a:gd name="T52" fmla="*/ 184 w 2020"/>
                  <a:gd name="T53" fmla="*/ 133 h 172"/>
                  <a:gd name="T54" fmla="*/ 187 w 2020"/>
                  <a:gd name="T55" fmla="*/ 126 h 172"/>
                  <a:gd name="T56" fmla="*/ 165 w 2020"/>
                  <a:gd name="T57" fmla="*/ 124 h 172"/>
                  <a:gd name="T58" fmla="*/ 126 w 2020"/>
                  <a:gd name="T59" fmla="*/ 113 h 172"/>
                  <a:gd name="T60" fmla="*/ 110 w 2020"/>
                  <a:gd name="T61" fmla="*/ 118 h 172"/>
                  <a:gd name="T62" fmla="*/ 97 w 2020"/>
                  <a:gd name="T63" fmla="*/ 119 h 172"/>
                  <a:gd name="T64" fmla="*/ 96 w 2020"/>
                  <a:gd name="T65" fmla="*/ 77 h 172"/>
                  <a:gd name="T66" fmla="*/ 74 w 2020"/>
                  <a:gd name="T67" fmla="*/ 52 h 172"/>
                  <a:gd name="T68" fmla="*/ 45 w 2020"/>
                  <a:gd name="T69" fmla="*/ 56 h 172"/>
                  <a:gd name="T70" fmla="*/ 7 w 2020"/>
                  <a:gd name="T71" fmla="*/ 58 h 172"/>
                  <a:gd name="T72" fmla="*/ 8 w 2020"/>
                  <a:gd name="T73" fmla="*/ 45 h 172"/>
                  <a:gd name="T74" fmla="*/ 11 w 2020"/>
                  <a:gd name="T75" fmla="*/ 29 h 172"/>
                  <a:gd name="T76" fmla="*/ 44 w 2020"/>
                  <a:gd name="T77" fmla="*/ 9 h 172"/>
                  <a:gd name="T78" fmla="*/ 1452 w 2020"/>
                  <a:gd name="T79" fmla="*/ 0 h 172"/>
                  <a:gd name="T80" fmla="*/ 1428 w 2020"/>
                  <a:gd name="T81" fmla="*/ 36 h 172"/>
                  <a:gd name="T82" fmla="*/ 1363 w 2020"/>
                  <a:gd name="T83" fmla="*/ 12 h 172"/>
                  <a:gd name="T84" fmla="*/ 1316 w 2020"/>
                  <a:gd name="T85" fmla="*/ 38 h 172"/>
                  <a:gd name="T86" fmla="*/ 1264 w 2020"/>
                  <a:gd name="T87" fmla="*/ 26 h 172"/>
                  <a:gd name="T88" fmla="*/ 1203 w 2020"/>
                  <a:gd name="T89" fmla="*/ 14 h 172"/>
                  <a:gd name="T90" fmla="*/ 1151 w 2020"/>
                  <a:gd name="T91" fmla="*/ 18 h 172"/>
                  <a:gd name="T92" fmla="*/ 1125 w 2020"/>
                  <a:gd name="T93" fmla="*/ 33 h 172"/>
                  <a:gd name="T94" fmla="*/ 1107 w 2020"/>
                  <a:gd name="T95" fmla="*/ 59 h 172"/>
                  <a:gd name="T96" fmla="*/ 1049 w 2020"/>
                  <a:gd name="T97" fmla="*/ 26 h 172"/>
                  <a:gd name="T98" fmla="*/ 1009 w 2020"/>
                  <a:gd name="T99" fmla="*/ 31 h 172"/>
                  <a:gd name="T100" fmla="*/ 967 w 2020"/>
                  <a:gd name="T101" fmla="*/ 49 h 172"/>
                  <a:gd name="T102" fmla="*/ 954 w 2020"/>
                  <a:gd name="T103" fmla="*/ 64 h 172"/>
                  <a:gd name="T104" fmla="*/ 927 w 2020"/>
                  <a:gd name="T105" fmla="*/ 89 h 172"/>
                  <a:gd name="T106" fmla="*/ 903 w 2020"/>
                  <a:gd name="T107" fmla="*/ 102 h 172"/>
                  <a:gd name="T108" fmla="*/ 886 w 2020"/>
                  <a:gd name="T109" fmla="*/ 132 h 172"/>
                  <a:gd name="T110" fmla="*/ 861 w 2020"/>
                  <a:gd name="T111" fmla="*/ 148 h 172"/>
                  <a:gd name="T112" fmla="*/ 857 w 2020"/>
                  <a:gd name="T113" fmla="*/ 158 h 172"/>
                  <a:gd name="T114" fmla="*/ 846 w 2020"/>
                  <a:gd name="T115" fmla="*/ 162 h 172"/>
                  <a:gd name="T116" fmla="*/ 839 w 2020"/>
                  <a:gd name="T117" fmla="*/ 172 h 172"/>
                  <a:gd name="T118" fmla="*/ 2018 w 2020"/>
                  <a:gd name="T119" fmla="*/ 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20" h="172">
                    <a:moveTo>
                      <a:pt x="1632" y="152"/>
                    </a:moveTo>
                    <a:lnTo>
                      <a:pt x="1635" y="148"/>
                    </a:lnTo>
                    <a:lnTo>
                      <a:pt x="1637" y="147"/>
                    </a:lnTo>
                    <a:lnTo>
                      <a:pt x="1635" y="150"/>
                    </a:lnTo>
                    <a:lnTo>
                      <a:pt x="1635" y="154"/>
                    </a:lnTo>
                    <a:lnTo>
                      <a:pt x="1634" y="159"/>
                    </a:lnTo>
                    <a:lnTo>
                      <a:pt x="1631" y="163"/>
                    </a:lnTo>
                    <a:lnTo>
                      <a:pt x="1631" y="167"/>
                    </a:lnTo>
                    <a:lnTo>
                      <a:pt x="1630" y="169"/>
                    </a:lnTo>
                    <a:lnTo>
                      <a:pt x="1630" y="169"/>
                    </a:lnTo>
                    <a:lnTo>
                      <a:pt x="1630" y="169"/>
                    </a:lnTo>
                    <a:lnTo>
                      <a:pt x="1630" y="170"/>
                    </a:lnTo>
                    <a:lnTo>
                      <a:pt x="1630" y="170"/>
                    </a:lnTo>
                    <a:lnTo>
                      <a:pt x="1631" y="170"/>
                    </a:lnTo>
                    <a:lnTo>
                      <a:pt x="1631" y="172"/>
                    </a:lnTo>
                    <a:lnTo>
                      <a:pt x="1631" y="172"/>
                    </a:lnTo>
                    <a:lnTo>
                      <a:pt x="1631" y="172"/>
                    </a:lnTo>
                    <a:lnTo>
                      <a:pt x="1678" y="172"/>
                    </a:lnTo>
                    <a:lnTo>
                      <a:pt x="1690" y="155"/>
                    </a:lnTo>
                    <a:lnTo>
                      <a:pt x="1703" y="137"/>
                    </a:lnTo>
                    <a:lnTo>
                      <a:pt x="1715" y="117"/>
                    </a:lnTo>
                    <a:lnTo>
                      <a:pt x="1727" y="97"/>
                    </a:lnTo>
                    <a:lnTo>
                      <a:pt x="1737" y="81"/>
                    </a:lnTo>
                    <a:lnTo>
                      <a:pt x="1744" y="67"/>
                    </a:lnTo>
                    <a:lnTo>
                      <a:pt x="1749" y="58"/>
                    </a:lnTo>
                    <a:lnTo>
                      <a:pt x="1751" y="53"/>
                    </a:lnTo>
                    <a:lnTo>
                      <a:pt x="1752" y="44"/>
                    </a:lnTo>
                    <a:lnTo>
                      <a:pt x="1754" y="34"/>
                    </a:lnTo>
                    <a:lnTo>
                      <a:pt x="1756" y="26"/>
                    </a:lnTo>
                    <a:lnTo>
                      <a:pt x="1759" y="18"/>
                    </a:lnTo>
                    <a:lnTo>
                      <a:pt x="1763" y="11"/>
                    </a:lnTo>
                    <a:lnTo>
                      <a:pt x="1766" y="7"/>
                    </a:lnTo>
                    <a:lnTo>
                      <a:pt x="1767" y="3"/>
                    </a:lnTo>
                    <a:lnTo>
                      <a:pt x="1769" y="3"/>
                    </a:lnTo>
                    <a:lnTo>
                      <a:pt x="1769" y="0"/>
                    </a:lnTo>
                    <a:lnTo>
                      <a:pt x="1554" y="0"/>
                    </a:lnTo>
                    <a:lnTo>
                      <a:pt x="1554" y="0"/>
                    </a:lnTo>
                    <a:lnTo>
                      <a:pt x="1554" y="1"/>
                    </a:lnTo>
                    <a:lnTo>
                      <a:pt x="1554" y="1"/>
                    </a:lnTo>
                    <a:lnTo>
                      <a:pt x="1554" y="3"/>
                    </a:lnTo>
                    <a:lnTo>
                      <a:pt x="1554" y="3"/>
                    </a:lnTo>
                    <a:lnTo>
                      <a:pt x="1554" y="3"/>
                    </a:lnTo>
                    <a:lnTo>
                      <a:pt x="1554" y="4"/>
                    </a:lnTo>
                    <a:lnTo>
                      <a:pt x="1554" y="4"/>
                    </a:lnTo>
                    <a:lnTo>
                      <a:pt x="1555" y="5"/>
                    </a:lnTo>
                    <a:lnTo>
                      <a:pt x="1560" y="9"/>
                    </a:lnTo>
                    <a:lnTo>
                      <a:pt x="1565" y="15"/>
                    </a:lnTo>
                    <a:lnTo>
                      <a:pt x="1572" y="20"/>
                    </a:lnTo>
                    <a:lnTo>
                      <a:pt x="1577" y="29"/>
                    </a:lnTo>
                    <a:lnTo>
                      <a:pt x="1583" y="37"/>
                    </a:lnTo>
                    <a:lnTo>
                      <a:pt x="1587" y="45"/>
                    </a:lnTo>
                    <a:lnTo>
                      <a:pt x="1587" y="53"/>
                    </a:lnTo>
                    <a:lnTo>
                      <a:pt x="1588" y="53"/>
                    </a:lnTo>
                    <a:lnTo>
                      <a:pt x="1591" y="52"/>
                    </a:lnTo>
                    <a:lnTo>
                      <a:pt x="1597" y="52"/>
                    </a:lnTo>
                    <a:lnTo>
                      <a:pt x="1602" y="52"/>
                    </a:lnTo>
                    <a:lnTo>
                      <a:pt x="1608" y="52"/>
                    </a:lnTo>
                    <a:lnTo>
                      <a:pt x="1613" y="55"/>
                    </a:lnTo>
                    <a:lnTo>
                      <a:pt x="1619" y="60"/>
                    </a:lnTo>
                    <a:lnTo>
                      <a:pt x="1623" y="69"/>
                    </a:lnTo>
                    <a:lnTo>
                      <a:pt x="1623" y="70"/>
                    </a:lnTo>
                    <a:lnTo>
                      <a:pt x="1624" y="71"/>
                    </a:lnTo>
                    <a:lnTo>
                      <a:pt x="1626" y="75"/>
                    </a:lnTo>
                    <a:lnTo>
                      <a:pt x="1628" y="78"/>
                    </a:lnTo>
                    <a:lnTo>
                      <a:pt x="1632" y="80"/>
                    </a:lnTo>
                    <a:lnTo>
                      <a:pt x="1638" y="81"/>
                    </a:lnTo>
                    <a:lnTo>
                      <a:pt x="1645" y="78"/>
                    </a:lnTo>
                    <a:lnTo>
                      <a:pt x="1654" y="73"/>
                    </a:lnTo>
                    <a:lnTo>
                      <a:pt x="1654" y="71"/>
                    </a:lnTo>
                    <a:lnTo>
                      <a:pt x="1657" y="69"/>
                    </a:lnTo>
                    <a:lnTo>
                      <a:pt x="1661" y="63"/>
                    </a:lnTo>
                    <a:lnTo>
                      <a:pt x="1666" y="58"/>
                    </a:lnTo>
                    <a:lnTo>
                      <a:pt x="1671" y="51"/>
                    </a:lnTo>
                    <a:lnTo>
                      <a:pt x="1678" y="45"/>
                    </a:lnTo>
                    <a:lnTo>
                      <a:pt x="1683" y="41"/>
                    </a:lnTo>
                    <a:lnTo>
                      <a:pt x="1690" y="38"/>
                    </a:lnTo>
                    <a:lnTo>
                      <a:pt x="1690" y="38"/>
                    </a:lnTo>
                    <a:lnTo>
                      <a:pt x="1690" y="38"/>
                    </a:lnTo>
                    <a:lnTo>
                      <a:pt x="1692" y="40"/>
                    </a:lnTo>
                    <a:lnTo>
                      <a:pt x="1692" y="42"/>
                    </a:lnTo>
                    <a:lnTo>
                      <a:pt x="1692" y="47"/>
                    </a:lnTo>
                    <a:lnTo>
                      <a:pt x="1690" y="52"/>
                    </a:lnTo>
                    <a:lnTo>
                      <a:pt x="1689" y="59"/>
                    </a:lnTo>
                    <a:lnTo>
                      <a:pt x="1685" y="69"/>
                    </a:lnTo>
                    <a:lnTo>
                      <a:pt x="1685" y="70"/>
                    </a:lnTo>
                    <a:lnTo>
                      <a:pt x="1683" y="74"/>
                    </a:lnTo>
                    <a:lnTo>
                      <a:pt x="1681" y="80"/>
                    </a:lnTo>
                    <a:lnTo>
                      <a:pt x="1678" y="86"/>
                    </a:lnTo>
                    <a:lnTo>
                      <a:pt x="1674" y="95"/>
                    </a:lnTo>
                    <a:lnTo>
                      <a:pt x="1670" y="103"/>
                    </a:lnTo>
                    <a:lnTo>
                      <a:pt x="1664" y="110"/>
                    </a:lnTo>
                    <a:lnTo>
                      <a:pt x="1659" y="117"/>
                    </a:lnTo>
                    <a:lnTo>
                      <a:pt x="1638" y="140"/>
                    </a:lnTo>
                    <a:lnTo>
                      <a:pt x="1632" y="152"/>
                    </a:lnTo>
                    <a:close/>
                    <a:moveTo>
                      <a:pt x="839" y="172"/>
                    </a:moveTo>
                    <a:lnTo>
                      <a:pt x="415" y="172"/>
                    </a:lnTo>
                    <a:lnTo>
                      <a:pt x="412" y="165"/>
                    </a:lnTo>
                    <a:lnTo>
                      <a:pt x="411" y="162"/>
                    </a:lnTo>
                    <a:lnTo>
                      <a:pt x="411" y="159"/>
                    </a:lnTo>
                    <a:lnTo>
                      <a:pt x="412" y="156"/>
                    </a:lnTo>
                    <a:lnTo>
                      <a:pt x="412" y="155"/>
                    </a:lnTo>
                    <a:lnTo>
                      <a:pt x="414" y="154"/>
                    </a:lnTo>
                    <a:lnTo>
                      <a:pt x="414" y="152"/>
                    </a:lnTo>
                    <a:lnTo>
                      <a:pt x="414" y="151"/>
                    </a:lnTo>
                    <a:lnTo>
                      <a:pt x="415" y="151"/>
                    </a:lnTo>
                    <a:lnTo>
                      <a:pt x="418" y="148"/>
                    </a:lnTo>
                    <a:lnTo>
                      <a:pt x="422" y="146"/>
                    </a:lnTo>
                    <a:lnTo>
                      <a:pt x="426" y="144"/>
                    </a:lnTo>
                    <a:lnTo>
                      <a:pt x="430" y="144"/>
                    </a:lnTo>
                    <a:lnTo>
                      <a:pt x="436" y="144"/>
                    </a:lnTo>
                    <a:lnTo>
                      <a:pt x="438" y="144"/>
                    </a:lnTo>
                    <a:lnTo>
                      <a:pt x="441" y="144"/>
                    </a:lnTo>
                    <a:lnTo>
                      <a:pt x="441" y="144"/>
                    </a:lnTo>
                    <a:lnTo>
                      <a:pt x="448" y="143"/>
                    </a:lnTo>
                    <a:lnTo>
                      <a:pt x="452" y="141"/>
                    </a:lnTo>
                    <a:lnTo>
                      <a:pt x="455" y="137"/>
                    </a:lnTo>
                    <a:lnTo>
                      <a:pt x="458" y="135"/>
                    </a:lnTo>
                    <a:lnTo>
                      <a:pt x="459" y="130"/>
                    </a:lnTo>
                    <a:lnTo>
                      <a:pt x="460" y="128"/>
                    </a:lnTo>
                    <a:lnTo>
                      <a:pt x="460" y="126"/>
                    </a:lnTo>
                    <a:lnTo>
                      <a:pt x="460" y="125"/>
                    </a:lnTo>
                    <a:lnTo>
                      <a:pt x="462" y="121"/>
                    </a:lnTo>
                    <a:lnTo>
                      <a:pt x="460" y="118"/>
                    </a:lnTo>
                    <a:lnTo>
                      <a:pt x="459" y="114"/>
                    </a:lnTo>
                    <a:lnTo>
                      <a:pt x="456" y="111"/>
                    </a:lnTo>
                    <a:lnTo>
                      <a:pt x="451" y="107"/>
                    </a:lnTo>
                    <a:lnTo>
                      <a:pt x="443" y="103"/>
                    </a:lnTo>
                    <a:lnTo>
                      <a:pt x="436" y="100"/>
                    </a:lnTo>
                    <a:lnTo>
                      <a:pt x="429" y="99"/>
                    </a:lnTo>
                    <a:lnTo>
                      <a:pt x="425" y="99"/>
                    </a:lnTo>
                    <a:lnTo>
                      <a:pt x="423" y="97"/>
                    </a:lnTo>
                    <a:lnTo>
                      <a:pt x="411" y="99"/>
                    </a:lnTo>
                    <a:lnTo>
                      <a:pt x="400" y="102"/>
                    </a:lnTo>
                    <a:lnTo>
                      <a:pt x="390" y="106"/>
                    </a:lnTo>
                    <a:lnTo>
                      <a:pt x="382" y="111"/>
                    </a:lnTo>
                    <a:lnTo>
                      <a:pt x="375" y="117"/>
                    </a:lnTo>
                    <a:lnTo>
                      <a:pt x="371" y="121"/>
                    </a:lnTo>
                    <a:lnTo>
                      <a:pt x="367" y="124"/>
                    </a:lnTo>
                    <a:lnTo>
                      <a:pt x="367" y="125"/>
                    </a:lnTo>
                    <a:lnTo>
                      <a:pt x="361" y="146"/>
                    </a:lnTo>
                    <a:lnTo>
                      <a:pt x="367" y="163"/>
                    </a:lnTo>
                    <a:lnTo>
                      <a:pt x="367" y="165"/>
                    </a:lnTo>
                    <a:lnTo>
                      <a:pt x="367" y="166"/>
                    </a:lnTo>
                    <a:lnTo>
                      <a:pt x="367" y="167"/>
                    </a:lnTo>
                    <a:lnTo>
                      <a:pt x="367" y="167"/>
                    </a:lnTo>
                    <a:lnTo>
                      <a:pt x="367" y="169"/>
                    </a:lnTo>
                    <a:lnTo>
                      <a:pt x="367" y="170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5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2"/>
                    </a:lnTo>
                    <a:lnTo>
                      <a:pt x="243" y="170"/>
                    </a:lnTo>
                    <a:lnTo>
                      <a:pt x="242" y="170"/>
                    </a:lnTo>
                    <a:lnTo>
                      <a:pt x="240" y="167"/>
                    </a:lnTo>
                    <a:lnTo>
                      <a:pt x="238" y="166"/>
                    </a:lnTo>
                    <a:lnTo>
                      <a:pt x="236" y="163"/>
                    </a:lnTo>
                    <a:lnTo>
                      <a:pt x="234" y="162"/>
                    </a:lnTo>
                    <a:lnTo>
                      <a:pt x="232" y="159"/>
                    </a:lnTo>
                    <a:lnTo>
                      <a:pt x="232" y="158"/>
                    </a:lnTo>
                    <a:lnTo>
                      <a:pt x="231" y="156"/>
                    </a:lnTo>
                    <a:lnTo>
                      <a:pt x="229" y="156"/>
                    </a:lnTo>
                    <a:lnTo>
                      <a:pt x="228" y="155"/>
                    </a:lnTo>
                    <a:lnTo>
                      <a:pt x="225" y="154"/>
                    </a:lnTo>
                    <a:lnTo>
                      <a:pt x="222" y="152"/>
                    </a:lnTo>
                    <a:lnTo>
                      <a:pt x="220" y="151"/>
                    </a:lnTo>
                    <a:lnTo>
                      <a:pt x="218" y="150"/>
                    </a:lnTo>
                    <a:lnTo>
                      <a:pt x="217" y="148"/>
                    </a:lnTo>
                    <a:lnTo>
                      <a:pt x="216" y="147"/>
                    </a:lnTo>
                    <a:lnTo>
                      <a:pt x="214" y="146"/>
                    </a:lnTo>
                    <a:lnTo>
                      <a:pt x="211" y="143"/>
                    </a:lnTo>
                    <a:lnTo>
                      <a:pt x="211" y="141"/>
                    </a:lnTo>
                    <a:lnTo>
                      <a:pt x="210" y="139"/>
                    </a:lnTo>
                    <a:lnTo>
                      <a:pt x="210" y="137"/>
                    </a:lnTo>
                    <a:lnTo>
                      <a:pt x="210" y="133"/>
                    </a:lnTo>
                    <a:lnTo>
                      <a:pt x="211" y="130"/>
                    </a:lnTo>
                    <a:lnTo>
                      <a:pt x="211" y="130"/>
                    </a:lnTo>
                    <a:lnTo>
                      <a:pt x="211" y="129"/>
                    </a:lnTo>
                    <a:lnTo>
                      <a:pt x="211" y="128"/>
                    </a:lnTo>
                    <a:lnTo>
                      <a:pt x="213" y="128"/>
                    </a:lnTo>
                    <a:lnTo>
                      <a:pt x="214" y="126"/>
                    </a:lnTo>
                    <a:lnTo>
                      <a:pt x="216" y="125"/>
                    </a:lnTo>
                    <a:lnTo>
                      <a:pt x="218" y="125"/>
                    </a:lnTo>
                    <a:lnTo>
                      <a:pt x="222" y="125"/>
                    </a:lnTo>
                    <a:lnTo>
                      <a:pt x="222" y="125"/>
                    </a:lnTo>
                    <a:lnTo>
                      <a:pt x="224" y="125"/>
                    </a:lnTo>
                    <a:lnTo>
                      <a:pt x="225" y="125"/>
                    </a:lnTo>
                    <a:lnTo>
                      <a:pt x="227" y="124"/>
                    </a:lnTo>
                    <a:lnTo>
                      <a:pt x="228" y="122"/>
                    </a:lnTo>
                    <a:lnTo>
                      <a:pt x="229" y="121"/>
                    </a:lnTo>
                    <a:lnTo>
                      <a:pt x="229" y="118"/>
                    </a:lnTo>
                    <a:lnTo>
                      <a:pt x="229" y="115"/>
                    </a:lnTo>
                    <a:lnTo>
                      <a:pt x="228" y="113"/>
                    </a:lnTo>
                    <a:lnTo>
                      <a:pt x="227" y="110"/>
                    </a:lnTo>
                    <a:lnTo>
                      <a:pt x="225" y="108"/>
                    </a:lnTo>
                    <a:lnTo>
                      <a:pt x="222" y="107"/>
                    </a:lnTo>
                    <a:lnTo>
                      <a:pt x="221" y="106"/>
                    </a:lnTo>
                    <a:lnTo>
                      <a:pt x="218" y="106"/>
                    </a:lnTo>
                    <a:lnTo>
                      <a:pt x="216" y="106"/>
                    </a:lnTo>
                    <a:lnTo>
                      <a:pt x="214" y="106"/>
                    </a:lnTo>
                    <a:lnTo>
                      <a:pt x="211" y="107"/>
                    </a:lnTo>
                    <a:lnTo>
                      <a:pt x="207" y="108"/>
                    </a:lnTo>
                    <a:lnTo>
                      <a:pt x="205" y="110"/>
                    </a:lnTo>
                    <a:lnTo>
                      <a:pt x="200" y="111"/>
                    </a:lnTo>
                    <a:lnTo>
                      <a:pt x="198" y="114"/>
                    </a:lnTo>
                    <a:lnTo>
                      <a:pt x="195" y="117"/>
                    </a:lnTo>
                    <a:lnTo>
                      <a:pt x="194" y="118"/>
                    </a:lnTo>
                    <a:lnTo>
                      <a:pt x="194" y="121"/>
                    </a:lnTo>
                    <a:lnTo>
                      <a:pt x="194" y="122"/>
                    </a:lnTo>
                    <a:lnTo>
                      <a:pt x="194" y="125"/>
                    </a:lnTo>
                    <a:lnTo>
                      <a:pt x="195" y="126"/>
                    </a:lnTo>
                    <a:lnTo>
                      <a:pt x="195" y="128"/>
                    </a:lnTo>
                    <a:lnTo>
                      <a:pt x="195" y="130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8" y="133"/>
                    </a:lnTo>
                    <a:lnTo>
                      <a:pt x="202" y="135"/>
                    </a:lnTo>
                    <a:lnTo>
                      <a:pt x="205" y="136"/>
                    </a:lnTo>
                    <a:lnTo>
                      <a:pt x="203" y="136"/>
                    </a:lnTo>
                    <a:lnTo>
                      <a:pt x="203" y="139"/>
                    </a:lnTo>
                    <a:lnTo>
                      <a:pt x="200" y="141"/>
                    </a:lnTo>
                    <a:lnTo>
                      <a:pt x="199" y="144"/>
                    </a:lnTo>
                    <a:lnTo>
                      <a:pt x="196" y="148"/>
                    </a:lnTo>
                    <a:lnTo>
                      <a:pt x="192" y="151"/>
                    </a:lnTo>
                    <a:lnTo>
                      <a:pt x="188" y="152"/>
                    </a:lnTo>
                    <a:lnTo>
                      <a:pt x="184" y="154"/>
                    </a:lnTo>
                    <a:lnTo>
                      <a:pt x="180" y="152"/>
                    </a:lnTo>
                    <a:lnTo>
                      <a:pt x="180" y="144"/>
                    </a:lnTo>
                    <a:lnTo>
                      <a:pt x="180" y="143"/>
                    </a:lnTo>
                    <a:lnTo>
                      <a:pt x="180" y="143"/>
                    </a:lnTo>
                    <a:lnTo>
                      <a:pt x="180" y="141"/>
                    </a:lnTo>
                    <a:lnTo>
                      <a:pt x="180" y="140"/>
                    </a:lnTo>
                    <a:lnTo>
                      <a:pt x="180" y="139"/>
                    </a:lnTo>
                    <a:lnTo>
                      <a:pt x="181" y="136"/>
                    </a:lnTo>
                    <a:lnTo>
                      <a:pt x="181" y="135"/>
                    </a:lnTo>
                    <a:lnTo>
                      <a:pt x="183" y="135"/>
                    </a:lnTo>
                    <a:lnTo>
                      <a:pt x="184" y="133"/>
                    </a:lnTo>
                    <a:lnTo>
                      <a:pt x="185" y="132"/>
                    </a:lnTo>
                    <a:lnTo>
                      <a:pt x="187" y="130"/>
                    </a:lnTo>
                    <a:lnTo>
                      <a:pt x="187" y="130"/>
                    </a:lnTo>
                    <a:lnTo>
                      <a:pt x="188" y="129"/>
                    </a:lnTo>
                    <a:lnTo>
                      <a:pt x="188" y="129"/>
                    </a:lnTo>
                    <a:lnTo>
                      <a:pt x="188" y="128"/>
                    </a:lnTo>
                    <a:lnTo>
                      <a:pt x="188" y="128"/>
                    </a:lnTo>
                    <a:lnTo>
                      <a:pt x="188" y="128"/>
                    </a:lnTo>
                    <a:lnTo>
                      <a:pt x="187" y="126"/>
                    </a:lnTo>
                    <a:lnTo>
                      <a:pt x="185" y="126"/>
                    </a:lnTo>
                    <a:lnTo>
                      <a:pt x="183" y="125"/>
                    </a:lnTo>
                    <a:lnTo>
                      <a:pt x="180" y="124"/>
                    </a:lnTo>
                    <a:lnTo>
                      <a:pt x="177" y="124"/>
                    </a:lnTo>
                    <a:lnTo>
                      <a:pt x="173" y="125"/>
                    </a:lnTo>
                    <a:lnTo>
                      <a:pt x="167" y="126"/>
                    </a:lnTo>
                    <a:lnTo>
                      <a:pt x="162" y="126"/>
                    </a:lnTo>
                    <a:lnTo>
                      <a:pt x="166" y="124"/>
                    </a:lnTo>
                    <a:lnTo>
                      <a:pt x="165" y="124"/>
                    </a:lnTo>
                    <a:lnTo>
                      <a:pt x="162" y="121"/>
                    </a:lnTo>
                    <a:lnTo>
                      <a:pt x="156" y="119"/>
                    </a:lnTo>
                    <a:lnTo>
                      <a:pt x="151" y="117"/>
                    </a:lnTo>
                    <a:lnTo>
                      <a:pt x="145" y="114"/>
                    </a:lnTo>
                    <a:lnTo>
                      <a:pt x="139" y="113"/>
                    </a:lnTo>
                    <a:lnTo>
                      <a:pt x="133" y="111"/>
                    </a:lnTo>
                    <a:lnTo>
                      <a:pt x="128" y="113"/>
                    </a:lnTo>
                    <a:lnTo>
                      <a:pt x="128" y="113"/>
                    </a:lnTo>
                    <a:lnTo>
                      <a:pt x="126" y="113"/>
                    </a:lnTo>
                    <a:lnTo>
                      <a:pt x="123" y="114"/>
                    </a:lnTo>
                    <a:lnTo>
                      <a:pt x="122" y="114"/>
                    </a:lnTo>
                    <a:lnTo>
                      <a:pt x="119" y="115"/>
                    </a:lnTo>
                    <a:lnTo>
                      <a:pt x="117" y="115"/>
                    </a:lnTo>
                    <a:lnTo>
                      <a:pt x="114" y="117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10" y="118"/>
                    </a:lnTo>
                    <a:lnTo>
                      <a:pt x="108" y="119"/>
                    </a:lnTo>
                    <a:lnTo>
                      <a:pt x="107" y="119"/>
                    </a:lnTo>
                    <a:lnTo>
                      <a:pt x="107" y="121"/>
                    </a:lnTo>
                    <a:lnTo>
                      <a:pt x="106" y="122"/>
                    </a:lnTo>
                    <a:lnTo>
                      <a:pt x="104" y="125"/>
                    </a:lnTo>
                    <a:lnTo>
                      <a:pt x="101" y="124"/>
                    </a:lnTo>
                    <a:lnTo>
                      <a:pt x="100" y="122"/>
                    </a:lnTo>
                    <a:lnTo>
                      <a:pt x="99" y="121"/>
                    </a:lnTo>
                    <a:lnTo>
                      <a:pt x="97" y="119"/>
                    </a:lnTo>
                    <a:lnTo>
                      <a:pt x="96" y="117"/>
                    </a:lnTo>
                    <a:lnTo>
                      <a:pt x="96" y="113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7" y="97"/>
                    </a:lnTo>
                    <a:lnTo>
                      <a:pt x="99" y="92"/>
                    </a:lnTo>
                    <a:lnTo>
                      <a:pt x="99" y="86"/>
                    </a:lnTo>
                    <a:lnTo>
                      <a:pt x="99" y="81"/>
                    </a:lnTo>
                    <a:lnTo>
                      <a:pt x="96" y="77"/>
                    </a:lnTo>
                    <a:lnTo>
                      <a:pt x="95" y="73"/>
                    </a:lnTo>
                    <a:lnTo>
                      <a:pt x="93" y="70"/>
                    </a:lnTo>
                    <a:lnTo>
                      <a:pt x="92" y="67"/>
                    </a:lnTo>
                    <a:lnTo>
                      <a:pt x="92" y="67"/>
                    </a:lnTo>
                    <a:lnTo>
                      <a:pt x="89" y="62"/>
                    </a:lnTo>
                    <a:lnTo>
                      <a:pt x="85" y="59"/>
                    </a:lnTo>
                    <a:lnTo>
                      <a:pt x="82" y="56"/>
                    </a:lnTo>
                    <a:lnTo>
                      <a:pt x="77" y="53"/>
                    </a:lnTo>
                    <a:lnTo>
                      <a:pt x="74" y="52"/>
                    </a:lnTo>
                    <a:lnTo>
                      <a:pt x="70" y="51"/>
                    </a:lnTo>
                    <a:lnTo>
                      <a:pt x="68" y="51"/>
                    </a:lnTo>
                    <a:lnTo>
                      <a:pt x="67" y="51"/>
                    </a:lnTo>
                    <a:lnTo>
                      <a:pt x="67" y="53"/>
                    </a:lnTo>
                    <a:lnTo>
                      <a:pt x="64" y="55"/>
                    </a:lnTo>
                    <a:lnTo>
                      <a:pt x="60" y="56"/>
                    </a:lnTo>
                    <a:lnTo>
                      <a:pt x="55" y="56"/>
                    </a:lnTo>
                    <a:lnTo>
                      <a:pt x="49" y="56"/>
                    </a:lnTo>
                    <a:lnTo>
                      <a:pt x="45" y="56"/>
                    </a:lnTo>
                    <a:lnTo>
                      <a:pt x="41" y="56"/>
                    </a:lnTo>
                    <a:lnTo>
                      <a:pt x="40" y="55"/>
                    </a:lnTo>
                    <a:lnTo>
                      <a:pt x="34" y="52"/>
                    </a:lnTo>
                    <a:lnTo>
                      <a:pt x="29" y="51"/>
                    </a:lnTo>
                    <a:lnTo>
                      <a:pt x="23" y="51"/>
                    </a:lnTo>
                    <a:lnTo>
                      <a:pt x="18" y="52"/>
                    </a:lnTo>
                    <a:lnTo>
                      <a:pt x="12" y="53"/>
                    </a:lnTo>
                    <a:lnTo>
                      <a:pt x="9" y="56"/>
                    </a:lnTo>
                    <a:lnTo>
                      <a:pt x="7" y="58"/>
                    </a:lnTo>
                    <a:lnTo>
                      <a:pt x="5" y="58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8"/>
                    </a:lnTo>
                    <a:lnTo>
                      <a:pt x="1" y="47"/>
                    </a:lnTo>
                    <a:lnTo>
                      <a:pt x="4" y="47"/>
                    </a:lnTo>
                    <a:lnTo>
                      <a:pt x="5" y="45"/>
                    </a:lnTo>
                    <a:lnTo>
                      <a:pt x="8" y="45"/>
                    </a:lnTo>
                    <a:lnTo>
                      <a:pt x="12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9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37"/>
                    </a:lnTo>
                    <a:lnTo>
                      <a:pt x="8" y="33"/>
                    </a:lnTo>
                    <a:lnTo>
                      <a:pt x="11" y="29"/>
                    </a:lnTo>
                    <a:lnTo>
                      <a:pt x="12" y="27"/>
                    </a:lnTo>
                    <a:lnTo>
                      <a:pt x="13" y="27"/>
                    </a:lnTo>
                    <a:lnTo>
                      <a:pt x="15" y="27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8" y="27"/>
                    </a:lnTo>
                    <a:lnTo>
                      <a:pt x="19" y="27"/>
                    </a:lnTo>
                    <a:lnTo>
                      <a:pt x="19" y="26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5"/>
                    </a:lnTo>
                    <a:lnTo>
                      <a:pt x="45" y="4"/>
                    </a:lnTo>
                    <a:lnTo>
                      <a:pt x="45" y="0"/>
                    </a:lnTo>
                    <a:lnTo>
                      <a:pt x="1452" y="0"/>
                    </a:lnTo>
                    <a:lnTo>
                      <a:pt x="1452" y="4"/>
                    </a:lnTo>
                    <a:lnTo>
                      <a:pt x="1452" y="7"/>
                    </a:lnTo>
                    <a:lnTo>
                      <a:pt x="1452" y="9"/>
                    </a:lnTo>
                    <a:lnTo>
                      <a:pt x="1452" y="12"/>
                    </a:lnTo>
                    <a:lnTo>
                      <a:pt x="1452" y="14"/>
                    </a:lnTo>
                    <a:lnTo>
                      <a:pt x="1452" y="15"/>
                    </a:lnTo>
                    <a:lnTo>
                      <a:pt x="1452" y="16"/>
                    </a:lnTo>
                    <a:lnTo>
                      <a:pt x="1452" y="16"/>
                    </a:lnTo>
                    <a:lnTo>
                      <a:pt x="1428" y="36"/>
                    </a:lnTo>
                    <a:lnTo>
                      <a:pt x="1404" y="26"/>
                    </a:lnTo>
                    <a:lnTo>
                      <a:pt x="1399" y="22"/>
                    </a:lnTo>
                    <a:lnTo>
                      <a:pt x="1392" y="19"/>
                    </a:lnTo>
                    <a:lnTo>
                      <a:pt x="1385" y="16"/>
                    </a:lnTo>
                    <a:lnTo>
                      <a:pt x="1378" y="14"/>
                    </a:lnTo>
                    <a:lnTo>
                      <a:pt x="1372" y="14"/>
                    </a:lnTo>
                    <a:lnTo>
                      <a:pt x="1368" y="12"/>
                    </a:lnTo>
                    <a:lnTo>
                      <a:pt x="1364" y="12"/>
                    </a:lnTo>
                    <a:lnTo>
                      <a:pt x="1363" y="12"/>
                    </a:lnTo>
                    <a:lnTo>
                      <a:pt x="1363" y="12"/>
                    </a:lnTo>
                    <a:lnTo>
                      <a:pt x="1363" y="14"/>
                    </a:lnTo>
                    <a:lnTo>
                      <a:pt x="1361" y="16"/>
                    </a:lnTo>
                    <a:lnTo>
                      <a:pt x="1359" y="19"/>
                    </a:lnTo>
                    <a:lnTo>
                      <a:pt x="1355" y="22"/>
                    </a:lnTo>
                    <a:lnTo>
                      <a:pt x="1349" y="26"/>
                    </a:lnTo>
                    <a:lnTo>
                      <a:pt x="1339" y="30"/>
                    </a:lnTo>
                    <a:lnTo>
                      <a:pt x="1328" y="36"/>
                    </a:lnTo>
                    <a:lnTo>
                      <a:pt x="1316" y="38"/>
                    </a:lnTo>
                    <a:lnTo>
                      <a:pt x="1305" y="41"/>
                    </a:lnTo>
                    <a:lnTo>
                      <a:pt x="1297" y="41"/>
                    </a:lnTo>
                    <a:lnTo>
                      <a:pt x="1291" y="41"/>
                    </a:lnTo>
                    <a:lnTo>
                      <a:pt x="1286" y="40"/>
                    </a:lnTo>
                    <a:lnTo>
                      <a:pt x="1283" y="38"/>
                    </a:lnTo>
                    <a:lnTo>
                      <a:pt x="1282" y="38"/>
                    </a:lnTo>
                    <a:lnTo>
                      <a:pt x="1280" y="38"/>
                    </a:lnTo>
                    <a:lnTo>
                      <a:pt x="1272" y="31"/>
                    </a:lnTo>
                    <a:lnTo>
                      <a:pt x="1264" y="26"/>
                    </a:lnTo>
                    <a:lnTo>
                      <a:pt x="1256" y="22"/>
                    </a:lnTo>
                    <a:lnTo>
                      <a:pt x="1246" y="18"/>
                    </a:lnTo>
                    <a:lnTo>
                      <a:pt x="1239" y="15"/>
                    </a:lnTo>
                    <a:lnTo>
                      <a:pt x="1231" y="12"/>
                    </a:lnTo>
                    <a:lnTo>
                      <a:pt x="1224" y="11"/>
                    </a:lnTo>
                    <a:lnTo>
                      <a:pt x="1218" y="12"/>
                    </a:lnTo>
                    <a:lnTo>
                      <a:pt x="1213" y="12"/>
                    </a:lnTo>
                    <a:lnTo>
                      <a:pt x="1209" y="14"/>
                    </a:lnTo>
                    <a:lnTo>
                      <a:pt x="1203" y="14"/>
                    </a:lnTo>
                    <a:lnTo>
                      <a:pt x="1198" y="14"/>
                    </a:lnTo>
                    <a:lnTo>
                      <a:pt x="1192" y="14"/>
                    </a:lnTo>
                    <a:lnTo>
                      <a:pt x="1187" y="12"/>
                    </a:lnTo>
                    <a:lnTo>
                      <a:pt x="1181" y="11"/>
                    </a:lnTo>
                    <a:lnTo>
                      <a:pt x="1176" y="9"/>
                    </a:lnTo>
                    <a:lnTo>
                      <a:pt x="1169" y="8"/>
                    </a:lnTo>
                    <a:lnTo>
                      <a:pt x="1163" y="9"/>
                    </a:lnTo>
                    <a:lnTo>
                      <a:pt x="1157" y="12"/>
                    </a:lnTo>
                    <a:lnTo>
                      <a:pt x="1151" y="18"/>
                    </a:lnTo>
                    <a:lnTo>
                      <a:pt x="1146" y="22"/>
                    </a:lnTo>
                    <a:lnTo>
                      <a:pt x="1141" y="26"/>
                    </a:lnTo>
                    <a:lnTo>
                      <a:pt x="1139" y="30"/>
                    </a:lnTo>
                    <a:lnTo>
                      <a:pt x="1137" y="31"/>
                    </a:lnTo>
                    <a:lnTo>
                      <a:pt x="1135" y="30"/>
                    </a:lnTo>
                    <a:lnTo>
                      <a:pt x="1132" y="30"/>
                    </a:lnTo>
                    <a:lnTo>
                      <a:pt x="1129" y="30"/>
                    </a:lnTo>
                    <a:lnTo>
                      <a:pt x="1126" y="31"/>
                    </a:lnTo>
                    <a:lnTo>
                      <a:pt x="1125" y="33"/>
                    </a:lnTo>
                    <a:lnTo>
                      <a:pt x="1124" y="34"/>
                    </a:lnTo>
                    <a:lnTo>
                      <a:pt x="1122" y="38"/>
                    </a:lnTo>
                    <a:lnTo>
                      <a:pt x="1121" y="42"/>
                    </a:lnTo>
                    <a:lnTo>
                      <a:pt x="1119" y="48"/>
                    </a:lnTo>
                    <a:lnTo>
                      <a:pt x="1118" y="51"/>
                    </a:lnTo>
                    <a:lnTo>
                      <a:pt x="1115" y="53"/>
                    </a:lnTo>
                    <a:lnTo>
                      <a:pt x="1113" y="56"/>
                    </a:lnTo>
                    <a:lnTo>
                      <a:pt x="1110" y="58"/>
                    </a:lnTo>
                    <a:lnTo>
                      <a:pt x="1107" y="59"/>
                    </a:lnTo>
                    <a:lnTo>
                      <a:pt x="1106" y="59"/>
                    </a:lnTo>
                    <a:lnTo>
                      <a:pt x="1104" y="59"/>
                    </a:lnTo>
                    <a:lnTo>
                      <a:pt x="1084" y="38"/>
                    </a:lnTo>
                    <a:lnTo>
                      <a:pt x="1078" y="33"/>
                    </a:lnTo>
                    <a:lnTo>
                      <a:pt x="1073" y="30"/>
                    </a:lnTo>
                    <a:lnTo>
                      <a:pt x="1066" y="27"/>
                    </a:lnTo>
                    <a:lnTo>
                      <a:pt x="1059" y="26"/>
                    </a:lnTo>
                    <a:lnTo>
                      <a:pt x="1053" y="26"/>
                    </a:lnTo>
                    <a:lnTo>
                      <a:pt x="1049" y="26"/>
                    </a:lnTo>
                    <a:lnTo>
                      <a:pt x="1046" y="26"/>
                    </a:lnTo>
                    <a:lnTo>
                      <a:pt x="1045" y="26"/>
                    </a:lnTo>
                    <a:lnTo>
                      <a:pt x="1034" y="22"/>
                    </a:lnTo>
                    <a:lnTo>
                      <a:pt x="1026" y="20"/>
                    </a:lnTo>
                    <a:lnTo>
                      <a:pt x="1020" y="22"/>
                    </a:lnTo>
                    <a:lnTo>
                      <a:pt x="1016" y="25"/>
                    </a:lnTo>
                    <a:lnTo>
                      <a:pt x="1012" y="27"/>
                    </a:lnTo>
                    <a:lnTo>
                      <a:pt x="1011" y="30"/>
                    </a:lnTo>
                    <a:lnTo>
                      <a:pt x="1009" y="31"/>
                    </a:lnTo>
                    <a:lnTo>
                      <a:pt x="1009" y="33"/>
                    </a:lnTo>
                    <a:lnTo>
                      <a:pt x="983" y="34"/>
                    </a:lnTo>
                    <a:lnTo>
                      <a:pt x="979" y="36"/>
                    </a:lnTo>
                    <a:lnTo>
                      <a:pt x="975" y="37"/>
                    </a:lnTo>
                    <a:lnTo>
                      <a:pt x="972" y="38"/>
                    </a:lnTo>
                    <a:lnTo>
                      <a:pt x="969" y="41"/>
                    </a:lnTo>
                    <a:lnTo>
                      <a:pt x="968" y="44"/>
                    </a:lnTo>
                    <a:lnTo>
                      <a:pt x="967" y="47"/>
                    </a:lnTo>
                    <a:lnTo>
                      <a:pt x="967" y="49"/>
                    </a:lnTo>
                    <a:lnTo>
                      <a:pt x="967" y="51"/>
                    </a:lnTo>
                    <a:lnTo>
                      <a:pt x="967" y="52"/>
                    </a:lnTo>
                    <a:lnTo>
                      <a:pt x="967" y="55"/>
                    </a:lnTo>
                    <a:lnTo>
                      <a:pt x="965" y="58"/>
                    </a:lnTo>
                    <a:lnTo>
                      <a:pt x="965" y="59"/>
                    </a:lnTo>
                    <a:lnTo>
                      <a:pt x="964" y="62"/>
                    </a:lnTo>
                    <a:lnTo>
                      <a:pt x="961" y="63"/>
                    </a:lnTo>
                    <a:lnTo>
                      <a:pt x="958" y="64"/>
                    </a:lnTo>
                    <a:lnTo>
                      <a:pt x="954" y="64"/>
                    </a:lnTo>
                    <a:lnTo>
                      <a:pt x="950" y="64"/>
                    </a:lnTo>
                    <a:lnTo>
                      <a:pt x="945" y="66"/>
                    </a:lnTo>
                    <a:lnTo>
                      <a:pt x="941" y="69"/>
                    </a:lnTo>
                    <a:lnTo>
                      <a:pt x="938" y="71"/>
                    </a:lnTo>
                    <a:lnTo>
                      <a:pt x="934" y="75"/>
                    </a:lnTo>
                    <a:lnTo>
                      <a:pt x="931" y="80"/>
                    </a:lnTo>
                    <a:lnTo>
                      <a:pt x="930" y="82"/>
                    </a:lnTo>
                    <a:lnTo>
                      <a:pt x="928" y="86"/>
                    </a:lnTo>
                    <a:lnTo>
                      <a:pt x="927" y="89"/>
                    </a:lnTo>
                    <a:lnTo>
                      <a:pt x="925" y="92"/>
                    </a:lnTo>
                    <a:lnTo>
                      <a:pt x="924" y="95"/>
                    </a:lnTo>
                    <a:lnTo>
                      <a:pt x="923" y="96"/>
                    </a:lnTo>
                    <a:lnTo>
                      <a:pt x="920" y="97"/>
                    </a:lnTo>
                    <a:lnTo>
                      <a:pt x="917" y="99"/>
                    </a:lnTo>
                    <a:lnTo>
                      <a:pt x="914" y="100"/>
                    </a:lnTo>
                    <a:lnTo>
                      <a:pt x="910" y="100"/>
                    </a:lnTo>
                    <a:lnTo>
                      <a:pt x="908" y="100"/>
                    </a:lnTo>
                    <a:lnTo>
                      <a:pt x="903" y="102"/>
                    </a:lnTo>
                    <a:lnTo>
                      <a:pt x="899" y="103"/>
                    </a:lnTo>
                    <a:lnTo>
                      <a:pt x="897" y="104"/>
                    </a:lnTo>
                    <a:lnTo>
                      <a:pt x="894" y="108"/>
                    </a:lnTo>
                    <a:lnTo>
                      <a:pt x="891" y="111"/>
                    </a:lnTo>
                    <a:lnTo>
                      <a:pt x="890" y="115"/>
                    </a:lnTo>
                    <a:lnTo>
                      <a:pt x="890" y="119"/>
                    </a:lnTo>
                    <a:lnTo>
                      <a:pt x="888" y="124"/>
                    </a:lnTo>
                    <a:lnTo>
                      <a:pt x="888" y="128"/>
                    </a:lnTo>
                    <a:lnTo>
                      <a:pt x="886" y="132"/>
                    </a:lnTo>
                    <a:lnTo>
                      <a:pt x="884" y="136"/>
                    </a:lnTo>
                    <a:lnTo>
                      <a:pt x="881" y="140"/>
                    </a:lnTo>
                    <a:lnTo>
                      <a:pt x="877" y="143"/>
                    </a:lnTo>
                    <a:lnTo>
                      <a:pt x="875" y="146"/>
                    </a:lnTo>
                    <a:lnTo>
                      <a:pt x="872" y="147"/>
                    </a:lnTo>
                    <a:lnTo>
                      <a:pt x="869" y="147"/>
                    </a:lnTo>
                    <a:lnTo>
                      <a:pt x="866" y="147"/>
                    </a:lnTo>
                    <a:lnTo>
                      <a:pt x="864" y="148"/>
                    </a:lnTo>
                    <a:lnTo>
                      <a:pt x="861" y="148"/>
                    </a:lnTo>
                    <a:lnTo>
                      <a:pt x="859" y="150"/>
                    </a:lnTo>
                    <a:lnTo>
                      <a:pt x="858" y="150"/>
                    </a:lnTo>
                    <a:lnTo>
                      <a:pt x="857" y="151"/>
                    </a:lnTo>
                    <a:lnTo>
                      <a:pt x="858" y="152"/>
                    </a:lnTo>
                    <a:lnTo>
                      <a:pt x="858" y="154"/>
                    </a:lnTo>
                    <a:lnTo>
                      <a:pt x="858" y="154"/>
                    </a:lnTo>
                    <a:lnTo>
                      <a:pt x="858" y="155"/>
                    </a:lnTo>
                    <a:lnTo>
                      <a:pt x="858" y="156"/>
                    </a:lnTo>
                    <a:lnTo>
                      <a:pt x="857" y="158"/>
                    </a:lnTo>
                    <a:lnTo>
                      <a:pt x="857" y="159"/>
                    </a:lnTo>
                    <a:lnTo>
                      <a:pt x="855" y="161"/>
                    </a:lnTo>
                    <a:lnTo>
                      <a:pt x="855" y="161"/>
                    </a:lnTo>
                    <a:lnTo>
                      <a:pt x="855" y="161"/>
                    </a:lnTo>
                    <a:lnTo>
                      <a:pt x="854" y="161"/>
                    </a:lnTo>
                    <a:lnTo>
                      <a:pt x="853" y="161"/>
                    </a:lnTo>
                    <a:lnTo>
                      <a:pt x="850" y="161"/>
                    </a:lnTo>
                    <a:lnTo>
                      <a:pt x="848" y="162"/>
                    </a:lnTo>
                    <a:lnTo>
                      <a:pt x="846" y="162"/>
                    </a:lnTo>
                    <a:lnTo>
                      <a:pt x="843" y="163"/>
                    </a:lnTo>
                    <a:lnTo>
                      <a:pt x="840" y="166"/>
                    </a:lnTo>
                    <a:lnTo>
                      <a:pt x="840" y="166"/>
                    </a:lnTo>
                    <a:lnTo>
                      <a:pt x="839" y="167"/>
                    </a:lnTo>
                    <a:lnTo>
                      <a:pt x="839" y="167"/>
                    </a:lnTo>
                    <a:lnTo>
                      <a:pt x="839" y="169"/>
                    </a:lnTo>
                    <a:lnTo>
                      <a:pt x="839" y="169"/>
                    </a:lnTo>
                    <a:lnTo>
                      <a:pt x="839" y="170"/>
                    </a:lnTo>
                    <a:lnTo>
                      <a:pt x="839" y="172"/>
                    </a:lnTo>
                    <a:lnTo>
                      <a:pt x="839" y="172"/>
                    </a:lnTo>
                    <a:close/>
                    <a:moveTo>
                      <a:pt x="2016" y="0"/>
                    </a:moveTo>
                    <a:lnTo>
                      <a:pt x="2016" y="1"/>
                    </a:lnTo>
                    <a:lnTo>
                      <a:pt x="2018" y="1"/>
                    </a:lnTo>
                    <a:lnTo>
                      <a:pt x="2018" y="3"/>
                    </a:lnTo>
                    <a:lnTo>
                      <a:pt x="2018" y="3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18" y="4"/>
                    </a:lnTo>
                    <a:lnTo>
                      <a:pt x="2020" y="0"/>
                    </a:lnTo>
                    <a:lnTo>
                      <a:pt x="201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5" name="Freeform 807"/>
              <p:cNvSpPr>
                <a:spLocks/>
              </p:cNvSpPr>
              <p:nvPr/>
            </p:nvSpPr>
            <p:spPr bwMode="auto">
              <a:xfrm>
                <a:off x="3049" y="1672"/>
                <a:ext cx="2385" cy="345"/>
              </a:xfrm>
              <a:custGeom>
                <a:avLst/>
                <a:gdLst>
                  <a:gd name="T0" fmla="*/ 1802 w 2385"/>
                  <a:gd name="T1" fmla="*/ 298 h 345"/>
                  <a:gd name="T2" fmla="*/ 1785 w 2385"/>
                  <a:gd name="T3" fmla="*/ 266 h 345"/>
                  <a:gd name="T4" fmla="*/ 1756 w 2385"/>
                  <a:gd name="T5" fmla="*/ 271 h 345"/>
                  <a:gd name="T6" fmla="*/ 1734 w 2385"/>
                  <a:gd name="T7" fmla="*/ 261 h 345"/>
                  <a:gd name="T8" fmla="*/ 1775 w 2385"/>
                  <a:gd name="T9" fmla="*/ 188 h 345"/>
                  <a:gd name="T10" fmla="*/ 1884 w 2385"/>
                  <a:gd name="T11" fmla="*/ 136 h 345"/>
                  <a:gd name="T12" fmla="*/ 1917 w 2385"/>
                  <a:gd name="T13" fmla="*/ 136 h 345"/>
                  <a:gd name="T14" fmla="*/ 1928 w 2385"/>
                  <a:gd name="T15" fmla="*/ 119 h 345"/>
                  <a:gd name="T16" fmla="*/ 2060 w 2385"/>
                  <a:gd name="T17" fmla="*/ 74 h 345"/>
                  <a:gd name="T18" fmla="*/ 2078 w 2385"/>
                  <a:gd name="T19" fmla="*/ 60 h 345"/>
                  <a:gd name="T20" fmla="*/ 2097 w 2385"/>
                  <a:gd name="T21" fmla="*/ 58 h 345"/>
                  <a:gd name="T22" fmla="*/ 2085 w 2385"/>
                  <a:gd name="T23" fmla="*/ 85 h 345"/>
                  <a:gd name="T24" fmla="*/ 2106 w 2385"/>
                  <a:gd name="T25" fmla="*/ 82 h 345"/>
                  <a:gd name="T26" fmla="*/ 2133 w 2385"/>
                  <a:gd name="T27" fmla="*/ 47 h 345"/>
                  <a:gd name="T28" fmla="*/ 2132 w 2385"/>
                  <a:gd name="T29" fmla="*/ 70 h 345"/>
                  <a:gd name="T30" fmla="*/ 2085 w 2385"/>
                  <a:gd name="T31" fmla="*/ 150 h 345"/>
                  <a:gd name="T32" fmla="*/ 2016 w 2385"/>
                  <a:gd name="T33" fmla="*/ 243 h 345"/>
                  <a:gd name="T34" fmla="*/ 2023 w 2385"/>
                  <a:gd name="T35" fmla="*/ 286 h 345"/>
                  <a:gd name="T36" fmla="*/ 2042 w 2385"/>
                  <a:gd name="T37" fmla="*/ 345 h 345"/>
                  <a:gd name="T38" fmla="*/ 2118 w 2385"/>
                  <a:gd name="T39" fmla="*/ 254 h 345"/>
                  <a:gd name="T40" fmla="*/ 2125 w 2385"/>
                  <a:gd name="T41" fmla="*/ 211 h 345"/>
                  <a:gd name="T42" fmla="*/ 2130 w 2385"/>
                  <a:gd name="T43" fmla="*/ 180 h 345"/>
                  <a:gd name="T44" fmla="*/ 2125 w 2385"/>
                  <a:gd name="T45" fmla="*/ 170 h 345"/>
                  <a:gd name="T46" fmla="*/ 2129 w 2385"/>
                  <a:gd name="T47" fmla="*/ 151 h 345"/>
                  <a:gd name="T48" fmla="*/ 2154 w 2385"/>
                  <a:gd name="T49" fmla="*/ 143 h 345"/>
                  <a:gd name="T50" fmla="*/ 2163 w 2385"/>
                  <a:gd name="T51" fmla="*/ 126 h 345"/>
                  <a:gd name="T52" fmla="*/ 2170 w 2385"/>
                  <a:gd name="T53" fmla="*/ 114 h 345"/>
                  <a:gd name="T54" fmla="*/ 2195 w 2385"/>
                  <a:gd name="T55" fmla="*/ 107 h 345"/>
                  <a:gd name="T56" fmla="*/ 2233 w 2385"/>
                  <a:gd name="T57" fmla="*/ 91 h 345"/>
                  <a:gd name="T58" fmla="*/ 2275 w 2385"/>
                  <a:gd name="T59" fmla="*/ 74 h 345"/>
                  <a:gd name="T60" fmla="*/ 2339 w 2385"/>
                  <a:gd name="T61" fmla="*/ 36 h 345"/>
                  <a:gd name="T62" fmla="*/ 2357 w 2385"/>
                  <a:gd name="T63" fmla="*/ 37 h 345"/>
                  <a:gd name="T64" fmla="*/ 2382 w 2385"/>
                  <a:gd name="T65" fmla="*/ 22 h 345"/>
                  <a:gd name="T66" fmla="*/ 2381 w 2385"/>
                  <a:gd name="T67" fmla="*/ 14 h 345"/>
                  <a:gd name="T68" fmla="*/ 155 w 2385"/>
                  <a:gd name="T69" fmla="*/ 9 h 345"/>
                  <a:gd name="T70" fmla="*/ 155 w 2385"/>
                  <a:gd name="T71" fmla="*/ 42 h 345"/>
                  <a:gd name="T72" fmla="*/ 134 w 2385"/>
                  <a:gd name="T73" fmla="*/ 96 h 345"/>
                  <a:gd name="T74" fmla="*/ 143 w 2385"/>
                  <a:gd name="T75" fmla="*/ 99 h 345"/>
                  <a:gd name="T76" fmla="*/ 130 w 2385"/>
                  <a:gd name="T77" fmla="*/ 104 h 345"/>
                  <a:gd name="T78" fmla="*/ 100 w 2385"/>
                  <a:gd name="T79" fmla="*/ 115 h 345"/>
                  <a:gd name="T80" fmla="*/ 66 w 2385"/>
                  <a:gd name="T81" fmla="*/ 111 h 345"/>
                  <a:gd name="T82" fmla="*/ 50 w 2385"/>
                  <a:gd name="T83" fmla="*/ 126 h 345"/>
                  <a:gd name="T84" fmla="*/ 46 w 2385"/>
                  <a:gd name="T85" fmla="*/ 146 h 345"/>
                  <a:gd name="T86" fmla="*/ 56 w 2385"/>
                  <a:gd name="T87" fmla="*/ 178 h 345"/>
                  <a:gd name="T88" fmla="*/ 50 w 2385"/>
                  <a:gd name="T89" fmla="*/ 188 h 345"/>
                  <a:gd name="T90" fmla="*/ 34 w 2385"/>
                  <a:gd name="T91" fmla="*/ 178 h 345"/>
                  <a:gd name="T92" fmla="*/ 4 w 2385"/>
                  <a:gd name="T93" fmla="*/ 189 h 345"/>
                  <a:gd name="T94" fmla="*/ 0 w 2385"/>
                  <a:gd name="T95" fmla="*/ 217 h 345"/>
                  <a:gd name="T96" fmla="*/ 6 w 2385"/>
                  <a:gd name="T97" fmla="*/ 239 h 345"/>
                  <a:gd name="T98" fmla="*/ 17 w 2385"/>
                  <a:gd name="T99" fmla="*/ 239 h 345"/>
                  <a:gd name="T100" fmla="*/ 24 w 2385"/>
                  <a:gd name="T101" fmla="*/ 239 h 345"/>
                  <a:gd name="T102" fmla="*/ 35 w 2385"/>
                  <a:gd name="T103" fmla="*/ 249 h 345"/>
                  <a:gd name="T104" fmla="*/ 49 w 2385"/>
                  <a:gd name="T105" fmla="*/ 271 h 345"/>
                  <a:gd name="T106" fmla="*/ 50 w 2385"/>
                  <a:gd name="T107" fmla="*/ 293 h 345"/>
                  <a:gd name="T108" fmla="*/ 46 w 2385"/>
                  <a:gd name="T109" fmla="*/ 302 h 345"/>
                  <a:gd name="T110" fmla="*/ 66 w 2385"/>
                  <a:gd name="T111" fmla="*/ 331 h 345"/>
                  <a:gd name="T112" fmla="*/ 70 w 2385"/>
                  <a:gd name="T113" fmla="*/ 341 h 345"/>
                  <a:gd name="T114" fmla="*/ 1480 w 2385"/>
                  <a:gd name="T115" fmla="*/ 330 h 345"/>
                  <a:gd name="T116" fmla="*/ 1509 w 2385"/>
                  <a:gd name="T117" fmla="*/ 293 h 345"/>
                  <a:gd name="T118" fmla="*/ 1561 w 2385"/>
                  <a:gd name="T119" fmla="*/ 301 h 345"/>
                  <a:gd name="T120" fmla="*/ 1573 w 2385"/>
                  <a:gd name="T121" fmla="*/ 323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85" h="345">
                    <a:moveTo>
                      <a:pt x="1795" y="345"/>
                    </a:moveTo>
                    <a:lnTo>
                      <a:pt x="1799" y="316"/>
                    </a:lnTo>
                    <a:lnTo>
                      <a:pt x="1799" y="315"/>
                    </a:lnTo>
                    <a:lnTo>
                      <a:pt x="1800" y="310"/>
                    </a:lnTo>
                    <a:lnTo>
                      <a:pt x="1802" y="305"/>
                    </a:lnTo>
                    <a:lnTo>
                      <a:pt x="1802" y="298"/>
                    </a:lnTo>
                    <a:lnTo>
                      <a:pt x="1802" y="290"/>
                    </a:lnTo>
                    <a:lnTo>
                      <a:pt x="1802" y="283"/>
                    </a:lnTo>
                    <a:lnTo>
                      <a:pt x="1799" y="276"/>
                    </a:lnTo>
                    <a:lnTo>
                      <a:pt x="1795" y="271"/>
                    </a:lnTo>
                    <a:lnTo>
                      <a:pt x="1789" y="268"/>
                    </a:lnTo>
                    <a:lnTo>
                      <a:pt x="1785" y="266"/>
                    </a:lnTo>
                    <a:lnTo>
                      <a:pt x="1780" y="265"/>
                    </a:lnTo>
                    <a:lnTo>
                      <a:pt x="1775" y="266"/>
                    </a:lnTo>
                    <a:lnTo>
                      <a:pt x="1771" y="268"/>
                    </a:lnTo>
                    <a:lnTo>
                      <a:pt x="1766" y="269"/>
                    </a:lnTo>
                    <a:lnTo>
                      <a:pt x="1762" y="271"/>
                    </a:lnTo>
                    <a:lnTo>
                      <a:pt x="1756" y="271"/>
                    </a:lnTo>
                    <a:lnTo>
                      <a:pt x="1751" y="271"/>
                    </a:lnTo>
                    <a:lnTo>
                      <a:pt x="1747" y="269"/>
                    </a:lnTo>
                    <a:lnTo>
                      <a:pt x="1742" y="266"/>
                    </a:lnTo>
                    <a:lnTo>
                      <a:pt x="1738" y="265"/>
                    </a:lnTo>
                    <a:lnTo>
                      <a:pt x="1736" y="262"/>
                    </a:lnTo>
                    <a:lnTo>
                      <a:pt x="1734" y="261"/>
                    </a:lnTo>
                    <a:lnTo>
                      <a:pt x="1733" y="260"/>
                    </a:lnTo>
                    <a:lnTo>
                      <a:pt x="1733" y="258"/>
                    </a:lnTo>
                    <a:lnTo>
                      <a:pt x="1718" y="254"/>
                    </a:lnTo>
                    <a:lnTo>
                      <a:pt x="1747" y="225"/>
                    </a:lnTo>
                    <a:lnTo>
                      <a:pt x="1749" y="216"/>
                    </a:lnTo>
                    <a:lnTo>
                      <a:pt x="1775" y="188"/>
                    </a:lnTo>
                    <a:lnTo>
                      <a:pt x="1832" y="126"/>
                    </a:lnTo>
                    <a:lnTo>
                      <a:pt x="1836" y="126"/>
                    </a:lnTo>
                    <a:lnTo>
                      <a:pt x="1844" y="128"/>
                    </a:lnTo>
                    <a:lnTo>
                      <a:pt x="1857" y="130"/>
                    </a:lnTo>
                    <a:lnTo>
                      <a:pt x="1870" y="133"/>
                    </a:lnTo>
                    <a:lnTo>
                      <a:pt x="1884" y="136"/>
                    </a:lnTo>
                    <a:lnTo>
                      <a:pt x="1898" y="137"/>
                    </a:lnTo>
                    <a:lnTo>
                      <a:pt x="1907" y="140"/>
                    </a:lnTo>
                    <a:lnTo>
                      <a:pt x="1913" y="140"/>
                    </a:lnTo>
                    <a:lnTo>
                      <a:pt x="1916" y="140"/>
                    </a:lnTo>
                    <a:lnTo>
                      <a:pt x="1917" y="137"/>
                    </a:lnTo>
                    <a:lnTo>
                      <a:pt x="1917" y="136"/>
                    </a:lnTo>
                    <a:lnTo>
                      <a:pt x="1917" y="133"/>
                    </a:lnTo>
                    <a:lnTo>
                      <a:pt x="1917" y="130"/>
                    </a:lnTo>
                    <a:lnTo>
                      <a:pt x="1917" y="128"/>
                    </a:lnTo>
                    <a:lnTo>
                      <a:pt x="1916" y="126"/>
                    </a:lnTo>
                    <a:lnTo>
                      <a:pt x="1916" y="126"/>
                    </a:lnTo>
                    <a:lnTo>
                      <a:pt x="1928" y="119"/>
                    </a:lnTo>
                    <a:lnTo>
                      <a:pt x="1942" y="121"/>
                    </a:lnTo>
                    <a:lnTo>
                      <a:pt x="1953" y="121"/>
                    </a:lnTo>
                    <a:lnTo>
                      <a:pt x="1961" y="143"/>
                    </a:lnTo>
                    <a:lnTo>
                      <a:pt x="2015" y="126"/>
                    </a:lnTo>
                    <a:lnTo>
                      <a:pt x="2013" y="114"/>
                    </a:lnTo>
                    <a:lnTo>
                      <a:pt x="2060" y="74"/>
                    </a:lnTo>
                    <a:lnTo>
                      <a:pt x="2062" y="73"/>
                    </a:lnTo>
                    <a:lnTo>
                      <a:pt x="2063" y="71"/>
                    </a:lnTo>
                    <a:lnTo>
                      <a:pt x="2066" y="69"/>
                    </a:lnTo>
                    <a:lnTo>
                      <a:pt x="2070" y="66"/>
                    </a:lnTo>
                    <a:lnTo>
                      <a:pt x="2074" y="63"/>
                    </a:lnTo>
                    <a:lnTo>
                      <a:pt x="2078" y="60"/>
                    </a:lnTo>
                    <a:lnTo>
                      <a:pt x="2082" y="56"/>
                    </a:lnTo>
                    <a:lnTo>
                      <a:pt x="2088" y="55"/>
                    </a:lnTo>
                    <a:lnTo>
                      <a:pt x="2090" y="53"/>
                    </a:lnTo>
                    <a:lnTo>
                      <a:pt x="2095" y="53"/>
                    </a:lnTo>
                    <a:lnTo>
                      <a:pt x="2096" y="55"/>
                    </a:lnTo>
                    <a:lnTo>
                      <a:pt x="2097" y="58"/>
                    </a:lnTo>
                    <a:lnTo>
                      <a:pt x="2097" y="60"/>
                    </a:lnTo>
                    <a:lnTo>
                      <a:pt x="2096" y="64"/>
                    </a:lnTo>
                    <a:lnTo>
                      <a:pt x="2093" y="70"/>
                    </a:lnTo>
                    <a:lnTo>
                      <a:pt x="2089" y="75"/>
                    </a:lnTo>
                    <a:lnTo>
                      <a:pt x="2086" y="81"/>
                    </a:lnTo>
                    <a:lnTo>
                      <a:pt x="2085" y="85"/>
                    </a:lnTo>
                    <a:lnTo>
                      <a:pt x="2086" y="88"/>
                    </a:lnTo>
                    <a:lnTo>
                      <a:pt x="2089" y="88"/>
                    </a:lnTo>
                    <a:lnTo>
                      <a:pt x="2093" y="88"/>
                    </a:lnTo>
                    <a:lnTo>
                      <a:pt x="2097" y="86"/>
                    </a:lnTo>
                    <a:lnTo>
                      <a:pt x="2101" y="85"/>
                    </a:lnTo>
                    <a:lnTo>
                      <a:pt x="2106" y="82"/>
                    </a:lnTo>
                    <a:lnTo>
                      <a:pt x="2110" y="80"/>
                    </a:lnTo>
                    <a:lnTo>
                      <a:pt x="2115" y="73"/>
                    </a:lnTo>
                    <a:lnTo>
                      <a:pt x="2119" y="66"/>
                    </a:lnTo>
                    <a:lnTo>
                      <a:pt x="2125" y="59"/>
                    </a:lnTo>
                    <a:lnTo>
                      <a:pt x="2130" y="52"/>
                    </a:lnTo>
                    <a:lnTo>
                      <a:pt x="2133" y="47"/>
                    </a:lnTo>
                    <a:lnTo>
                      <a:pt x="2136" y="42"/>
                    </a:lnTo>
                    <a:lnTo>
                      <a:pt x="2137" y="40"/>
                    </a:lnTo>
                    <a:lnTo>
                      <a:pt x="2133" y="48"/>
                    </a:lnTo>
                    <a:lnTo>
                      <a:pt x="2132" y="55"/>
                    </a:lnTo>
                    <a:lnTo>
                      <a:pt x="2130" y="63"/>
                    </a:lnTo>
                    <a:lnTo>
                      <a:pt x="2132" y="70"/>
                    </a:lnTo>
                    <a:lnTo>
                      <a:pt x="2132" y="77"/>
                    </a:lnTo>
                    <a:lnTo>
                      <a:pt x="2133" y="81"/>
                    </a:lnTo>
                    <a:lnTo>
                      <a:pt x="2134" y="84"/>
                    </a:lnTo>
                    <a:lnTo>
                      <a:pt x="2134" y="85"/>
                    </a:lnTo>
                    <a:lnTo>
                      <a:pt x="2096" y="114"/>
                    </a:lnTo>
                    <a:lnTo>
                      <a:pt x="2085" y="150"/>
                    </a:lnTo>
                    <a:lnTo>
                      <a:pt x="2037" y="185"/>
                    </a:lnTo>
                    <a:lnTo>
                      <a:pt x="2020" y="232"/>
                    </a:lnTo>
                    <a:lnTo>
                      <a:pt x="2019" y="233"/>
                    </a:lnTo>
                    <a:lnTo>
                      <a:pt x="2019" y="235"/>
                    </a:lnTo>
                    <a:lnTo>
                      <a:pt x="2018" y="239"/>
                    </a:lnTo>
                    <a:lnTo>
                      <a:pt x="2016" y="243"/>
                    </a:lnTo>
                    <a:lnTo>
                      <a:pt x="2015" y="247"/>
                    </a:lnTo>
                    <a:lnTo>
                      <a:pt x="2015" y="254"/>
                    </a:lnTo>
                    <a:lnTo>
                      <a:pt x="2016" y="261"/>
                    </a:lnTo>
                    <a:lnTo>
                      <a:pt x="2018" y="268"/>
                    </a:lnTo>
                    <a:lnTo>
                      <a:pt x="2020" y="276"/>
                    </a:lnTo>
                    <a:lnTo>
                      <a:pt x="2023" y="286"/>
                    </a:lnTo>
                    <a:lnTo>
                      <a:pt x="2027" y="297"/>
                    </a:lnTo>
                    <a:lnTo>
                      <a:pt x="2031" y="308"/>
                    </a:lnTo>
                    <a:lnTo>
                      <a:pt x="2034" y="319"/>
                    </a:lnTo>
                    <a:lnTo>
                      <a:pt x="2038" y="330"/>
                    </a:lnTo>
                    <a:lnTo>
                      <a:pt x="2041" y="338"/>
                    </a:lnTo>
                    <a:lnTo>
                      <a:pt x="2042" y="345"/>
                    </a:lnTo>
                    <a:lnTo>
                      <a:pt x="2046" y="345"/>
                    </a:lnTo>
                    <a:lnTo>
                      <a:pt x="2063" y="319"/>
                    </a:lnTo>
                    <a:lnTo>
                      <a:pt x="2101" y="264"/>
                    </a:lnTo>
                    <a:lnTo>
                      <a:pt x="2118" y="258"/>
                    </a:lnTo>
                    <a:lnTo>
                      <a:pt x="2118" y="257"/>
                    </a:lnTo>
                    <a:lnTo>
                      <a:pt x="2118" y="254"/>
                    </a:lnTo>
                    <a:lnTo>
                      <a:pt x="2117" y="250"/>
                    </a:lnTo>
                    <a:lnTo>
                      <a:pt x="2117" y="243"/>
                    </a:lnTo>
                    <a:lnTo>
                      <a:pt x="2118" y="236"/>
                    </a:lnTo>
                    <a:lnTo>
                      <a:pt x="2119" y="228"/>
                    </a:lnTo>
                    <a:lnTo>
                      <a:pt x="2121" y="220"/>
                    </a:lnTo>
                    <a:lnTo>
                      <a:pt x="2125" y="211"/>
                    </a:lnTo>
                    <a:lnTo>
                      <a:pt x="2129" y="203"/>
                    </a:lnTo>
                    <a:lnTo>
                      <a:pt x="2130" y="198"/>
                    </a:lnTo>
                    <a:lnTo>
                      <a:pt x="2132" y="191"/>
                    </a:lnTo>
                    <a:lnTo>
                      <a:pt x="2132" y="187"/>
                    </a:lnTo>
                    <a:lnTo>
                      <a:pt x="2132" y="183"/>
                    </a:lnTo>
                    <a:lnTo>
                      <a:pt x="2130" y="180"/>
                    </a:lnTo>
                    <a:lnTo>
                      <a:pt x="2130" y="178"/>
                    </a:lnTo>
                    <a:lnTo>
                      <a:pt x="2129" y="178"/>
                    </a:lnTo>
                    <a:lnTo>
                      <a:pt x="2129" y="177"/>
                    </a:lnTo>
                    <a:lnTo>
                      <a:pt x="2128" y="176"/>
                    </a:lnTo>
                    <a:lnTo>
                      <a:pt x="2126" y="173"/>
                    </a:lnTo>
                    <a:lnTo>
                      <a:pt x="2125" y="170"/>
                    </a:lnTo>
                    <a:lnTo>
                      <a:pt x="2125" y="167"/>
                    </a:lnTo>
                    <a:lnTo>
                      <a:pt x="2123" y="163"/>
                    </a:lnTo>
                    <a:lnTo>
                      <a:pt x="2123" y="161"/>
                    </a:lnTo>
                    <a:lnTo>
                      <a:pt x="2125" y="157"/>
                    </a:lnTo>
                    <a:lnTo>
                      <a:pt x="2126" y="154"/>
                    </a:lnTo>
                    <a:lnTo>
                      <a:pt x="2129" y="151"/>
                    </a:lnTo>
                    <a:lnTo>
                      <a:pt x="2130" y="148"/>
                    </a:lnTo>
                    <a:lnTo>
                      <a:pt x="2134" y="147"/>
                    </a:lnTo>
                    <a:lnTo>
                      <a:pt x="2137" y="146"/>
                    </a:lnTo>
                    <a:lnTo>
                      <a:pt x="2141" y="144"/>
                    </a:lnTo>
                    <a:lnTo>
                      <a:pt x="2147" y="143"/>
                    </a:lnTo>
                    <a:lnTo>
                      <a:pt x="2154" y="143"/>
                    </a:lnTo>
                    <a:lnTo>
                      <a:pt x="2156" y="141"/>
                    </a:lnTo>
                    <a:lnTo>
                      <a:pt x="2159" y="140"/>
                    </a:lnTo>
                    <a:lnTo>
                      <a:pt x="2161" y="139"/>
                    </a:lnTo>
                    <a:lnTo>
                      <a:pt x="2162" y="137"/>
                    </a:lnTo>
                    <a:lnTo>
                      <a:pt x="2163" y="132"/>
                    </a:lnTo>
                    <a:lnTo>
                      <a:pt x="2163" y="126"/>
                    </a:lnTo>
                    <a:lnTo>
                      <a:pt x="2163" y="121"/>
                    </a:lnTo>
                    <a:lnTo>
                      <a:pt x="2165" y="117"/>
                    </a:lnTo>
                    <a:lnTo>
                      <a:pt x="2165" y="115"/>
                    </a:lnTo>
                    <a:lnTo>
                      <a:pt x="2166" y="114"/>
                    </a:lnTo>
                    <a:lnTo>
                      <a:pt x="2167" y="114"/>
                    </a:lnTo>
                    <a:lnTo>
                      <a:pt x="2170" y="114"/>
                    </a:lnTo>
                    <a:lnTo>
                      <a:pt x="2174" y="115"/>
                    </a:lnTo>
                    <a:lnTo>
                      <a:pt x="2178" y="115"/>
                    </a:lnTo>
                    <a:lnTo>
                      <a:pt x="2183" y="114"/>
                    </a:lnTo>
                    <a:lnTo>
                      <a:pt x="2187" y="113"/>
                    </a:lnTo>
                    <a:lnTo>
                      <a:pt x="2191" y="110"/>
                    </a:lnTo>
                    <a:lnTo>
                      <a:pt x="2195" y="107"/>
                    </a:lnTo>
                    <a:lnTo>
                      <a:pt x="2200" y="102"/>
                    </a:lnTo>
                    <a:lnTo>
                      <a:pt x="2209" y="95"/>
                    </a:lnTo>
                    <a:lnTo>
                      <a:pt x="2216" y="89"/>
                    </a:lnTo>
                    <a:lnTo>
                      <a:pt x="2222" y="88"/>
                    </a:lnTo>
                    <a:lnTo>
                      <a:pt x="2228" y="88"/>
                    </a:lnTo>
                    <a:lnTo>
                      <a:pt x="2233" y="91"/>
                    </a:lnTo>
                    <a:lnTo>
                      <a:pt x="2236" y="93"/>
                    </a:lnTo>
                    <a:lnTo>
                      <a:pt x="2239" y="96"/>
                    </a:lnTo>
                    <a:lnTo>
                      <a:pt x="2240" y="99"/>
                    </a:lnTo>
                    <a:lnTo>
                      <a:pt x="2242" y="100"/>
                    </a:lnTo>
                    <a:lnTo>
                      <a:pt x="2268" y="91"/>
                    </a:lnTo>
                    <a:lnTo>
                      <a:pt x="2275" y="74"/>
                    </a:lnTo>
                    <a:lnTo>
                      <a:pt x="2291" y="59"/>
                    </a:lnTo>
                    <a:lnTo>
                      <a:pt x="2312" y="49"/>
                    </a:lnTo>
                    <a:lnTo>
                      <a:pt x="2317" y="36"/>
                    </a:lnTo>
                    <a:lnTo>
                      <a:pt x="2337" y="36"/>
                    </a:lnTo>
                    <a:lnTo>
                      <a:pt x="2337" y="36"/>
                    </a:lnTo>
                    <a:lnTo>
                      <a:pt x="2339" y="36"/>
                    </a:lnTo>
                    <a:lnTo>
                      <a:pt x="2341" y="36"/>
                    </a:lnTo>
                    <a:lnTo>
                      <a:pt x="2345" y="36"/>
                    </a:lnTo>
                    <a:lnTo>
                      <a:pt x="2348" y="36"/>
                    </a:lnTo>
                    <a:lnTo>
                      <a:pt x="2352" y="37"/>
                    </a:lnTo>
                    <a:lnTo>
                      <a:pt x="2355" y="37"/>
                    </a:lnTo>
                    <a:lnTo>
                      <a:pt x="2357" y="37"/>
                    </a:lnTo>
                    <a:lnTo>
                      <a:pt x="2361" y="37"/>
                    </a:lnTo>
                    <a:lnTo>
                      <a:pt x="2366" y="36"/>
                    </a:lnTo>
                    <a:lnTo>
                      <a:pt x="2370" y="33"/>
                    </a:lnTo>
                    <a:lnTo>
                      <a:pt x="2374" y="29"/>
                    </a:lnTo>
                    <a:lnTo>
                      <a:pt x="2378" y="26"/>
                    </a:lnTo>
                    <a:lnTo>
                      <a:pt x="2382" y="22"/>
                    </a:lnTo>
                    <a:lnTo>
                      <a:pt x="2383" y="20"/>
                    </a:lnTo>
                    <a:lnTo>
                      <a:pt x="2385" y="19"/>
                    </a:lnTo>
                    <a:lnTo>
                      <a:pt x="2385" y="19"/>
                    </a:lnTo>
                    <a:lnTo>
                      <a:pt x="2383" y="18"/>
                    </a:lnTo>
                    <a:lnTo>
                      <a:pt x="2382" y="15"/>
                    </a:lnTo>
                    <a:lnTo>
                      <a:pt x="2381" y="14"/>
                    </a:lnTo>
                    <a:lnTo>
                      <a:pt x="2378" y="11"/>
                    </a:lnTo>
                    <a:lnTo>
                      <a:pt x="2377" y="7"/>
                    </a:lnTo>
                    <a:lnTo>
                      <a:pt x="2374" y="4"/>
                    </a:lnTo>
                    <a:lnTo>
                      <a:pt x="2371" y="0"/>
                    </a:lnTo>
                    <a:lnTo>
                      <a:pt x="152" y="0"/>
                    </a:lnTo>
                    <a:lnTo>
                      <a:pt x="155" y="9"/>
                    </a:lnTo>
                    <a:lnTo>
                      <a:pt x="156" y="18"/>
                    </a:lnTo>
                    <a:lnTo>
                      <a:pt x="158" y="26"/>
                    </a:lnTo>
                    <a:lnTo>
                      <a:pt x="158" y="31"/>
                    </a:lnTo>
                    <a:lnTo>
                      <a:pt x="156" y="37"/>
                    </a:lnTo>
                    <a:lnTo>
                      <a:pt x="156" y="41"/>
                    </a:lnTo>
                    <a:lnTo>
                      <a:pt x="155" y="42"/>
                    </a:lnTo>
                    <a:lnTo>
                      <a:pt x="155" y="44"/>
                    </a:lnTo>
                    <a:lnTo>
                      <a:pt x="114" y="82"/>
                    </a:lnTo>
                    <a:lnTo>
                      <a:pt x="118" y="88"/>
                    </a:lnTo>
                    <a:lnTo>
                      <a:pt x="123" y="92"/>
                    </a:lnTo>
                    <a:lnTo>
                      <a:pt x="129" y="95"/>
                    </a:lnTo>
                    <a:lnTo>
                      <a:pt x="134" y="96"/>
                    </a:lnTo>
                    <a:lnTo>
                      <a:pt x="140" y="97"/>
                    </a:lnTo>
                    <a:lnTo>
                      <a:pt x="144" y="99"/>
                    </a:lnTo>
                    <a:lnTo>
                      <a:pt x="148" y="99"/>
                    </a:lnTo>
                    <a:lnTo>
                      <a:pt x="148" y="99"/>
                    </a:lnTo>
                    <a:lnTo>
                      <a:pt x="145" y="99"/>
                    </a:lnTo>
                    <a:lnTo>
                      <a:pt x="143" y="99"/>
                    </a:lnTo>
                    <a:lnTo>
                      <a:pt x="140" y="100"/>
                    </a:lnTo>
                    <a:lnTo>
                      <a:pt x="137" y="102"/>
                    </a:lnTo>
                    <a:lnTo>
                      <a:pt x="134" y="103"/>
                    </a:lnTo>
                    <a:lnTo>
                      <a:pt x="133" y="103"/>
                    </a:lnTo>
                    <a:lnTo>
                      <a:pt x="132" y="104"/>
                    </a:lnTo>
                    <a:lnTo>
                      <a:pt x="130" y="104"/>
                    </a:lnTo>
                    <a:lnTo>
                      <a:pt x="125" y="104"/>
                    </a:lnTo>
                    <a:lnTo>
                      <a:pt x="118" y="106"/>
                    </a:lnTo>
                    <a:lnTo>
                      <a:pt x="112" y="107"/>
                    </a:lnTo>
                    <a:lnTo>
                      <a:pt x="108" y="110"/>
                    </a:lnTo>
                    <a:lnTo>
                      <a:pt x="104" y="113"/>
                    </a:lnTo>
                    <a:lnTo>
                      <a:pt x="100" y="115"/>
                    </a:lnTo>
                    <a:lnTo>
                      <a:pt x="99" y="117"/>
                    </a:lnTo>
                    <a:lnTo>
                      <a:pt x="99" y="118"/>
                    </a:lnTo>
                    <a:lnTo>
                      <a:pt x="92" y="113"/>
                    </a:lnTo>
                    <a:lnTo>
                      <a:pt x="81" y="110"/>
                    </a:lnTo>
                    <a:lnTo>
                      <a:pt x="72" y="110"/>
                    </a:lnTo>
                    <a:lnTo>
                      <a:pt x="66" y="111"/>
                    </a:lnTo>
                    <a:lnTo>
                      <a:pt x="60" y="114"/>
                    </a:lnTo>
                    <a:lnTo>
                      <a:pt x="56" y="117"/>
                    </a:lnTo>
                    <a:lnTo>
                      <a:pt x="53" y="121"/>
                    </a:lnTo>
                    <a:lnTo>
                      <a:pt x="52" y="124"/>
                    </a:lnTo>
                    <a:lnTo>
                      <a:pt x="50" y="125"/>
                    </a:lnTo>
                    <a:lnTo>
                      <a:pt x="50" y="126"/>
                    </a:lnTo>
                    <a:lnTo>
                      <a:pt x="48" y="126"/>
                    </a:lnTo>
                    <a:lnTo>
                      <a:pt x="48" y="129"/>
                    </a:lnTo>
                    <a:lnTo>
                      <a:pt x="46" y="133"/>
                    </a:lnTo>
                    <a:lnTo>
                      <a:pt x="46" y="137"/>
                    </a:lnTo>
                    <a:lnTo>
                      <a:pt x="46" y="143"/>
                    </a:lnTo>
                    <a:lnTo>
                      <a:pt x="46" y="146"/>
                    </a:lnTo>
                    <a:lnTo>
                      <a:pt x="46" y="148"/>
                    </a:lnTo>
                    <a:lnTo>
                      <a:pt x="46" y="150"/>
                    </a:lnTo>
                    <a:lnTo>
                      <a:pt x="53" y="155"/>
                    </a:lnTo>
                    <a:lnTo>
                      <a:pt x="56" y="166"/>
                    </a:lnTo>
                    <a:lnTo>
                      <a:pt x="56" y="173"/>
                    </a:lnTo>
                    <a:lnTo>
                      <a:pt x="56" y="178"/>
                    </a:lnTo>
                    <a:lnTo>
                      <a:pt x="56" y="181"/>
                    </a:lnTo>
                    <a:lnTo>
                      <a:pt x="55" y="184"/>
                    </a:lnTo>
                    <a:lnTo>
                      <a:pt x="53" y="185"/>
                    </a:lnTo>
                    <a:lnTo>
                      <a:pt x="52" y="187"/>
                    </a:lnTo>
                    <a:lnTo>
                      <a:pt x="50" y="187"/>
                    </a:lnTo>
                    <a:lnTo>
                      <a:pt x="50" y="188"/>
                    </a:lnTo>
                    <a:lnTo>
                      <a:pt x="45" y="187"/>
                    </a:lnTo>
                    <a:lnTo>
                      <a:pt x="42" y="185"/>
                    </a:lnTo>
                    <a:lnTo>
                      <a:pt x="39" y="184"/>
                    </a:lnTo>
                    <a:lnTo>
                      <a:pt x="37" y="181"/>
                    </a:lnTo>
                    <a:lnTo>
                      <a:pt x="35" y="180"/>
                    </a:lnTo>
                    <a:lnTo>
                      <a:pt x="34" y="178"/>
                    </a:lnTo>
                    <a:lnTo>
                      <a:pt x="34" y="177"/>
                    </a:lnTo>
                    <a:lnTo>
                      <a:pt x="34" y="177"/>
                    </a:lnTo>
                    <a:lnTo>
                      <a:pt x="23" y="170"/>
                    </a:lnTo>
                    <a:lnTo>
                      <a:pt x="8" y="187"/>
                    </a:lnTo>
                    <a:lnTo>
                      <a:pt x="5" y="187"/>
                    </a:lnTo>
                    <a:lnTo>
                      <a:pt x="4" y="189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1" y="202"/>
                    </a:lnTo>
                    <a:lnTo>
                      <a:pt x="1" y="207"/>
                    </a:lnTo>
                    <a:lnTo>
                      <a:pt x="0" y="213"/>
                    </a:lnTo>
                    <a:lnTo>
                      <a:pt x="0" y="217"/>
                    </a:lnTo>
                    <a:lnTo>
                      <a:pt x="0" y="236"/>
                    </a:lnTo>
                    <a:lnTo>
                      <a:pt x="1" y="238"/>
                    </a:lnTo>
                    <a:lnTo>
                      <a:pt x="1" y="239"/>
                    </a:lnTo>
                    <a:lnTo>
                      <a:pt x="4" y="239"/>
                    </a:lnTo>
                    <a:lnTo>
                      <a:pt x="5" y="239"/>
                    </a:lnTo>
                    <a:lnTo>
                      <a:pt x="6" y="239"/>
                    </a:lnTo>
                    <a:lnTo>
                      <a:pt x="8" y="239"/>
                    </a:lnTo>
                    <a:lnTo>
                      <a:pt x="8" y="239"/>
                    </a:lnTo>
                    <a:lnTo>
                      <a:pt x="9" y="239"/>
                    </a:lnTo>
                    <a:lnTo>
                      <a:pt x="12" y="240"/>
                    </a:lnTo>
                    <a:lnTo>
                      <a:pt x="15" y="240"/>
                    </a:lnTo>
                    <a:lnTo>
                      <a:pt x="17" y="239"/>
                    </a:lnTo>
                    <a:lnTo>
                      <a:pt x="20" y="239"/>
                    </a:lnTo>
                    <a:lnTo>
                      <a:pt x="22" y="239"/>
                    </a:lnTo>
                    <a:lnTo>
                      <a:pt x="23" y="239"/>
                    </a:lnTo>
                    <a:lnTo>
                      <a:pt x="24" y="238"/>
                    </a:lnTo>
                    <a:lnTo>
                      <a:pt x="24" y="238"/>
                    </a:lnTo>
                    <a:lnTo>
                      <a:pt x="24" y="239"/>
                    </a:lnTo>
                    <a:lnTo>
                      <a:pt x="26" y="239"/>
                    </a:lnTo>
                    <a:lnTo>
                      <a:pt x="27" y="242"/>
                    </a:lnTo>
                    <a:lnTo>
                      <a:pt x="28" y="243"/>
                    </a:lnTo>
                    <a:lnTo>
                      <a:pt x="31" y="246"/>
                    </a:lnTo>
                    <a:lnTo>
                      <a:pt x="34" y="247"/>
                    </a:lnTo>
                    <a:lnTo>
                      <a:pt x="35" y="249"/>
                    </a:lnTo>
                    <a:lnTo>
                      <a:pt x="38" y="250"/>
                    </a:lnTo>
                    <a:lnTo>
                      <a:pt x="39" y="253"/>
                    </a:lnTo>
                    <a:lnTo>
                      <a:pt x="42" y="257"/>
                    </a:lnTo>
                    <a:lnTo>
                      <a:pt x="45" y="261"/>
                    </a:lnTo>
                    <a:lnTo>
                      <a:pt x="46" y="265"/>
                    </a:lnTo>
                    <a:lnTo>
                      <a:pt x="49" y="271"/>
                    </a:lnTo>
                    <a:lnTo>
                      <a:pt x="50" y="275"/>
                    </a:lnTo>
                    <a:lnTo>
                      <a:pt x="50" y="277"/>
                    </a:lnTo>
                    <a:lnTo>
                      <a:pt x="52" y="279"/>
                    </a:lnTo>
                    <a:lnTo>
                      <a:pt x="53" y="284"/>
                    </a:lnTo>
                    <a:lnTo>
                      <a:pt x="52" y="288"/>
                    </a:lnTo>
                    <a:lnTo>
                      <a:pt x="50" y="293"/>
                    </a:lnTo>
                    <a:lnTo>
                      <a:pt x="49" y="295"/>
                    </a:lnTo>
                    <a:lnTo>
                      <a:pt x="46" y="298"/>
                    </a:lnTo>
                    <a:lnTo>
                      <a:pt x="44" y="299"/>
                    </a:lnTo>
                    <a:lnTo>
                      <a:pt x="42" y="301"/>
                    </a:lnTo>
                    <a:lnTo>
                      <a:pt x="42" y="301"/>
                    </a:lnTo>
                    <a:lnTo>
                      <a:pt x="46" y="302"/>
                    </a:lnTo>
                    <a:lnTo>
                      <a:pt x="50" y="306"/>
                    </a:lnTo>
                    <a:lnTo>
                      <a:pt x="55" y="312"/>
                    </a:lnTo>
                    <a:lnTo>
                      <a:pt x="57" y="317"/>
                    </a:lnTo>
                    <a:lnTo>
                      <a:pt x="61" y="323"/>
                    </a:lnTo>
                    <a:lnTo>
                      <a:pt x="63" y="328"/>
                    </a:lnTo>
                    <a:lnTo>
                      <a:pt x="66" y="331"/>
                    </a:lnTo>
                    <a:lnTo>
                      <a:pt x="66" y="332"/>
                    </a:lnTo>
                    <a:lnTo>
                      <a:pt x="67" y="335"/>
                    </a:lnTo>
                    <a:lnTo>
                      <a:pt x="67" y="337"/>
                    </a:lnTo>
                    <a:lnTo>
                      <a:pt x="68" y="338"/>
                    </a:lnTo>
                    <a:lnTo>
                      <a:pt x="68" y="339"/>
                    </a:lnTo>
                    <a:lnTo>
                      <a:pt x="70" y="341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1" y="345"/>
                    </a:lnTo>
                    <a:lnTo>
                      <a:pt x="1478" y="345"/>
                    </a:lnTo>
                    <a:lnTo>
                      <a:pt x="1478" y="338"/>
                    </a:lnTo>
                    <a:lnTo>
                      <a:pt x="1480" y="330"/>
                    </a:lnTo>
                    <a:lnTo>
                      <a:pt x="1482" y="321"/>
                    </a:lnTo>
                    <a:lnTo>
                      <a:pt x="1485" y="313"/>
                    </a:lnTo>
                    <a:lnTo>
                      <a:pt x="1489" y="306"/>
                    </a:lnTo>
                    <a:lnTo>
                      <a:pt x="1495" y="299"/>
                    </a:lnTo>
                    <a:lnTo>
                      <a:pt x="1500" y="295"/>
                    </a:lnTo>
                    <a:lnTo>
                      <a:pt x="1509" y="293"/>
                    </a:lnTo>
                    <a:lnTo>
                      <a:pt x="1521" y="290"/>
                    </a:lnTo>
                    <a:lnTo>
                      <a:pt x="1532" y="290"/>
                    </a:lnTo>
                    <a:lnTo>
                      <a:pt x="1542" y="290"/>
                    </a:lnTo>
                    <a:lnTo>
                      <a:pt x="1548" y="293"/>
                    </a:lnTo>
                    <a:lnTo>
                      <a:pt x="1555" y="295"/>
                    </a:lnTo>
                    <a:lnTo>
                      <a:pt x="1561" y="301"/>
                    </a:lnTo>
                    <a:lnTo>
                      <a:pt x="1565" y="306"/>
                    </a:lnTo>
                    <a:lnTo>
                      <a:pt x="1569" y="313"/>
                    </a:lnTo>
                    <a:lnTo>
                      <a:pt x="1569" y="315"/>
                    </a:lnTo>
                    <a:lnTo>
                      <a:pt x="1569" y="316"/>
                    </a:lnTo>
                    <a:lnTo>
                      <a:pt x="1570" y="319"/>
                    </a:lnTo>
                    <a:lnTo>
                      <a:pt x="1573" y="323"/>
                    </a:lnTo>
                    <a:lnTo>
                      <a:pt x="1575" y="327"/>
                    </a:lnTo>
                    <a:lnTo>
                      <a:pt x="1576" y="332"/>
                    </a:lnTo>
                    <a:lnTo>
                      <a:pt x="1579" y="339"/>
                    </a:lnTo>
                    <a:lnTo>
                      <a:pt x="1580" y="345"/>
                    </a:lnTo>
                    <a:lnTo>
                      <a:pt x="1795" y="34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6" name="Freeform 808"/>
              <p:cNvSpPr>
                <a:spLocks/>
              </p:cNvSpPr>
              <p:nvPr/>
            </p:nvSpPr>
            <p:spPr bwMode="auto">
              <a:xfrm>
                <a:off x="3189" y="1500"/>
                <a:ext cx="2395" cy="172"/>
              </a:xfrm>
              <a:custGeom>
                <a:avLst/>
                <a:gdLst>
                  <a:gd name="T0" fmla="*/ 2215 w 2395"/>
                  <a:gd name="T1" fmla="*/ 154 h 172"/>
                  <a:gd name="T2" fmla="*/ 2204 w 2395"/>
                  <a:gd name="T3" fmla="*/ 135 h 172"/>
                  <a:gd name="T4" fmla="*/ 2226 w 2395"/>
                  <a:gd name="T5" fmla="*/ 129 h 172"/>
                  <a:gd name="T6" fmla="*/ 2265 w 2395"/>
                  <a:gd name="T7" fmla="*/ 70 h 172"/>
                  <a:gd name="T8" fmla="*/ 2320 w 2395"/>
                  <a:gd name="T9" fmla="*/ 120 h 172"/>
                  <a:gd name="T10" fmla="*/ 2348 w 2395"/>
                  <a:gd name="T11" fmla="*/ 137 h 172"/>
                  <a:gd name="T12" fmla="*/ 2359 w 2395"/>
                  <a:gd name="T13" fmla="*/ 98 h 172"/>
                  <a:gd name="T14" fmla="*/ 2393 w 2395"/>
                  <a:gd name="T15" fmla="*/ 87 h 172"/>
                  <a:gd name="T16" fmla="*/ 2371 w 2395"/>
                  <a:gd name="T17" fmla="*/ 60 h 172"/>
                  <a:gd name="T18" fmla="*/ 2331 w 2395"/>
                  <a:gd name="T19" fmla="*/ 45 h 172"/>
                  <a:gd name="T20" fmla="*/ 2312 w 2395"/>
                  <a:gd name="T21" fmla="*/ 25 h 172"/>
                  <a:gd name="T22" fmla="*/ 729 w 2395"/>
                  <a:gd name="T23" fmla="*/ 0 h 172"/>
                  <a:gd name="T24" fmla="*/ 729 w 2395"/>
                  <a:gd name="T25" fmla="*/ 4 h 172"/>
                  <a:gd name="T26" fmla="*/ 740 w 2395"/>
                  <a:gd name="T27" fmla="*/ 18 h 172"/>
                  <a:gd name="T28" fmla="*/ 752 w 2395"/>
                  <a:gd name="T29" fmla="*/ 15 h 172"/>
                  <a:gd name="T30" fmla="*/ 772 w 2395"/>
                  <a:gd name="T31" fmla="*/ 26 h 172"/>
                  <a:gd name="T32" fmla="*/ 772 w 2395"/>
                  <a:gd name="T33" fmla="*/ 37 h 172"/>
                  <a:gd name="T34" fmla="*/ 752 w 2395"/>
                  <a:gd name="T35" fmla="*/ 43 h 172"/>
                  <a:gd name="T36" fmla="*/ 751 w 2395"/>
                  <a:gd name="T37" fmla="*/ 65 h 172"/>
                  <a:gd name="T38" fmla="*/ 752 w 2395"/>
                  <a:gd name="T39" fmla="*/ 100 h 172"/>
                  <a:gd name="T40" fmla="*/ 737 w 2395"/>
                  <a:gd name="T41" fmla="*/ 95 h 172"/>
                  <a:gd name="T42" fmla="*/ 726 w 2395"/>
                  <a:gd name="T43" fmla="*/ 55 h 172"/>
                  <a:gd name="T44" fmla="*/ 714 w 2395"/>
                  <a:gd name="T45" fmla="*/ 49 h 172"/>
                  <a:gd name="T46" fmla="*/ 707 w 2395"/>
                  <a:gd name="T47" fmla="*/ 65 h 172"/>
                  <a:gd name="T48" fmla="*/ 696 w 2395"/>
                  <a:gd name="T49" fmla="*/ 67 h 172"/>
                  <a:gd name="T50" fmla="*/ 701 w 2395"/>
                  <a:gd name="T51" fmla="*/ 51 h 172"/>
                  <a:gd name="T52" fmla="*/ 664 w 2395"/>
                  <a:gd name="T53" fmla="*/ 0 h 172"/>
                  <a:gd name="T54" fmla="*/ 663 w 2395"/>
                  <a:gd name="T55" fmla="*/ 36 h 172"/>
                  <a:gd name="T56" fmla="*/ 653 w 2395"/>
                  <a:gd name="T57" fmla="*/ 59 h 172"/>
                  <a:gd name="T58" fmla="*/ 630 w 2395"/>
                  <a:gd name="T59" fmla="*/ 66 h 172"/>
                  <a:gd name="T60" fmla="*/ 594 w 2395"/>
                  <a:gd name="T61" fmla="*/ 66 h 172"/>
                  <a:gd name="T62" fmla="*/ 591 w 2395"/>
                  <a:gd name="T63" fmla="*/ 52 h 172"/>
                  <a:gd name="T64" fmla="*/ 627 w 2395"/>
                  <a:gd name="T65" fmla="*/ 45 h 172"/>
                  <a:gd name="T66" fmla="*/ 630 w 2395"/>
                  <a:gd name="T67" fmla="*/ 34 h 172"/>
                  <a:gd name="T68" fmla="*/ 627 w 2395"/>
                  <a:gd name="T69" fmla="*/ 22 h 172"/>
                  <a:gd name="T70" fmla="*/ 641 w 2395"/>
                  <a:gd name="T71" fmla="*/ 3 h 172"/>
                  <a:gd name="T72" fmla="*/ 276 w 2395"/>
                  <a:gd name="T73" fmla="*/ 22 h 172"/>
                  <a:gd name="T74" fmla="*/ 268 w 2395"/>
                  <a:gd name="T75" fmla="*/ 43 h 172"/>
                  <a:gd name="T76" fmla="*/ 246 w 2395"/>
                  <a:gd name="T77" fmla="*/ 10 h 172"/>
                  <a:gd name="T78" fmla="*/ 257 w 2395"/>
                  <a:gd name="T79" fmla="*/ 0 h 172"/>
                  <a:gd name="T80" fmla="*/ 221 w 2395"/>
                  <a:gd name="T81" fmla="*/ 29 h 172"/>
                  <a:gd name="T82" fmla="*/ 223 w 2395"/>
                  <a:gd name="T83" fmla="*/ 54 h 172"/>
                  <a:gd name="T84" fmla="*/ 197 w 2395"/>
                  <a:gd name="T85" fmla="*/ 54 h 172"/>
                  <a:gd name="T86" fmla="*/ 155 w 2395"/>
                  <a:gd name="T87" fmla="*/ 104 h 172"/>
                  <a:gd name="T88" fmla="*/ 122 w 2395"/>
                  <a:gd name="T89" fmla="*/ 107 h 172"/>
                  <a:gd name="T90" fmla="*/ 118 w 2395"/>
                  <a:gd name="T91" fmla="*/ 148 h 172"/>
                  <a:gd name="T92" fmla="*/ 95 w 2395"/>
                  <a:gd name="T93" fmla="*/ 135 h 172"/>
                  <a:gd name="T94" fmla="*/ 75 w 2395"/>
                  <a:gd name="T95" fmla="*/ 107 h 172"/>
                  <a:gd name="T96" fmla="*/ 80 w 2395"/>
                  <a:gd name="T97" fmla="*/ 87 h 172"/>
                  <a:gd name="T98" fmla="*/ 77 w 2395"/>
                  <a:gd name="T99" fmla="*/ 55 h 172"/>
                  <a:gd name="T100" fmla="*/ 142 w 2395"/>
                  <a:gd name="T101" fmla="*/ 74 h 172"/>
                  <a:gd name="T102" fmla="*/ 176 w 2395"/>
                  <a:gd name="T103" fmla="*/ 34 h 172"/>
                  <a:gd name="T104" fmla="*/ 176 w 2395"/>
                  <a:gd name="T105" fmla="*/ 8 h 172"/>
                  <a:gd name="T106" fmla="*/ 9 w 2395"/>
                  <a:gd name="T107" fmla="*/ 0 h 172"/>
                  <a:gd name="T108" fmla="*/ 4 w 2395"/>
                  <a:gd name="T109" fmla="*/ 155 h 172"/>
                  <a:gd name="T110" fmla="*/ 11 w 2395"/>
                  <a:gd name="T111" fmla="*/ 168 h 172"/>
                  <a:gd name="T112" fmla="*/ 12 w 2395"/>
                  <a:gd name="T113" fmla="*/ 17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95" h="172">
                    <a:moveTo>
                      <a:pt x="2231" y="172"/>
                    </a:moveTo>
                    <a:lnTo>
                      <a:pt x="2228" y="169"/>
                    </a:lnTo>
                    <a:lnTo>
                      <a:pt x="2226" y="165"/>
                    </a:lnTo>
                    <a:lnTo>
                      <a:pt x="2223" y="162"/>
                    </a:lnTo>
                    <a:lnTo>
                      <a:pt x="2220" y="159"/>
                    </a:lnTo>
                    <a:lnTo>
                      <a:pt x="2217" y="155"/>
                    </a:lnTo>
                    <a:lnTo>
                      <a:pt x="2215" y="154"/>
                    </a:lnTo>
                    <a:lnTo>
                      <a:pt x="2213" y="151"/>
                    </a:lnTo>
                    <a:lnTo>
                      <a:pt x="2210" y="151"/>
                    </a:lnTo>
                    <a:lnTo>
                      <a:pt x="2208" y="148"/>
                    </a:lnTo>
                    <a:lnTo>
                      <a:pt x="2205" y="144"/>
                    </a:lnTo>
                    <a:lnTo>
                      <a:pt x="2204" y="142"/>
                    </a:lnTo>
                    <a:lnTo>
                      <a:pt x="2204" y="137"/>
                    </a:lnTo>
                    <a:lnTo>
                      <a:pt x="2204" y="135"/>
                    </a:lnTo>
                    <a:lnTo>
                      <a:pt x="2205" y="132"/>
                    </a:lnTo>
                    <a:lnTo>
                      <a:pt x="2208" y="131"/>
                    </a:lnTo>
                    <a:lnTo>
                      <a:pt x="2210" y="132"/>
                    </a:lnTo>
                    <a:lnTo>
                      <a:pt x="2215" y="132"/>
                    </a:lnTo>
                    <a:lnTo>
                      <a:pt x="2219" y="132"/>
                    </a:lnTo>
                    <a:lnTo>
                      <a:pt x="2221" y="131"/>
                    </a:lnTo>
                    <a:lnTo>
                      <a:pt x="2226" y="129"/>
                    </a:lnTo>
                    <a:lnTo>
                      <a:pt x="2228" y="128"/>
                    </a:lnTo>
                    <a:lnTo>
                      <a:pt x="2230" y="125"/>
                    </a:lnTo>
                    <a:lnTo>
                      <a:pt x="2231" y="124"/>
                    </a:lnTo>
                    <a:lnTo>
                      <a:pt x="2232" y="124"/>
                    </a:lnTo>
                    <a:lnTo>
                      <a:pt x="2256" y="98"/>
                    </a:lnTo>
                    <a:lnTo>
                      <a:pt x="2254" y="78"/>
                    </a:lnTo>
                    <a:lnTo>
                      <a:pt x="2265" y="70"/>
                    </a:lnTo>
                    <a:lnTo>
                      <a:pt x="2278" y="91"/>
                    </a:lnTo>
                    <a:lnTo>
                      <a:pt x="2298" y="98"/>
                    </a:lnTo>
                    <a:lnTo>
                      <a:pt x="2300" y="99"/>
                    </a:lnTo>
                    <a:lnTo>
                      <a:pt x="2304" y="103"/>
                    </a:lnTo>
                    <a:lnTo>
                      <a:pt x="2308" y="107"/>
                    </a:lnTo>
                    <a:lnTo>
                      <a:pt x="2314" y="113"/>
                    </a:lnTo>
                    <a:lnTo>
                      <a:pt x="2320" y="120"/>
                    </a:lnTo>
                    <a:lnTo>
                      <a:pt x="2327" y="125"/>
                    </a:lnTo>
                    <a:lnTo>
                      <a:pt x="2333" y="131"/>
                    </a:lnTo>
                    <a:lnTo>
                      <a:pt x="2337" y="133"/>
                    </a:lnTo>
                    <a:lnTo>
                      <a:pt x="2340" y="136"/>
                    </a:lnTo>
                    <a:lnTo>
                      <a:pt x="2344" y="137"/>
                    </a:lnTo>
                    <a:lnTo>
                      <a:pt x="2345" y="137"/>
                    </a:lnTo>
                    <a:lnTo>
                      <a:pt x="2348" y="137"/>
                    </a:lnTo>
                    <a:lnTo>
                      <a:pt x="2349" y="137"/>
                    </a:lnTo>
                    <a:lnTo>
                      <a:pt x="2351" y="137"/>
                    </a:lnTo>
                    <a:lnTo>
                      <a:pt x="2351" y="136"/>
                    </a:lnTo>
                    <a:lnTo>
                      <a:pt x="2352" y="136"/>
                    </a:lnTo>
                    <a:lnTo>
                      <a:pt x="2356" y="106"/>
                    </a:lnTo>
                    <a:lnTo>
                      <a:pt x="2358" y="98"/>
                    </a:lnTo>
                    <a:lnTo>
                      <a:pt x="2359" y="98"/>
                    </a:lnTo>
                    <a:lnTo>
                      <a:pt x="2363" y="99"/>
                    </a:lnTo>
                    <a:lnTo>
                      <a:pt x="2367" y="99"/>
                    </a:lnTo>
                    <a:lnTo>
                      <a:pt x="2373" y="98"/>
                    </a:lnTo>
                    <a:lnTo>
                      <a:pt x="2378" y="98"/>
                    </a:lnTo>
                    <a:lnTo>
                      <a:pt x="2384" y="95"/>
                    </a:lnTo>
                    <a:lnTo>
                      <a:pt x="2389" y="92"/>
                    </a:lnTo>
                    <a:lnTo>
                      <a:pt x="2393" y="87"/>
                    </a:lnTo>
                    <a:lnTo>
                      <a:pt x="2395" y="84"/>
                    </a:lnTo>
                    <a:lnTo>
                      <a:pt x="2395" y="80"/>
                    </a:lnTo>
                    <a:lnTo>
                      <a:pt x="2395" y="77"/>
                    </a:lnTo>
                    <a:lnTo>
                      <a:pt x="2393" y="76"/>
                    </a:lnTo>
                    <a:lnTo>
                      <a:pt x="2388" y="70"/>
                    </a:lnTo>
                    <a:lnTo>
                      <a:pt x="2380" y="66"/>
                    </a:lnTo>
                    <a:lnTo>
                      <a:pt x="2371" y="60"/>
                    </a:lnTo>
                    <a:lnTo>
                      <a:pt x="2363" y="56"/>
                    </a:lnTo>
                    <a:lnTo>
                      <a:pt x="2355" y="52"/>
                    </a:lnTo>
                    <a:lnTo>
                      <a:pt x="2349" y="48"/>
                    </a:lnTo>
                    <a:lnTo>
                      <a:pt x="2344" y="45"/>
                    </a:lnTo>
                    <a:lnTo>
                      <a:pt x="2340" y="44"/>
                    </a:lnTo>
                    <a:lnTo>
                      <a:pt x="2336" y="44"/>
                    </a:lnTo>
                    <a:lnTo>
                      <a:pt x="2331" y="45"/>
                    </a:lnTo>
                    <a:lnTo>
                      <a:pt x="2329" y="48"/>
                    </a:lnTo>
                    <a:lnTo>
                      <a:pt x="2327" y="51"/>
                    </a:lnTo>
                    <a:lnTo>
                      <a:pt x="2326" y="52"/>
                    </a:lnTo>
                    <a:lnTo>
                      <a:pt x="2326" y="52"/>
                    </a:lnTo>
                    <a:lnTo>
                      <a:pt x="2318" y="34"/>
                    </a:lnTo>
                    <a:lnTo>
                      <a:pt x="2315" y="29"/>
                    </a:lnTo>
                    <a:lnTo>
                      <a:pt x="2312" y="25"/>
                    </a:lnTo>
                    <a:lnTo>
                      <a:pt x="2309" y="21"/>
                    </a:lnTo>
                    <a:lnTo>
                      <a:pt x="2305" y="15"/>
                    </a:lnTo>
                    <a:lnTo>
                      <a:pt x="2301" y="11"/>
                    </a:lnTo>
                    <a:lnTo>
                      <a:pt x="2298" y="7"/>
                    </a:lnTo>
                    <a:lnTo>
                      <a:pt x="2294" y="4"/>
                    </a:lnTo>
                    <a:lnTo>
                      <a:pt x="2290" y="0"/>
                    </a:lnTo>
                    <a:lnTo>
                      <a:pt x="729" y="0"/>
                    </a:lnTo>
                    <a:lnTo>
                      <a:pt x="729" y="0"/>
                    </a:lnTo>
                    <a:lnTo>
                      <a:pt x="729" y="1"/>
                    </a:lnTo>
                    <a:lnTo>
                      <a:pt x="729" y="1"/>
                    </a:lnTo>
                    <a:lnTo>
                      <a:pt x="729" y="1"/>
                    </a:lnTo>
                    <a:lnTo>
                      <a:pt x="729" y="3"/>
                    </a:lnTo>
                    <a:lnTo>
                      <a:pt x="729" y="3"/>
                    </a:lnTo>
                    <a:lnTo>
                      <a:pt x="729" y="4"/>
                    </a:lnTo>
                    <a:lnTo>
                      <a:pt x="729" y="4"/>
                    </a:lnTo>
                    <a:lnTo>
                      <a:pt x="730" y="10"/>
                    </a:lnTo>
                    <a:lnTo>
                      <a:pt x="732" y="12"/>
                    </a:lnTo>
                    <a:lnTo>
                      <a:pt x="733" y="15"/>
                    </a:lnTo>
                    <a:lnTo>
                      <a:pt x="736" y="16"/>
                    </a:lnTo>
                    <a:lnTo>
                      <a:pt x="739" y="16"/>
                    </a:lnTo>
                    <a:lnTo>
                      <a:pt x="740" y="18"/>
                    </a:lnTo>
                    <a:lnTo>
                      <a:pt x="741" y="16"/>
                    </a:lnTo>
                    <a:lnTo>
                      <a:pt x="741" y="16"/>
                    </a:lnTo>
                    <a:lnTo>
                      <a:pt x="743" y="16"/>
                    </a:lnTo>
                    <a:lnTo>
                      <a:pt x="744" y="16"/>
                    </a:lnTo>
                    <a:lnTo>
                      <a:pt x="747" y="16"/>
                    </a:lnTo>
                    <a:lnTo>
                      <a:pt x="750" y="15"/>
                    </a:lnTo>
                    <a:lnTo>
                      <a:pt x="752" y="15"/>
                    </a:lnTo>
                    <a:lnTo>
                      <a:pt x="755" y="16"/>
                    </a:lnTo>
                    <a:lnTo>
                      <a:pt x="758" y="18"/>
                    </a:lnTo>
                    <a:lnTo>
                      <a:pt x="759" y="19"/>
                    </a:lnTo>
                    <a:lnTo>
                      <a:pt x="762" y="22"/>
                    </a:lnTo>
                    <a:lnTo>
                      <a:pt x="765" y="23"/>
                    </a:lnTo>
                    <a:lnTo>
                      <a:pt x="769" y="25"/>
                    </a:lnTo>
                    <a:lnTo>
                      <a:pt x="772" y="26"/>
                    </a:lnTo>
                    <a:lnTo>
                      <a:pt x="776" y="27"/>
                    </a:lnTo>
                    <a:lnTo>
                      <a:pt x="778" y="27"/>
                    </a:lnTo>
                    <a:lnTo>
                      <a:pt x="780" y="27"/>
                    </a:lnTo>
                    <a:lnTo>
                      <a:pt x="781" y="27"/>
                    </a:lnTo>
                    <a:lnTo>
                      <a:pt x="778" y="32"/>
                    </a:lnTo>
                    <a:lnTo>
                      <a:pt x="776" y="34"/>
                    </a:lnTo>
                    <a:lnTo>
                      <a:pt x="772" y="37"/>
                    </a:lnTo>
                    <a:lnTo>
                      <a:pt x="769" y="38"/>
                    </a:lnTo>
                    <a:lnTo>
                      <a:pt x="765" y="40"/>
                    </a:lnTo>
                    <a:lnTo>
                      <a:pt x="762" y="40"/>
                    </a:lnTo>
                    <a:lnTo>
                      <a:pt x="759" y="41"/>
                    </a:lnTo>
                    <a:lnTo>
                      <a:pt x="758" y="41"/>
                    </a:lnTo>
                    <a:lnTo>
                      <a:pt x="755" y="41"/>
                    </a:lnTo>
                    <a:lnTo>
                      <a:pt x="752" y="43"/>
                    </a:lnTo>
                    <a:lnTo>
                      <a:pt x="750" y="45"/>
                    </a:lnTo>
                    <a:lnTo>
                      <a:pt x="748" y="48"/>
                    </a:lnTo>
                    <a:lnTo>
                      <a:pt x="747" y="52"/>
                    </a:lnTo>
                    <a:lnTo>
                      <a:pt x="747" y="55"/>
                    </a:lnTo>
                    <a:lnTo>
                      <a:pt x="747" y="58"/>
                    </a:lnTo>
                    <a:lnTo>
                      <a:pt x="748" y="60"/>
                    </a:lnTo>
                    <a:lnTo>
                      <a:pt x="751" y="65"/>
                    </a:lnTo>
                    <a:lnTo>
                      <a:pt x="752" y="69"/>
                    </a:lnTo>
                    <a:lnTo>
                      <a:pt x="754" y="74"/>
                    </a:lnTo>
                    <a:lnTo>
                      <a:pt x="754" y="80"/>
                    </a:lnTo>
                    <a:lnTo>
                      <a:pt x="755" y="87"/>
                    </a:lnTo>
                    <a:lnTo>
                      <a:pt x="755" y="92"/>
                    </a:lnTo>
                    <a:lnTo>
                      <a:pt x="754" y="96"/>
                    </a:lnTo>
                    <a:lnTo>
                      <a:pt x="752" y="100"/>
                    </a:lnTo>
                    <a:lnTo>
                      <a:pt x="751" y="103"/>
                    </a:lnTo>
                    <a:lnTo>
                      <a:pt x="748" y="104"/>
                    </a:lnTo>
                    <a:lnTo>
                      <a:pt x="745" y="104"/>
                    </a:lnTo>
                    <a:lnTo>
                      <a:pt x="743" y="103"/>
                    </a:lnTo>
                    <a:lnTo>
                      <a:pt x="741" y="100"/>
                    </a:lnTo>
                    <a:lnTo>
                      <a:pt x="739" y="98"/>
                    </a:lnTo>
                    <a:lnTo>
                      <a:pt x="737" y="95"/>
                    </a:lnTo>
                    <a:lnTo>
                      <a:pt x="737" y="89"/>
                    </a:lnTo>
                    <a:lnTo>
                      <a:pt x="737" y="84"/>
                    </a:lnTo>
                    <a:lnTo>
                      <a:pt x="736" y="78"/>
                    </a:lnTo>
                    <a:lnTo>
                      <a:pt x="733" y="73"/>
                    </a:lnTo>
                    <a:lnTo>
                      <a:pt x="732" y="66"/>
                    </a:lnTo>
                    <a:lnTo>
                      <a:pt x="729" y="60"/>
                    </a:lnTo>
                    <a:lnTo>
                      <a:pt x="726" y="55"/>
                    </a:lnTo>
                    <a:lnTo>
                      <a:pt x="725" y="51"/>
                    </a:lnTo>
                    <a:lnTo>
                      <a:pt x="722" y="48"/>
                    </a:lnTo>
                    <a:lnTo>
                      <a:pt x="721" y="47"/>
                    </a:lnTo>
                    <a:lnTo>
                      <a:pt x="719" y="47"/>
                    </a:lnTo>
                    <a:lnTo>
                      <a:pt x="718" y="47"/>
                    </a:lnTo>
                    <a:lnTo>
                      <a:pt x="717" y="48"/>
                    </a:lnTo>
                    <a:lnTo>
                      <a:pt x="714" y="49"/>
                    </a:lnTo>
                    <a:lnTo>
                      <a:pt x="712" y="51"/>
                    </a:lnTo>
                    <a:lnTo>
                      <a:pt x="712" y="54"/>
                    </a:lnTo>
                    <a:lnTo>
                      <a:pt x="711" y="55"/>
                    </a:lnTo>
                    <a:lnTo>
                      <a:pt x="711" y="58"/>
                    </a:lnTo>
                    <a:lnTo>
                      <a:pt x="710" y="59"/>
                    </a:lnTo>
                    <a:lnTo>
                      <a:pt x="708" y="62"/>
                    </a:lnTo>
                    <a:lnTo>
                      <a:pt x="707" y="65"/>
                    </a:lnTo>
                    <a:lnTo>
                      <a:pt x="706" y="67"/>
                    </a:lnTo>
                    <a:lnTo>
                      <a:pt x="704" y="69"/>
                    </a:lnTo>
                    <a:lnTo>
                      <a:pt x="701" y="70"/>
                    </a:lnTo>
                    <a:lnTo>
                      <a:pt x="699" y="70"/>
                    </a:lnTo>
                    <a:lnTo>
                      <a:pt x="697" y="70"/>
                    </a:lnTo>
                    <a:lnTo>
                      <a:pt x="696" y="69"/>
                    </a:lnTo>
                    <a:lnTo>
                      <a:pt x="696" y="67"/>
                    </a:lnTo>
                    <a:lnTo>
                      <a:pt x="696" y="66"/>
                    </a:lnTo>
                    <a:lnTo>
                      <a:pt x="697" y="63"/>
                    </a:lnTo>
                    <a:lnTo>
                      <a:pt x="697" y="62"/>
                    </a:lnTo>
                    <a:lnTo>
                      <a:pt x="699" y="60"/>
                    </a:lnTo>
                    <a:lnTo>
                      <a:pt x="699" y="60"/>
                    </a:lnTo>
                    <a:lnTo>
                      <a:pt x="700" y="56"/>
                    </a:lnTo>
                    <a:lnTo>
                      <a:pt x="701" y="51"/>
                    </a:lnTo>
                    <a:lnTo>
                      <a:pt x="703" y="44"/>
                    </a:lnTo>
                    <a:lnTo>
                      <a:pt x="704" y="36"/>
                    </a:lnTo>
                    <a:lnTo>
                      <a:pt x="704" y="27"/>
                    </a:lnTo>
                    <a:lnTo>
                      <a:pt x="706" y="18"/>
                    </a:lnTo>
                    <a:lnTo>
                      <a:pt x="706" y="8"/>
                    </a:lnTo>
                    <a:lnTo>
                      <a:pt x="706" y="0"/>
                    </a:lnTo>
                    <a:lnTo>
                      <a:pt x="664" y="0"/>
                    </a:lnTo>
                    <a:lnTo>
                      <a:pt x="664" y="6"/>
                    </a:lnTo>
                    <a:lnTo>
                      <a:pt x="664" y="11"/>
                    </a:lnTo>
                    <a:lnTo>
                      <a:pt x="664" y="16"/>
                    </a:lnTo>
                    <a:lnTo>
                      <a:pt x="664" y="22"/>
                    </a:lnTo>
                    <a:lnTo>
                      <a:pt x="664" y="27"/>
                    </a:lnTo>
                    <a:lnTo>
                      <a:pt x="663" y="32"/>
                    </a:lnTo>
                    <a:lnTo>
                      <a:pt x="663" y="36"/>
                    </a:lnTo>
                    <a:lnTo>
                      <a:pt x="663" y="38"/>
                    </a:lnTo>
                    <a:lnTo>
                      <a:pt x="663" y="43"/>
                    </a:lnTo>
                    <a:lnTo>
                      <a:pt x="661" y="47"/>
                    </a:lnTo>
                    <a:lnTo>
                      <a:pt x="660" y="51"/>
                    </a:lnTo>
                    <a:lnTo>
                      <a:pt x="659" y="54"/>
                    </a:lnTo>
                    <a:lnTo>
                      <a:pt x="656" y="56"/>
                    </a:lnTo>
                    <a:lnTo>
                      <a:pt x="653" y="59"/>
                    </a:lnTo>
                    <a:lnTo>
                      <a:pt x="650" y="59"/>
                    </a:lnTo>
                    <a:lnTo>
                      <a:pt x="646" y="60"/>
                    </a:lnTo>
                    <a:lnTo>
                      <a:pt x="644" y="60"/>
                    </a:lnTo>
                    <a:lnTo>
                      <a:pt x="639" y="62"/>
                    </a:lnTo>
                    <a:lnTo>
                      <a:pt x="635" y="63"/>
                    </a:lnTo>
                    <a:lnTo>
                      <a:pt x="633" y="65"/>
                    </a:lnTo>
                    <a:lnTo>
                      <a:pt x="630" y="66"/>
                    </a:lnTo>
                    <a:lnTo>
                      <a:pt x="628" y="67"/>
                    </a:lnTo>
                    <a:lnTo>
                      <a:pt x="627" y="69"/>
                    </a:lnTo>
                    <a:lnTo>
                      <a:pt x="627" y="69"/>
                    </a:lnTo>
                    <a:lnTo>
                      <a:pt x="619" y="69"/>
                    </a:lnTo>
                    <a:lnTo>
                      <a:pt x="611" y="69"/>
                    </a:lnTo>
                    <a:lnTo>
                      <a:pt x="602" y="67"/>
                    </a:lnTo>
                    <a:lnTo>
                      <a:pt x="594" y="66"/>
                    </a:lnTo>
                    <a:lnTo>
                      <a:pt x="586" y="63"/>
                    </a:lnTo>
                    <a:lnTo>
                      <a:pt x="580" y="60"/>
                    </a:lnTo>
                    <a:lnTo>
                      <a:pt x="576" y="59"/>
                    </a:lnTo>
                    <a:lnTo>
                      <a:pt x="575" y="59"/>
                    </a:lnTo>
                    <a:lnTo>
                      <a:pt x="578" y="56"/>
                    </a:lnTo>
                    <a:lnTo>
                      <a:pt x="583" y="54"/>
                    </a:lnTo>
                    <a:lnTo>
                      <a:pt x="591" y="52"/>
                    </a:lnTo>
                    <a:lnTo>
                      <a:pt x="600" y="51"/>
                    </a:lnTo>
                    <a:lnTo>
                      <a:pt x="608" y="49"/>
                    </a:lnTo>
                    <a:lnTo>
                      <a:pt x="616" y="48"/>
                    </a:lnTo>
                    <a:lnTo>
                      <a:pt x="620" y="48"/>
                    </a:lnTo>
                    <a:lnTo>
                      <a:pt x="623" y="48"/>
                    </a:lnTo>
                    <a:lnTo>
                      <a:pt x="626" y="47"/>
                    </a:lnTo>
                    <a:lnTo>
                      <a:pt x="627" y="45"/>
                    </a:lnTo>
                    <a:lnTo>
                      <a:pt x="628" y="43"/>
                    </a:lnTo>
                    <a:lnTo>
                      <a:pt x="630" y="41"/>
                    </a:lnTo>
                    <a:lnTo>
                      <a:pt x="630" y="40"/>
                    </a:lnTo>
                    <a:lnTo>
                      <a:pt x="631" y="37"/>
                    </a:lnTo>
                    <a:lnTo>
                      <a:pt x="631" y="37"/>
                    </a:lnTo>
                    <a:lnTo>
                      <a:pt x="631" y="36"/>
                    </a:lnTo>
                    <a:lnTo>
                      <a:pt x="630" y="34"/>
                    </a:lnTo>
                    <a:lnTo>
                      <a:pt x="628" y="33"/>
                    </a:lnTo>
                    <a:lnTo>
                      <a:pt x="628" y="30"/>
                    </a:lnTo>
                    <a:lnTo>
                      <a:pt x="627" y="27"/>
                    </a:lnTo>
                    <a:lnTo>
                      <a:pt x="627" y="26"/>
                    </a:lnTo>
                    <a:lnTo>
                      <a:pt x="627" y="23"/>
                    </a:lnTo>
                    <a:lnTo>
                      <a:pt x="627" y="22"/>
                    </a:lnTo>
                    <a:lnTo>
                      <a:pt x="627" y="22"/>
                    </a:lnTo>
                    <a:lnTo>
                      <a:pt x="628" y="21"/>
                    </a:lnTo>
                    <a:lnTo>
                      <a:pt x="630" y="19"/>
                    </a:lnTo>
                    <a:lnTo>
                      <a:pt x="631" y="16"/>
                    </a:lnTo>
                    <a:lnTo>
                      <a:pt x="634" y="14"/>
                    </a:lnTo>
                    <a:lnTo>
                      <a:pt x="635" y="10"/>
                    </a:lnTo>
                    <a:lnTo>
                      <a:pt x="638" y="7"/>
                    </a:lnTo>
                    <a:lnTo>
                      <a:pt x="641" y="3"/>
                    </a:lnTo>
                    <a:lnTo>
                      <a:pt x="642" y="0"/>
                    </a:lnTo>
                    <a:lnTo>
                      <a:pt x="289" y="0"/>
                    </a:lnTo>
                    <a:lnTo>
                      <a:pt x="285" y="4"/>
                    </a:lnTo>
                    <a:lnTo>
                      <a:pt x="280" y="10"/>
                    </a:lnTo>
                    <a:lnTo>
                      <a:pt x="279" y="14"/>
                    </a:lnTo>
                    <a:lnTo>
                      <a:pt x="276" y="19"/>
                    </a:lnTo>
                    <a:lnTo>
                      <a:pt x="276" y="22"/>
                    </a:lnTo>
                    <a:lnTo>
                      <a:pt x="275" y="25"/>
                    </a:lnTo>
                    <a:lnTo>
                      <a:pt x="275" y="27"/>
                    </a:lnTo>
                    <a:lnTo>
                      <a:pt x="275" y="27"/>
                    </a:lnTo>
                    <a:lnTo>
                      <a:pt x="274" y="36"/>
                    </a:lnTo>
                    <a:lnTo>
                      <a:pt x="272" y="41"/>
                    </a:lnTo>
                    <a:lnTo>
                      <a:pt x="269" y="43"/>
                    </a:lnTo>
                    <a:lnTo>
                      <a:pt x="268" y="43"/>
                    </a:lnTo>
                    <a:lnTo>
                      <a:pt x="265" y="41"/>
                    </a:lnTo>
                    <a:lnTo>
                      <a:pt x="264" y="38"/>
                    </a:lnTo>
                    <a:lnTo>
                      <a:pt x="263" y="37"/>
                    </a:lnTo>
                    <a:lnTo>
                      <a:pt x="261" y="36"/>
                    </a:lnTo>
                    <a:lnTo>
                      <a:pt x="243" y="29"/>
                    </a:lnTo>
                    <a:lnTo>
                      <a:pt x="243" y="11"/>
                    </a:lnTo>
                    <a:lnTo>
                      <a:pt x="246" y="10"/>
                    </a:lnTo>
                    <a:lnTo>
                      <a:pt x="249" y="8"/>
                    </a:lnTo>
                    <a:lnTo>
                      <a:pt x="250" y="7"/>
                    </a:lnTo>
                    <a:lnTo>
                      <a:pt x="252" y="6"/>
                    </a:lnTo>
                    <a:lnTo>
                      <a:pt x="253" y="4"/>
                    </a:lnTo>
                    <a:lnTo>
                      <a:pt x="254" y="3"/>
                    </a:lnTo>
                    <a:lnTo>
                      <a:pt x="256" y="1"/>
                    </a:lnTo>
                    <a:lnTo>
                      <a:pt x="257" y="0"/>
                    </a:lnTo>
                    <a:lnTo>
                      <a:pt x="216" y="0"/>
                    </a:lnTo>
                    <a:lnTo>
                      <a:pt x="216" y="6"/>
                    </a:lnTo>
                    <a:lnTo>
                      <a:pt x="217" y="22"/>
                    </a:lnTo>
                    <a:lnTo>
                      <a:pt x="217" y="22"/>
                    </a:lnTo>
                    <a:lnTo>
                      <a:pt x="219" y="23"/>
                    </a:lnTo>
                    <a:lnTo>
                      <a:pt x="220" y="26"/>
                    </a:lnTo>
                    <a:lnTo>
                      <a:pt x="221" y="29"/>
                    </a:lnTo>
                    <a:lnTo>
                      <a:pt x="223" y="32"/>
                    </a:lnTo>
                    <a:lnTo>
                      <a:pt x="223" y="34"/>
                    </a:lnTo>
                    <a:lnTo>
                      <a:pt x="224" y="36"/>
                    </a:lnTo>
                    <a:lnTo>
                      <a:pt x="224" y="37"/>
                    </a:lnTo>
                    <a:lnTo>
                      <a:pt x="224" y="44"/>
                    </a:lnTo>
                    <a:lnTo>
                      <a:pt x="224" y="49"/>
                    </a:lnTo>
                    <a:lnTo>
                      <a:pt x="223" y="54"/>
                    </a:lnTo>
                    <a:lnTo>
                      <a:pt x="221" y="58"/>
                    </a:lnTo>
                    <a:lnTo>
                      <a:pt x="220" y="60"/>
                    </a:lnTo>
                    <a:lnTo>
                      <a:pt x="219" y="63"/>
                    </a:lnTo>
                    <a:lnTo>
                      <a:pt x="219" y="65"/>
                    </a:lnTo>
                    <a:lnTo>
                      <a:pt x="219" y="65"/>
                    </a:lnTo>
                    <a:lnTo>
                      <a:pt x="208" y="60"/>
                    </a:lnTo>
                    <a:lnTo>
                      <a:pt x="197" y="54"/>
                    </a:lnTo>
                    <a:lnTo>
                      <a:pt x="191" y="54"/>
                    </a:lnTo>
                    <a:lnTo>
                      <a:pt x="169" y="76"/>
                    </a:lnTo>
                    <a:lnTo>
                      <a:pt x="151" y="88"/>
                    </a:lnTo>
                    <a:lnTo>
                      <a:pt x="150" y="92"/>
                    </a:lnTo>
                    <a:lnTo>
                      <a:pt x="150" y="96"/>
                    </a:lnTo>
                    <a:lnTo>
                      <a:pt x="151" y="100"/>
                    </a:lnTo>
                    <a:lnTo>
                      <a:pt x="155" y="104"/>
                    </a:lnTo>
                    <a:lnTo>
                      <a:pt x="158" y="107"/>
                    </a:lnTo>
                    <a:lnTo>
                      <a:pt x="161" y="110"/>
                    </a:lnTo>
                    <a:lnTo>
                      <a:pt x="164" y="111"/>
                    </a:lnTo>
                    <a:lnTo>
                      <a:pt x="165" y="113"/>
                    </a:lnTo>
                    <a:lnTo>
                      <a:pt x="164" y="124"/>
                    </a:lnTo>
                    <a:lnTo>
                      <a:pt x="136" y="124"/>
                    </a:lnTo>
                    <a:lnTo>
                      <a:pt x="122" y="107"/>
                    </a:lnTo>
                    <a:lnTo>
                      <a:pt x="117" y="92"/>
                    </a:lnTo>
                    <a:lnTo>
                      <a:pt x="104" y="88"/>
                    </a:lnTo>
                    <a:lnTo>
                      <a:pt x="100" y="99"/>
                    </a:lnTo>
                    <a:lnTo>
                      <a:pt x="107" y="118"/>
                    </a:lnTo>
                    <a:lnTo>
                      <a:pt x="118" y="142"/>
                    </a:lnTo>
                    <a:lnTo>
                      <a:pt x="118" y="146"/>
                    </a:lnTo>
                    <a:lnTo>
                      <a:pt x="118" y="148"/>
                    </a:lnTo>
                    <a:lnTo>
                      <a:pt x="115" y="150"/>
                    </a:lnTo>
                    <a:lnTo>
                      <a:pt x="114" y="150"/>
                    </a:lnTo>
                    <a:lnTo>
                      <a:pt x="111" y="150"/>
                    </a:lnTo>
                    <a:lnTo>
                      <a:pt x="108" y="148"/>
                    </a:lnTo>
                    <a:lnTo>
                      <a:pt x="107" y="148"/>
                    </a:lnTo>
                    <a:lnTo>
                      <a:pt x="107" y="148"/>
                    </a:lnTo>
                    <a:lnTo>
                      <a:pt x="95" y="135"/>
                    </a:lnTo>
                    <a:lnTo>
                      <a:pt x="77" y="125"/>
                    </a:lnTo>
                    <a:lnTo>
                      <a:pt x="77" y="125"/>
                    </a:lnTo>
                    <a:lnTo>
                      <a:pt x="75" y="122"/>
                    </a:lnTo>
                    <a:lnTo>
                      <a:pt x="75" y="120"/>
                    </a:lnTo>
                    <a:lnTo>
                      <a:pt x="75" y="115"/>
                    </a:lnTo>
                    <a:lnTo>
                      <a:pt x="75" y="111"/>
                    </a:lnTo>
                    <a:lnTo>
                      <a:pt x="75" y="107"/>
                    </a:lnTo>
                    <a:lnTo>
                      <a:pt x="77" y="103"/>
                    </a:lnTo>
                    <a:lnTo>
                      <a:pt x="78" y="102"/>
                    </a:lnTo>
                    <a:lnTo>
                      <a:pt x="80" y="99"/>
                    </a:lnTo>
                    <a:lnTo>
                      <a:pt x="80" y="96"/>
                    </a:lnTo>
                    <a:lnTo>
                      <a:pt x="81" y="93"/>
                    </a:lnTo>
                    <a:lnTo>
                      <a:pt x="80" y="89"/>
                    </a:lnTo>
                    <a:lnTo>
                      <a:pt x="80" y="87"/>
                    </a:lnTo>
                    <a:lnTo>
                      <a:pt x="80" y="84"/>
                    </a:lnTo>
                    <a:lnTo>
                      <a:pt x="80" y="82"/>
                    </a:lnTo>
                    <a:lnTo>
                      <a:pt x="80" y="81"/>
                    </a:lnTo>
                    <a:lnTo>
                      <a:pt x="52" y="58"/>
                    </a:lnTo>
                    <a:lnTo>
                      <a:pt x="45" y="40"/>
                    </a:lnTo>
                    <a:lnTo>
                      <a:pt x="67" y="48"/>
                    </a:lnTo>
                    <a:lnTo>
                      <a:pt x="77" y="55"/>
                    </a:lnTo>
                    <a:lnTo>
                      <a:pt x="93" y="62"/>
                    </a:lnTo>
                    <a:lnTo>
                      <a:pt x="108" y="74"/>
                    </a:lnTo>
                    <a:lnTo>
                      <a:pt x="114" y="78"/>
                    </a:lnTo>
                    <a:lnTo>
                      <a:pt x="121" y="78"/>
                    </a:lnTo>
                    <a:lnTo>
                      <a:pt x="128" y="78"/>
                    </a:lnTo>
                    <a:lnTo>
                      <a:pt x="135" y="77"/>
                    </a:lnTo>
                    <a:lnTo>
                      <a:pt x="142" y="74"/>
                    </a:lnTo>
                    <a:lnTo>
                      <a:pt x="147" y="71"/>
                    </a:lnTo>
                    <a:lnTo>
                      <a:pt x="151" y="70"/>
                    </a:lnTo>
                    <a:lnTo>
                      <a:pt x="151" y="70"/>
                    </a:lnTo>
                    <a:lnTo>
                      <a:pt x="166" y="54"/>
                    </a:lnTo>
                    <a:lnTo>
                      <a:pt x="170" y="48"/>
                    </a:lnTo>
                    <a:lnTo>
                      <a:pt x="173" y="41"/>
                    </a:lnTo>
                    <a:lnTo>
                      <a:pt x="176" y="34"/>
                    </a:lnTo>
                    <a:lnTo>
                      <a:pt x="177" y="27"/>
                    </a:lnTo>
                    <a:lnTo>
                      <a:pt x="177" y="22"/>
                    </a:lnTo>
                    <a:lnTo>
                      <a:pt x="177" y="16"/>
                    </a:lnTo>
                    <a:lnTo>
                      <a:pt x="177" y="14"/>
                    </a:lnTo>
                    <a:lnTo>
                      <a:pt x="177" y="12"/>
                    </a:lnTo>
                    <a:lnTo>
                      <a:pt x="177" y="11"/>
                    </a:lnTo>
                    <a:lnTo>
                      <a:pt x="176" y="8"/>
                    </a:lnTo>
                    <a:lnTo>
                      <a:pt x="175" y="7"/>
                    </a:lnTo>
                    <a:lnTo>
                      <a:pt x="173" y="6"/>
                    </a:lnTo>
                    <a:lnTo>
                      <a:pt x="172" y="4"/>
                    </a:lnTo>
                    <a:lnTo>
                      <a:pt x="169" y="3"/>
                    </a:lnTo>
                    <a:lnTo>
                      <a:pt x="168" y="1"/>
                    </a:lnTo>
                    <a:lnTo>
                      <a:pt x="165" y="0"/>
                    </a:lnTo>
                    <a:lnTo>
                      <a:pt x="9" y="0"/>
                    </a:lnTo>
                    <a:lnTo>
                      <a:pt x="15" y="6"/>
                    </a:lnTo>
                    <a:lnTo>
                      <a:pt x="15" y="41"/>
                    </a:lnTo>
                    <a:lnTo>
                      <a:pt x="0" y="58"/>
                    </a:lnTo>
                    <a:lnTo>
                      <a:pt x="8" y="78"/>
                    </a:lnTo>
                    <a:lnTo>
                      <a:pt x="3" y="143"/>
                    </a:lnTo>
                    <a:lnTo>
                      <a:pt x="3" y="150"/>
                    </a:lnTo>
                    <a:lnTo>
                      <a:pt x="4" y="155"/>
                    </a:lnTo>
                    <a:lnTo>
                      <a:pt x="5" y="159"/>
                    </a:lnTo>
                    <a:lnTo>
                      <a:pt x="7" y="162"/>
                    </a:lnTo>
                    <a:lnTo>
                      <a:pt x="8" y="165"/>
                    </a:lnTo>
                    <a:lnTo>
                      <a:pt x="9" y="166"/>
                    </a:lnTo>
                    <a:lnTo>
                      <a:pt x="9" y="166"/>
                    </a:lnTo>
                    <a:lnTo>
                      <a:pt x="9" y="168"/>
                    </a:lnTo>
                    <a:lnTo>
                      <a:pt x="11" y="168"/>
                    </a:lnTo>
                    <a:lnTo>
                      <a:pt x="11" y="168"/>
                    </a:lnTo>
                    <a:lnTo>
                      <a:pt x="11" y="169"/>
                    </a:lnTo>
                    <a:lnTo>
                      <a:pt x="11" y="169"/>
                    </a:lnTo>
                    <a:lnTo>
                      <a:pt x="11" y="170"/>
                    </a:lnTo>
                    <a:lnTo>
                      <a:pt x="12" y="170"/>
                    </a:lnTo>
                    <a:lnTo>
                      <a:pt x="12" y="172"/>
                    </a:lnTo>
                    <a:lnTo>
                      <a:pt x="12" y="172"/>
                    </a:lnTo>
                    <a:lnTo>
                      <a:pt x="2231" y="17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7" name="Freeform 809"/>
              <p:cNvSpPr>
                <a:spLocks noEditPoints="1"/>
              </p:cNvSpPr>
              <p:nvPr/>
            </p:nvSpPr>
            <p:spPr bwMode="auto">
              <a:xfrm>
                <a:off x="3178" y="1328"/>
                <a:ext cx="2301" cy="172"/>
              </a:xfrm>
              <a:custGeom>
                <a:avLst/>
                <a:gdLst>
                  <a:gd name="T0" fmla="*/ 2245 w 2301"/>
                  <a:gd name="T1" fmla="*/ 138 h 172"/>
                  <a:gd name="T2" fmla="*/ 2166 w 2301"/>
                  <a:gd name="T3" fmla="*/ 101 h 172"/>
                  <a:gd name="T4" fmla="*/ 2135 w 2301"/>
                  <a:gd name="T5" fmla="*/ 87 h 172"/>
                  <a:gd name="T6" fmla="*/ 2089 w 2301"/>
                  <a:gd name="T7" fmla="*/ 113 h 172"/>
                  <a:gd name="T8" fmla="*/ 1966 w 2301"/>
                  <a:gd name="T9" fmla="*/ 106 h 172"/>
                  <a:gd name="T10" fmla="*/ 1957 w 2301"/>
                  <a:gd name="T11" fmla="*/ 57 h 172"/>
                  <a:gd name="T12" fmla="*/ 1905 w 2301"/>
                  <a:gd name="T13" fmla="*/ 43 h 172"/>
                  <a:gd name="T14" fmla="*/ 1857 w 2301"/>
                  <a:gd name="T15" fmla="*/ 47 h 172"/>
                  <a:gd name="T16" fmla="*/ 1829 w 2301"/>
                  <a:gd name="T17" fmla="*/ 39 h 172"/>
                  <a:gd name="T18" fmla="*/ 1820 w 2301"/>
                  <a:gd name="T19" fmla="*/ 13 h 172"/>
                  <a:gd name="T20" fmla="*/ 1657 w 2301"/>
                  <a:gd name="T21" fmla="*/ 15 h 172"/>
                  <a:gd name="T22" fmla="*/ 1597 w 2301"/>
                  <a:gd name="T23" fmla="*/ 22 h 172"/>
                  <a:gd name="T24" fmla="*/ 1550 w 2301"/>
                  <a:gd name="T25" fmla="*/ 22 h 172"/>
                  <a:gd name="T26" fmla="*/ 1532 w 2301"/>
                  <a:gd name="T27" fmla="*/ 50 h 172"/>
                  <a:gd name="T28" fmla="*/ 818 w 2301"/>
                  <a:gd name="T29" fmla="*/ 3 h 172"/>
                  <a:gd name="T30" fmla="*/ 821 w 2301"/>
                  <a:gd name="T31" fmla="*/ 73 h 172"/>
                  <a:gd name="T32" fmla="*/ 836 w 2301"/>
                  <a:gd name="T33" fmla="*/ 109 h 172"/>
                  <a:gd name="T34" fmla="*/ 800 w 2301"/>
                  <a:gd name="T35" fmla="*/ 83 h 172"/>
                  <a:gd name="T36" fmla="*/ 800 w 2301"/>
                  <a:gd name="T37" fmla="*/ 62 h 172"/>
                  <a:gd name="T38" fmla="*/ 794 w 2301"/>
                  <a:gd name="T39" fmla="*/ 50 h 172"/>
                  <a:gd name="T40" fmla="*/ 807 w 2301"/>
                  <a:gd name="T41" fmla="*/ 26 h 172"/>
                  <a:gd name="T42" fmla="*/ 795 w 2301"/>
                  <a:gd name="T43" fmla="*/ 8 h 172"/>
                  <a:gd name="T44" fmla="*/ 777 w 2301"/>
                  <a:gd name="T45" fmla="*/ 0 h 172"/>
                  <a:gd name="T46" fmla="*/ 666 w 2301"/>
                  <a:gd name="T47" fmla="*/ 25 h 172"/>
                  <a:gd name="T48" fmla="*/ 679 w 2301"/>
                  <a:gd name="T49" fmla="*/ 44 h 172"/>
                  <a:gd name="T50" fmla="*/ 675 w 2301"/>
                  <a:gd name="T51" fmla="*/ 69 h 172"/>
                  <a:gd name="T52" fmla="*/ 666 w 2301"/>
                  <a:gd name="T53" fmla="*/ 121 h 172"/>
                  <a:gd name="T54" fmla="*/ 722 w 2301"/>
                  <a:gd name="T55" fmla="*/ 123 h 172"/>
                  <a:gd name="T56" fmla="*/ 733 w 2301"/>
                  <a:gd name="T57" fmla="*/ 147 h 172"/>
                  <a:gd name="T58" fmla="*/ 717 w 2301"/>
                  <a:gd name="T59" fmla="*/ 158 h 172"/>
                  <a:gd name="T60" fmla="*/ 701 w 2301"/>
                  <a:gd name="T61" fmla="*/ 139 h 172"/>
                  <a:gd name="T62" fmla="*/ 688 w 2301"/>
                  <a:gd name="T63" fmla="*/ 143 h 172"/>
                  <a:gd name="T64" fmla="*/ 675 w 2301"/>
                  <a:gd name="T65" fmla="*/ 151 h 172"/>
                  <a:gd name="T66" fmla="*/ 675 w 2301"/>
                  <a:gd name="T67" fmla="*/ 172 h 172"/>
                  <a:gd name="T68" fmla="*/ 660 w 2301"/>
                  <a:gd name="T69" fmla="*/ 162 h 172"/>
                  <a:gd name="T70" fmla="*/ 661 w 2301"/>
                  <a:gd name="T71" fmla="*/ 147 h 172"/>
                  <a:gd name="T72" fmla="*/ 652 w 2301"/>
                  <a:gd name="T73" fmla="*/ 142 h 172"/>
                  <a:gd name="T74" fmla="*/ 652 w 2301"/>
                  <a:gd name="T75" fmla="*/ 79 h 172"/>
                  <a:gd name="T76" fmla="*/ 645 w 2301"/>
                  <a:gd name="T77" fmla="*/ 35 h 172"/>
                  <a:gd name="T78" fmla="*/ 582 w 2301"/>
                  <a:gd name="T79" fmla="*/ 10 h 172"/>
                  <a:gd name="T80" fmla="*/ 565 w 2301"/>
                  <a:gd name="T81" fmla="*/ 29 h 172"/>
                  <a:gd name="T82" fmla="*/ 562 w 2301"/>
                  <a:gd name="T83" fmla="*/ 95 h 172"/>
                  <a:gd name="T84" fmla="*/ 572 w 2301"/>
                  <a:gd name="T85" fmla="*/ 128 h 172"/>
                  <a:gd name="T86" fmla="*/ 527 w 2301"/>
                  <a:gd name="T87" fmla="*/ 98 h 172"/>
                  <a:gd name="T88" fmla="*/ 461 w 2301"/>
                  <a:gd name="T89" fmla="*/ 136 h 172"/>
                  <a:gd name="T90" fmla="*/ 440 w 2301"/>
                  <a:gd name="T91" fmla="*/ 147 h 172"/>
                  <a:gd name="T92" fmla="*/ 384 w 2301"/>
                  <a:gd name="T93" fmla="*/ 153 h 172"/>
                  <a:gd name="T94" fmla="*/ 344 w 2301"/>
                  <a:gd name="T95" fmla="*/ 149 h 172"/>
                  <a:gd name="T96" fmla="*/ 309 w 2301"/>
                  <a:gd name="T97" fmla="*/ 164 h 172"/>
                  <a:gd name="T98" fmla="*/ 269 w 2301"/>
                  <a:gd name="T99" fmla="*/ 164 h 172"/>
                  <a:gd name="T100" fmla="*/ 257 w 2301"/>
                  <a:gd name="T101" fmla="*/ 142 h 172"/>
                  <a:gd name="T102" fmla="*/ 227 w 2301"/>
                  <a:gd name="T103" fmla="*/ 139 h 172"/>
                  <a:gd name="T104" fmla="*/ 268 w 2301"/>
                  <a:gd name="T105" fmla="*/ 172 h 172"/>
                  <a:gd name="T106" fmla="*/ 153 w 2301"/>
                  <a:gd name="T107" fmla="*/ 165 h 172"/>
                  <a:gd name="T108" fmla="*/ 95 w 2301"/>
                  <a:gd name="T109" fmla="*/ 110 h 172"/>
                  <a:gd name="T110" fmla="*/ 56 w 2301"/>
                  <a:gd name="T111" fmla="*/ 99 h 172"/>
                  <a:gd name="T112" fmla="*/ 45 w 2301"/>
                  <a:gd name="T113" fmla="*/ 76 h 172"/>
                  <a:gd name="T114" fmla="*/ 14 w 2301"/>
                  <a:gd name="T115" fmla="*/ 11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301" h="172">
                    <a:moveTo>
                      <a:pt x="2301" y="172"/>
                    </a:moveTo>
                    <a:lnTo>
                      <a:pt x="2290" y="164"/>
                    </a:lnTo>
                    <a:lnTo>
                      <a:pt x="2281" y="157"/>
                    </a:lnTo>
                    <a:lnTo>
                      <a:pt x="2271" y="151"/>
                    </a:lnTo>
                    <a:lnTo>
                      <a:pt x="2263" y="146"/>
                    </a:lnTo>
                    <a:lnTo>
                      <a:pt x="2254" y="142"/>
                    </a:lnTo>
                    <a:lnTo>
                      <a:pt x="2249" y="139"/>
                    </a:lnTo>
                    <a:lnTo>
                      <a:pt x="2245" y="138"/>
                    </a:lnTo>
                    <a:lnTo>
                      <a:pt x="2243" y="138"/>
                    </a:lnTo>
                    <a:lnTo>
                      <a:pt x="2201" y="102"/>
                    </a:lnTo>
                    <a:lnTo>
                      <a:pt x="2199" y="102"/>
                    </a:lnTo>
                    <a:lnTo>
                      <a:pt x="2195" y="102"/>
                    </a:lnTo>
                    <a:lnTo>
                      <a:pt x="2188" y="102"/>
                    </a:lnTo>
                    <a:lnTo>
                      <a:pt x="2182" y="102"/>
                    </a:lnTo>
                    <a:lnTo>
                      <a:pt x="2173" y="101"/>
                    </a:lnTo>
                    <a:lnTo>
                      <a:pt x="2166" y="101"/>
                    </a:lnTo>
                    <a:lnTo>
                      <a:pt x="2161" y="99"/>
                    </a:lnTo>
                    <a:lnTo>
                      <a:pt x="2158" y="96"/>
                    </a:lnTo>
                    <a:lnTo>
                      <a:pt x="2155" y="94"/>
                    </a:lnTo>
                    <a:lnTo>
                      <a:pt x="2151" y="92"/>
                    </a:lnTo>
                    <a:lnTo>
                      <a:pt x="2147" y="91"/>
                    </a:lnTo>
                    <a:lnTo>
                      <a:pt x="2143" y="90"/>
                    </a:lnTo>
                    <a:lnTo>
                      <a:pt x="2139" y="88"/>
                    </a:lnTo>
                    <a:lnTo>
                      <a:pt x="2135" y="87"/>
                    </a:lnTo>
                    <a:lnTo>
                      <a:pt x="2132" y="87"/>
                    </a:lnTo>
                    <a:lnTo>
                      <a:pt x="2132" y="87"/>
                    </a:lnTo>
                    <a:lnTo>
                      <a:pt x="2129" y="116"/>
                    </a:lnTo>
                    <a:lnTo>
                      <a:pt x="2129" y="138"/>
                    </a:lnTo>
                    <a:lnTo>
                      <a:pt x="2125" y="147"/>
                    </a:lnTo>
                    <a:lnTo>
                      <a:pt x="2110" y="149"/>
                    </a:lnTo>
                    <a:lnTo>
                      <a:pt x="2110" y="139"/>
                    </a:lnTo>
                    <a:lnTo>
                      <a:pt x="2089" y="113"/>
                    </a:lnTo>
                    <a:lnTo>
                      <a:pt x="2107" y="102"/>
                    </a:lnTo>
                    <a:lnTo>
                      <a:pt x="2106" y="94"/>
                    </a:lnTo>
                    <a:lnTo>
                      <a:pt x="2060" y="113"/>
                    </a:lnTo>
                    <a:lnTo>
                      <a:pt x="2052" y="109"/>
                    </a:lnTo>
                    <a:lnTo>
                      <a:pt x="2000" y="103"/>
                    </a:lnTo>
                    <a:lnTo>
                      <a:pt x="1982" y="128"/>
                    </a:lnTo>
                    <a:lnTo>
                      <a:pt x="1966" y="106"/>
                    </a:lnTo>
                    <a:lnTo>
                      <a:pt x="1966" y="106"/>
                    </a:lnTo>
                    <a:lnTo>
                      <a:pt x="1967" y="103"/>
                    </a:lnTo>
                    <a:lnTo>
                      <a:pt x="1967" y="99"/>
                    </a:lnTo>
                    <a:lnTo>
                      <a:pt x="1968" y="94"/>
                    </a:lnTo>
                    <a:lnTo>
                      <a:pt x="1968" y="88"/>
                    </a:lnTo>
                    <a:lnTo>
                      <a:pt x="1967" y="80"/>
                    </a:lnTo>
                    <a:lnTo>
                      <a:pt x="1964" y="72"/>
                    </a:lnTo>
                    <a:lnTo>
                      <a:pt x="1960" y="61"/>
                    </a:lnTo>
                    <a:lnTo>
                      <a:pt x="1957" y="57"/>
                    </a:lnTo>
                    <a:lnTo>
                      <a:pt x="1953" y="52"/>
                    </a:lnTo>
                    <a:lnTo>
                      <a:pt x="1949" y="48"/>
                    </a:lnTo>
                    <a:lnTo>
                      <a:pt x="1945" y="46"/>
                    </a:lnTo>
                    <a:lnTo>
                      <a:pt x="1935" y="43"/>
                    </a:lnTo>
                    <a:lnTo>
                      <a:pt x="1926" y="41"/>
                    </a:lnTo>
                    <a:lnTo>
                      <a:pt x="1917" y="41"/>
                    </a:lnTo>
                    <a:lnTo>
                      <a:pt x="1911" y="43"/>
                    </a:lnTo>
                    <a:lnTo>
                      <a:pt x="1905" y="43"/>
                    </a:lnTo>
                    <a:lnTo>
                      <a:pt x="1904" y="44"/>
                    </a:lnTo>
                    <a:lnTo>
                      <a:pt x="1901" y="44"/>
                    </a:lnTo>
                    <a:lnTo>
                      <a:pt x="1897" y="46"/>
                    </a:lnTo>
                    <a:lnTo>
                      <a:pt x="1890" y="47"/>
                    </a:lnTo>
                    <a:lnTo>
                      <a:pt x="1882" y="47"/>
                    </a:lnTo>
                    <a:lnTo>
                      <a:pt x="1872" y="48"/>
                    </a:lnTo>
                    <a:lnTo>
                      <a:pt x="1864" y="48"/>
                    </a:lnTo>
                    <a:lnTo>
                      <a:pt x="1857" y="47"/>
                    </a:lnTo>
                    <a:lnTo>
                      <a:pt x="1850" y="44"/>
                    </a:lnTo>
                    <a:lnTo>
                      <a:pt x="1846" y="41"/>
                    </a:lnTo>
                    <a:lnTo>
                      <a:pt x="1842" y="39"/>
                    </a:lnTo>
                    <a:lnTo>
                      <a:pt x="1839" y="39"/>
                    </a:lnTo>
                    <a:lnTo>
                      <a:pt x="1835" y="39"/>
                    </a:lnTo>
                    <a:lnTo>
                      <a:pt x="1833" y="39"/>
                    </a:lnTo>
                    <a:lnTo>
                      <a:pt x="1831" y="39"/>
                    </a:lnTo>
                    <a:lnTo>
                      <a:pt x="1829" y="39"/>
                    </a:lnTo>
                    <a:lnTo>
                      <a:pt x="1829" y="39"/>
                    </a:lnTo>
                    <a:lnTo>
                      <a:pt x="1829" y="28"/>
                    </a:lnTo>
                    <a:lnTo>
                      <a:pt x="1820" y="22"/>
                    </a:lnTo>
                    <a:lnTo>
                      <a:pt x="1820" y="22"/>
                    </a:lnTo>
                    <a:lnTo>
                      <a:pt x="1820" y="21"/>
                    </a:lnTo>
                    <a:lnTo>
                      <a:pt x="1820" y="19"/>
                    </a:lnTo>
                    <a:lnTo>
                      <a:pt x="1820" y="17"/>
                    </a:lnTo>
                    <a:lnTo>
                      <a:pt x="1820" y="13"/>
                    </a:lnTo>
                    <a:lnTo>
                      <a:pt x="1820" y="8"/>
                    </a:lnTo>
                    <a:lnTo>
                      <a:pt x="1818" y="4"/>
                    </a:lnTo>
                    <a:lnTo>
                      <a:pt x="1817" y="0"/>
                    </a:lnTo>
                    <a:lnTo>
                      <a:pt x="1656" y="0"/>
                    </a:lnTo>
                    <a:lnTo>
                      <a:pt x="1656" y="4"/>
                    </a:lnTo>
                    <a:lnTo>
                      <a:pt x="1656" y="8"/>
                    </a:lnTo>
                    <a:lnTo>
                      <a:pt x="1657" y="13"/>
                    </a:lnTo>
                    <a:lnTo>
                      <a:pt x="1657" y="15"/>
                    </a:lnTo>
                    <a:lnTo>
                      <a:pt x="1657" y="18"/>
                    </a:lnTo>
                    <a:lnTo>
                      <a:pt x="1657" y="21"/>
                    </a:lnTo>
                    <a:lnTo>
                      <a:pt x="1657" y="22"/>
                    </a:lnTo>
                    <a:lnTo>
                      <a:pt x="1657" y="22"/>
                    </a:lnTo>
                    <a:lnTo>
                      <a:pt x="1646" y="25"/>
                    </a:lnTo>
                    <a:lnTo>
                      <a:pt x="1634" y="32"/>
                    </a:lnTo>
                    <a:lnTo>
                      <a:pt x="1607" y="15"/>
                    </a:lnTo>
                    <a:lnTo>
                      <a:pt x="1597" y="22"/>
                    </a:lnTo>
                    <a:lnTo>
                      <a:pt x="1580" y="22"/>
                    </a:lnTo>
                    <a:lnTo>
                      <a:pt x="1563" y="3"/>
                    </a:lnTo>
                    <a:lnTo>
                      <a:pt x="1563" y="4"/>
                    </a:lnTo>
                    <a:lnTo>
                      <a:pt x="1561" y="6"/>
                    </a:lnTo>
                    <a:lnTo>
                      <a:pt x="1558" y="10"/>
                    </a:lnTo>
                    <a:lnTo>
                      <a:pt x="1556" y="13"/>
                    </a:lnTo>
                    <a:lnTo>
                      <a:pt x="1553" y="18"/>
                    </a:lnTo>
                    <a:lnTo>
                      <a:pt x="1550" y="22"/>
                    </a:lnTo>
                    <a:lnTo>
                      <a:pt x="1547" y="26"/>
                    </a:lnTo>
                    <a:lnTo>
                      <a:pt x="1546" y="30"/>
                    </a:lnTo>
                    <a:lnTo>
                      <a:pt x="1545" y="33"/>
                    </a:lnTo>
                    <a:lnTo>
                      <a:pt x="1543" y="37"/>
                    </a:lnTo>
                    <a:lnTo>
                      <a:pt x="1540" y="41"/>
                    </a:lnTo>
                    <a:lnTo>
                      <a:pt x="1536" y="44"/>
                    </a:lnTo>
                    <a:lnTo>
                      <a:pt x="1535" y="47"/>
                    </a:lnTo>
                    <a:lnTo>
                      <a:pt x="1532" y="50"/>
                    </a:lnTo>
                    <a:lnTo>
                      <a:pt x="1531" y="51"/>
                    </a:lnTo>
                    <a:lnTo>
                      <a:pt x="1529" y="51"/>
                    </a:lnTo>
                    <a:lnTo>
                      <a:pt x="1525" y="35"/>
                    </a:lnTo>
                    <a:lnTo>
                      <a:pt x="1516" y="15"/>
                    </a:lnTo>
                    <a:lnTo>
                      <a:pt x="1516" y="0"/>
                    </a:lnTo>
                    <a:lnTo>
                      <a:pt x="814" y="0"/>
                    </a:lnTo>
                    <a:lnTo>
                      <a:pt x="817" y="2"/>
                    </a:lnTo>
                    <a:lnTo>
                      <a:pt x="818" y="3"/>
                    </a:lnTo>
                    <a:lnTo>
                      <a:pt x="820" y="4"/>
                    </a:lnTo>
                    <a:lnTo>
                      <a:pt x="822" y="6"/>
                    </a:lnTo>
                    <a:lnTo>
                      <a:pt x="824" y="7"/>
                    </a:lnTo>
                    <a:lnTo>
                      <a:pt x="824" y="7"/>
                    </a:lnTo>
                    <a:lnTo>
                      <a:pt x="825" y="8"/>
                    </a:lnTo>
                    <a:lnTo>
                      <a:pt x="825" y="8"/>
                    </a:lnTo>
                    <a:lnTo>
                      <a:pt x="825" y="65"/>
                    </a:lnTo>
                    <a:lnTo>
                      <a:pt x="821" y="73"/>
                    </a:lnTo>
                    <a:lnTo>
                      <a:pt x="821" y="80"/>
                    </a:lnTo>
                    <a:lnTo>
                      <a:pt x="822" y="85"/>
                    </a:lnTo>
                    <a:lnTo>
                      <a:pt x="825" y="91"/>
                    </a:lnTo>
                    <a:lnTo>
                      <a:pt x="829" y="95"/>
                    </a:lnTo>
                    <a:lnTo>
                      <a:pt x="832" y="99"/>
                    </a:lnTo>
                    <a:lnTo>
                      <a:pt x="835" y="101"/>
                    </a:lnTo>
                    <a:lnTo>
                      <a:pt x="836" y="102"/>
                    </a:lnTo>
                    <a:lnTo>
                      <a:pt x="836" y="109"/>
                    </a:lnTo>
                    <a:lnTo>
                      <a:pt x="822" y="107"/>
                    </a:lnTo>
                    <a:lnTo>
                      <a:pt x="818" y="105"/>
                    </a:lnTo>
                    <a:lnTo>
                      <a:pt x="814" y="102"/>
                    </a:lnTo>
                    <a:lnTo>
                      <a:pt x="811" y="99"/>
                    </a:lnTo>
                    <a:lnTo>
                      <a:pt x="807" y="95"/>
                    </a:lnTo>
                    <a:lnTo>
                      <a:pt x="805" y="91"/>
                    </a:lnTo>
                    <a:lnTo>
                      <a:pt x="802" y="87"/>
                    </a:lnTo>
                    <a:lnTo>
                      <a:pt x="800" y="83"/>
                    </a:lnTo>
                    <a:lnTo>
                      <a:pt x="800" y="79"/>
                    </a:lnTo>
                    <a:lnTo>
                      <a:pt x="800" y="76"/>
                    </a:lnTo>
                    <a:lnTo>
                      <a:pt x="800" y="73"/>
                    </a:lnTo>
                    <a:lnTo>
                      <a:pt x="802" y="70"/>
                    </a:lnTo>
                    <a:lnTo>
                      <a:pt x="802" y="68"/>
                    </a:lnTo>
                    <a:lnTo>
                      <a:pt x="802" y="66"/>
                    </a:lnTo>
                    <a:lnTo>
                      <a:pt x="802" y="63"/>
                    </a:lnTo>
                    <a:lnTo>
                      <a:pt x="800" y="62"/>
                    </a:lnTo>
                    <a:lnTo>
                      <a:pt x="799" y="59"/>
                    </a:lnTo>
                    <a:lnTo>
                      <a:pt x="798" y="58"/>
                    </a:lnTo>
                    <a:lnTo>
                      <a:pt x="795" y="57"/>
                    </a:lnTo>
                    <a:lnTo>
                      <a:pt x="794" y="55"/>
                    </a:lnTo>
                    <a:lnTo>
                      <a:pt x="794" y="55"/>
                    </a:lnTo>
                    <a:lnTo>
                      <a:pt x="792" y="54"/>
                    </a:lnTo>
                    <a:lnTo>
                      <a:pt x="792" y="52"/>
                    </a:lnTo>
                    <a:lnTo>
                      <a:pt x="794" y="50"/>
                    </a:lnTo>
                    <a:lnTo>
                      <a:pt x="795" y="48"/>
                    </a:lnTo>
                    <a:lnTo>
                      <a:pt x="798" y="46"/>
                    </a:lnTo>
                    <a:lnTo>
                      <a:pt x="799" y="43"/>
                    </a:lnTo>
                    <a:lnTo>
                      <a:pt x="802" y="40"/>
                    </a:lnTo>
                    <a:lnTo>
                      <a:pt x="803" y="37"/>
                    </a:lnTo>
                    <a:lnTo>
                      <a:pt x="805" y="35"/>
                    </a:lnTo>
                    <a:lnTo>
                      <a:pt x="806" y="30"/>
                    </a:lnTo>
                    <a:lnTo>
                      <a:pt x="807" y="26"/>
                    </a:lnTo>
                    <a:lnTo>
                      <a:pt x="809" y="21"/>
                    </a:lnTo>
                    <a:lnTo>
                      <a:pt x="809" y="15"/>
                    </a:lnTo>
                    <a:lnTo>
                      <a:pt x="809" y="13"/>
                    </a:lnTo>
                    <a:lnTo>
                      <a:pt x="807" y="10"/>
                    </a:lnTo>
                    <a:lnTo>
                      <a:pt x="806" y="8"/>
                    </a:lnTo>
                    <a:lnTo>
                      <a:pt x="803" y="8"/>
                    </a:lnTo>
                    <a:lnTo>
                      <a:pt x="799" y="8"/>
                    </a:lnTo>
                    <a:lnTo>
                      <a:pt x="795" y="8"/>
                    </a:lnTo>
                    <a:lnTo>
                      <a:pt x="789" y="7"/>
                    </a:lnTo>
                    <a:lnTo>
                      <a:pt x="787" y="7"/>
                    </a:lnTo>
                    <a:lnTo>
                      <a:pt x="784" y="6"/>
                    </a:lnTo>
                    <a:lnTo>
                      <a:pt x="781" y="4"/>
                    </a:lnTo>
                    <a:lnTo>
                      <a:pt x="780" y="3"/>
                    </a:lnTo>
                    <a:lnTo>
                      <a:pt x="780" y="3"/>
                    </a:lnTo>
                    <a:lnTo>
                      <a:pt x="778" y="2"/>
                    </a:lnTo>
                    <a:lnTo>
                      <a:pt x="777" y="0"/>
                    </a:lnTo>
                    <a:lnTo>
                      <a:pt x="777" y="0"/>
                    </a:lnTo>
                    <a:lnTo>
                      <a:pt x="679" y="0"/>
                    </a:lnTo>
                    <a:lnTo>
                      <a:pt x="675" y="3"/>
                    </a:lnTo>
                    <a:lnTo>
                      <a:pt x="671" y="7"/>
                    </a:lnTo>
                    <a:lnTo>
                      <a:pt x="668" y="11"/>
                    </a:lnTo>
                    <a:lnTo>
                      <a:pt x="667" y="15"/>
                    </a:lnTo>
                    <a:lnTo>
                      <a:pt x="666" y="21"/>
                    </a:lnTo>
                    <a:lnTo>
                      <a:pt x="666" y="25"/>
                    </a:lnTo>
                    <a:lnTo>
                      <a:pt x="666" y="29"/>
                    </a:lnTo>
                    <a:lnTo>
                      <a:pt x="667" y="32"/>
                    </a:lnTo>
                    <a:lnTo>
                      <a:pt x="668" y="35"/>
                    </a:lnTo>
                    <a:lnTo>
                      <a:pt x="671" y="37"/>
                    </a:lnTo>
                    <a:lnTo>
                      <a:pt x="672" y="39"/>
                    </a:lnTo>
                    <a:lnTo>
                      <a:pt x="675" y="40"/>
                    </a:lnTo>
                    <a:lnTo>
                      <a:pt x="678" y="43"/>
                    </a:lnTo>
                    <a:lnTo>
                      <a:pt x="679" y="44"/>
                    </a:lnTo>
                    <a:lnTo>
                      <a:pt x="681" y="47"/>
                    </a:lnTo>
                    <a:lnTo>
                      <a:pt x="681" y="50"/>
                    </a:lnTo>
                    <a:lnTo>
                      <a:pt x="679" y="54"/>
                    </a:lnTo>
                    <a:lnTo>
                      <a:pt x="679" y="57"/>
                    </a:lnTo>
                    <a:lnTo>
                      <a:pt x="679" y="61"/>
                    </a:lnTo>
                    <a:lnTo>
                      <a:pt x="678" y="63"/>
                    </a:lnTo>
                    <a:lnTo>
                      <a:pt x="677" y="66"/>
                    </a:lnTo>
                    <a:lnTo>
                      <a:pt x="675" y="69"/>
                    </a:lnTo>
                    <a:lnTo>
                      <a:pt x="674" y="73"/>
                    </a:lnTo>
                    <a:lnTo>
                      <a:pt x="672" y="76"/>
                    </a:lnTo>
                    <a:lnTo>
                      <a:pt x="670" y="80"/>
                    </a:lnTo>
                    <a:lnTo>
                      <a:pt x="668" y="87"/>
                    </a:lnTo>
                    <a:lnTo>
                      <a:pt x="667" y="95"/>
                    </a:lnTo>
                    <a:lnTo>
                      <a:pt x="666" y="105"/>
                    </a:lnTo>
                    <a:lnTo>
                      <a:pt x="666" y="114"/>
                    </a:lnTo>
                    <a:lnTo>
                      <a:pt x="666" y="121"/>
                    </a:lnTo>
                    <a:lnTo>
                      <a:pt x="666" y="127"/>
                    </a:lnTo>
                    <a:lnTo>
                      <a:pt x="666" y="129"/>
                    </a:lnTo>
                    <a:lnTo>
                      <a:pt x="683" y="129"/>
                    </a:lnTo>
                    <a:lnTo>
                      <a:pt x="701" y="120"/>
                    </a:lnTo>
                    <a:lnTo>
                      <a:pt x="708" y="117"/>
                    </a:lnTo>
                    <a:lnTo>
                      <a:pt x="714" y="117"/>
                    </a:lnTo>
                    <a:lnTo>
                      <a:pt x="718" y="120"/>
                    </a:lnTo>
                    <a:lnTo>
                      <a:pt x="722" y="123"/>
                    </a:lnTo>
                    <a:lnTo>
                      <a:pt x="725" y="127"/>
                    </a:lnTo>
                    <a:lnTo>
                      <a:pt x="728" y="129"/>
                    </a:lnTo>
                    <a:lnTo>
                      <a:pt x="729" y="132"/>
                    </a:lnTo>
                    <a:lnTo>
                      <a:pt x="729" y="134"/>
                    </a:lnTo>
                    <a:lnTo>
                      <a:pt x="729" y="135"/>
                    </a:lnTo>
                    <a:lnTo>
                      <a:pt x="730" y="138"/>
                    </a:lnTo>
                    <a:lnTo>
                      <a:pt x="732" y="142"/>
                    </a:lnTo>
                    <a:lnTo>
                      <a:pt x="733" y="147"/>
                    </a:lnTo>
                    <a:lnTo>
                      <a:pt x="734" y="153"/>
                    </a:lnTo>
                    <a:lnTo>
                      <a:pt x="737" y="160"/>
                    </a:lnTo>
                    <a:lnTo>
                      <a:pt x="739" y="167"/>
                    </a:lnTo>
                    <a:lnTo>
                      <a:pt x="740" y="172"/>
                    </a:lnTo>
                    <a:lnTo>
                      <a:pt x="2301" y="172"/>
                    </a:lnTo>
                    <a:close/>
                    <a:moveTo>
                      <a:pt x="717" y="172"/>
                    </a:moveTo>
                    <a:lnTo>
                      <a:pt x="717" y="165"/>
                    </a:lnTo>
                    <a:lnTo>
                      <a:pt x="717" y="158"/>
                    </a:lnTo>
                    <a:lnTo>
                      <a:pt x="717" y="153"/>
                    </a:lnTo>
                    <a:lnTo>
                      <a:pt x="717" y="149"/>
                    </a:lnTo>
                    <a:lnTo>
                      <a:pt x="717" y="145"/>
                    </a:lnTo>
                    <a:lnTo>
                      <a:pt x="717" y="140"/>
                    </a:lnTo>
                    <a:lnTo>
                      <a:pt x="715" y="139"/>
                    </a:lnTo>
                    <a:lnTo>
                      <a:pt x="715" y="139"/>
                    </a:lnTo>
                    <a:lnTo>
                      <a:pt x="711" y="128"/>
                    </a:lnTo>
                    <a:lnTo>
                      <a:pt x="701" y="139"/>
                    </a:lnTo>
                    <a:lnTo>
                      <a:pt x="701" y="139"/>
                    </a:lnTo>
                    <a:lnTo>
                      <a:pt x="700" y="139"/>
                    </a:lnTo>
                    <a:lnTo>
                      <a:pt x="700" y="140"/>
                    </a:lnTo>
                    <a:lnTo>
                      <a:pt x="697" y="140"/>
                    </a:lnTo>
                    <a:lnTo>
                      <a:pt x="696" y="142"/>
                    </a:lnTo>
                    <a:lnTo>
                      <a:pt x="693" y="142"/>
                    </a:lnTo>
                    <a:lnTo>
                      <a:pt x="690" y="143"/>
                    </a:lnTo>
                    <a:lnTo>
                      <a:pt x="688" y="143"/>
                    </a:lnTo>
                    <a:lnTo>
                      <a:pt x="683" y="143"/>
                    </a:lnTo>
                    <a:lnTo>
                      <a:pt x="681" y="143"/>
                    </a:lnTo>
                    <a:lnTo>
                      <a:pt x="679" y="146"/>
                    </a:lnTo>
                    <a:lnTo>
                      <a:pt x="678" y="147"/>
                    </a:lnTo>
                    <a:lnTo>
                      <a:pt x="677" y="149"/>
                    </a:lnTo>
                    <a:lnTo>
                      <a:pt x="675" y="150"/>
                    </a:lnTo>
                    <a:lnTo>
                      <a:pt x="675" y="151"/>
                    </a:lnTo>
                    <a:lnTo>
                      <a:pt x="675" y="151"/>
                    </a:lnTo>
                    <a:lnTo>
                      <a:pt x="675" y="153"/>
                    </a:lnTo>
                    <a:lnTo>
                      <a:pt x="675" y="154"/>
                    </a:lnTo>
                    <a:lnTo>
                      <a:pt x="675" y="156"/>
                    </a:lnTo>
                    <a:lnTo>
                      <a:pt x="675" y="158"/>
                    </a:lnTo>
                    <a:lnTo>
                      <a:pt x="675" y="161"/>
                    </a:lnTo>
                    <a:lnTo>
                      <a:pt x="675" y="164"/>
                    </a:lnTo>
                    <a:lnTo>
                      <a:pt x="675" y="168"/>
                    </a:lnTo>
                    <a:lnTo>
                      <a:pt x="675" y="172"/>
                    </a:lnTo>
                    <a:lnTo>
                      <a:pt x="717" y="172"/>
                    </a:lnTo>
                    <a:close/>
                    <a:moveTo>
                      <a:pt x="653" y="172"/>
                    </a:moveTo>
                    <a:lnTo>
                      <a:pt x="656" y="169"/>
                    </a:lnTo>
                    <a:lnTo>
                      <a:pt x="656" y="168"/>
                    </a:lnTo>
                    <a:lnTo>
                      <a:pt x="657" y="167"/>
                    </a:lnTo>
                    <a:lnTo>
                      <a:pt x="659" y="165"/>
                    </a:lnTo>
                    <a:lnTo>
                      <a:pt x="660" y="164"/>
                    </a:lnTo>
                    <a:lnTo>
                      <a:pt x="660" y="162"/>
                    </a:lnTo>
                    <a:lnTo>
                      <a:pt x="661" y="162"/>
                    </a:lnTo>
                    <a:lnTo>
                      <a:pt x="661" y="161"/>
                    </a:lnTo>
                    <a:lnTo>
                      <a:pt x="663" y="157"/>
                    </a:lnTo>
                    <a:lnTo>
                      <a:pt x="664" y="154"/>
                    </a:lnTo>
                    <a:lnTo>
                      <a:pt x="664" y="151"/>
                    </a:lnTo>
                    <a:lnTo>
                      <a:pt x="664" y="150"/>
                    </a:lnTo>
                    <a:lnTo>
                      <a:pt x="663" y="149"/>
                    </a:lnTo>
                    <a:lnTo>
                      <a:pt x="661" y="147"/>
                    </a:lnTo>
                    <a:lnTo>
                      <a:pt x="661" y="147"/>
                    </a:lnTo>
                    <a:lnTo>
                      <a:pt x="661" y="147"/>
                    </a:lnTo>
                    <a:lnTo>
                      <a:pt x="659" y="147"/>
                    </a:lnTo>
                    <a:lnTo>
                      <a:pt x="657" y="147"/>
                    </a:lnTo>
                    <a:lnTo>
                      <a:pt x="656" y="146"/>
                    </a:lnTo>
                    <a:lnTo>
                      <a:pt x="653" y="145"/>
                    </a:lnTo>
                    <a:lnTo>
                      <a:pt x="652" y="143"/>
                    </a:lnTo>
                    <a:lnTo>
                      <a:pt x="652" y="142"/>
                    </a:lnTo>
                    <a:lnTo>
                      <a:pt x="650" y="140"/>
                    </a:lnTo>
                    <a:lnTo>
                      <a:pt x="650" y="140"/>
                    </a:lnTo>
                    <a:lnTo>
                      <a:pt x="650" y="135"/>
                    </a:lnTo>
                    <a:lnTo>
                      <a:pt x="650" y="125"/>
                    </a:lnTo>
                    <a:lnTo>
                      <a:pt x="650" y="114"/>
                    </a:lnTo>
                    <a:lnTo>
                      <a:pt x="650" y="101"/>
                    </a:lnTo>
                    <a:lnTo>
                      <a:pt x="650" y="90"/>
                    </a:lnTo>
                    <a:lnTo>
                      <a:pt x="652" y="79"/>
                    </a:lnTo>
                    <a:lnTo>
                      <a:pt x="652" y="72"/>
                    </a:lnTo>
                    <a:lnTo>
                      <a:pt x="652" y="69"/>
                    </a:lnTo>
                    <a:lnTo>
                      <a:pt x="652" y="62"/>
                    </a:lnTo>
                    <a:lnTo>
                      <a:pt x="652" y="55"/>
                    </a:lnTo>
                    <a:lnTo>
                      <a:pt x="650" y="48"/>
                    </a:lnTo>
                    <a:lnTo>
                      <a:pt x="649" y="43"/>
                    </a:lnTo>
                    <a:lnTo>
                      <a:pt x="646" y="39"/>
                    </a:lnTo>
                    <a:lnTo>
                      <a:pt x="645" y="35"/>
                    </a:lnTo>
                    <a:lnTo>
                      <a:pt x="644" y="33"/>
                    </a:lnTo>
                    <a:lnTo>
                      <a:pt x="644" y="32"/>
                    </a:lnTo>
                    <a:lnTo>
                      <a:pt x="644" y="2"/>
                    </a:lnTo>
                    <a:lnTo>
                      <a:pt x="645" y="0"/>
                    </a:lnTo>
                    <a:lnTo>
                      <a:pt x="590" y="0"/>
                    </a:lnTo>
                    <a:lnTo>
                      <a:pt x="587" y="3"/>
                    </a:lnTo>
                    <a:lnTo>
                      <a:pt x="584" y="6"/>
                    </a:lnTo>
                    <a:lnTo>
                      <a:pt x="582" y="10"/>
                    </a:lnTo>
                    <a:lnTo>
                      <a:pt x="579" y="11"/>
                    </a:lnTo>
                    <a:lnTo>
                      <a:pt x="578" y="14"/>
                    </a:lnTo>
                    <a:lnTo>
                      <a:pt x="575" y="15"/>
                    </a:lnTo>
                    <a:lnTo>
                      <a:pt x="573" y="17"/>
                    </a:lnTo>
                    <a:lnTo>
                      <a:pt x="573" y="17"/>
                    </a:lnTo>
                    <a:lnTo>
                      <a:pt x="569" y="19"/>
                    </a:lnTo>
                    <a:lnTo>
                      <a:pt x="568" y="24"/>
                    </a:lnTo>
                    <a:lnTo>
                      <a:pt x="565" y="29"/>
                    </a:lnTo>
                    <a:lnTo>
                      <a:pt x="564" y="35"/>
                    </a:lnTo>
                    <a:lnTo>
                      <a:pt x="561" y="47"/>
                    </a:lnTo>
                    <a:lnTo>
                      <a:pt x="561" y="61"/>
                    </a:lnTo>
                    <a:lnTo>
                      <a:pt x="561" y="73"/>
                    </a:lnTo>
                    <a:lnTo>
                      <a:pt x="561" y="84"/>
                    </a:lnTo>
                    <a:lnTo>
                      <a:pt x="562" y="91"/>
                    </a:lnTo>
                    <a:lnTo>
                      <a:pt x="562" y="94"/>
                    </a:lnTo>
                    <a:lnTo>
                      <a:pt x="562" y="95"/>
                    </a:lnTo>
                    <a:lnTo>
                      <a:pt x="564" y="96"/>
                    </a:lnTo>
                    <a:lnTo>
                      <a:pt x="565" y="101"/>
                    </a:lnTo>
                    <a:lnTo>
                      <a:pt x="567" y="105"/>
                    </a:lnTo>
                    <a:lnTo>
                      <a:pt x="569" y="110"/>
                    </a:lnTo>
                    <a:lnTo>
                      <a:pt x="571" y="114"/>
                    </a:lnTo>
                    <a:lnTo>
                      <a:pt x="572" y="120"/>
                    </a:lnTo>
                    <a:lnTo>
                      <a:pt x="572" y="125"/>
                    </a:lnTo>
                    <a:lnTo>
                      <a:pt x="572" y="128"/>
                    </a:lnTo>
                    <a:lnTo>
                      <a:pt x="571" y="131"/>
                    </a:lnTo>
                    <a:lnTo>
                      <a:pt x="569" y="134"/>
                    </a:lnTo>
                    <a:lnTo>
                      <a:pt x="568" y="134"/>
                    </a:lnTo>
                    <a:lnTo>
                      <a:pt x="567" y="135"/>
                    </a:lnTo>
                    <a:lnTo>
                      <a:pt x="565" y="135"/>
                    </a:lnTo>
                    <a:lnTo>
                      <a:pt x="564" y="135"/>
                    </a:lnTo>
                    <a:lnTo>
                      <a:pt x="564" y="135"/>
                    </a:lnTo>
                    <a:lnTo>
                      <a:pt x="527" y="98"/>
                    </a:lnTo>
                    <a:lnTo>
                      <a:pt x="485" y="94"/>
                    </a:lnTo>
                    <a:lnTo>
                      <a:pt x="480" y="107"/>
                    </a:lnTo>
                    <a:lnTo>
                      <a:pt x="483" y="117"/>
                    </a:lnTo>
                    <a:lnTo>
                      <a:pt x="483" y="134"/>
                    </a:lnTo>
                    <a:lnTo>
                      <a:pt x="459" y="153"/>
                    </a:lnTo>
                    <a:lnTo>
                      <a:pt x="459" y="147"/>
                    </a:lnTo>
                    <a:lnTo>
                      <a:pt x="461" y="140"/>
                    </a:lnTo>
                    <a:lnTo>
                      <a:pt x="461" y="136"/>
                    </a:lnTo>
                    <a:lnTo>
                      <a:pt x="461" y="132"/>
                    </a:lnTo>
                    <a:lnTo>
                      <a:pt x="462" y="129"/>
                    </a:lnTo>
                    <a:lnTo>
                      <a:pt x="462" y="127"/>
                    </a:lnTo>
                    <a:lnTo>
                      <a:pt x="462" y="125"/>
                    </a:lnTo>
                    <a:lnTo>
                      <a:pt x="462" y="125"/>
                    </a:lnTo>
                    <a:lnTo>
                      <a:pt x="452" y="125"/>
                    </a:lnTo>
                    <a:lnTo>
                      <a:pt x="443" y="135"/>
                    </a:lnTo>
                    <a:lnTo>
                      <a:pt x="440" y="147"/>
                    </a:lnTo>
                    <a:lnTo>
                      <a:pt x="414" y="145"/>
                    </a:lnTo>
                    <a:lnTo>
                      <a:pt x="406" y="145"/>
                    </a:lnTo>
                    <a:lnTo>
                      <a:pt x="400" y="146"/>
                    </a:lnTo>
                    <a:lnTo>
                      <a:pt x="395" y="147"/>
                    </a:lnTo>
                    <a:lnTo>
                      <a:pt x="390" y="149"/>
                    </a:lnTo>
                    <a:lnTo>
                      <a:pt x="386" y="150"/>
                    </a:lnTo>
                    <a:lnTo>
                      <a:pt x="385" y="151"/>
                    </a:lnTo>
                    <a:lnTo>
                      <a:pt x="384" y="153"/>
                    </a:lnTo>
                    <a:lnTo>
                      <a:pt x="382" y="153"/>
                    </a:lnTo>
                    <a:lnTo>
                      <a:pt x="382" y="129"/>
                    </a:lnTo>
                    <a:lnTo>
                      <a:pt x="375" y="129"/>
                    </a:lnTo>
                    <a:lnTo>
                      <a:pt x="371" y="132"/>
                    </a:lnTo>
                    <a:lnTo>
                      <a:pt x="366" y="136"/>
                    </a:lnTo>
                    <a:lnTo>
                      <a:pt x="359" y="140"/>
                    </a:lnTo>
                    <a:lnTo>
                      <a:pt x="352" y="145"/>
                    </a:lnTo>
                    <a:lnTo>
                      <a:pt x="344" y="149"/>
                    </a:lnTo>
                    <a:lnTo>
                      <a:pt x="338" y="153"/>
                    </a:lnTo>
                    <a:lnTo>
                      <a:pt x="334" y="156"/>
                    </a:lnTo>
                    <a:lnTo>
                      <a:pt x="333" y="156"/>
                    </a:lnTo>
                    <a:lnTo>
                      <a:pt x="327" y="157"/>
                    </a:lnTo>
                    <a:lnTo>
                      <a:pt x="322" y="158"/>
                    </a:lnTo>
                    <a:lnTo>
                      <a:pt x="318" y="160"/>
                    </a:lnTo>
                    <a:lnTo>
                      <a:pt x="313" y="162"/>
                    </a:lnTo>
                    <a:lnTo>
                      <a:pt x="309" y="164"/>
                    </a:lnTo>
                    <a:lnTo>
                      <a:pt x="305" y="167"/>
                    </a:lnTo>
                    <a:lnTo>
                      <a:pt x="302" y="169"/>
                    </a:lnTo>
                    <a:lnTo>
                      <a:pt x="300" y="172"/>
                    </a:lnTo>
                    <a:lnTo>
                      <a:pt x="653" y="172"/>
                    </a:lnTo>
                    <a:close/>
                    <a:moveTo>
                      <a:pt x="268" y="172"/>
                    </a:moveTo>
                    <a:lnTo>
                      <a:pt x="268" y="169"/>
                    </a:lnTo>
                    <a:lnTo>
                      <a:pt x="269" y="167"/>
                    </a:lnTo>
                    <a:lnTo>
                      <a:pt x="269" y="164"/>
                    </a:lnTo>
                    <a:lnTo>
                      <a:pt x="269" y="162"/>
                    </a:lnTo>
                    <a:lnTo>
                      <a:pt x="269" y="161"/>
                    </a:lnTo>
                    <a:lnTo>
                      <a:pt x="269" y="160"/>
                    </a:lnTo>
                    <a:lnTo>
                      <a:pt x="268" y="158"/>
                    </a:lnTo>
                    <a:lnTo>
                      <a:pt x="268" y="158"/>
                    </a:lnTo>
                    <a:lnTo>
                      <a:pt x="267" y="151"/>
                    </a:lnTo>
                    <a:lnTo>
                      <a:pt x="263" y="146"/>
                    </a:lnTo>
                    <a:lnTo>
                      <a:pt x="257" y="142"/>
                    </a:lnTo>
                    <a:lnTo>
                      <a:pt x="252" y="138"/>
                    </a:lnTo>
                    <a:lnTo>
                      <a:pt x="245" y="136"/>
                    </a:lnTo>
                    <a:lnTo>
                      <a:pt x="239" y="135"/>
                    </a:lnTo>
                    <a:lnTo>
                      <a:pt x="235" y="135"/>
                    </a:lnTo>
                    <a:lnTo>
                      <a:pt x="234" y="135"/>
                    </a:lnTo>
                    <a:lnTo>
                      <a:pt x="232" y="136"/>
                    </a:lnTo>
                    <a:lnTo>
                      <a:pt x="230" y="138"/>
                    </a:lnTo>
                    <a:lnTo>
                      <a:pt x="227" y="139"/>
                    </a:lnTo>
                    <a:lnTo>
                      <a:pt x="223" y="139"/>
                    </a:lnTo>
                    <a:lnTo>
                      <a:pt x="219" y="139"/>
                    </a:lnTo>
                    <a:lnTo>
                      <a:pt x="216" y="139"/>
                    </a:lnTo>
                    <a:lnTo>
                      <a:pt x="213" y="139"/>
                    </a:lnTo>
                    <a:lnTo>
                      <a:pt x="213" y="139"/>
                    </a:lnTo>
                    <a:lnTo>
                      <a:pt x="228" y="149"/>
                    </a:lnTo>
                    <a:lnTo>
                      <a:pt x="227" y="172"/>
                    </a:lnTo>
                    <a:lnTo>
                      <a:pt x="268" y="172"/>
                    </a:lnTo>
                    <a:close/>
                    <a:moveTo>
                      <a:pt x="176" y="172"/>
                    </a:moveTo>
                    <a:lnTo>
                      <a:pt x="172" y="171"/>
                    </a:lnTo>
                    <a:lnTo>
                      <a:pt x="168" y="168"/>
                    </a:lnTo>
                    <a:lnTo>
                      <a:pt x="164" y="168"/>
                    </a:lnTo>
                    <a:lnTo>
                      <a:pt x="159" y="167"/>
                    </a:lnTo>
                    <a:lnTo>
                      <a:pt x="157" y="165"/>
                    </a:lnTo>
                    <a:lnTo>
                      <a:pt x="154" y="165"/>
                    </a:lnTo>
                    <a:lnTo>
                      <a:pt x="153" y="165"/>
                    </a:lnTo>
                    <a:lnTo>
                      <a:pt x="153" y="164"/>
                    </a:lnTo>
                    <a:lnTo>
                      <a:pt x="144" y="146"/>
                    </a:lnTo>
                    <a:lnTo>
                      <a:pt x="139" y="138"/>
                    </a:lnTo>
                    <a:lnTo>
                      <a:pt x="133" y="131"/>
                    </a:lnTo>
                    <a:lnTo>
                      <a:pt x="128" y="125"/>
                    </a:lnTo>
                    <a:lnTo>
                      <a:pt x="121" y="120"/>
                    </a:lnTo>
                    <a:lnTo>
                      <a:pt x="108" y="113"/>
                    </a:lnTo>
                    <a:lnTo>
                      <a:pt x="95" y="110"/>
                    </a:lnTo>
                    <a:lnTo>
                      <a:pt x="84" y="109"/>
                    </a:lnTo>
                    <a:lnTo>
                      <a:pt x="74" y="109"/>
                    </a:lnTo>
                    <a:lnTo>
                      <a:pt x="67" y="109"/>
                    </a:lnTo>
                    <a:lnTo>
                      <a:pt x="64" y="110"/>
                    </a:lnTo>
                    <a:lnTo>
                      <a:pt x="63" y="107"/>
                    </a:lnTo>
                    <a:lnTo>
                      <a:pt x="62" y="105"/>
                    </a:lnTo>
                    <a:lnTo>
                      <a:pt x="59" y="102"/>
                    </a:lnTo>
                    <a:lnTo>
                      <a:pt x="56" y="99"/>
                    </a:lnTo>
                    <a:lnTo>
                      <a:pt x="53" y="98"/>
                    </a:lnTo>
                    <a:lnTo>
                      <a:pt x="51" y="96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51" y="88"/>
                    </a:lnTo>
                    <a:lnTo>
                      <a:pt x="63" y="92"/>
                    </a:lnTo>
                    <a:lnTo>
                      <a:pt x="70" y="87"/>
                    </a:lnTo>
                    <a:lnTo>
                      <a:pt x="45" y="76"/>
                    </a:lnTo>
                    <a:lnTo>
                      <a:pt x="37" y="87"/>
                    </a:lnTo>
                    <a:lnTo>
                      <a:pt x="27" y="88"/>
                    </a:lnTo>
                    <a:lnTo>
                      <a:pt x="27" y="94"/>
                    </a:lnTo>
                    <a:lnTo>
                      <a:pt x="25" y="99"/>
                    </a:lnTo>
                    <a:lnTo>
                      <a:pt x="23" y="103"/>
                    </a:lnTo>
                    <a:lnTo>
                      <a:pt x="19" y="106"/>
                    </a:lnTo>
                    <a:lnTo>
                      <a:pt x="16" y="109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1" y="112"/>
                    </a:lnTo>
                    <a:lnTo>
                      <a:pt x="0" y="132"/>
                    </a:lnTo>
                    <a:lnTo>
                      <a:pt x="1" y="153"/>
                    </a:lnTo>
                    <a:lnTo>
                      <a:pt x="20" y="172"/>
                    </a:lnTo>
                    <a:lnTo>
                      <a:pt x="176" y="17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8" name="Freeform 810"/>
              <p:cNvSpPr>
                <a:spLocks noEditPoints="1"/>
              </p:cNvSpPr>
              <p:nvPr/>
            </p:nvSpPr>
            <p:spPr bwMode="auto">
              <a:xfrm>
                <a:off x="3768" y="983"/>
                <a:ext cx="1227" cy="345"/>
              </a:xfrm>
              <a:custGeom>
                <a:avLst/>
                <a:gdLst>
                  <a:gd name="T0" fmla="*/ 1224 w 1227"/>
                  <a:gd name="T1" fmla="*/ 337 h 345"/>
                  <a:gd name="T2" fmla="*/ 1208 w 1227"/>
                  <a:gd name="T3" fmla="*/ 329 h 345"/>
                  <a:gd name="T4" fmla="*/ 1186 w 1227"/>
                  <a:gd name="T5" fmla="*/ 342 h 345"/>
                  <a:gd name="T6" fmla="*/ 1175 w 1227"/>
                  <a:gd name="T7" fmla="*/ 336 h 345"/>
                  <a:gd name="T8" fmla="*/ 1157 w 1227"/>
                  <a:gd name="T9" fmla="*/ 318 h 345"/>
                  <a:gd name="T10" fmla="*/ 1096 w 1227"/>
                  <a:gd name="T11" fmla="*/ 304 h 345"/>
                  <a:gd name="T12" fmla="*/ 1088 w 1227"/>
                  <a:gd name="T13" fmla="*/ 320 h 345"/>
                  <a:gd name="T14" fmla="*/ 1069 w 1227"/>
                  <a:gd name="T15" fmla="*/ 333 h 345"/>
                  <a:gd name="T16" fmla="*/ 930 w 1227"/>
                  <a:gd name="T17" fmla="*/ 301 h 345"/>
                  <a:gd name="T18" fmla="*/ 909 w 1227"/>
                  <a:gd name="T19" fmla="*/ 289 h 345"/>
                  <a:gd name="T20" fmla="*/ 889 w 1227"/>
                  <a:gd name="T21" fmla="*/ 276 h 345"/>
                  <a:gd name="T22" fmla="*/ 849 w 1227"/>
                  <a:gd name="T23" fmla="*/ 274 h 345"/>
                  <a:gd name="T24" fmla="*/ 801 w 1227"/>
                  <a:gd name="T25" fmla="*/ 285 h 345"/>
                  <a:gd name="T26" fmla="*/ 715 w 1227"/>
                  <a:gd name="T27" fmla="*/ 256 h 345"/>
                  <a:gd name="T28" fmla="*/ 659 w 1227"/>
                  <a:gd name="T29" fmla="*/ 232 h 345"/>
                  <a:gd name="T30" fmla="*/ 667 w 1227"/>
                  <a:gd name="T31" fmla="*/ 213 h 345"/>
                  <a:gd name="T32" fmla="*/ 652 w 1227"/>
                  <a:gd name="T33" fmla="*/ 201 h 345"/>
                  <a:gd name="T34" fmla="*/ 640 w 1227"/>
                  <a:gd name="T35" fmla="*/ 213 h 345"/>
                  <a:gd name="T36" fmla="*/ 609 w 1227"/>
                  <a:gd name="T37" fmla="*/ 243 h 345"/>
                  <a:gd name="T38" fmla="*/ 585 w 1227"/>
                  <a:gd name="T39" fmla="*/ 265 h 345"/>
                  <a:gd name="T40" fmla="*/ 655 w 1227"/>
                  <a:gd name="T41" fmla="*/ 162 h 345"/>
                  <a:gd name="T42" fmla="*/ 667 w 1227"/>
                  <a:gd name="T43" fmla="*/ 105 h 345"/>
                  <a:gd name="T44" fmla="*/ 645 w 1227"/>
                  <a:gd name="T45" fmla="*/ 63 h 345"/>
                  <a:gd name="T46" fmla="*/ 604 w 1227"/>
                  <a:gd name="T47" fmla="*/ 72 h 345"/>
                  <a:gd name="T48" fmla="*/ 567 w 1227"/>
                  <a:gd name="T49" fmla="*/ 83 h 345"/>
                  <a:gd name="T50" fmla="*/ 569 w 1227"/>
                  <a:gd name="T51" fmla="*/ 22 h 345"/>
                  <a:gd name="T52" fmla="*/ 558 w 1227"/>
                  <a:gd name="T53" fmla="*/ 2 h 345"/>
                  <a:gd name="T54" fmla="*/ 520 w 1227"/>
                  <a:gd name="T55" fmla="*/ 18 h 345"/>
                  <a:gd name="T56" fmla="*/ 486 w 1227"/>
                  <a:gd name="T57" fmla="*/ 62 h 345"/>
                  <a:gd name="T58" fmla="*/ 454 w 1227"/>
                  <a:gd name="T59" fmla="*/ 81 h 345"/>
                  <a:gd name="T60" fmla="*/ 492 w 1227"/>
                  <a:gd name="T61" fmla="*/ 116 h 345"/>
                  <a:gd name="T62" fmla="*/ 492 w 1227"/>
                  <a:gd name="T63" fmla="*/ 145 h 345"/>
                  <a:gd name="T64" fmla="*/ 472 w 1227"/>
                  <a:gd name="T65" fmla="*/ 140 h 345"/>
                  <a:gd name="T66" fmla="*/ 429 w 1227"/>
                  <a:gd name="T67" fmla="*/ 107 h 345"/>
                  <a:gd name="T68" fmla="*/ 388 w 1227"/>
                  <a:gd name="T69" fmla="*/ 103 h 345"/>
                  <a:gd name="T70" fmla="*/ 371 w 1227"/>
                  <a:gd name="T71" fmla="*/ 106 h 345"/>
                  <a:gd name="T72" fmla="*/ 345 w 1227"/>
                  <a:gd name="T73" fmla="*/ 127 h 345"/>
                  <a:gd name="T74" fmla="*/ 312 w 1227"/>
                  <a:gd name="T75" fmla="*/ 140 h 345"/>
                  <a:gd name="T76" fmla="*/ 285 w 1227"/>
                  <a:gd name="T77" fmla="*/ 190 h 345"/>
                  <a:gd name="T78" fmla="*/ 263 w 1227"/>
                  <a:gd name="T79" fmla="*/ 213 h 345"/>
                  <a:gd name="T80" fmla="*/ 256 w 1227"/>
                  <a:gd name="T81" fmla="*/ 226 h 345"/>
                  <a:gd name="T82" fmla="*/ 246 w 1227"/>
                  <a:gd name="T83" fmla="*/ 243 h 345"/>
                  <a:gd name="T84" fmla="*/ 198 w 1227"/>
                  <a:gd name="T85" fmla="*/ 264 h 345"/>
                  <a:gd name="T86" fmla="*/ 193 w 1227"/>
                  <a:gd name="T87" fmla="*/ 323 h 345"/>
                  <a:gd name="T88" fmla="*/ 215 w 1227"/>
                  <a:gd name="T89" fmla="*/ 330 h 345"/>
                  <a:gd name="T90" fmla="*/ 220 w 1227"/>
                  <a:gd name="T91" fmla="*/ 341 h 345"/>
                  <a:gd name="T92" fmla="*/ 186 w 1227"/>
                  <a:gd name="T93" fmla="*/ 344 h 345"/>
                  <a:gd name="T94" fmla="*/ 175 w 1227"/>
                  <a:gd name="T95" fmla="*/ 342 h 345"/>
                  <a:gd name="T96" fmla="*/ 144 w 1227"/>
                  <a:gd name="T97" fmla="*/ 326 h 345"/>
                  <a:gd name="T98" fmla="*/ 131 w 1227"/>
                  <a:gd name="T99" fmla="*/ 334 h 345"/>
                  <a:gd name="T100" fmla="*/ 125 w 1227"/>
                  <a:gd name="T101" fmla="*/ 301 h 345"/>
                  <a:gd name="T102" fmla="*/ 106 w 1227"/>
                  <a:gd name="T103" fmla="*/ 289 h 345"/>
                  <a:gd name="T104" fmla="*/ 95 w 1227"/>
                  <a:gd name="T105" fmla="*/ 304 h 345"/>
                  <a:gd name="T106" fmla="*/ 100 w 1227"/>
                  <a:gd name="T107" fmla="*/ 331 h 345"/>
                  <a:gd name="T108" fmla="*/ 91 w 1227"/>
                  <a:gd name="T109" fmla="*/ 344 h 345"/>
                  <a:gd name="T110" fmla="*/ 55 w 1227"/>
                  <a:gd name="T111" fmla="*/ 345 h 345"/>
                  <a:gd name="T112" fmla="*/ 73 w 1227"/>
                  <a:gd name="T113" fmla="*/ 300 h 345"/>
                  <a:gd name="T114" fmla="*/ 25 w 1227"/>
                  <a:gd name="T115" fmla="*/ 292 h 345"/>
                  <a:gd name="T116" fmla="*/ 5 w 1227"/>
                  <a:gd name="T117" fmla="*/ 327 h 345"/>
                  <a:gd name="T118" fmla="*/ 3 w 1227"/>
                  <a:gd name="T119" fmla="*/ 341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27" h="345">
                    <a:moveTo>
                      <a:pt x="1227" y="345"/>
                    </a:moveTo>
                    <a:lnTo>
                      <a:pt x="1227" y="344"/>
                    </a:lnTo>
                    <a:lnTo>
                      <a:pt x="1226" y="342"/>
                    </a:lnTo>
                    <a:lnTo>
                      <a:pt x="1226" y="341"/>
                    </a:lnTo>
                    <a:lnTo>
                      <a:pt x="1226" y="340"/>
                    </a:lnTo>
                    <a:lnTo>
                      <a:pt x="1224" y="338"/>
                    </a:lnTo>
                    <a:lnTo>
                      <a:pt x="1224" y="337"/>
                    </a:lnTo>
                    <a:lnTo>
                      <a:pt x="1223" y="336"/>
                    </a:lnTo>
                    <a:lnTo>
                      <a:pt x="1223" y="334"/>
                    </a:lnTo>
                    <a:lnTo>
                      <a:pt x="1221" y="331"/>
                    </a:lnTo>
                    <a:lnTo>
                      <a:pt x="1219" y="330"/>
                    </a:lnTo>
                    <a:lnTo>
                      <a:pt x="1216" y="329"/>
                    </a:lnTo>
                    <a:lnTo>
                      <a:pt x="1213" y="327"/>
                    </a:lnTo>
                    <a:lnTo>
                      <a:pt x="1208" y="329"/>
                    </a:lnTo>
                    <a:lnTo>
                      <a:pt x="1201" y="331"/>
                    </a:lnTo>
                    <a:lnTo>
                      <a:pt x="1195" y="334"/>
                    </a:lnTo>
                    <a:lnTo>
                      <a:pt x="1191" y="338"/>
                    </a:lnTo>
                    <a:lnTo>
                      <a:pt x="1188" y="341"/>
                    </a:lnTo>
                    <a:lnTo>
                      <a:pt x="1187" y="341"/>
                    </a:lnTo>
                    <a:lnTo>
                      <a:pt x="1187" y="342"/>
                    </a:lnTo>
                    <a:lnTo>
                      <a:pt x="1186" y="342"/>
                    </a:lnTo>
                    <a:lnTo>
                      <a:pt x="1183" y="342"/>
                    </a:lnTo>
                    <a:lnTo>
                      <a:pt x="1182" y="342"/>
                    </a:lnTo>
                    <a:lnTo>
                      <a:pt x="1179" y="342"/>
                    </a:lnTo>
                    <a:lnTo>
                      <a:pt x="1177" y="342"/>
                    </a:lnTo>
                    <a:lnTo>
                      <a:pt x="1176" y="341"/>
                    </a:lnTo>
                    <a:lnTo>
                      <a:pt x="1175" y="338"/>
                    </a:lnTo>
                    <a:lnTo>
                      <a:pt x="1175" y="336"/>
                    </a:lnTo>
                    <a:lnTo>
                      <a:pt x="1175" y="333"/>
                    </a:lnTo>
                    <a:lnTo>
                      <a:pt x="1173" y="329"/>
                    </a:lnTo>
                    <a:lnTo>
                      <a:pt x="1172" y="326"/>
                    </a:lnTo>
                    <a:lnTo>
                      <a:pt x="1171" y="323"/>
                    </a:lnTo>
                    <a:lnTo>
                      <a:pt x="1166" y="320"/>
                    </a:lnTo>
                    <a:lnTo>
                      <a:pt x="1162" y="318"/>
                    </a:lnTo>
                    <a:lnTo>
                      <a:pt x="1157" y="318"/>
                    </a:lnTo>
                    <a:lnTo>
                      <a:pt x="1149" y="318"/>
                    </a:lnTo>
                    <a:lnTo>
                      <a:pt x="1139" y="315"/>
                    </a:lnTo>
                    <a:lnTo>
                      <a:pt x="1128" y="314"/>
                    </a:lnTo>
                    <a:lnTo>
                      <a:pt x="1118" y="311"/>
                    </a:lnTo>
                    <a:lnTo>
                      <a:pt x="1109" y="308"/>
                    </a:lnTo>
                    <a:lnTo>
                      <a:pt x="1100" y="305"/>
                    </a:lnTo>
                    <a:lnTo>
                      <a:pt x="1096" y="304"/>
                    </a:lnTo>
                    <a:lnTo>
                      <a:pt x="1094" y="303"/>
                    </a:lnTo>
                    <a:lnTo>
                      <a:pt x="1096" y="307"/>
                    </a:lnTo>
                    <a:lnTo>
                      <a:pt x="1096" y="311"/>
                    </a:lnTo>
                    <a:lnTo>
                      <a:pt x="1096" y="314"/>
                    </a:lnTo>
                    <a:lnTo>
                      <a:pt x="1095" y="316"/>
                    </a:lnTo>
                    <a:lnTo>
                      <a:pt x="1092" y="319"/>
                    </a:lnTo>
                    <a:lnTo>
                      <a:pt x="1088" y="320"/>
                    </a:lnTo>
                    <a:lnTo>
                      <a:pt x="1084" y="322"/>
                    </a:lnTo>
                    <a:lnTo>
                      <a:pt x="1077" y="322"/>
                    </a:lnTo>
                    <a:lnTo>
                      <a:pt x="1074" y="323"/>
                    </a:lnTo>
                    <a:lnTo>
                      <a:pt x="1073" y="325"/>
                    </a:lnTo>
                    <a:lnTo>
                      <a:pt x="1070" y="326"/>
                    </a:lnTo>
                    <a:lnTo>
                      <a:pt x="1069" y="329"/>
                    </a:lnTo>
                    <a:lnTo>
                      <a:pt x="1069" y="333"/>
                    </a:lnTo>
                    <a:lnTo>
                      <a:pt x="1067" y="337"/>
                    </a:lnTo>
                    <a:lnTo>
                      <a:pt x="1067" y="341"/>
                    </a:lnTo>
                    <a:lnTo>
                      <a:pt x="1066" y="345"/>
                    </a:lnTo>
                    <a:lnTo>
                      <a:pt x="1227" y="345"/>
                    </a:lnTo>
                    <a:close/>
                    <a:moveTo>
                      <a:pt x="926" y="345"/>
                    </a:moveTo>
                    <a:lnTo>
                      <a:pt x="926" y="325"/>
                    </a:lnTo>
                    <a:lnTo>
                      <a:pt x="930" y="301"/>
                    </a:lnTo>
                    <a:lnTo>
                      <a:pt x="930" y="296"/>
                    </a:lnTo>
                    <a:lnTo>
                      <a:pt x="927" y="292"/>
                    </a:lnTo>
                    <a:lnTo>
                      <a:pt x="923" y="289"/>
                    </a:lnTo>
                    <a:lnTo>
                      <a:pt x="919" y="289"/>
                    </a:lnTo>
                    <a:lnTo>
                      <a:pt x="915" y="289"/>
                    </a:lnTo>
                    <a:lnTo>
                      <a:pt x="912" y="289"/>
                    </a:lnTo>
                    <a:lnTo>
                      <a:pt x="909" y="289"/>
                    </a:lnTo>
                    <a:lnTo>
                      <a:pt x="908" y="290"/>
                    </a:lnTo>
                    <a:lnTo>
                      <a:pt x="908" y="289"/>
                    </a:lnTo>
                    <a:lnTo>
                      <a:pt x="906" y="287"/>
                    </a:lnTo>
                    <a:lnTo>
                      <a:pt x="904" y="285"/>
                    </a:lnTo>
                    <a:lnTo>
                      <a:pt x="900" y="282"/>
                    </a:lnTo>
                    <a:lnTo>
                      <a:pt x="894" y="279"/>
                    </a:lnTo>
                    <a:lnTo>
                      <a:pt x="889" y="276"/>
                    </a:lnTo>
                    <a:lnTo>
                      <a:pt x="882" y="274"/>
                    </a:lnTo>
                    <a:lnTo>
                      <a:pt x="872" y="272"/>
                    </a:lnTo>
                    <a:lnTo>
                      <a:pt x="865" y="272"/>
                    </a:lnTo>
                    <a:lnTo>
                      <a:pt x="860" y="271"/>
                    </a:lnTo>
                    <a:lnTo>
                      <a:pt x="854" y="271"/>
                    </a:lnTo>
                    <a:lnTo>
                      <a:pt x="851" y="272"/>
                    </a:lnTo>
                    <a:lnTo>
                      <a:pt x="849" y="274"/>
                    </a:lnTo>
                    <a:lnTo>
                      <a:pt x="845" y="275"/>
                    </a:lnTo>
                    <a:lnTo>
                      <a:pt x="840" y="278"/>
                    </a:lnTo>
                    <a:lnTo>
                      <a:pt x="835" y="282"/>
                    </a:lnTo>
                    <a:lnTo>
                      <a:pt x="828" y="285"/>
                    </a:lnTo>
                    <a:lnTo>
                      <a:pt x="818" y="286"/>
                    </a:lnTo>
                    <a:lnTo>
                      <a:pt x="810" y="286"/>
                    </a:lnTo>
                    <a:lnTo>
                      <a:pt x="801" y="285"/>
                    </a:lnTo>
                    <a:lnTo>
                      <a:pt x="791" y="282"/>
                    </a:lnTo>
                    <a:lnTo>
                      <a:pt x="784" y="279"/>
                    </a:lnTo>
                    <a:lnTo>
                      <a:pt x="780" y="278"/>
                    </a:lnTo>
                    <a:lnTo>
                      <a:pt x="777" y="278"/>
                    </a:lnTo>
                    <a:lnTo>
                      <a:pt x="737" y="256"/>
                    </a:lnTo>
                    <a:lnTo>
                      <a:pt x="726" y="257"/>
                    </a:lnTo>
                    <a:lnTo>
                      <a:pt x="715" y="256"/>
                    </a:lnTo>
                    <a:lnTo>
                      <a:pt x="704" y="254"/>
                    </a:lnTo>
                    <a:lnTo>
                      <a:pt x="693" y="250"/>
                    </a:lnTo>
                    <a:lnTo>
                      <a:pt x="684" y="246"/>
                    </a:lnTo>
                    <a:lnTo>
                      <a:pt x="677" y="243"/>
                    </a:lnTo>
                    <a:lnTo>
                      <a:pt x="673" y="241"/>
                    </a:lnTo>
                    <a:lnTo>
                      <a:pt x="670" y="239"/>
                    </a:lnTo>
                    <a:lnTo>
                      <a:pt x="659" y="232"/>
                    </a:lnTo>
                    <a:lnTo>
                      <a:pt x="656" y="226"/>
                    </a:lnTo>
                    <a:lnTo>
                      <a:pt x="666" y="220"/>
                    </a:lnTo>
                    <a:lnTo>
                      <a:pt x="666" y="220"/>
                    </a:lnTo>
                    <a:lnTo>
                      <a:pt x="666" y="219"/>
                    </a:lnTo>
                    <a:lnTo>
                      <a:pt x="666" y="217"/>
                    </a:lnTo>
                    <a:lnTo>
                      <a:pt x="667" y="216"/>
                    </a:lnTo>
                    <a:lnTo>
                      <a:pt x="667" y="213"/>
                    </a:lnTo>
                    <a:lnTo>
                      <a:pt x="666" y="210"/>
                    </a:lnTo>
                    <a:lnTo>
                      <a:pt x="666" y="208"/>
                    </a:lnTo>
                    <a:lnTo>
                      <a:pt x="664" y="204"/>
                    </a:lnTo>
                    <a:lnTo>
                      <a:pt x="662" y="201"/>
                    </a:lnTo>
                    <a:lnTo>
                      <a:pt x="659" y="199"/>
                    </a:lnTo>
                    <a:lnTo>
                      <a:pt x="656" y="199"/>
                    </a:lnTo>
                    <a:lnTo>
                      <a:pt x="652" y="201"/>
                    </a:lnTo>
                    <a:lnTo>
                      <a:pt x="649" y="201"/>
                    </a:lnTo>
                    <a:lnTo>
                      <a:pt x="646" y="202"/>
                    </a:lnTo>
                    <a:lnTo>
                      <a:pt x="645" y="204"/>
                    </a:lnTo>
                    <a:lnTo>
                      <a:pt x="645" y="204"/>
                    </a:lnTo>
                    <a:lnTo>
                      <a:pt x="644" y="205"/>
                    </a:lnTo>
                    <a:lnTo>
                      <a:pt x="642" y="209"/>
                    </a:lnTo>
                    <a:lnTo>
                      <a:pt x="640" y="213"/>
                    </a:lnTo>
                    <a:lnTo>
                      <a:pt x="635" y="219"/>
                    </a:lnTo>
                    <a:lnTo>
                      <a:pt x="631" y="224"/>
                    </a:lnTo>
                    <a:lnTo>
                      <a:pt x="627" y="230"/>
                    </a:lnTo>
                    <a:lnTo>
                      <a:pt x="623" y="234"/>
                    </a:lnTo>
                    <a:lnTo>
                      <a:pt x="619" y="237"/>
                    </a:lnTo>
                    <a:lnTo>
                      <a:pt x="613" y="239"/>
                    </a:lnTo>
                    <a:lnTo>
                      <a:pt x="609" y="243"/>
                    </a:lnTo>
                    <a:lnTo>
                      <a:pt x="605" y="248"/>
                    </a:lnTo>
                    <a:lnTo>
                      <a:pt x="602" y="253"/>
                    </a:lnTo>
                    <a:lnTo>
                      <a:pt x="598" y="257"/>
                    </a:lnTo>
                    <a:lnTo>
                      <a:pt x="597" y="261"/>
                    </a:lnTo>
                    <a:lnTo>
                      <a:pt x="596" y="264"/>
                    </a:lnTo>
                    <a:lnTo>
                      <a:pt x="594" y="265"/>
                    </a:lnTo>
                    <a:lnTo>
                      <a:pt x="585" y="265"/>
                    </a:lnTo>
                    <a:lnTo>
                      <a:pt x="580" y="242"/>
                    </a:lnTo>
                    <a:lnTo>
                      <a:pt x="571" y="230"/>
                    </a:lnTo>
                    <a:lnTo>
                      <a:pt x="597" y="227"/>
                    </a:lnTo>
                    <a:lnTo>
                      <a:pt x="630" y="190"/>
                    </a:lnTo>
                    <a:lnTo>
                      <a:pt x="641" y="179"/>
                    </a:lnTo>
                    <a:lnTo>
                      <a:pt x="648" y="171"/>
                    </a:lnTo>
                    <a:lnTo>
                      <a:pt x="655" y="162"/>
                    </a:lnTo>
                    <a:lnTo>
                      <a:pt x="659" y="156"/>
                    </a:lnTo>
                    <a:lnTo>
                      <a:pt x="662" y="149"/>
                    </a:lnTo>
                    <a:lnTo>
                      <a:pt x="663" y="145"/>
                    </a:lnTo>
                    <a:lnTo>
                      <a:pt x="663" y="143"/>
                    </a:lnTo>
                    <a:lnTo>
                      <a:pt x="664" y="142"/>
                    </a:lnTo>
                    <a:lnTo>
                      <a:pt x="666" y="113"/>
                    </a:lnTo>
                    <a:lnTo>
                      <a:pt x="667" y="105"/>
                    </a:lnTo>
                    <a:lnTo>
                      <a:pt x="668" y="96"/>
                    </a:lnTo>
                    <a:lnTo>
                      <a:pt x="667" y="90"/>
                    </a:lnTo>
                    <a:lnTo>
                      <a:pt x="664" y="83"/>
                    </a:lnTo>
                    <a:lnTo>
                      <a:pt x="660" y="77"/>
                    </a:lnTo>
                    <a:lnTo>
                      <a:pt x="656" y="72"/>
                    </a:lnTo>
                    <a:lnTo>
                      <a:pt x="651" y="68"/>
                    </a:lnTo>
                    <a:lnTo>
                      <a:pt x="645" y="63"/>
                    </a:lnTo>
                    <a:lnTo>
                      <a:pt x="638" y="61"/>
                    </a:lnTo>
                    <a:lnTo>
                      <a:pt x="633" y="61"/>
                    </a:lnTo>
                    <a:lnTo>
                      <a:pt x="627" y="61"/>
                    </a:lnTo>
                    <a:lnTo>
                      <a:pt x="622" y="62"/>
                    </a:lnTo>
                    <a:lnTo>
                      <a:pt x="616" y="65"/>
                    </a:lnTo>
                    <a:lnTo>
                      <a:pt x="611" y="68"/>
                    </a:lnTo>
                    <a:lnTo>
                      <a:pt x="604" y="72"/>
                    </a:lnTo>
                    <a:lnTo>
                      <a:pt x="597" y="76"/>
                    </a:lnTo>
                    <a:lnTo>
                      <a:pt x="590" y="79"/>
                    </a:lnTo>
                    <a:lnTo>
                      <a:pt x="583" y="80"/>
                    </a:lnTo>
                    <a:lnTo>
                      <a:pt x="578" y="81"/>
                    </a:lnTo>
                    <a:lnTo>
                      <a:pt x="574" y="83"/>
                    </a:lnTo>
                    <a:lnTo>
                      <a:pt x="569" y="83"/>
                    </a:lnTo>
                    <a:lnTo>
                      <a:pt x="567" y="83"/>
                    </a:lnTo>
                    <a:lnTo>
                      <a:pt x="564" y="83"/>
                    </a:lnTo>
                    <a:lnTo>
                      <a:pt x="564" y="83"/>
                    </a:lnTo>
                    <a:lnTo>
                      <a:pt x="561" y="61"/>
                    </a:lnTo>
                    <a:lnTo>
                      <a:pt x="554" y="54"/>
                    </a:lnTo>
                    <a:lnTo>
                      <a:pt x="565" y="24"/>
                    </a:lnTo>
                    <a:lnTo>
                      <a:pt x="567" y="22"/>
                    </a:lnTo>
                    <a:lnTo>
                      <a:pt x="569" y="22"/>
                    </a:lnTo>
                    <a:lnTo>
                      <a:pt x="571" y="21"/>
                    </a:lnTo>
                    <a:lnTo>
                      <a:pt x="574" y="18"/>
                    </a:lnTo>
                    <a:lnTo>
                      <a:pt x="575" y="15"/>
                    </a:lnTo>
                    <a:lnTo>
                      <a:pt x="575" y="13"/>
                    </a:lnTo>
                    <a:lnTo>
                      <a:pt x="572" y="8"/>
                    </a:lnTo>
                    <a:lnTo>
                      <a:pt x="565" y="4"/>
                    </a:lnTo>
                    <a:lnTo>
                      <a:pt x="558" y="2"/>
                    </a:lnTo>
                    <a:lnTo>
                      <a:pt x="550" y="0"/>
                    </a:lnTo>
                    <a:lnTo>
                      <a:pt x="543" y="2"/>
                    </a:lnTo>
                    <a:lnTo>
                      <a:pt x="536" y="3"/>
                    </a:lnTo>
                    <a:lnTo>
                      <a:pt x="531" y="7"/>
                    </a:lnTo>
                    <a:lnTo>
                      <a:pt x="527" y="10"/>
                    </a:lnTo>
                    <a:lnTo>
                      <a:pt x="523" y="14"/>
                    </a:lnTo>
                    <a:lnTo>
                      <a:pt x="520" y="18"/>
                    </a:lnTo>
                    <a:lnTo>
                      <a:pt x="517" y="24"/>
                    </a:lnTo>
                    <a:lnTo>
                      <a:pt x="513" y="29"/>
                    </a:lnTo>
                    <a:lnTo>
                      <a:pt x="508" y="37"/>
                    </a:lnTo>
                    <a:lnTo>
                      <a:pt x="501" y="44"/>
                    </a:lnTo>
                    <a:lnTo>
                      <a:pt x="495" y="52"/>
                    </a:lnTo>
                    <a:lnTo>
                      <a:pt x="490" y="58"/>
                    </a:lnTo>
                    <a:lnTo>
                      <a:pt x="486" y="62"/>
                    </a:lnTo>
                    <a:lnTo>
                      <a:pt x="484" y="63"/>
                    </a:lnTo>
                    <a:lnTo>
                      <a:pt x="490" y="73"/>
                    </a:lnTo>
                    <a:lnTo>
                      <a:pt x="480" y="90"/>
                    </a:lnTo>
                    <a:lnTo>
                      <a:pt x="459" y="80"/>
                    </a:lnTo>
                    <a:lnTo>
                      <a:pt x="455" y="79"/>
                    </a:lnTo>
                    <a:lnTo>
                      <a:pt x="453" y="80"/>
                    </a:lnTo>
                    <a:lnTo>
                      <a:pt x="454" y="81"/>
                    </a:lnTo>
                    <a:lnTo>
                      <a:pt x="455" y="84"/>
                    </a:lnTo>
                    <a:lnTo>
                      <a:pt x="457" y="87"/>
                    </a:lnTo>
                    <a:lnTo>
                      <a:pt x="459" y="90"/>
                    </a:lnTo>
                    <a:lnTo>
                      <a:pt x="461" y="91"/>
                    </a:lnTo>
                    <a:lnTo>
                      <a:pt x="462" y="92"/>
                    </a:lnTo>
                    <a:lnTo>
                      <a:pt x="492" y="116"/>
                    </a:lnTo>
                    <a:lnTo>
                      <a:pt x="492" y="116"/>
                    </a:lnTo>
                    <a:lnTo>
                      <a:pt x="492" y="118"/>
                    </a:lnTo>
                    <a:lnTo>
                      <a:pt x="492" y="121"/>
                    </a:lnTo>
                    <a:lnTo>
                      <a:pt x="494" y="125"/>
                    </a:lnTo>
                    <a:lnTo>
                      <a:pt x="494" y="129"/>
                    </a:lnTo>
                    <a:lnTo>
                      <a:pt x="494" y="134"/>
                    </a:lnTo>
                    <a:lnTo>
                      <a:pt x="492" y="139"/>
                    </a:lnTo>
                    <a:lnTo>
                      <a:pt x="492" y="145"/>
                    </a:lnTo>
                    <a:lnTo>
                      <a:pt x="491" y="149"/>
                    </a:lnTo>
                    <a:lnTo>
                      <a:pt x="488" y="151"/>
                    </a:lnTo>
                    <a:lnTo>
                      <a:pt x="486" y="153"/>
                    </a:lnTo>
                    <a:lnTo>
                      <a:pt x="483" y="153"/>
                    </a:lnTo>
                    <a:lnTo>
                      <a:pt x="479" y="150"/>
                    </a:lnTo>
                    <a:lnTo>
                      <a:pt x="475" y="146"/>
                    </a:lnTo>
                    <a:lnTo>
                      <a:pt x="472" y="140"/>
                    </a:lnTo>
                    <a:lnTo>
                      <a:pt x="469" y="132"/>
                    </a:lnTo>
                    <a:lnTo>
                      <a:pt x="465" y="124"/>
                    </a:lnTo>
                    <a:lnTo>
                      <a:pt x="459" y="118"/>
                    </a:lnTo>
                    <a:lnTo>
                      <a:pt x="454" y="113"/>
                    </a:lnTo>
                    <a:lnTo>
                      <a:pt x="446" y="110"/>
                    </a:lnTo>
                    <a:lnTo>
                      <a:pt x="437" y="107"/>
                    </a:lnTo>
                    <a:lnTo>
                      <a:pt x="429" y="107"/>
                    </a:lnTo>
                    <a:lnTo>
                      <a:pt x="421" y="107"/>
                    </a:lnTo>
                    <a:lnTo>
                      <a:pt x="411" y="109"/>
                    </a:lnTo>
                    <a:lnTo>
                      <a:pt x="403" y="110"/>
                    </a:lnTo>
                    <a:lnTo>
                      <a:pt x="398" y="109"/>
                    </a:lnTo>
                    <a:lnTo>
                      <a:pt x="393" y="107"/>
                    </a:lnTo>
                    <a:lnTo>
                      <a:pt x="389" y="106"/>
                    </a:lnTo>
                    <a:lnTo>
                      <a:pt x="388" y="103"/>
                    </a:lnTo>
                    <a:lnTo>
                      <a:pt x="386" y="102"/>
                    </a:lnTo>
                    <a:lnTo>
                      <a:pt x="385" y="99"/>
                    </a:lnTo>
                    <a:lnTo>
                      <a:pt x="385" y="99"/>
                    </a:lnTo>
                    <a:lnTo>
                      <a:pt x="384" y="99"/>
                    </a:lnTo>
                    <a:lnTo>
                      <a:pt x="381" y="101"/>
                    </a:lnTo>
                    <a:lnTo>
                      <a:pt x="377" y="103"/>
                    </a:lnTo>
                    <a:lnTo>
                      <a:pt x="371" y="106"/>
                    </a:lnTo>
                    <a:lnTo>
                      <a:pt x="366" y="109"/>
                    </a:lnTo>
                    <a:lnTo>
                      <a:pt x="360" y="112"/>
                    </a:lnTo>
                    <a:lnTo>
                      <a:pt x="356" y="116"/>
                    </a:lnTo>
                    <a:lnTo>
                      <a:pt x="353" y="118"/>
                    </a:lnTo>
                    <a:lnTo>
                      <a:pt x="352" y="121"/>
                    </a:lnTo>
                    <a:lnTo>
                      <a:pt x="349" y="124"/>
                    </a:lnTo>
                    <a:lnTo>
                      <a:pt x="345" y="127"/>
                    </a:lnTo>
                    <a:lnTo>
                      <a:pt x="341" y="129"/>
                    </a:lnTo>
                    <a:lnTo>
                      <a:pt x="336" y="132"/>
                    </a:lnTo>
                    <a:lnTo>
                      <a:pt x="330" y="134"/>
                    </a:lnTo>
                    <a:lnTo>
                      <a:pt x="325" y="136"/>
                    </a:lnTo>
                    <a:lnTo>
                      <a:pt x="318" y="136"/>
                    </a:lnTo>
                    <a:lnTo>
                      <a:pt x="315" y="138"/>
                    </a:lnTo>
                    <a:lnTo>
                      <a:pt x="312" y="140"/>
                    </a:lnTo>
                    <a:lnTo>
                      <a:pt x="309" y="143"/>
                    </a:lnTo>
                    <a:lnTo>
                      <a:pt x="307" y="146"/>
                    </a:lnTo>
                    <a:lnTo>
                      <a:pt x="300" y="156"/>
                    </a:lnTo>
                    <a:lnTo>
                      <a:pt x="296" y="165"/>
                    </a:lnTo>
                    <a:lnTo>
                      <a:pt x="290" y="175"/>
                    </a:lnTo>
                    <a:lnTo>
                      <a:pt x="287" y="183"/>
                    </a:lnTo>
                    <a:lnTo>
                      <a:pt x="285" y="190"/>
                    </a:lnTo>
                    <a:lnTo>
                      <a:pt x="285" y="191"/>
                    </a:lnTo>
                    <a:lnTo>
                      <a:pt x="282" y="197"/>
                    </a:lnTo>
                    <a:lnTo>
                      <a:pt x="279" y="201"/>
                    </a:lnTo>
                    <a:lnTo>
                      <a:pt x="275" y="204"/>
                    </a:lnTo>
                    <a:lnTo>
                      <a:pt x="272" y="208"/>
                    </a:lnTo>
                    <a:lnTo>
                      <a:pt x="267" y="210"/>
                    </a:lnTo>
                    <a:lnTo>
                      <a:pt x="263" y="213"/>
                    </a:lnTo>
                    <a:lnTo>
                      <a:pt x="260" y="215"/>
                    </a:lnTo>
                    <a:lnTo>
                      <a:pt x="257" y="217"/>
                    </a:lnTo>
                    <a:lnTo>
                      <a:pt x="254" y="219"/>
                    </a:lnTo>
                    <a:lnTo>
                      <a:pt x="254" y="220"/>
                    </a:lnTo>
                    <a:lnTo>
                      <a:pt x="254" y="221"/>
                    </a:lnTo>
                    <a:lnTo>
                      <a:pt x="254" y="223"/>
                    </a:lnTo>
                    <a:lnTo>
                      <a:pt x="256" y="226"/>
                    </a:lnTo>
                    <a:lnTo>
                      <a:pt x="257" y="228"/>
                    </a:lnTo>
                    <a:lnTo>
                      <a:pt x="257" y="231"/>
                    </a:lnTo>
                    <a:lnTo>
                      <a:pt x="259" y="234"/>
                    </a:lnTo>
                    <a:lnTo>
                      <a:pt x="257" y="237"/>
                    </a:lnTo>
                    <a:lnTo>
                      <a:pt x="254" y="239"/>
                    </a:lnTo>
                    <a:lnTo>
                      <a:pt x="252" y="242"/>
                    </a:lnTo>
                    <a:lnTo>
                      <a:pt x="246" y="243"/>
                    </a:lnTo>
                    <a:lnTo>
                      <a:pt x="239" y="246"/>
                    </a:lnTo>
                    <a:lnTo>
                      <a:pt x="231" y="249"/>
                    </a:lnTo>
                    <a:lnTo>
                      <a:pt x="223" y="252"/>
                    </a:lnTo>
                    <a:lnTo>
                      <a:pt x="212" y="254"/>
                    </a:lnTo>
                    <a:lnTo>
                      <a:pt x="206" y="257"/>
                    </a:lnTo>
                    <a:lnTo>
                      <a:pt x="202" y="260"/>
                    </a:lnTo>
                    <a:lnTo>
                      <a:pt x="198" y="264"/>
                    </a:lnTo>
                    <a:lnTo>
                      <a:pt x="195" y="268"/>
                    </a:lnTo>
                    <a:lnTo>
                      <a:pt x="191" y="278"/>
                    </a:lnTo>
                    <a:lnTo>
                      <a:pt x="190" y="289"/>
                    </a:lnTo>
                    <a:lnTo>
                      <a:pt x="190" y="301"/>
                    </a:lnTo>
                    <a:lnTo>
                      <a:pt x="191" y="311"/>
                    </a:lnTo>
                    <a:lnTo>
                      <a:pt x="191" y="319"/>
                    </a:lnTo>
                    <a:lnTo>
                      <a:pt x="193" y="323"/>
                    </a:lnTo>
                    <a:lnTo>
                      <a:pt x="194" y="326"/>
                    </a:lnTo>
                    <a:lnTo>
                      <a:pt x="197" y="327"/>
                    </a:lnTo>
                    <a:lnTo>
                      <a:pt x="199" y="329"/>
                    </a:lnTo>
                    <a:lnTo>
                      <a:pt x="204" y="330"/>
                    </a:lnTo>
                    <a:lnTo>
                      <a:pt x="208" y="330"/>
                    </a:lnTo>
                    <a:lnTo>
                      <a:pt x="212" y="330"/>
                    </a:lnTo>
                    <a:lnTo>
                      <a:pt x="215" y="330"/>
                    </a:lnTo>
                    <a:lnTo>
                      <a:pt x="215" y="330"/>
                    </a:lnTo>
                    <a:lnTo>
                      <a:pt x="215" y="331"/>
                    </a:lnTo>
                    <a:lnTo>
                      <a:pt x="215" y="333"/>
                    </a:lnTo>
                    <a:lnTo>
                      <a:pt x="216" y="336"/>
                    </a:lnTo>
                    <a:lnTo>
                      <a:pt x="217" y="337"/>
                    </a:lnTo>
                    <a:lnTo>
                      <a:pt x="219" y="338"/>
                    </a:lnTo>
                    <a:lnTo>
                      <a:pt x="220" y="341"/>
                    </a:lnTo>
                    <a:lnTo>
                      <a:pt x="223" y="342"/>
                    </a:lnTo>
                    <a:lnTo>
                      <a:pt x="224" y="345"/>
                    </a:lnTo>
                    <a:lnTo>
                      <a:pt x="926" y="345"/>
                    </a:lnTo>
                    <a:close/>
                    <a:moveTo>
                      <a:pt x="187" y="345"/>
                    </a:moveTo>
                    <a:lnTo>
                      <a:pt x="187" y="344"/>
                    </a:lnTo>
                    <a:lnTo>
                      <a:pt x="186" y="344"/>
                    </a:lnTo>
                    <a:lnTo>
                      <a:pt x="186" y="344"/>
                    </a:lnTo>
                    <a:lnTo>
                      <a:pt x="186" y="344"/>
                    </a:lnTo>
                    <a:lnTo>
                      <a:pt x="184" y="344"/>
                    </a:lnTo>
                    <a:lnTo>
                      <a:pt x="184" y="344"/>
                    </a:lnTo>
                    <a:lnTo>
                      <a:pt x="183" y="344"/>
                    </a:lnTo>
                    <a:lnTo>
                      <a:pt x="183" y="344"/>
                    </a:lnTo>
                    <a:lnTo>
                      <a:pt x="179" y="344"/>
                    </a:lnTo>
                    <a:lnTo>
                      <a:pt x="175" y="342"/>
                    </a:lnTo>
                    <a:lnTo>
                      <a:pt x="171" y="341"/>
                    </a:lnTo>
                    <a:lnTo>
                      <a:pt x="165" y="340"/>
                    </a:lnTo>
                    <a:lnTo>
                      <a:pt x="160" y="337"/>
                    </a:lnTo>
                    <a:lnTo>
                      <a:pt x="154" y="334"/>
                    </a:lnTo>
                    <a:lnTo>
                      <a:pt x="150" y="331"/>
                    </a:lnTo>
                    <a:lnTo>
                      <a:pt x="146" y="329"/>
                    </a:lnTo>
                    <a:lnTo>
                      <a:pt x="144" y="326"/>
                    </a:lnTo>
                    <a:lnTo>
                      <a:pt x="142" y="326"/>
                    </a:lnTo>
                    <a:lnTo>
                      <a:pt x="140" y="327"/>
                    </a:lnTo>
                    <a:lnTo>
                      <a:pt x="138" y="329"/>
                    </a:lnTo>
                    <a:lnTo>
                      <a:pt x="136" y="331"/>
                    </a:lnTo>
                    <a:lnTo>
                      <a:pt x="135" y="333"/>
                    </a:lnTo>
                    <a:lnTo>
                      <a:pt x="133" y="334"/>
                    </a:lnTo>
                    <a:lnTo>
                      <a:pt x="131" y="334"/>
                    </a:lnTo>
                    <a:lnTo>
                      <a:pt x="129" y="333"/>
                    </a:lnTo>
                    <a:lnTo>
                      <a:pt x="128" y="330"/>
                    </a:lnTo>
                    <a:lnTo>
                      <a:pt x="127" y="326"/>
                    </a:lnTo>
                    <a:lnTo>
                      <a:pt x="125" y="320"/>
                    </a:lnTo>
                    <a:lnTo>
                      <a:pt x="125" y="314"/>
                    </a:lnTo>
                    <a:lnTo>
                      <a:pt x="125" y="308"/>
                    </a:lnTo>
                    <a:lnTo>
                      <a:pt x="125" y="301"/>
                    </a:lnTo>
                    <a:lnTo>
                      <a:pt x="124" y="297"/>
                    </a:lnTo>
                    <a:lnTo>
                      <a:pt x="124" y="293"/>
                    </a:lnTo>
                    <a:lnTo>
                      <a:pt x="121" y="290"/>
                    </a:lnTo>
                    <a:lnTo>
                      <a:pt x="117" y="289"/>
                    </a:lnTo>
                    <a:lnTo>
                      <a:pt x="113" y="287"/>
                    </a:lnTo>
                    <a:lnTo>
                      <a:pt x="109" y="289"/>
                    </a:lnTo>
                    <a:lnTo>
                      <a:pt x="106" y="289"/>
                    </a:lnTo>
                    <a:lnTo>
                      <a:pt x="103" y="289"/>
                    </a:lnTo>
                    <a:lnTo>
                      <a:pt x="102" y="290"/>
                    </a:lnTo>
                    <a:lnTo>
                      <a:pt x="98" y="290"/>
                    </a:lnTo>
                    <a:lnTo>
                      <a:pt x="95" y="293"/>
                    </a:lnTo>
                    <a:lnTo>
                      <a:pt x="93" y="296"/>
                    </a:lnTo>
                    <a:lnTo>
                      <a:pt x="93" y="300"/>
                    </a:lnTo>
                    <a:lnTo>
                      <a:pt x="95" y="304"/>
                    </a:lnTo>
                    <a:lnTo>
                      <a:pt x="95" y="308"/>
                    </a:lnTo>
                    <a:lnTo>
                      <a:pt x="96" y="312"/>
                    </a:lnTo>
                    <a:lnTo>
                      <a:pt x="98" y="316"/>
                    </a:lnTo>
                    <a:lnTo>
                      <a:pt x="98" y="320"/>
                    </a:lnTo>
                    <a:lnTo>
                      <a:pt x="99" y="323"/>
                    </a:lnTo>
                    <a:lnTo>
                      <a:pt x="100" y="327"/>
                    </a:lnTo>
                    <a:lnTo>
                      <a:pt x="100" y="331"/>
                    </a:lnTo>
                    <a:lnTo>
                      <a:pt x="100" y="336"/>
                    </a:lnTo>
                    <a:lnTo>
                      <a:pt x="99" y="338"/>
                    </a:lnTo>
                    <a:lnTo>
                      <a:pt x="96" y="341"/>
                    </a:lnTo>
                    <a:lnTo>
                      <a:pt x="92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91" y="344"/>
                    </a:lnTo>
                    <a:lnTo>
                      <a:pt x="89" y="344"/>
                    </a:lnTo>
                    <a:lnTo>
                      <a:pt x="89" y="344"/>
                    </a:lnTo>
                    <a:lnTo>
                      <a:pt x="89" y="345"/>
                    </a:lnTo>
                    <a:lnTo>
                      <a:pt x="187" y="345"/>
                    </a:lnTo>
                    <a:close/>
                    <a:moveTo>
                      <a:pt x="55" y="345"/>
                    </a:moveTo>
                    <a:lnTo>
                      <a:pt x="62" y="340"/>
                    </a:lnTo>
                    <a:lnTo>
                      <a:pt x="63" y="325"/>
                    </a:lnTo>
                    <a:lnTo>
                      <a:pt x="77" y="311"/>
                    </a:lnTo>
                    <a:lnTo>
                      <a:pt x="78" y="308"/>
                    </a:lnTo>
                    <a:lnTo>
                      <a:pt x="78" y="305"/>
                    </a:lnTo>
                    <a:lnTo>
                      <a:pt x="76" y="303"/>
                    </a:lnTo>
                    <a:lnTo>
                      <a:pt x="73" y="300"/>
                    </a:lnTo>
                    <a:lnTo>
                      <a:pt x="70" y="298"/>
                    </a:lnTo>
                    <a:lnTo>
                      <a:pt x="67" y="296"/>
                    </a:lnTo>
                    <a:lnTo>
                      <a:pt x="65" y="296"/>
                    </a:lnTo>
                    <a:lnTo>
                      <a:pt x="65" y="296"/>
                    </a:lnTo>
                    <a:lnTo>
                      <a:pt x="34" y="298"/>
                    </a:lnTo>
                    <a:lnTo>
                      <a:pt x="29" y="292"/>
                    </a:lnTo>
                    <a:lnTo>
                      <a:pt x="25" y="292"/>
                    </a:lnTo>
                    <a:lnTo>
                      <a:pt x="21" y="293"/>
                    </a:lnTo>
                    <a:lnTo>
                      <a:pt x="18" y="296"/>
                    </a:lnTo>
                    <a:lnTo>
                      <a:pt x="15" y="298"/>
                    </a:lnTo>
                    <a:lnTo>
                      <a:pt x="11" y="305"/>
                    </a:lnTo>
                    <a:lnTo>
                      <a:pt x="8" y="312"/>
                    </a:lnTo>
                    <a:lnTo>
                      <a:pt x="5" y="320"/>
                    </a:lnTo>
                    <a:lnTo>
                      <a:pt x="5" y="327"/>
                    </a:lnTo>
                    <a:lnTo>
                      <a:pt x="4" y="331"/>
                    </a:lnTo>
                    <a:lnTo>
                      <a:pt x="4" y="333"/>
                    </a:lnTo>
                    <a:lnTo>
                      <a:pt x="4" y="334"/>
                    </a:lnTo>
                    <a:lnTo>
                      <a:pt x="4" y="337"/>
                    </a:lnTo>
                    <a:lnTo>
                      <a:pt x="4" y="338"/>
                    </a:lnTo>
                    <a:lnTo>
                      <a:pt x="3" y="340"/>
                    </a:lnTo>
                    <a:lnTo>
                      <a:pt x="3" y="341"/>
                    </a:lnTo>
                    <a:lnTo>
                      <a:pt x="1" y="342"/>
                    </a:lnTo>
                    <a:lnTo>
                      <a:pt x="1" y="344"/>
                    </a:lnTo>
                    <a:lnTo>
                      <a:pt x="0" y="345"/>
                    </a:lnTo>
                    <a:lnTo>
                      <a:pt x="55" y="34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79" name="Freeform 811"/>
              <p:cNvSpPr>
                <a:spLocks/>
              </p:cNvSpPr>
              <p:nvPr/>
            </p:nvSpPr>
            <p:spPr bwMode="auto">
              <a:xfrm>
                <a:off x="4222" y="2582"/>
                <a:ext cx="102" cy="137"/>
              </a:xfrm>
              <a:custGeom>
                <a:avLst/>
                <a:gdLst>
                  <a:gd name="T0" fmla="*/ 0 w 102"/>
                  <a:gd name="T1" fmla="*/ 33 h 137"/>
                  <a:gd name="T2" fmla="*/ 4 w 102"/>
                  <a:gd name="T3" fmla="*/ 33 h 137"/>
                  <a:gd name="T4" fmla="*/ 8 w 102"/>
                  <a:gd name="T5" fmla="*/ 34 h 137"/>
                  <a:gd name="T6" fmla="*/ 10 w 102"/>
                  <a:gd name="T7" fmla="*/ 38 h 137"/>
                  <a:gd name="T8" fmla="*/ 11 w 102"/>
                  <a:gd name="T9" fmla="*/ 42 h 137"/>
                  <a:gd name="T10" fmla="*/ 23 w 102"/>
                  <a:gd name="T11" fmla="*/ 44 h 137"/>
                  <a:gd name="T12" fmla="*/ 25 w 102"/>
                  <a:gd name="T13" fmla="*/ 56 h 137"/>
                  <a:gd name="T14" fmla="*/ 22 w 102"/>
                  <a:gd name="T15" fmla="*/ 70 h 137"/>
                  <a:gd name="T16" fmla="*/ 21 w 102"/>
                  <a:gd name="T17" fmla="*/ 74 h 137"/>
                  <a:gd name="T18" fmla="*/ 25 w 102"/>
                  <a:gd name="T19" fmla="*/ 74 h 137"/>
                  <a:gd name="T20" fmla="*/ 32 w 102"/>
                  <a:gd name="T21" fmla="*/ 71 h 137"/>
                  <a:gd name="T22" fmla="*/ 38 w 102"/>
                  <a:gd name="T23" fmla="*/ 67 h 137"/>
                  <a:gd name="T24" fmla="*/ 47 w 102"/>
                  <a:gd name="T25" fmla="*/ 68 h 137"/>
                  <a:gd name="T26" fmla="*/ 51 w 102"/>
                  <a:gd name="T27" fmla="*/ 71 h 137"/>
                  <a:gd name="T28" fmla="*/ 65 w 102"/>
                  <a:gd name="T29" fmla="*/ 89 h 137"/>
                  <a:gd name="T30" fmla="*/ 70 w 102"/>
                  <a:gd name="T31" fmla="*/ 101 h 137"/>
                  <a:gd name="T32" fmla="*/ 73 w 102"/>
                  <a:gd name="T33" fmla="*/ 110 h 137"/>
                  <a:gd name="T34" fmla="*/ 73 w 102"/>
                  <a:gd name="T35" fmla="*/ 123 h 137"/>
                  <a:gd name="T36" fmla="*/ 71 w 102"/>
                  <a:gd name="T37" fmla="*/ 130 h 137"/>
                  <a:gd name="T38" fmla="*/ 81 w 102"/>
                  <a:gd name="T39" fmla="*/ 137 h 137"/>
                  <a:gd name="T40" fmla="*/ 88 w 102"/>
                  <a:gd name="T41" fmla="*/ 136 h 137"/>
                  <a:gd name="T42" fmla="*/ 99 w 102"/>
                  <a:gd name="T43" fmla="*/ 136 h 137"/>
                  <a:gd name="T44" fmla="*/ 102 w 102"/>
                  <a:gd name="T45" fmla="*/ 132 h 137"/>
                  <a:gd name="T46" fmla="*/ 100 w 102"/>
                  <a:gd name="T47" fmla="*/ 112 h 137"/>
                  <a:gd name="T48" fmla="*/ 93 w 102"/>
                  <a:gd name="T49" fmla="*/ 95 h 137"/>
                  <a:gd name="T50" fmla="*/ 82 w 102"/>
                  <a:gd name="T51" fmla="*/ 82 h 137"/>
                  <a:gd name="T52" fmla="*/ 74 w 102"/>
                  <a:gd name="T53" fmla="*/ 73 h 137"/>
                  <a:gd name="T54" fmla="*/ 70 w 102"/>
                  <a:gd name="T55" fmla="*/ 70 h 137"/>
                  <a:gd name="T56" fmla="*/ 60 w 102"/>
                  <a:gd name="T57" fmla="*/ 60 h 137"/>
                  <a:gd name="T58" fmla="*/ 55 w 102"/>
                  <a:gd name="T59" fmla="*/ 51 h 137"/>
                  <a:gd name="T60" fmla="*/ 58 w 102"/>
                  <a:gd name="T61" fmla="*/ 46 h 137"/>
                  <a:gd name="T62" fmla="*/ 60 w 102"/>
                  <a:gd name="T63" fmla="*/ 42 h 137"/>
                  <a:gd name="T64" fmla="*/ 63 w 102"/>
                  <a:gd name="T65" fmla="*/ 31 h 137"/>
                  <a:gd name="T66" fmla="*/ 47 w 102"/>
                  <a:gd name="T67" fmla="*/ 20 h 137"/>
                  <a:gd name="T68" fmla="*/ 43 w 102"/>
                  <a:gd name="T69" fmla="*/ 4 h 137"/>
                  <a:gd name="T70" fmla="*/ 36 w 102"/>
                  <a:gd name="T71" fmla="*/ 1 h 137"/>
                  <a:gd name="T72" fmla="*/ 27 w 102"/>
                  <a:gd name="T73" fmla="*/ 4 h 137"/>
                  <a:gd name="T74" fmla="*/ 29 w 102"/>
                  <a:gd name="T75" fmla="*/ 12 h 137"/>
                  <a:gd name="T76" fmla="*/ 29 w 102"/>
                  <a:gd name="T77" fmla="*/ 23 h 137"/>
                  <a:gd name="T78" fmla="*/ 25 w 102"/>
                  <a:gd name="T79" fmla="*/ 24 h 137"/>
                  <a:gd name="T80" fmla="*/ 18 w 102"/>
                  <a:gd name="T81" fmla="*/ 26 h 137"/>
                  <a:gd name="T82" fmla="*/ 14 w 102"/>
                  <a:gd name="T83" fmla="*/ 2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2" h="137">
                    <a:moveTo>
                      <a:pt x="0" y="33"/>
                    </a:moveTo>
                    <a:lnTo>
                      <a:pt x="0" y="33"/>
                    </a:lnTo>
                    <a:lnTo>
                      <a:pt x="0" y="33"/>
                    </a:lnTo>
                    <a:lnTo>
                      <a:pt x="1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0" y="35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1" y="44"/>
                    </a:lnTo>
                    <a:lnTo>
                      <a:pt x="23" y="44"/>
                    </a:lnTo>
                    <a:lnTo>
                      <a:pt x="25" y="48"/>
                    </a:lnTo>
                    <a:lnTo>
                      <a:pt x="25" y="52"/>
                    </a:lnTo>
                    <a:lnTo>
                      <a:pt x="25" y="56"/>
                    </a:lnTo>
                    <a:lnTo>
                      <a:pt x="25" y="62"/>
                    </a:lnTo>
                    <a:lnTo>
                      <a:pt x="23" y="66"/>
                    </a:lnTo>
                    <a:lnTo>
                      <a:pt x="22" y="70"/>
                    </a:lnTo>
                    <a:lnTo>
                      <a:pt x="21" y="73"/>
                    </a:lnTo>
                    <a:lnTo>
                      <a:pt x="21" y="73"/>
                    </a:lnTo>
                    <a:lnTo>
                      <a:pt x="21" y="74"/>
                    </a:lnTo>
                    <a:lnTo>
                      <a:pt x="22" y="74"/>
                    </a:lnTo>
                    <a:lnTo>
                      <a:pt x="23" y="74"/>
                    </a:lnTo>
                    <a:lnTo>
                      <a:pt x="25" y="74"/>
                    </a:lnTo>
                    <a:lnTo>
                      <a:pt x="27" y="74"/>
                    </a:lnTo>
                    <a:lnTo>
                      <a:pt x="30" y="73"/>
                    </a:lnTo>
                    <a:lnTo>
                      <a:pt x="32" y="71"/>
                    </a:lnTo>
                    <a:lnTo>
                      <a:pt x="33" y="70"/>
                    </a:lnTo>
                    <a:lnTo>
                      <a:pt x="36" y="68"/>
                    </a:lnTo>
                    <a:lnTo>
                      <a:pt x="38" y="67"/>
                    </a:lnTo>
                    <a:lnTo>
                      <a:pt x="41" y="67"/>
                    </a:lnTo>
                    <a:lnTo>
                      <a:pt x="44" y="68"/>
                    </a:lnTo>
                    <a:lnTo>
                      <a:pt x="47" y="68"/>
                    </a:lnTo>
                    <a:lnTo>
                      <a:pt x="48" y="70"/>
                    </a:lnTo>
                    <a:lnTo>
                      <a:pt x="51" y="71"/>
                    </a:lnTo>
                    <a:lnTo>
                      <a:pt x="51" y="71"/>
                    </a:lnTo>
                    <a:lnTo>
                      <a:pt x="56" y="77"/>
                    </a:lnTo>
                    <a:lnTo>
                      <a:pt x="60" y="84"/>
                    </a:lnTo>
                    <a:lnTo>
                      <a:pt x="65" y="89"/>
                    </a:lnTo>
                    <a:lnTo>
                      <a:pt x="67" y="95"/>
                    </a:lnTo>
                    <a:lnTo>
                      <a:pt x="69" y="99"/>
                    </a:lnTo>
                    <a:lnTo>
                      <a:pt x="70" y="101"/>
                    </a:lnTo>
                    <a:lnTo>
                      <a:pt x="70" y="104"/>
                    </a:lnTo>
                    <a:lnTo>
                      <a:pt x="70" y="104"/>
                    </a:lnTo>
                    <a:lnTo>
                      <a:pt x="73" y="110"/>
                    </a:lnTo>
                    <a:lnTo>
                      <a:pt x="73" y="115"/>
                    </a:lnTo>
                    <a:lnTo>
                      <a:pt x="73" y="119"/>
                    </a:lnTo>
                    <a:lnTo>
                      <a:pt x="73" y="123"/>
                    </a:lnTo>
                    <a:lnTo>
                      <a:pt x="73" y="126"/>
                    </a:lnTo>
                    <a:lnTo>
                      <a:pt x="71" y="129"/>
                    </a:lnTo>
                    <a:lnTo>
                      <a:pt x="71" y="130"/>
                    </a:lnTo>
                    <a:lnTo>
                      <a:pt x="71" y="130"/>
                    </a:lnTo>
                    <a:lnTo>
                      <a:pt x="80" y="137"/>
                    </a:lnTo>
                    <a:lnTo>
                      <a:pt x="81" y="137"/>
                    </a:lnTo>
                    <a:lnTo>
                      <a:pt x="82" y="137"/>
                    </a:lnTo>
                    <a:lnTo>
                      <a:pt x="85" y="136"/>
                    </a:lnTo>
                    <a:lnTo>
                      <a:pt x="88" y="136"/>
                    </a:lnTo>
                    <a:lnTo>
                      <a:pt x="92" y="136"/>
                    </a:lnTo>
                    <a:lnTo>
                      <a:pt x="95" y="136"/>
                    </a:lnTo>
                    <a:lnTo>
                      <a:pt x="99" y="136"/>
                    </a:lnTo>
                    <a:lnTo>
                      <a:pt x="102" y="137"/>
                    </a:lnTo>
                    <a:lnTo>
                      <a:pt x="102" y="136"/>
                    </a:lnTo>
                    <a:lnTo>
                      <a:pt x="102" y="132"/>
                    </a:lnTo>
                    <a:lnTo>
                      <a:pt x="102" y="126"/>
                    </a:lnTo>
                    <a:lnTo>
                      <a:pt x="102" y="119"/>
                    </a:lnTo>
                    <a:lnTo>
                      <a:pt x="100" y="112"/>
                    </a:lnTo>
                    <a:lnTo>
                      <a:pt x="99" y="106"/>
                    </a:lnTo>
                    <a:lnTo>
                      <a:pt x="98" y="100"/>
                    </a:lnTo>
                    <a:lnTo>
                      <a:pt x="93" y="95"/>
                    </a:lnTo>
                    <a:lnTo>
                      <a:pt x="91" y="90"/>
                    </a:lnTo>
                    <a:lnTo>
                      <a:pt x="87" y="86"/>
                    </a:lnTo>
                    <a:lnTo>
                      <a:pt x="82" y="82"/>
                    </a:lnTo>
                    <a:lnTo>
                      <a:pt x="80" y="78"/>
                    </a:lnTo>
                    <a:lnTo>
                      <a:pt x="76" y="75"/>
                    </a:lnTo>
                    <a:lnTo>
                      <a:pt x="74" y="73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0" y="70"/>
                    </a:lnTo>
                    <a:lnTo>
                      <a:pt x="67" y="67"/>
                    </a:lnTo>
                    <a:lnTo>
                      <a:pt x="63" y="64"/>
                    </a:lnTo>
                    <a:lnTo>
                      <a:pt x="60" y="60"/>
                    </a:lnTo>
                    <a:lnTo>
                      <a:pt x="56" y="57"/>
                    </a:lnTo>
                    <a:lnTo>
                      <a:pt x="55" y="53"/>
                    </a:lnTo>
                    <a:lnTo>
                      <a:pt x="55" y="51"/>
                    </a:lnTo>
                    <a:lnTo>
                      <a:pt x="55" y="49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9" y="46"/>
                    </a:lnTo>
                    <a:lnTo>
                      <a:pt x="60" y="44"/>
                    </a:lnTo>
                    <a:lnTo>
                      <a:pt x="60" y="42"/>
                    </a:lnTo>
                    <a:lnTo>
                      <a:pt x="62" y="38"/>
                    </a:lnTo>
                    <a:lnTo>
                      <a:pt x="63" y="35"/>
                    </a:lnTo>
                    <a:lnTo>
                      <a:pt x="63" y="31"/>
                    </a:lnTo>
                    <a:lnTo>
                      <a:pt x="60" y="29"/>
                    </a:lnTo>
                    <a:lnTo>
                      <a:pt x="58" y="26"/>
                    </a:lnTo>
                    <a:lnTo>
                      <a:pt x="47" y="20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1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9" y="12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9" y="23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2" y="24"/>
                    </a:lnTo>
                    <a:lnTo>
                      <a:pt x="21" y="26"/>
                    </a:lnTo>
                    <a:lnTo>
                      <a:pt x="18" y="26"/>
                    </a:lnTo>
                    <a:lnTo>
                      <a:pt x="16" y="27"/>
                    </a:lnTo>
                    <a:lnTo>
                      <a:pt x="15" y="27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0" name="Freeform 812"/>
              <p:cNvSpPr>
                <a:spLocks/>
              </p:cNvSpPr>
              <p:nvPr/>
            </p:nvSpPr>
            <p:spPr bwMode="auto">
              <a:xfrm>
                <a:off x="4222" y="2582"/>
                <a:ext cx="102" cy="137"/>
              </a:xfrm>
              <a:custGeom>
                <a:avLst/>
                <a:gdLst>
                  <a:gd name="T0" fmla="*/ 1 w 102"/>
                  <a:gd name="T1" fmla="*/ 33 h 137"/>
                  <a:gd name="T2" fmla="*/ 4 w 102"/>
                  <a:gd name="T3" fmla="*/ 33 h 137"/>
                  <a:gd name="T4" fmla="*/ 7 w 102"/>
                  <a:gd name="T5" fmla="*/ 33 h 137"/>
                  <a:gd name="T6" fmla="*/ 10 w 102"/>
                  <a:gd name="T7" fmla="*/ 35 h 137"/>
                  <a:gd name="T8" fmla="*/ 10 w 102"/>
                  <a:gd name="T9" fmla="*/ 40 h 137"/>
                  <a:gd name="T10" fmla="*/ 11 w 102"/>
                  <a:gd name="T11" fmla="*/ 42 h 137"/>
                  <a:gd name="T12" fmla="*/ 23 w 102"/>
                  <a:gd name="T13" fmla="*/ 44 h 137"/>
                  <a:gd name="T14" fmla="*/ 25 w 102"/>
                  <a:gd name="T15" fmla="*/ 52 h 137"/>
                  <a:gd name="T16" fmla="*/ 25 w 102"/>
                  <a:gd name="T17" fmla="*/ 62 h 137"/>
                  <a:gd name="T18" fmla="*/ 22 w 102"/>
                  <a:gd name="T19" fmla="*/ 70 h 137"/>
                  <a:gd name="T20" fmla="*/ 21 w 102"/>
                  <a:gd name="T21" fmla="*/ 74 h 137"/>
                  <a:gd name="T22" fmla="*/ 23 w 102"/>
                  <a:gd name="T23" fmla="*/ 74 h 137"/>
                  <a:gd name="T24" fmla="*/ 27 w 102"/>
                  <a:gd name="T25" fmla="*/ 74 h 137"/>
                  <a:gd name="T26" fmla="*/ 32 w 102"/>
                  <a:gd name="T27" fmla="*/ 71 h 137"/>
                  <a:gd name="T28" fmla="*/ 36 w 102"/>
                  <a:gd name="T29" fmla="*/ 68 h 137"/>
                  <a:gd name="T30" fmla="*/ 41 w 102"/>
                  <a:gd name="T31" fmla="*/ 67 h 137"/>
                  <a:gd name="T32" fmla="*/ 47 w 102"/>
                  <a:gd name="T33" fmla="*/ 68 h 137"/>
                  <a:gd name="T34" fmla="*/ 51 w 102"/>
                  <a:gd name="T35" fmla="*/ 71 h 137"/>
                  <a:gd name="T36" fmla="*/ 60 w 102"/>
                  <a:gd name="T37" fmla="*/ 84 h 137"/>
                  <a:gd name="T38" fmla="*/ 67 w 102"/>
                  <a:gd name="T39" fmla="*/ 95 h 137"/>
                  <a:gd name="T40" fmla="*/ 70 w 102"/>
                  <a:gd name="T41" fmla="*/ 101 h 137"/>
                  <a:gd name="T42" fmla="*/ 73 w 102"/>
                  <a:gd name="T43" fmla="*/ 110 h 137"/>
                  <a:gd name="T44" fmla="*/ 73 w 102"/>
                  <a:gd name="T45" fmla="*/ 119 h 137"/>
                  <a:gd name="T46" fmla="*/ 73 w 102"/>
                  <a:gd name="T47" fmla="*/ 126 h 137"/>
                  <a:gd name="T48" fmla="*/ 71 w 102"/>
                  <a:gd name="T49" fmla="*/ 130 h 137"/>
                  <a:gd name="T50" fmla="*/ 81 w 102"/>
                  <a:gd name="T51" fmla="*/ 137 h 137"/>
                  <a:gd name="T52" fmla="*/ 85 w 102"/>
                  <a:gd name="T53" fmla="*/ 136 h 137"/>
                  <a:gd name="T54" fmla="*/ 92 w 102"/>
                  <a:gd name="T55" fmla="*/ 136 h 137"/>
                  <a:gd name="T56" fmla="*/ 99 w 102"/>
                  <a:gd name="T57" fmla="*/ 136 h 137"/>
                  <a:gd name="T58" fmla="*/ 102 w 102"/>
                  <a:gd name="T59" fmla="*/ 136 h 137"/>
                  <a:gd name="T60" fmla="*/ 102 w 102"/>
                  <a:gd name="T61" fmla="*/ 126 h 137"/>
                  <a:gd name="T62" fmla="*/ 100 w 102"/>
                  <a:gd name="T63" fmla="*/ 112 h 137"/>
                  <a:gd name="T64" fmla="*/ 98 w 102"/>
                  <a:gd name="T65" fmla="*/ 100 h 137"/>
                  <a:gd name="T66" fmla="*/ 91 w 102"/>
                  <a:gd name="T67" fmla="*/ 90 h 137"/>
                  <a:gd name="T68" fmla="*/ 82 w 102"/>
                  <a:gd name="T69" fmla="*/ 82 h 137"/>
                  <a:gd name="T70" fmla="*/ 76 w 102"/>
                  <a:gd name="T71" fmla="*/ 75 h 137"/>
                  <a:gd name="T72" fmla="*/ 71 w 102"/>
                  <a:gd name="T73" fmla="*/ 71 h 137"/>
                  <a:gd name="T74" fmla="*/ 70 w 102"/>
                  <a:gd name="T75" fmla="*/ 70 h 137"/>
                  <a:gd name="T76" fmla="*/ 63 w 102"/>
                  <a:gd name="T77" fmla="*/ 64 h 137"/>
                  <a:gd name="T78" fmla="*/ 56 w 102"/>
                  <a:gd name="T79" fmla="*/ 57 h 137"/>
                  <a:gd name="T80" fmla="*/ 55 w 102"/>
                  <a:gd name="T81" fmla="*/ 51 h 137"/>
                  <a:gd name="T82" fmla="*/ 56 w 102"/>
                  <a:gd name="T83" fmla="*/ 48 h 137"/>
                  <a:gd name="T84" fmla="*/ 59 w 102"/>
                  <a:gd name="T85" fmla="*/ 46 h 137"/>
                  <a:gd name="T86" fmla="*/ 60 w 102"/>
                  <a:gd name="T87" fmla="*/ 42 h 137"/>
                  <a:gd name="T88" fmla="*/ 63 w 102"/>
                  <a:gd name="T89" fmla="*/ 35 h 137"/>
                  <a:gd name="T90" fmla="*/ 60 w 102"/>
                  <a:gd name="T91" fmla="*/ 29 h 137"/>
                  <a:gd name="T92" fmla="*/ 47 w 102"/>
                  <a:gd name="T93" fmla="*/ 20 h 137"/>
                  <a:gd name="T94" fmla="*/ 43 w 102"/>
                  <a:gd name="T95" fmla="*/ 5 h 137"/>
                  <a:gd name="T96" fmla="*/ 40 w 102"/>
                  <a:gd name="T97" fmla="*/ 2 h 137"/>
                  <a:gd name="T98" fmla="*/ 36 w 102"/>
                  <a:gd name="T99" fmla="*/ 1 h 137"/>
                  <a:gd name="T100" fmla="*/ 30 w 102"/>
                  <a:gd name="T101" fmla="*/ 1 h 137"/>
                  <a:gd name="T102" fmla="*/ 27 w 102"/>
                  <a:gd name="T103" fmla="*/ 5 h 137"/>
                  <a:gd name="T104" fmla="*/ 29 w 102"/>
                  <a:gd name="T105" fmla="*/ 12 h 137"/>
                  <a:gd name="T106" fmla="*/ 29 w 102"/>
                  <a:gd name="T107" fmla="*/ 20 h 137"/>
                  <a:gd name="T108" fmla="*/ 27 w 102"/>
                  <a:gd name="T109" fmla="*/ 24 h 137"/>
                  <a:gd name="T110" fmla="*/ 25 w 102"/>
                  <a:gd name="T111" fmla="*/ 24 h 137"/>
                  <a:gd name="T112" fmla="*/ 21 w 102"/>
                  <a:gd name="T113" fmla="*/ 26 h 137"/>
                  <a:gd name="T114" fmla="*/ 16 w 102"/>
                  <a:gd name="T115" fmla="*/ 27 h 137"/>
                  <a:gd name="T116" fmla="*/ 14 w 102"/>
                  <a:gd name="T117" fmla="*/ 27 h 137"/>
                  <a:gd name="T118" fmla="*/ 0 w 102"/>
                  <a:gd name="T119" fmla="*/ 33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2" h="137">
                    <a:moveTo>
                      <a:pt x="0" y="33"/>
                    </a:moveTo>
                    <a:lnTo>
                      <a:pt x="1" y="33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8" y="34"/>
                    </a:lnTo>
                    <a:lnTo>
                      <a:pt x="10" y="35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23" y="44"/>
                    </a:lnTo>
                    <a:lnTo>
                      <a:pt x="25" y="48"/>
                    </a:lnTo>
                    <a:lnTo>
                      <a:pt x="25" y="52"/>
                    </a:lnTo>
                    <a:lnTo>
                      <a:pt x="25" y="56"/>
                    </a:lnTo>
                    <a:lnTo>
                      <a:pt x="25" y="62"/>
                    </a:lnTo>
                    <a:lnTo>
                      <a:pt x="23" y="66"/>
                    </a:lnTo>
                    <a:lnTo>
                      <a:pt x="22" y="70"/>
                    </a:lnTo>
                    <a:lnTo>
                      <a:pt x="21" y="73"/>
                    </a:lnTo>
                    <a:lnTo>
                      <a:pt x="21" y="74"/>
                    </a:lnTo>
                    <a:lnTo>
                      <a:pt x="22" y="74"/>
                    </a:lnTo>
                    <a:lnTo>
                      <a:pt x="23" y="74"/>
                    </a:lnTo>
                    <a:lnTo>
                      <a:pt x="25" y="74"/>
                    </a:lnTo>
                    <a:lnTo>
                      <a:pt x="27" y="74"/>
                    </a:lnTo>
                    <a:lnTo>
                      <a:pt x="30" y="73"/>
                    </a:lnTo>
                    <a:lnTo>
                      <a:pt x="32" y="71"/>
                    </a:lnTo>
                    <a:lnTo>
                      <a:pt x="33" y="70"/>
                    </a:lnTo>
                    <a:lnTo>
                      <a:pt x="36" y="68"/>
                    </a:lnTo>
                    <a:lnTo>
                      <a:pt x="38" y="67"/>
                    </a:lnTo>
                    <a:lnTo>
                      <a:pt x="41" y="67"/>
                    </a:lnTo>
                    <a:lnTo>
                      <a:pt x="44" y="68"/>
                    </a:lnTo>
                    <a:lnTo>
                      <a:pt x="47" y="68"/>
                    </a:lnTo>
                    <a:lnTo>
                      <a:pt x="48" y="70"/>
                    </a:lnTo>
                    <a:lnTo>
                      <a:pt x="51" y="71"/>
                    </a:lnTo>
                    <a:lnTo>
                      <a:pt x="56" y="77"/>
                    </a:lnTo>
                    <a:lnTo>
                      <a:pt x="60" y="84"/>
                    </a:lnTo>
                    <a:lnTo>
                      <a:pt x="65" y="89"/>
                    </a:lnTo>
                    <a:lnTo>
                      <a:pt x="67" y="95"/>
                    </a:lnTo>
                    <a:lnTo>
                      <a:pt x="69" y="99"/>
                    </a:lnTo>
                    <a:lnTo>
                      <a:pt x="70" y="101"/>
                    </a:lnTo>
                    <a:lnTo>
                      <a:pt x="70" y="104"/>
                    </a:lnTo>
                    <a:lnTo>
                      <a:pt x="73" y="110"/>
                    </a:lnTo>
                    <a:lnTo>
                      <a:pt x="73" y="115"/>
                    </a:lnTo>
                    <a:lnTo>
                      <a:pt x="73" y="119"/>
                    </a:lnTo>
                    <a:lnTo>
                      <a:pt x="73" y="123"/>
                    </a:lnTo>
                    <a:lnTo>
                      <a:pt x="73" y="126"/>
                    </a:lnTo>
                    <a:lnTo>
                      <a:pt x="71" y="129"/>
                    </a:lnTo>
                    <a:lnTo>
                      <a:pt x="71" y="130"/>
                    </a:lnTo>
                    <a:lnTo>
                      <a:pt x="80" y="137"/>
                    </a:lnTo>
                    <a:lnTo>
                      <a:pt x="81" y="137"/>
                    </a:lnTo>
                    <a:lnTo>
                      <a:pt x="82" y="137"/>
                    </a:lnTo>
                    <a:lnTo>
                      <a:pt x="85" y="136"/>
                    </a:lnTo>
                    <a:lnTo>
                      <a:pt x="88" y="136"/>
                    </a:lnTo>
                    <a:lnTo>
                      <a:pt x="92" y="136"/>
                    </a:lnTo>
                    <a:lnTo>
                      <a:pt x="95" y="136"/>
                    </a:lnTo>
                    <a:lnTo>
                      <a:pt x="99" y="136"/>
                    </a:lnTo>
                    <a:lnTo>
                      <a:pt x="102" y="137"/>
                    </a:lnTo>
                    <a:lnTo>
                      <a:pt x="102" y="136"/>
                    </a:lnTo>
                    <a:lnTo>
                      <a:pt x="102" y="132"/>
                    </a:lnTo>
                    <a:lnTo>
                      <a:pt x="102" y="126"/>
                    </a:lnTo>
                    <a:lnTo>
                      <a:pt x="102" y="119"/>
                    </a:lnTo>
                    <a:lnTo>
                      <a:pt x="100" y="112"/>
                    </a:lnTo>
                    <a:lnTo>
                      <a:pt x="99" y="106"/>
                    </a:lnTo>
                    <a:lnTo>
                      <a:pt x="98" y="100"/>
                    </a:lnTo>
                    <a:lnTo>
                      <a:pt x="93" y="95"/>
                    </a:lnTo>
                    <a:lnTo>
                      <a:pt x="91" y="90"/>
                    </a:lnTo>
                    <a:lnTo>
                      <a:pt x="87" y="86"/>
                    </a:lnTo>
                    <a:lnTo>
                      <a:pt x="82" y="82"/>
                    </a:lnTo>
                    <a:lnTo>
                      <a:pt x="80" y="78"/>
                    </a:lnTo>
                    <a:lnTo>
                      <a:pt x="76" y="75"/>
                    </a:lnTo>
                    <a:lnTo>
                      <a:pt x="74" y="73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0" y="70"/>
                    </a:lnTo>
                    <a:lnTo>
                      <a:pt x="67" y="67"/>
                    </a:lnTo>
                    <a:lnTo>
                      <a:pt x="63" y="64"/>
                    </a:lnTo>
                    <a:lnTo>
                      <a:pt x="60" y="60"/>
                    </a:lnTo>
                    <a:lnTo>
                      <a:pt x="56" y="57"/>
                    </a:lnTo>
                    <a:lnTo>
                      <a:pt x="55" y="53"/>
                    </a:lnTo>
                    <a:lnTo>
                      <a:pt x="55" y="51"/>
                    </a:lnTo>
                    <a:lnTo>
                      <a:pt x="55" y="49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9" y="46"/>
                    </a:lnTo>
                    <a:lnTo>
                      <a:pt x="60" y="44"/>
                    </a:lnTo>
                    <a:lnTo>
                      <a:pt x="60" y="42"/>
                    </a:lnTo>
                    <a:lnTo>
                      <a:pt x="62" y="38"/>
                    </a:lnTo>
                    <a:lnTo>
                      <a:pt x="63" y="35"/>
                    </a:lnTo>
                    <a:lnTo>
                      <a:pt x="63" y="31"/>
                    </a:lnTo>
                    <a:lnTo>
                      <a:pt x="60" y="29"/>
                    </a:lnTo>
                    <a:lnTo>
                      <a:pt x="58" y="26"/>
                    </a:lnTo>
                    <a:lnTo>
                      <a:pt x="47" y="20"/>
                    </a:lnTo>
                    <a:lnTo>
                      <a:pt x="43" y="7"/>
                    </a:lnTo>
                    <a:lnTo>
                      <a:pt x="43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8" y="1"/>
                    </a:lnTo>
                    <a:lnTo>
                      <a:pt x="36" y="1"/>
                    </a:lnTo>
                    <a:lnTo>
                      <a:pt x="33" y="0"/>
                    </a:lnTo>
                    <a:lnTo>
                      <a:pt x="30" y="1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7" y="8"/>
                    </a:lnTo>
                    <a:lnTo>
                      <a:pt x="29" y="12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9" y="23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5" y="24"/>
                    </a:lnTo>
                    <a:lnTo>
                      <a:pt x="22" y="24"/>
                    </a:lnTo>
                    <a:lnTo>
                      <a:pt x="21" y="26"/>
                    </a:lnTo>
                    <a:lnTo>
                      <a:pt x="18" y="26"/>
                    </a:lnTo>
                    <a:lnTo>
                      <a:pt x="16" y="27"/>
                    </a:lnTo>
                    <a:lnTo>
                      <a:pt x="15" y="27"/>
                    </a:lnTo>
                    <a:lnTo>
                      <a:pt x="14" y="27"/>
                    </a:lnTo>
                    <a:lnTo>
                      <a:pt x="14" y="29"/>
                    </a:lnTo>
                    <a:lnTo>
                      <a:pt x="0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1" name="Freeform 813"/>
              <p:cNvSpPr>
                <a:spLocks/>
              </p:cNvSpPr>
              <p:nvPr/>
            </p:nvSpPr>
            <p:spPr bwMode="auto">
              <a:xfrm>
                <a:off x="3641" y="2355"/>
                <a:ext cx="240" cy="206"/>
              </a:xfrm>
              <a:custGeom>
                <a:avLst/>
                <a:gdLst>
                  <a:gd name="T0" fmla="*/ 183 w 240"/>
                  <a:gd name="T1" fmla="*/ 1 h 206"/>
                  <a:gd name="T2" fmla="*/ 175 w 240"/>
                  <a:gd name="T3" fmla="*/ 7 h 206"/>
                  <a:gd name="T4" fmla="*/ 170 w 240"/>
                  <a:gd name="T5" fmla="*/ 16 h 206"/>
                  <a:gd name="T6" fmla="*/ 146 w 240"/>
                  <a:gd name="T7" fmla="*/ 34 h 206"/>
                  <a:gd name="T8" fmla="*/ 139 w 240"/>
                  <a:gd name="T9" fmla="*/ 36 h 206"/>
                  <a:gd name="T10" fmla="*/ 132 w 240"/>
                  <a:gd name="T11" fmla="*/ 47 h 206"/>
                  <a:gd name="T12" fmla="*/ 109 w 240"/>
                  <a:gd name="T13" fmla="*/ 77 h 206"/>
                  <a:gd name="T14" fmla="*/ 97 w 240"/>
                  <a:gd name="T15" fmla="*/ 78 h 206"/>
                  <a:gd name="T16" fmla="*/ 80 w 240"/>
                  <a:gd name="T17" fmla="*/ 84 h 206"/>
                  <a:gd name="T18" fmla="*/ 71 w 240"/>
                  <a:gd name="T19" fmla="*/ 95 h 206"/>
                  <a:gd name="T20" fmla="*/ 58 w 240"/>
                  <a:gd name="T21" fmla="*/ 106 h 206"/>
                  <a:gd name="T22" fmla="*/ 53 w 240"/>
                  <a:gd name="T23" fmla="*/ 110 h 206"/>
                  <a:gd name="T24" fmla="*/ 44 w 240"/>
                  <a:gd name="T25" fmla="*/ 113 h 206"/>
                  <a:gd name="T26" fmla="*/ 25 w 240"/>
                  <a:gd name="T27" fmla="*/ 117 h 206"/>
                  <a:gd name="T28" fmla="*/ 0 w 240"/>
                  <a:gd name="T29" fmla="*/ 113 h 206"/>
                  <a:gd name="T30" fmla="*/ 20 w 240"/>
                  <a:gd name="T31" fmla="*/ 154 h 206"/>
                  <a:gd name="T32" fmla="*/ 16 w 240"/>
                  <a:gd name="T33" fmla="*/ 157 h 206"/>
                  <a:gd name="T34" fmla="*/ 9 w 240"/>
                  <a:gd name="T35" fmla="*/ 163 h 206"/>
                  <a:gd name="T36" fmla="*/ 7 w 240"/>
                  <a:gd name="T37" fmla="*/ 170 h 206"/>
                  <a:gd name="T38" fmla="*/ 7 w 240"/>
                  <a:gd name="T39" fmla="*/ 180 h 206"/>
                  <a:gd name="T40" fmla="*/ 9 w 240"/>
                  <a:gd name="T41" fmla="*/ 190 h 206"/>
                  <a:gd name="T42" fmla="*/ 13 w 240"/>
                  <a:gd name="T43" fmla="*/ 191 h 206"/>
                  <a:gd name="T44" fmla="*/ 22 w 240"/>
                  <a:gd name="T45" fmla="*/ 188 h 206"/>
                  <a:gd name="T46" fmla="*/ 32 w 240"/>
                  <a:gd name="T47" fmla="*/ 185 h 206"/>
                  <a:gd name="T48" fmla="*/ 42 w 240"/>
                  <a:gd name="T49" fmla="*/ 187 h 206"/>
                  <a:gd name="T50" fmla="*/ 53 w 240"/>
                  <a:gd name="T51" fmla="*/ 188 h 206"/>
                  <a:gd name="T52" fmla="*/ 55 w 240"/>
                  <a:gd name="T53" fmla="*/ 188 h 206"/>
                  <a:gd name="T54" fmla="*/ 66 w 240"/>
                  <a:gd name="T55" fmla="*/ 188 h 206"/>
                  <a:gd name="T56" fmla="*/ 79 w 240"/>
                  <a:gd name="T57" fmla="*/ 194 h 206"/>
                  <a:gd name="T58" fmla="*/ 112 w 240"/>
                  <a:gd name="T59" fmla="*/ 185 h 206"/>
                  <a:gd name="T60" fmla="*/ 113 w 240"/>
                  <a:gd name="T61" fmla="*/ 184 h 206"/>
                  <a:gd name="T62" fmla="*/ 117 w 240"/>
                  <a:gd name="T63" fmla="*/ 183 h 206"/>
                  <a:gd name="T64" fmla="*/ 137 w 240"/>
                  <a:gd name="T65" fmla="*/ 183 h 206"/>
                  <a:gd name="T66" fmla="*/ 138 w 240"/>
                  <a:gd name="T67" fmla="*/ 154 h 206"/>
                  <a:gd name="T68" fmla="*/ 137 w 240"/>
                  <a:gd name="T69" fmla="*/ 141 h 206"/>
                  <a:gd name="T70" fmla="*/ 152 w 240"/>
                  <a:gd name="T71" fmla="*/ 115 h 206"/>
                  <a:gd name="T72" fmla="*/ 172 w 240"/>
                  <a:gd name="T73" fmla="*/ 102 h 206"/>
                  <a:gd name="T74" fmla="*/ 185 w 240"/>
                  <a:gd name="T75" fmla="*/ 95 h 206"/>
                  <a:gd name="T76" fmla="*/ 193 w 240"/>
                  <a:gd name="T77" fmla="*/ 84 h 206"/>
                  <a:gd name="T78" fmla="*/ 198 w 240"/>
                  <a:gd name="T79" fmla="*/ 74 h 206"/>
                  <a:gd name="T80" fmla="*/ 205 w 240"/>
                  <a:gd name="T81" fmla="*/ 71 h 206"/>
                  <a:gd name="T82" fmla="*/ 205 w 240"/>
                  <a:gd name="T83" fmla="*/ 63 h 206"/>
                  <a:gd name="T84" fmla="*/ 212 w 240"/>
                  <a:gd name="T85" fmla="*/ 55 h 206"/>
                  <a:gd name="T86" fmla="*/ 218 w 240"/>
                  <a:gd name="T87" fmla="*/ 54 h 206"/>
                  <a:gd name="T88" fmla="*/ 229 w 240"/>
                  <a:gd name="T89" fmla="*/ 52 h 206"/>
                  <a:gd name="T90" fmla="*/ 238 w 240"/>
                  <a:gd name="T91" fmla="*/ 54 h 206"/>
                  <a:gd name="T92" fmla="*/ 240 w 240"/>
                  <a:gd name="T93" fmla="*/ 51 h 206"/>
                  <a:gd name="T94" fmla="*/ 234 w 240"/>
                  <a:gd name="T95" fmla="*/ 45 h 206"/>
                  <a:gd name="T96" fmla="*/ 229 w 240"/>
                  <a:gd name="T97" fmla="*/ 44 h 206"/>
                  <a:gd name="T98" fmla="*/ 220 w 240"/>
                  <a:gd name="T99" fmla="*/ 43 h 206"/>
                  <a:gd name="T100" fmla="*/ 218 w 240"/>
                  <a:gd name="T101" fmla="*/ 37 h 206"/>
                  <a:gd name="T102" fmla="*/ 214 w 240"/>
                  <a:gd name="T103" fmla="*/ 34 h 206"/>
                  <a:gd name="T104" fmla="*/ 203 w 240"/>
                  <a:gd name="T105" fmla="*/ 30 h 206"/>
                  <a:gd name="T106" fmla="*/ 193 w 240"/>
                  <a:gd name="T107" fmla="*/ 33 h 206"/>
                  <a:gd name="T108" fmla="*/ 189 w 240"/>
                  <a:gd name="T109" fmla="*/ 27 h 206"/>
                  <a:gd name="T110" fmla="*/ 187 w 240"/>
                  <a:gd name="T111" fmla="*/ 19 h 206"/>
                  <a:gd name="T112" fmla="*/ 185 w 240"/>
                  <a:gd name="T113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40" h="206">
                    <a:moveTo>
                      <a:pt x="185" y="0"/>
                    </a:moveTo>
                    <a:lnTo>
                      <a:pt x="185" y="0"/>
                    </a:lnTo>
                    <a:lnTo>
                      <a:pt x="183" y="1"/>
                    </a:lnTo>
                    <a:lnTo>
                      <a:pt x="181" y="3"/>
                    </a:lnTo>
                    <a:lnTo>
                      <a:pt x="178" y="5"/>
                    </a:lnTo>
                    <a:lnTo>
                      <a:pt x="175" y="7"/>
                    </a:lnTo>
                    <a:lnTo>
                      <a:pt x="172" y="10"/>
                    </a:lnTo>
                    <a:lnTo>
                      <a:pt x="171" y="12"/>
                    </a:lnTo>
                    <a:lnTo>
                      <a:pt x="170" y="16"/>
                    </a:lnTo>
                    <a:lnTo>
                      <a:pt x="150" y="2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5" y="34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5" y="38"/>
                    </a:lnTo>
                    <a:lnTo>
                      <a:pt x="134" y="41"/>
                    </a:lnTo>
                    <a:lnTo>
                      <a:pt x="132" y="47"/>
                    </a:lnTo>
                    <a:lnTo>
                      <a:pt x="131" y="55"/>
                    </a:lnTo>
                    <a:lnTo>
                      <a:pt x="110" y="78"/>
                    </a:lnTo>
                    <a:lnTo>
                      <a:pt x="109" y="77"/>
                    </a:lnTo>
                    <a:lnTo>
                      <a:pt x="106" y="77"/>
                    </a:lnTo>
                    <a:lnTo>
                      <a:pt x="102" y="78"/>
                    </a:lnTo>
                    <a:lnTo>
                      <a:pt x="97" y="78"/>
                    </a:lnTo>
                    <a:lnTo>
                      <a:pt x="91" y="80"/>
                    </a:lnTo>
                    <a:lnTo>
                      <a:pt x="86" y="81"/>
                    </a:lnTo>
                    <a:lnTo>
                      <a:pt x="80" y="84"/>
                    </a:lnTo>
                    <a:lnTo>
                      <a:pt x="76" y="87"/>
                    </a:lnTo>
                    <a:lnTo>
                      <a:pt x="73" y="91"/>
                    </a:lnTo>
                    <a:lnTo>
                      <a:pt x="71" y="95"/>
                    </a:lnTo>
                    <a:lnTo>
                      <a:pt x="66" y="99"/>
                    </a:lnTo>
                    <a:lnTo>
                      <a:pt x="62" y="103"/>
                    </a:lnTo>
                    <a:lnTo>
                      <a:pt x="58" y="106"/>
                    </a:lnTo>
                    <a:lnTo>
                      <a:pt x="55" y="107"/>
                    </a:lnTo>
                    <a:lnTo>
                      <a:pt x="53" y="110"/>
                    </a:lnTo>
                    <a:lnTo>
                      <a:pt x="53" y="110"/>
                    </a:lnTo>
                    <a:lnTo>
                      <a:pt x="51" y="110"/>
                    </a:lnTo>
                    <a:lnTo>
                      <a:pt x="49" y="111"/>
                    </a:lnTo>
                    <a:lnTo>
                      <a:pt x="44" y="113"/>
                    </a:lnTo>
                    <a:lnTo>
                      <a:pt x="39" y="114"/>
                    </a:lnTo>
                    <a:lnTo>
                      <a:pt x="32" y="117"/>
                    </a:lnTo>
                    <a:lnTo>
                      <a:pt x="25" y="117"/>
                    </a:lnTo>
                    <a:lnTo>
                      <a:pt x="18" y="117"/>
                    </a:lnTo>
                    <a:lnTo>
                      <a:pt x="11" y="115"/>
                    </a:lnTo>
                    <a:lnTo>
                      <a:pt x="0" y="113"/>
                    </a:lnTo>
                    <a:lnTo>
                      <a:pt x="16" y="137"/>
                    </a:lnTo>
                    <a:lnTo>
                      <a:pt x="20" y="141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7" y="155"/>
                    </a:lnTo>
                    <a:lnTo>
                      <a:pt x="16" y="157"/>
                    </a:lnTo>
                    <a:lnTo>
                      <a:pt x="13" y="158"/>
                    </a:lnTo>
                    <a:lnTo>
                      <a:pt x="11" y="161"/>
                    </a:lnTo>
                    <a:lnTo>
                      <a:pt x="9" y="163"/>
                    </a:lnTo>
                    <a:lnTo>
                      <a:pt x="7" y="166"/>
                    </a:lnTo>
                    <a:lnTo>
                      <a:pt x="7" y="170"/>
                    </a:lnTo>
                    <a:lnTo>
                      <a:pt x="7" y="170"/>
                    </a:lnTo>
                    <a:lnTo>
                      <a:pt x="7" y="173"/>
                    </a:lnTo>
                    <a:lnTo>
                      <a:pt x="7" y="176"/>
                    </a:lnTo>
                    <a:lnTo>
                      <a:pt x="7" y="180"/>
                    </a:lnTo>
                    <a:lnTo>
                      <a:pt x="7" y="183"/>
                    </a:lnTo>
                    <a:lnTo>
                      <a:pt x="9" y="187"/>
                    </a:lnTo>
                    <a:lnTo>
                      <a:pt x="9" y="190"/>
                    </a:lnTo>
                    <a:lnTo>
                      <a:pt x="10" y="192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6" y="190"/>
                    </a:lnTo>
                    <a:lnTo>
                      <a:pt x="18" y="188"/>
                    </a:lnTo>
                    <a:lnTo>
                      <a:pt x="22" y="188"/>
                    </a:lnTo>
                    <a:lnTo>
                      <a:pt x="25" y="187"/>
                    </a:lnTo>
                    <a:lnTo>
                      <a:pt x="29" y="185"/>
                    </a:lnTo>
                    <a:lnTo>
                      <a:pt x="32" y="185"/>
                    </a:lnTo>
                    <a:lnTo>
                      <a:pt x="35" y="185"/>
                    </a:lnTo>
                    <a:lnTo>
                      <a:pt x="38" y="185"/>
                    </a:lnTo>
                    <a:lnTo>
                      <a:pt x="42" y="187"/>
                    </a:lnTo>
                    <a:lnTo>
                      <a:pt x="46" y="187"/>
                    </a:lnTo>
                    <a:lnTo>
                      <a:pt x="49" y="187"/>
                    </a:lnTo>
                    <a:lnTo>
                      <a:pt x="53" y="188"/>
                    </a:lnTo>
                    <a:lnTo>
                      <a:pt x="54" y="188"/>
                    </a:lnTo>
                    <a:lnTo>
                      <a:pt x="55" y="188"/>
                    </a:lnTo>
                    <a:lnTo>
                      <a:pt x="55" y="188"/>
                    </a:lnTo>
                    <a:lnTo>
                      <a:pt x="58" y="188"/>
                    </a:lnTo>
                    <a:lnTo>
                      <a:pt x="62" y="188"/>
                    </a:lnTo>
                    <a:lnTo>
                      <a:pt x="66" y="188"/>
                    </a:lnTo>
                    <a:lnTo>
                      <a:pt x="71" y="190"/>
                    </a:lnTo>
                    <a:lnTo>
                      <a:pt x="75" y="191"/>
                    </a:lnTo>
                    <a:lnTo>
                      <a:pt x="79" y="194"/>
                    </a:lnTo>
                    <a:lnTo>
                      <a:pt x="80" y="196"/>
                    </a:lnTo>
                    <a:lnTo>
                      <a:pt x="91" y="206"/>
                    </a:lnTo>
                    <a:lnTo>
                      <a:pt x="112" y="185"/>
                    </a:lnTo>
                    <a:lnTo>
                      <a:pt x="112" y="185"/>
                    </a:lnTo>
                    <a:lnTo>
                      <a:pt x="112" y="185"/>
                    </a:lnTo>
                    <a:lnTo>
                      <a:pt x="113" y="184"/>
                    </a:lnTo>
                    <a:lnTo>
                      <a:pt x="115" y="184"/>
                    </a:lnTo>
                    <a:lnTo>
                      <a:pt x="116" y="183"/>
                    </a:lnTo>
                    <a:lnTo>
                      <a:pt x="117" y="183"/>
                    </a:lnTo>
                    <a:lnTo>
                      <a:pt x="119" y="183"/>
                    </a:lnTo>
                    <a:lnTo>
                      <a:pt x="120" y="183"/>
                    </a:lnTo>
                    <a:lnTo>
                      <a:pt x="137" y="183"/>
                    </a:lnTo>
                    <a:lnTo>
                      <a:pt x="143" y="183"/>
                    </a:lnTo>
                    <a:lnTo>
                      <a:pt x="148" y="159"/>
                    </a:lnTo>
                    <a:lnTo>
                      <a:pt x="138" y="154"/>
                    </a:lnTo>
                    <a:lnTo>
                      <a:pt x="138" y="152"/>
                    </a:lnTo>
                    <a:lnTo>
                      <a:pt x="137" y="148"/>
                    </a:lnTo>
                    <a:lnTo>
                      <a:pt x="137" y="141"/>
                    </a:lnTo>
                    <a:lnTo>
                      <a:pt x="139" y="133"/>
                    </a:lnTo>
                    <a:lnTo>
                      <a:pt x="143" y="125"/>
                    </a:lnTo>
                    <a:lnTo>
                      <a:pt x="152" y="115"/>
                    </a:lnTo>
                    <a:lnTo>
                      <a:pt x="157" y="110"/>
                    </a:lnTo>
                    <a:lnTo>
                      <a:pt x="164" y="106"/>
                    </a:lnTo>
                    <a:lnTo>
                      <a:pt x="172" y="102"/>
                    </a:lnTo>
                    <a:lnTo>
                      <a:pt x="182" y="96"/>
                    </a:lnTo>
                    <a:lnTo>
                      <a:pt x="183" y="96"/>
                    </a:lnTo>
                    <a:lnTo>
                      <a:pt x="185" y="95"/>
                    </a:lnTo>
                    <a:lnTo>
                      <a:pt x="187" y="92"/>
                    </a:lnTo>
                    <a:lnTo>
                      <a:pt x="190" y="88"/>
                    </a:lnTo>
                    <a:lnTo>
                      <a:pt x="193" y="84"/>
                    </a:lnTo>
                    <a:lnTo>
                      <a:pt x="196" y="81"/>
                    </a:lnTo>
                    <a:lnTo>
                      <a:pt x="197" y="77"/>
                    </a:lnTo>
                    <a:lnTo>
                      <a:pt x="198" y="74"/>
                    </a:lnTo>
                    <a:lnTo>
                      <a:pt x="205" y="73"/>
                    </a:lnTo>
                    <a:lnTo>
                      <a:pt x="205" y="73"/>
                    </a:lnTo>
                    <a:lnTo>
                      <a:pt x="205" y="71"/>
                    </a:lnTo>
                    <a:lnTo>
                      <a:pt x="205" y="69"/>
                    </a:lnTo>
                    <a:lnTo>
                      <a:pt x="205" y="66"/>
                    </a:lnTo>
                    <a:lnTo>
                      <a:pt x="205" y="63"/>
                    </a:lnTo>
                    <a:lnTo>
                      <a:pt x="207" y="60"/>
                    </a:lnTo>
                    <a:lnTo>
                      <a:pt x="208" y="58"/>
                    </a:lnTo>
                    <a:lnTo>
                      <a:pt x="212" y="55"/>
                    </a:lnTo>
                    <a:lnTo>
                      <a:pt x="212" y="55"/>
                    </a:lnTo>
                    <a:lnTo>
                      <a:pt x="215" y="55"/>
                    </a:lnTo>
                    <a:lnTo>
                      <a:pt x="218" y="54"/>
                    </a:lnTo>
                    <a:lnTo>
                      <a:pt x="220" y="52"/>
                    </a:lnTo>
                    <a:lnTo>
                      <a:pt x="225" y="52"/>
                    </a:lnTo>
                    <a:lnTo>
                      <a:pt x="229" y="52"/>
                    </a:lnTo>
                    <a:lnTo>
                      <a:pt x="233" y="52"/>
                    </a:lnTo>
                    <a:lnTo>
                      <a:pt x="236" y="54"/>
                    </a:lnTo>
                    <a:lnTo>
                      <a:pt x="238" y="54"/>
                    </a:lnTo>
                    <a:lnTo>
                      <a:pt x="240" y="54"/>
                    </a:lnTo>
                    <a:lnTo>
                      <a:pt x="240" y="52"/>
                    </a:lnTo>
                    <a:lnTo>
                      <a:pt x="240" y="51"/>
                    </a:lnTo>
                    <a:lnTo>
                      <a:pt x="238" y="49"/>
                    </a:lnTo>
                    <a:lnTo>
                      <a:pt x="237" y="47"/>
                    </a:lnTo>
                    <a:lnTo>
                      <a:pt x="234" y="45"/>
                    </a:lnTo>
                    <a:lnTo>
                      <a:pt x="231" y="44"/>
                    </a:lnTo>
                    <a:lnTo>
                      <a:pt x="230" y="44"/>
                    </a:lnTo>
                    <a:lnTo>
                      <a:pt x="229" y="44"/>
                    </a:lnTo>
                    <a:lnTo>
                      <a:pt x="226" y="44"/>
                    </a:lnTo>
                    <a:lnTo>
                      <a:pt x="223" y="43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8" y="40"/>
                    </a:lnTo>
                    <a:lnTo>
                      <a:pt x="218" y="37"/>
                    </a:lnTo>
                    <a:lnTo>
                      <a:pt x="216" y="37"/>
                    </a:lnTo>
                    <a:lnTo>
                      <a:pt x="215" y="36"/>
                    </a:lnTo>
                    <a:lnTo>
                      <a:pt x="214" y="34"/>
                    </a:lnTo>
                    <a:lnTo>
                      <a:pt x="211" y="32"/>
                    </a:lnTo>
                    <a:lnTo>
                      <a:pt x="207" y="32"/>
                    </a:lnTo>
                    <a:lnTo>
                      <a:pt x="203" y="30"/>
                    </a:lnTo>
                    <a:lnTo>
                      <a:pt x="198" y="32"/>
                    </a:lnTo>
                    <a:lnTo>
                      <a:pt x="193" y="34"/>
                    </a:lnTo>
                    <a:lnTo>
                      <a:pt x="193" y="33"/>
                    </a:lnTo>
                    <a:lnTo>
                      <a:pt x="192" y="32"/>
                    </a:lnTo>
                    <a:lnTo>
                      <a:pt x="190" y="30"/>
                    </a:lnTo>
                    <a:lnTo>
                      <a:pt x="189" y="27"/>
                    </a:lnTo>
                    <a:lnTo>
                      <a:pt x="187" y="25"/>
                    </a:lnTo>
                    <a:lnTo>
                      <a:pt x="187" y="22"/>
                    </a:lnTo>
                    <a:lnTo>
                      <a:pt x="187" y="19"/>
                    </a:lnTo>
                    <a:lnTo>
                      <a:pt x="189" y="15"/>
                    </a:lnTo>
                    <a:lnTo>
                      <a:pt x="207" y="0"/>
                    </a:lnTo>
                    <a:lnTo>
                      <a:pt x="18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2" name="Freeform 814"/>
              <p:cNvSpPr>
                <a:spLocks/>
              </p:cNvSpPr>
              <p:nvPr/>
            </p:nvSpPr>
            <p:spPr bwMode="auto">
              <a:xfrm>
                <a:off x="3641" y="2355"/>
                <a:ext cx="240" cy="206"/>
              </a:xfrm>
              <a:custGeom>
                <a:avLst/>
                <a:gdLst>
                  <a:gd name="T0" fmla="*/ 181 w 240"/>
                  <a:gd name="T1" fmla="*/ 3 h 206"/>
                  <a:gd name="T2" fmla="*/ 172 w 240"/>
                  <a:gd name="T3" fmla="*/ 10 h 206"/>
                  <a:gd name="T4" fmla="*/ 150 w 240"/>
                  <a:gd name="T5" fmla="*/ 22 h 206"/>
                  <a:gd name="T6" fmla="*/ 145 w 240"/>
                  <a:gd name="T7" fmla="*/ 34 h 206"/>
                  <a:gd name="T8" fmla="*/ 135 w 240"/>
                  <a:gd name="T9" fmla="*/ 38 h 206"/>
                  <a:gd name="T10" fmla="*/ 131 w 240"/>
                  <a:gd name="T11" fmla="*/ 55 h 206"/>
                  <a:gd name="T12" fmla="*/ 106 w 240"/>
                  <a:gd name="T13" fmla="*/ 77 h 206"/>
                  <a:gd name="T14" fmla="*/ 91 w 240"/>
                  <a:gd name="T15" fmla="*/ 80 h 206"/>
                  <a:gd name="T16" fmla="*/ 76 w 240"/>
                  <a:gd name="T17" fmla="*/ 87 h 206"/>
                  <a:gd name="T18" fmla="*/ 66 w 240"/>
                  <a:gd name="T19" fmla="*/ 99 h 206"/>
                  <a:gd name="T20" fmla="*/ 55 w 240"/>
                  <a:gd name="T21" fmla="*/ 107 h 206"/>
                  <a:gd name="T22" fmla="*/ 49 w 240"/>
                  <a:gd name="T23" fmla="*/ 111 h 206"/>
                  <a:gd name="T24" fmla="*/ 32 w 240"/>
                  <a:gd name="T25" fmla="*/ 117 h 206"/>
                  <a:gd name="T26" fmla="*/ 11 w 240"/>
                  <a:gd name="T27" fmla="*/ 115 h 206"/>
                  <a:gd name="T28" fmla="*/ 20 w 240"/>
                  <a:gd name="T29" fmla="*/ 141 h 206"/>
                  <a:gd name="T30" fmla="*/ 17 w 240"/>
                  <a:gd name="T31" fmla="*/ 155 h 206"/>
                  <a:gd name="T32" fmla="*/ 11 w 240"/>
                  <a:gd name="T33" fmla="*/ 161 h 206"/>
                  <a:gd name="T34" fmla="*/ 7 w 240"/>
                  <a:gd name="T35" fmla="*/ 170 h 206"/>
                  <a:gd name="T36" fmla="*/ 7 w 240"/>
                  <a:gd name="T37" fmla="*/ 180 h 206"/>
                  <a:gd name="T38" fmla="*/ 9 w 240"/>
                  <a:gd name="T39" fmla="*/ 190 h 206"/>
                  <a:gd name="T40" fmla="*/ 13 w 240"/>
                  <a:gd name="T41" fmla="*/ 191 h 206"/>
                  <a:gd name="T42" fmla="*/ 22 w 240"/>
                  <a:gd name="T43" fmla="*/ 188 h 206"/>
                  <a:gd name="T44" fmla="*/ 32 w 240"/>
                  <a:gd name="T45" fmla="*/ 185 h 206"/>
                  <a:gd name="T46" fmla="*/ 42 w 240"/>
                  <a:gd name="T47" fmla="*/ 187 h 206"/>
                  <a:gd name="T48" fmla="*/ 53 w 240"/>
                  <a:gd name="T49" fmla="*/ 188 h 206"/>
                  <a:gd name="T50" fmla="*/ 58 w 240"/>
                  <a:gd name="T51" fmla="*/ 188 h 206"/>
                  <a:gd name="T52" fmla="*/ 71 w 240"/>
                  <a:gd name="T53" fmla="*/ 190 h 206"/>
                  <a:gd name="T54" fmla="*/ 80 w 240"/>
                  <a:gd name="T55" fmla="*/ 196 h 206"/>
                  <a:gd name="T56" fmla="*/ 113 w 240"/>
                  <a:gd name="T57" fmla="*/ 184 h 206"/>
                  <a:gd name="T58" fmla="*/ 117 w 240"/>
                  <a:gd name="T59" fmla="*/ 183 h 206"/>
                  <a:gd name="T60" fmla="*/ 137 w 240"/>
                  <a:gd name="T61" fmla="*/ 183 h 206"/>
                  <a:gd name="T62" fmla="*/ 138 w 240"/>
                  <a:gd name="T63" fmla="*/ 154 h 206"/>
                  <a:gd name="T64" fmla="*/ 137 w 240"/>
                  <a:gd name="T65" fmla="*/ 141 h 206"/>
                  <a:gd name="T66" fmla="*/ 152 w 240"/>
                  <a:gd name="T67" fmla="*/ 115 h 206"/>
                  <a:gd name="T68" fmla="*/ 172 w 240"/>
                  <a:gd name="T69" fmla="*/ 102 h 206"/>
                  <a:gd name="T70" fmla="*/ 185 w 240"/>
                  <a:gd name="T71" fmla="*/ 95 h 206"/>
                  <a:gd name="T72" fmla="*/ 193 w 240"/>
                  <a:gd name="T73" fmla="*/ 84 h 206"/>
                  <a:gd name="T74" fmla="*/ 198 w 240"/>
                  <a:gd name="T75" fmla="*/ 74 h 206"/>
                  <a:gd name="T76" fmla="*/ 205 w 240"/>
                  <a:gd name="T77" fmla="*/ 69 h 206"/>
                  <a:gd name="T78" fmla="*/ 207 w 240"/>
                  <a:gd name="T79" fmla="*/ 60 h 206"/>
                  <a:gd name="T80" fmla="*/ 215 w 240"/>
                  <a:gd name="T81" fmla="*/ 55 h 206"/>
                  <a:gd name="T82" fmla="*/ 225 w 240"/>
                  <a:gd name="T83" fmla="*/ 52 h 206"/>
                  <a:gd name="T84" fmla="*/ 236 w 240"/>
                  <a:gd name="T85" fmla="*/ 54 h 206"/>
                  <a:gd name="T86" fmla="*/ 240 w 240"/>
                  <a:gd name="T87" fmla="*/ 52 h 206"/>
                  <a:gd name="T88" fmla="*/ 237 w 240"/>
                  <a:gd name="T89" fmla="*/ 47 h 206"/>
                  <a:gd name="T90" fmla="*/ 230 w 240"/>
                  <a:gd name="T91" fmla="*/ 44 h 206"/>
                  <a:gd name="T92" fmla="*/ 223 w 240"/>
                  <a:gd name="T93" fmla="*/ 43 h 206"/>
                  <a:gd name="T94" fmla="*/ 218 w 240"/>
                  <a:gd name="T95" fmla="*/ 40 h 206"/>
                  <a:gd name="T96" fmla="*/ 215 w 240"/>
                  <a:gd name="T97" fmla="*/ 36 h 206"/>
                  <a:gd name="T98" fmla="*/ 207 w 240"/>
                  <a:gd name="T99" fmla="*/ 32 h 206"/>
                  <a:gd name="T100" fmla="*/ 193 w 240"/>
                  <a:gd name="T101" fmla="*/ 34 h 206"/>
                  <a:gd name="T102" fmla="*/ 190 w 240"/>
                  <a:gd name="T103" fmla="*/ 30 h 206"/>
                  <a:gd name="T104" fmla="*/ 187 w 240"/>
                  <a:gd name="T105" fmla="*/ 22 h 206"/>
                  <a:gd name="T106" fmla="*/ 207 w 240"/>
                  <a:gd name="T107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40" h="206">
                    <a:moveTo>
                      <a:pt x="185" y="0"/>
                    </a:moveTo>
                    <a:lnTo>
                      <a:pt x="183" y="1"/>
                    </a:lnTo>
                    <a:lnTo>
                      <a:pt x="181" y="3"/>
                    </a:lnTo>
                    <a:lnTo>
                      <a:pt x="178" y="5"/>
                    </a:lnTo>
                    <a:lnTo>
                      <a:pt x="175" y="7"/>
                    </a:lnTo>
                    <a:lnTo>
                      <a:pt x="172" y="10"/>
                    </a:lnTo>
                    <a:lnTo>
                      <a:pt x="171" y="12"/>
                    </a:lnTo>
                    <a:lnTo>
                      <a:pt x="170" y="16"/>
                    </a:lnTo>
                    <a:lnTo>
                      <a:pt x="150" y="2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5" y="34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5" y="38"/>
                    </a:lnTo>
                    <a:lnTo>
                      <a:pt x="134" y="41"/>
                    </a:lnTo>
                    <a:lnTo>
                      <a:pt x="132" y="47"/>
                    </a:lnTo>
                    <a:lnTo>
                      <a:pt x="131" y="55"/>
                    </a:lnTo>
                    <a:lnTo>
                      <a:pt x="110" y="78"/>
                    </a:lnTo>
                    <a:lnTo>
                      <a:pt x="109" y="77"/>
                    </a:lnTo>
                    <a:lnTo>
                      <a:pt x="106" y="77"/>
                    </a:lnTo>
                    <a:lnTo>
                      <a:pt x="102" y="78"/>
                    </a:lnTo>
                    <a:lnTo>
                      <a:pt x="97" y="78"/>
                    </a:lnTo>
                    <a:lnTo>
                      <a:pt x="91" y="80"/>
                    </a:lnTo>
                    <a:lnTo>
                      <a:pt x="86" y="81"/>
                    </a:lnTo>
                    <a:lnTo>
                      <a:pt x="80" y="84"/>
                    </a:lnTo>
                    <a:lnTo>
                      <a:pt x="76" y="87"/>
                    </a:lnTo>
                    <a:lnTo>
                      <a:pt x="73" y="91"/>
                    </a:lnTo>
                    <a:lnTo>
                      <a:pt x="71" y="95"/>
                    </a:lnTo>
                    <a:lnTo>
                      <a:pt x="66" y="99"/>
                    </a:lnTo>
                    <a:lnTo>
                      <a:pt x="62" y="103"/>
                    </a:lnTo>
                    <a:lnTo>
                      <a:pt x="58" y="106"/>
                    </a:lnTo>
                    <a:lnTo>
                      <a:pt x="55" y="107"/>
                    </a:lnTo>
                    <a:lnTo>
                      <a:pt x="53" y="110"/>
                    </a:lnTo>
                    <a:lnTo>
                      <a:pt x="51" y="110"/>
                    </a:lnTo>
                    <a:lnTo>
                      <a:pt x="49" y="111"/>
                    </a:lnTo>
                    <a:lnTo>
                      <a:pt x="44" y="113"/>
                    </a:lnTo>
                    <a:lnTo>
                      <a:pt x="39" y="114"/>
                    </a:lnTo>
                    <a:lnTo>
                      <a:pt x="32" y="117"/>
                    </a:lnTo>
                    <a:lnTo>
                      <a:pt x="25" y="117"/>
                    </a:lnTo>
                    <a:lnTo>
                      <a:pt x="18" y="117"/>
                    </a:lnTo>
                    <a:lnTo>
                      <a:pt x="11" y="115"/>
                    </a:lnTo>
                    <a:lnTo>
                      <a:pt x="0" y="113"/>
                    </a:lnTo>
                    <a:lnTo>
                      <a:pt x="16" y="137"/>
                    </a:lnTo>
                    <a:lnTo>
                      <a:pt x="20" y="141"/>
                    </a:lnTo>
                    <a:lnTo>
                      <a:pt x="20" y="154"/>
                    </a:lnTo>
                    <a:lnTo>
                      <a:pt x="18" y="154"/>
                    </a:lnTo>
                    <a:lnTo>
                      <a:pt x="17" y="155"/>
                    </a:lnTo>
                    <a:lnTo>
                      <a:pt x="16" y="157"/>
                    </a:lnTo>
                    <a:lnTo>
                      <a:pt x="13" y="158"/>
                    </a:lnTo>
                    <a:lnTo>
                      <a:pt x="11" y="161"/>
                    </a:lnTo>
                    <a:lnTo>
                      <a:pt x="9" y="163"/>
                    </a:lnTo>
                    <a:lnTo>
                      <a:pt x="7" y="166"/>
                    </a:lnTo>
                    <a:lnTo>
                      <a:pt x="7" y="170"/>
                    </a:lnTo>
                    <a:lnTo>
                      <a:pt x="7" y="173"/>
                    </a:lnTo>
                    <a:lnTo>
                      <a:pt x="7" y="176"/>
                    </a:lnTo>
                    <a:lnTo>
                      <a:pt x="7" y="180"/>
                    </a:lnTo>
                    <a:lnTo>
                      <a:pt x="7" y="183"/>
                    </a:lnTo>
                    <a:lnTo>
                      <a:pt x="9" y="187"/>
                    </a:lnTo>
                    <a:lnTo>
                      <a:pt x="9" y="190"/>
                    </a:lnTo>
                    <a:lnTo>
                      <a:pt x="10" y="192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6" y="190"/>
                    </a:lnTo>
                    <a:lnTo>
                      <a:pt x="18" y="188"/>
                    </a:lnTo>
                    <a:lnTo>
                      <a:pt x="22" y="188"/>
                    </a:lnTo>
                    <a:lnTo>
                      <a:pt x="25" y="187"/>
                    </a:lnTo>
                    <a:lnTo>
                      <a:pt x="29" y="185"/>
                    </a:lnTo>
                    <a:lnTo>
                      <a:pt x="32" y="185"/>
                    </a:lnTo>
                    <a:lnTo>
                      <a:pt x="35" y="185"/>
                    </a:lnTo>
                    <a:lnTo>
                      <a:pt x="38" y="185"/>
                    </a:lnTo>
                    <a:lnTo>
                      <a:pt x="42" y="187"/>
                    </a:lnTo>
                    <a:lnTo>
                      <a:pt x="46" y="187"/>
                    </a:lnTo>
                    <a:lnTo>
                      <a:pt x="49" y="187"/>
                    </a:lnTo>
                    <a:lnTo>
                      <a:pt x="53" y="188"/>
                    </a:lnTo>
                    <a:lnTo>
                      <a:pt x="54" y="188"/>
                    </a:lnTo>
                    <a:lnTo>
                      <a:pt x="55" y="188"/>
                    </a:lnTo>
                    <a:lnTo>
                      <a:pt x="58" y="188"/>
                    </a:lnTo>
                    <a:lnTo>
                      <a:pt x="62" y="188"/>
                    </a:lnTo>
                    <a:lnTo>
                      <a:pt x="66" y="188"/>
                    </a:lnTo>
                    <a:lnTo>
                      <a:pt x="71" y="190"/>
                    </a:lnTo>
                    <a:lnTo>
                      <a:pt x="75" y="191"/>
                    </a:lnTo>
                    <a:lnTo>
                      <a:pt x="79" y="194"/>
                    </a:lnTo>
                    <a:lnTo>
                      <a:pt x="80" y="196"/>
                    </a:lnTo>
                    <a:lnTo>
                      <a:pt x="91" y="206"/>
                    </a:lnTo>
                    <a:lnTo>
                      <a:pt x="112" y="185"/>
                    </a:lnTo>
                    <a:lnTo>
                      <a:pt x="113" y="184"/>
                    </a:lnTo>
                    <a:lnTo>
                      <a:pt x="115" y="184"/>
                    </a:lnTo>
                    <a:lnTo>
                      <a:pt x="116" y="183"/>
                    </a:lnTo>
                    <a:lnTo>
                      <a:pt x="117" y="183"/>
                    </a:lnTo>
                    <a:lnTo>
                      <a:pt x="119" y="183"/>
                    </a:lnTo>
                    <a:lnTo>
                      <a:pt x="120" y="183"/>
                    </a:lnTo>
                    <a:lnTo>
                      <a:pt x="137" y="183"/>
                    </a:lnTo>
                    <a:lnTo>
                      <a:pt x="143" y="183"/>
                    </a:lnTo>
                    <a:lnTo>
                      <a:pt x="148" y="159"/>
                    </a:lnTo>
                    <a:lnTo>
                      <a:pt x="138" y="154"/>
                    </a:lnTo>
                    <a:lnTo>
                      <a:pt x="138" y="152"/>
                    </a:lnTo>
                    <a:lnTo>
                      <a:pt x="137" y="148"/>
                    </a:lnTo>
                    <a:lnTo>
                      <a:pt x="137" y="141"/>
                    </a:lnTo>
                    <a:lnTo>
                      <a:pt x="139" y="133"/>
                    </a:lnTo>
                    <a:lnTo>
                      <a:pt x="143" y="125"/>
                    </a:lnTo>
                    <a:lnTo>
                      <a:pt x="152" y="115"/>
                    </a:lnTo>
                    <a:lnTo>
                      <a:pt x="157" y="110"/>
                    </a:lnTo>
                    <a:lnTo>
                      <a:pt x="164" y="106"/>
                    </a:lnTo>
                    <a:lnTo>
                      <a:pt x="172" y="102"/>
                    </a:lnTo>
                    <a:lnTo>
                      <a:pt x="182" y="96"/>
                    </a:lnTo>
                    <a:lnTo>
                      <a:pt x="183" y="96"/>
                    </a:lnTo>
                    <a:lnTo>
                      <a:pt x="185" y="95"/>
                    </a:lnTo>
                    <a:lnTo>
                      <a:pt x="187" y="92"/>
                    </a:lnTo>
                    <a:lnTo>
                      <a:pt x="190" y="88"/>
                    </a:lnTo>
                    <a:lnTo>
                      <a:pt x="193" y="84"/>
                    </a:lnTo>
                    <a:lnTo>
                      <a:pt x="196" y="81"/>
                    </a:lnTo>
                    <a:lnTo>
                      <a:pt x="197" y="77"/>
                    </a:lnTo>
                    <a:lnTo>
                      <a:pt x="198" y="74"/>
                    </a:lnTo>
                    <a:lnTo>
                      <a:pt x="205" y="73"/>
                    </a:lnTo>
                    <a:lnTo>
                      <a:pt x="205" y="71"/>
                    </a:lnTo>
                    <a:lnTo>
                      <a:pt x="205" y="69"/>
                    </a:lnTo>
                    <a:lnTo>
                      <a:pt x="205" y="66"/>
                    </a:lnTo>
                    <a:lnTo>
                      <a:pt x="205" y="63"/>
                    </a:lnTo>
                    <a:lnTo>
                      <a:pt x="207" y="60"/>
                    </a:lnTo>
                    <a:lnTo>
                      <a:pt x="208" y="58"/>
                    </a:lnTo>
                    <a:lnTo>
                      <a:pt x="212" y="55"/>
                    </a:lnTo>
                    <a:lnTo>
                      <a:pt x="215" y="55"/>
                    </a:lnTo>
                    <a:lnTo>
                      <a:pt x="218" y="54"/>
                    </a:lnTo>
                    <a:lnTo>
                      <a:pt x="220" y="52"/>
                    </a:lnTo>
                    <a:lnTo>
                      <a:pt x="225" y="52"/>
                    </a:lnTo>
                    <a:lnTo>
                      <a:pt x="229" y="52"/>
                    </a:lnTo>
                    <a:lnTo>
                      <a:pt x="233" y="52"/>
                    </a:lnTo>
                    <a:lnTo>
                      <a:pt x="236" y="54"/>
                    </a:lnTo>
                    <a:lnTo>
                      <a:pt x="238" y="54"/>
                    </a:lnTo>
                    <a:lnTo>
                      <a:pt x="240" y="54"/>
                    </a:lnTo>
                    <a:lnTo>
                      <a:pt x="240" y="52"/>
                    </a:lnTo>
                    <a:lnTo>
                      <a:pt x="240" y="51"/>
                    </a:lnTo>
                    <a:lnTo>
                      <a:pt x="238" y="49"/>
                    </a:lnTo>
                    <a:lnTo>
                      <a:pt x="237" y="47"/>
                    </a:lnTo>
                    <a:lnTo>
                      <a:pt x="234" y="45"/>
                    </a:lnTo>
                    <a:lnTo>
                      <a:pt x="231" y="44"/>
                    </a:lnTo>
                    <a:lnTo>
                      <a:pt x="230" y="44"/>
                    </a:lnTo>
                    <a:lnTo>
                      <a:pt x="229" y="44"/>
                    </a:lnTo>
                    <a:lnTo>
                      <a:pt x="226" y="44"/>
                    </a:lnTo>
                    <a:lnTo>
                      <a:pt x="223" y="43"/>
                    </a:lnTo>
                    <a:lnTo>
                      <a:pt x="220" y="43"/>
                    </a:lnTo>
                    <a:lnTo>
                      <a:pt x="219" y="41"/>
                    </a:lnTo>
                    <a:lnTo>
                      <a:pt x="218" y="40"/>
                    </a:lnTo>
                    <a:lnTo>
                      <a:pt x="218" y="37"/>
                    </a:lnTo>
                    <a:lnTo>
                      <a:pt x="216" y="37"/>
                    </a:lnTo>
                    <a:lnTo>
                      <a:pt x="215" y="36"/>
                    </a:lnTo>
                    <a:lnTo>
                      <a:pt x="214" y="34"/>
                    </a:lnTo>
                    <a:lnTo>
                      <a:pt x="211" y="32"/>
                    </a:lnTo>
                    <a:lnTo>
                      <a:pt x="207" y="32"/>
                    </a:lnTo>
                    <a:lnTo>
                      <a:pt x="203" y="30"/>
                    </a:lnTo>
                    <a:lnTo>
                      <a:pt x="198" y="32"/>
                    </a:lnTo>
                    <a:lnTo>
                      <a:pt x="193" y="34"/>
                    </a:lnTo>
                    <a:lnTo>
                      <a:pt x="193" y="33"/>
                    </a:lnTo>
                    <a:lnTo>
                      <a:pt x="192" y="32"/>
                    </a:lnTo>
                    <a:lnTo>
                      <a:pt x="190" y="30"/>
                    </a:lnTo>
                    <a:lnTo>
                      <a:pt x="189" y="27"/>
                    </a:lnTo>
                    <a:lnTo>
                      <a:pt x="187" y="25"/>
                    </a:lnTo>
                    <a:lnTo>
                      <a:pt x="187" y="22"/>
                    </a:lnTo>
                    <a:lnTo>
                      <a:pt x="187" y="19"/>
                    </a:lnTo>
                    <a:lnTo>
                      <a:pt x="189" y="15"/>
                    </a:lnTo>
                    <a:lnTo>
                      <a:pt x="207" y="0"/>
                    </a:lnTo>
                    <a:lnTo>
                      <a:pt x="18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3" name="Freeform 815"/>
              <p:cNvSpPr>
                <a:spLocks/>
              </p:cNvSpPr>
              <p:nvPr/>
            </p:nvSpPr>
            <p:spPr bwMode="auto">
              <a:xfrm>
                <a:off x="4212" y="2844"/>
                <a:ext cx="81" cy="79"/>
              </a:xfrm>
              <a:custGeom>
                <a:avLst/>
                <a:gdLst>
                  <a:gd name="T0" fmla="*/ 0 w 81"/>
                  <a:gd name="T1" fmla="*/ 0 h 79"/>
                  <a:gd name="T2" fmla="*/ 18 w 81"/>
                  <a:gd name="T3" fmla="*/ 30 h 79"/>
                  <a:gd name="T4" fmla="*/ 20 w 81"/>
                  <a:gd name="T5" fmla="*/ 33 h 79"/>
                  <a:gd name="T6" fmla="*/ 26 w 81"/>
                  <a:gd name="T7" fmla="*/ 37 h 79"/>
                  <a:gd name="T8" fmla="*/ 35 w 81"/>
                  <a:gd name="T9" fmla="*/ 46 h 79"/>
                  <a:gd name="T10" fmla="*/ 46 w 81"/>
                  <a:gd name="T11" fmla="*/ 54 h 79"/>
                  <a:gd name="T12" fmla="*/ 55 w 81"/>
                  <a:gd name="T13" fmla="*/ 62 h 79"/>
                  <a:gd name="T14" fmla="*/ 65 w 81"/>
                  <a:gd name="T15" fmla="*/ 70 h 79"/>
                  <a:gd name="T16" fmla="*/ 73 w 81"/>
                  <a:gd name="T17" fmla="*/ 76 h 79"/>
                  <a:gd name="T18" fmla="*/ 77 w 81"/>
                  <a:gd name="T19" fmla="*/ 79 h 79"/>
                  <a:gd name="T20" fmla="*/ 80 w 81"/>
                  <a:gd name="T21" fmla="*/ 77 h 79"/>
                  <a:gd name="T22" fmla="*/ 81 w 81"/>
                  <a:gd name="T23" fmla="*/ 74 h 79"/>
                  <a:gd name="T24" fmla="*/ 81 w 81"/>
                  <a:gd name="T25" fmla="*/ 73 h 79"/>
                  <a:gd name="T26" fmla="*/ 81 w 81"/>
                  <a:gd name="T27" fmla="*/ 73 h 79"/>
                  <a:gd name="T28" fmla="*/ 80 w 81"/>
                  <a:gd name="T29" fmla="*/ 72 h 79"/>
                  <a:gd name="T30" fmla="*/ 80 w 81"/>
                  <a:gd name="T31" fmla="*/ 69 h 79"/>
                  <a:gd name="T32" fmla="*/ 80 w 81"/>
                  <a:gd name="T33" fmla="*/ 68 h 79"/>
                  <a:gd name="T34" fmla="*/ 79 w 81"/>
                  <a:gd name="T35" fmla="*/ 66 h 79"/>
                  <a:gd name="T36" fmla="*/ 77 w 81"/>
                  <a:gd name="T37" fmla="*/ 65 h 79"/>
                  <a:gd name="T38" fmla="*/ 77 w 81"/>
                  <a:gd name="T39" fmla="*/ 63 h 79"/>
                  <a:gd name="T40" fmla="*/ 69 w 81"/>
                  <a:gd name="T41" fmla="*/ 50 h 79"/>
                  <a:gd name="T42" fmla="*/ 69 w 81"/>
                  <a:gd name="T43" fmla="*/ 48 h 79"/>
                  <a:gd name="T44" fmla="*/ 69 w 81"/>
                  <a:gd name="T45" fmla="*/ 47 h 79"/>
                  <a:gd name="T46" fmla="*/ 68 w 81"/>
                  <a:gd name="T47" fmla="*/ 44 h 79"/>
                  <a:gd name="T48" fmla="*/ 68 w 81"/>
                  <a:gd name="T49" fmla="*/ 40 h 79"/>
                  <a:gd name="T50" fmla="*/ 66 w 81"/>
                  <a:gd name="T51" fmla="*/ 37 h 79"/>
                  <a:gd name="T52" fmla="*/ 66 w 81"/>
                  <a:gd name="T53" fmla="*/ 33 h 79"/>
                  <a:gd name="T54" fmla="*/ 65 w 81"/>
                  <a:gd name="T55" fmla="*/ 30 h 79"/>
                  <a:gd name="T56" fmla="*/ 64 w 81"/>
                  <a:gd name="T57" fmla="*/ 28 h 79"/>
                  <a:gd name="T58" fmla="*/ 54 w 81"/>
                  <a:gd name="T59" fmla="*/ 14 h 79"/>
                  <a:gd name="T60" fmla="*/ 46 w 81"/>
                  <a:gd name="T61" fmla="*/ 17 h 79"/>
                  <a:gd name="T62" fmla="*/ 35 w 81"/>
                  <a:gd name="T63" fmla="*/ 6 h 79"/>
                  <a:gd name="T64" fmla="*/ 15 w 81"/>
                  <a:gd name="T65" fmla="*/ 8 h 79"/>
                  <a:gd name="T66" fmla="*/ 0 w 81"/>
                  <a:gd name="T67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1" h="79">
                    <a:moveTo>
                      <a:pt x="0" y="0"/>
                    </a:moveTo>
                    <a:lnTo>
                      <a:pt x="18" y="30"/>
                    </a:lnTo>
                    <a:lnTo>
                      <a:pt x="20" y="33"/>
                    </a:lnTo>
                    <a:lnTo>
                      <a:pt x="26" y="37"/>
                    </a:lnTo>
                    <a:lnTo>
                      <a:pt x="35" y="46"/>
                    </a:lnTo>
                    <a:lnTo>
                      <a:pt x="46" y="54"/>
                    </a:lnTo>
                    <a:lnTo>
                      <a:pt x="55" y="62"/>
                    </a:lnTo>
                    <a:lnTo>
                      <a:pt x="65" y="70"/>
                    </a:lnTo>
                    <a:lnTo>
                      <a:pt x="73" y="76"/>
                    </a:lnTo>
                    <a:lnTo>
                      <a:pt x="77" y="79"/>
                    </a:lnTo>
                    <a:lnTo>
                      <a:pt x="80" y="77"/>
                    </a:lnTo>
                    <a:lnTo>
                      <a:pt x="81" y="74"/>
                    </a:lnTo>
                    <a:lnTo>
                      <a:pt x="81" y="73"/>
                    </a:lnTo>
                    <a:lnTo>
                      <a:pt x="81" y="73"/>
                    </a:lnTo>
                    <a:lnTo>
                      <a:pt x="80" y="72"/>
                    </a:lnTo>
                    <a:lnTo>
                      <a:pt x="80" y="69"/>
                    </a:lnTo>
                    <a:lnTo>
                      <a:pt x="80" y="68"/>
                    </a:lnTo>
                    <a:lnTo>
                      <a:pt x="79" y="66"/>
                    </a:lnTo>
                    <a:lnTo>
                      <a:pt x="77" y="65"/>
                    </a:lnTo>
                    <a:lnTo>
                      <a:pt x="77" y="63"/>
                    </a:lnTo>
                    <a:lnTo>
                      <a:pt x="69" y="50"/>
                    </a:lnTo>
                    <a:lnTo>
                      <a:pt x="69" y="48"/>
                    </a:lnTo>
                    <a:lnTo>
                      <a:pt x="69" y="47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66" y="37"/>
                    </a:lnTo>
                    <a:lnTo>
                      <a:pt x="66" y="33"/>
                    </a:lnTo>
                    <a:lnTo>
                      <a:pt x="65" y="30"/>
                    </a:lnTo>
                    <a:lnTo>
                      <a:pt x="64" y="28"/>
                    </a:lnTo>
                    <a:lnTo>
                      <a:pt x="54" y="14"/>
                    </a:lnTo>
                    <a:lnTo>
                      <a:pt x="46" y="17"/>
                    </a:lnTo>
                    <a:lnTo>
                      <a:pt x="35" y="6"/>
                    </a:lnTo>
                    <a:lnTo>
                      <a:pt x="15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4" name="Freeform 816"/>
              <p:cNvSpPr>
                <a:spLocks/>
              </p:cNvSpPr>
              <p:nvPr/>
            </p:nvSpPr>
            <p:spPr bwMode="auto">
              <a:xfrm>
                <a:off x="4212" y="2844"/>
                <a:ext cx="81" cy="79"/>
              </a:xfrm>
              <a:custGeom>
                <a:avLst/>
                <a:gdLst>
                  <a:gd name="T0" fmla="*/ 0 w 81"/>
                  <a:gd name="T1" fmla="*/ 0 h 79"/>
                  <a:gd name="T2" fmla="*/ 18 w 81"/>
                  <a:gd name="T3" fmla="*/ 30 h 79"/>
                  <a:gd name="T4" fmla="*/ 20 w 81"/>
                  <a:gd name="T5" fmla="*/ 33 h 79"/>
                  <a:gd name="T6" fmla="*/ 26 w 81"/>
                  <a:gd name="T7" fmla="*/ 37 h 79"/>
                  <a:gd name="T8" fmla="*/ 35 w 81"/>
                  <a:gd name="T9" fmla="*/ 46 h 79"/>
                  <a:gd name="T10" fmla="*/ 46 w 81"/>
                  <a:gd name="T11" fmla="*/ 54 h 79"/>
                  <a:gd name="T12" fmla="*/ 55 w 81"/>
                  <a:gd name="T13" fmla="*/ 62 h 79"/>
                  <a:gd name="T14" fmla="*/ 65 w 81"/>
                  <a:gd name="T15" fmla="*/ 70 h 79"/>
                  <a:gd name="T16" fmla="*/ 73 w 81"/>
                  <a:gd name="T17" fmla="*/ 76 h 79"/>
                  <a:gd name="T18" fmla="*/ 77 w 81"/>
                  <a:gd name="T19" fmla="*/ 79 h 79"/>
                  <a:gd name="T20" fmla="*/ 80 w 81"/>
                  <a:gd name="T21" fmla="*/ 77 h 79"/>
                  <a:gd name="T22" fmla="*/ 81 w 81"/>
                  <a:gd name="T23" fmla="*/ 74 h 79"/>
                  <a:gd name="T24" fmla="*/ 81 w 81"/>
                  <a:gd name="T25" fmla="*/ 73 h 79"/>
                  <a:gd name="T26" fmla="*/ 80 w 81"/>
                  <a:gd name="T27" fmla="*/ 72 h 79"/>
                  <a:gd name="T28" fmla="*/ 80 w 81"/>
                  <a:gd name="T29" fmla="*/ 69 h 79"/>
                  <a:gd name="T30" fmla="*/ 80 w 81"/>
                  <a:gd name="T31" fmla="*/ 68 h 79"/>
                  <a:gd name="T32" fmla="*/ 79 w 81"/>
                  <a:gd name="T33" fmla="*/ 66 h 79"/>
                  <a:gd name="T34" fmla="*/ 77 w 81"/>
                  <a:gd name="T35" fmla="*/ 65 h 79"/>
                  <a:gd name="T36" fmla="*/ 77 w 81"/>
                  <a:gd name="T37" fmla="*/ 63 h 79"/>
                  <a:gd name="T38" fmla="*/ 69 w 81"/>
                  <a:gd name="T39" fmla="*/ 50 h 79"/>
                  <a:gd name="T40" fmla="*/ 69 w 81"/>
                  <a:gd name="T41" fmla="*/ 48 h 79"/>
                  <a:gd name="T42" fmla="*/ 69 w 81"/>
                  <a:gd name="T43" fmla="*/ 47 h 79"/>
                  <a:gd name="T44" fmla="*/ 68 w 81"/>
                  <a:gd name="T45" fmla="*/ 44 h 79"/>
                  <a:gd name="T46" fmla="*/ 68 w 81"/>
                  <a:gd name="T47" fmla="*/ 40 h 79"/>
                  <a:gd name="T48" fmla="*/ 66 w 81"/>
                  <a:gd name="T49" fmla="*/ 37 h 79"/>
                  <a:gd name="T50" fmla="*/ 66 w 81"/>
                  <a:gd name="T51" fmla="*/ 33 h 79"/>
                  <a:gd name="T52" fmla="*/ 65 w 81"/>
                  <a:gd name="T53" fmla="*/ 30 h 79"/>
                  <a:gd name="T54" fmla="*/ 64 w 81"/>
                  <a:gd name="T55" fmla="*/ 28 h 79"/>
                  <a:gd name="T56" fmla="*/ 54 w 81"/>
                  <a:gd name="T57" fmla="*/ 14 h 79"/>
                  <a:gd name="T58" fmla="*/ 46 w 81"/>
                  <a:gd name="T59" fmla="*/ 17 h 79"/>
                  <a:gd name="T60" fmla="*/ 35 w 81"/>
                  <a:gd name="T61" fmla="*/ 6 h 79"/>
                  <a:gd name="T62" fmla="*/ 15 w 81"/>
                  <a:gd name="T63" fmla="*/ 8 h 79"/>
                  <a:gd name="T64" fmla="*/ 0 w 81"/>
                  <a:gd name="T65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1" h="79">
                    <a:moveTo>
                      <a:pt x="0" y="0"/>
                    </a:moveTo>
                    <a:lnTo>
                      <a:pt x="18" y="30"/>
                    </a:lnTo>
                    <a:lnTo>
                      <a:pt x="20" y="33"/>
                    </a:lnTo>
                    <a:lnTo>
                      <a:pt x="26" y="37"/>
                    </a:lnTo>
                    <a:lnTo>
                      <a:pt x="35" y="46"/>
                    </a:lnTo>
                    <a:lnTo>
                      <a:pt x="46" y="54"/>
                    </a:lnTo>
                    <a:lnTo>
                      <a:pt x="55" y="62"/>
                    </a:lnTo>
                    <a:lnTo>
                      <a:pt x="65" y="70"/>
                    </a:lnTo>
                    <a:lnTo>
                      <a:pt x="73" y="76"/>
                    </a:lnTo>
                    <a:lnTo>
                      <a:pt x="77" y="79"/>
                    </a:lnTo>
                    <a:lnTo>
                      <a:pt x="80" y="77"/>
                    </a:lnTo>
                    <a:lnTo>
                      <a:pt x="81" y="74"/>
                    </a:lnTo>
                    <a:lnTo>
                      <a:pt x="81" y="73"/>
                    </a:lnTo>
                    <a:lnTo>
                      <a:pt x="80" y="72"/>
                    </a:lnTo>
                    <a:lnTo>
                      <a:pt x="80" y="69"/>
                    </a:lnTo>
                    <a:lnTo>
                      <a:pt x="80" y="68"/>
                    </a:lnTo>
                    <a:lnTo>
                      <a:pt x="79" y="66"/>
                    </a:lnTo>
                    <a:lnTo>
                      <a:pt x="77" y="65"/>
                    </a:lnTo>
                    <a:lnTo>
                      <a:pt x="77" y="63"/>
                    </a:lnTo>
                    <a:lnTo>
                      <a:pt x="69" y="50"/>
                    </a:lnTo>
                    <a:lnTo>
                      <a:pt x="69" y="48"/>
                    </a:lnTo>
                    <a:lnTo>
                      <a:pt x="69" y="47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66" y="37"/>
                    </a:lnTo>
                    <a:lnTo>
                      <a:pt x="66" y="33"/>
                    </a:lnTo>
                    <a:lnTo>
                      <a:pt x="65" y="30"/>
                    </a:lnTo>
                    <a:lnTo>
                      <a:pt x="64" y="28"/>
                    </a:lnTo>
                    <a:lnTo>
                      <a:pt x="54" y="14"/>
                    </a:lnTo>
                    <a:lnTo>
                      <a:pt x="46" y="17"/>
                    </a:lnTo>
                    <a:lnTo>
                      <a:pt x="35" y="6"/>
                    </a:lnTo>
                    <a:lnTo>
                      <a:pt x="15" y="8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5" name="Freeform 817"/>
              <p:cNvSpPr>
                <a:spLocks/>
              </p:cNvSpPr>
              <p:nvPr/>
            </p:nvSpPr>
            <p:spPr bwMode="auto">
              <a:xfrm>
                <a:off x="4049" y="2542"/>
                <a:ext cx="63" cy="66"/>
              </a:xfrm>
              <a:custGeom>
                <a:avLst/>
                <a:gdLst>
                  <a:gd name="T0" fmla="*/ 56 w 63"/>
                  <a:gd name="T1" fmla="*/ 53 h 66"/>
                  <a:gd name="T2" fmla="*/ 56 w 63"/>
                  <a:gd name="T3" fmla="*/ 52 h 66"/>
                  <a:gd name="T4" fmla="*/ 55 w 63"/>
                  <a:gd name="T5" fmla="*/ 49 h 66"/>
                  <a:gd name="T6" fmla="*/ 52 w 63"/>
                  <a:gd name="T7" fmla="*/ 47 h 66"/>
                  <a:gd name="T8" fmla="*/ 46 w 63"/>
                  <a:gd name="T9" fmla="*/ 45 h 66"/>
                  <a:gd name="T10" fmla="*/ 44 w 63"/>
                  <a:gd name="T11" fmla="*/ 44 h 66"/>
                  <a:gd name="T12" fmla="*/ 38 w 63"/>
                  <a:gd name="T13" fmla="*/ 44 h 66"/>
                  <a:gd name="T14" fmla="*/ 30 w 63"/>
                  <a:gd name="T15" fmla="*/ 44 h 66"/>
                  <a:gd name="T16" fmla="*/ 22 w 63"/>
                  <a:gd name="T17" fmla="*/ 49 h 66"/>
                  <a:gd name="T18" fmla="*/ 22 w 63"/>
                  <a:gd name="T19" fmla="*/ 49 h 66"/>
                  <a:gd name="T20" fmla="*/ 19 w 63"/>
                  <a:gd name="T21" fmla="*/ 52 h 66"/>
                  <a:gd name="T22" fmla="*/ 15 w 63"/>
                  <a:gd name="T23" fmla="*/ 53 h 66"/>
                  <a:gd name="T24" fmla="*/ 6 w 63"/>
                  <a:gd name="T25" fmla="*/ 55 h 66"/>
                  <a:gd name="T26" fmla="*/ 5 w 63"/>
                  <a:gd name="T27" fmla="*/ 38 h 66"/>
                  <a:gd name="T28" fmla="*/ 5 w 63"/>
                  <a:gd name="T29" fmla="*/ 36 h 66"/>
                  <a:gd name="T30" fmla="*/ 4 w 63"/>
                  <a:gd name="T31" fmla="*/ 33 h 66"/>
                  <a:gd name="T32" fmla="*/ 2 w 63"/>
                  <a:gd name="T33" fmla="*/ 31 h 66"/>
                  <a:gd name="T34" fmla="*/ 1 w 63"/>
                  <a:gd name="T35" fmla="*/ 30 h 66"/>
                  <a:gd name="T36" fmla="*/ 0 w 63"/>
                  <a:gd name="T37" fmla="*/ 27 h 66"/>
                  <a:gd name="T38" fmla="*/ 0 w 63"/>
                  <a:gd name="T39" fmla="*/ 22 h 66"/>
                  <a:gd name="T40" fmla="*/ 0 w 63"/>
                  <a:gd name="T41" fmla="*/ 16 h 66"/>
                  <a:gd name="T42" fmla="*/ 1 w 63"/>
                  <a:gd name="T43" fmla="*/ 14 h 66"/>
                  <a:gd name="T44" fmla="*/ 2 w 63"/>
                  <a:gd name="T45" fmla="*/ 8 h 66"/>
                  <a:gd name="T46" fmla="*/ 4 w 63"/>
                  <a:gd name="T47" fmla="*/ 4 h 66"/>
                  <a:gd name="T48" fmla="*/ 8 w 63"/>
                  <a:gd name="T49" fmla="*/ 0 h 66"/>
                  <a:gd name="T50" fmla="*/ 15 w 63"/>
                  <a:gd name="T51" fmla="*/ 0 h 66"/>
                  <a:gd name="T52" fmla="*/ 22 w 63"/>
                  <a:gd name="T53" fmla="*/ 0 h 66"/>
                  <a:gd name="T54" fmla="*/ 26 w 63"/>
                  <a:gd name="T55" fmla="*/ 0 h 66"/>
                  <a:gd name="T56" fmla="*/ 27 w 63"/>
                  <a:gd name="T57" fmla="*/ 0 h 66"/>
                  <a:gd name="T58" fmla="*/ 28 w 63"/>
                  <a:gd name="T59" fmla="*/ 0 h 66"/>
                  <a:gd name="T60" fmla="*/ 30 w 63"/>
                  <a:gd name="T61" fmla="*/ 0 h 66"/>
                  <a:gd name="T62" fmla="*/ 31 w 63"/>
                  <a:gd name="T63" fmla="*/ 1 h 66"/>
                  <a:gd name="T64" fmla="*/ 33 w 63"/>
                  <a:gd name="T65" fmla="*/ 4 h 66"/>
                  <a:gd name="T66" fmla="*/ 34 w 63"/>
                  <a:gd name="T67" fmla="*/ 18 h 66"/>
                  <a:gd name="T68" fmla="*/ 39 w 63"/>
                  <a:gd name="T69" fmla="*/ 33 h 66"/>
                  <a:gd name="T70" fmla="*/ 41 w 63"/>
                  <a:gd name="T71" fmla="*/ 31 h 66"/>
                  <a:gd name="T72" fmla="*/ 44 w 63"/>
                  <a:gd name="T73" fmla="*/ 30 h 66"/>
                  <a:gd name="T74" fmla="*/ 45 w 63"/>
                  <a:gd name="T75" fmla="*/ 26 h 66"/>
                  <a:gd name="T76" fmla="*/ 46 w 63"/>
                  <a:gd name="T77" fmla="*/ 22 h 66"/>
                  <a:gd name="T78" fmla="*/ 49 w 63"/>
                  <a:gd name="T79" fmla="*/ 16 h 66"/>
                  <a:gd name="T80" fmla="*/ 52 w 63"/>
                  <a:gd name="T81" fmla="*/ 14 h 66"/>
                  <a:gd name="T82" fmla="*/ 56 w 63"/>
                  <a:gd name="T83" fmla="*/ 18 h 66"/>
                  <a:gd name="T84" fmla="*/ 57 w 63"/>
                  <a:gd name="T85" fmla="*/ 29 h 66"/>
                  <a:gd name="T86" fmla="*/ 60 w 63"/>
                  <a:gd name="T87" fmla="*/ 41 h 66"/>
                  <a:gd name="T88" fmla="*/ 61 w 63"/>
                  <a:gd name="T89" fmla="*/ 52 h 66"/>
                  <a:gd name="T90" fmla="*/ 63 w 63"/>
                  <a:gd name="T91" fmla="*/ 6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lnTo>
                      <a:pt x="56" y="53"/>
                    </a:lnTo>
                    <a:lnTo>
                      <a:pt x="56" y="53"/>
                    </a:lnTo>
                    <a:lnTo>
                      <a:pt x="56" y="52"/>
                    </a:lnTo>
                    <a:lnTo>
                      <a:pt x="56" y="51"/>
                    </a:lnTo>
                    <a:lnTo>
                      <a:pt x="55" y="49"/>
                    </a:lnTo>
                    <a:lnTo>
                      <a:pt x="53" y="48"/>
                    </a:lnTo>
                    <a:lnTo>
                      <a:pt x="52" y="47"/>
                    </a:lnTo>
                    <a:lnTo>
                      <a:pt x="49" y="47"/>
                    </a:lnTo>
                    <a:lnTo>
                      <a:pt x="46" y="45"/>
                    </a:lnTo>
                    <a:lnTo>
                      <a:pt x="46" y="45"/>
                    </a:lnTo>
                    <a:lnTo>
                      <a:pt x="44" y="44"/>
                    </a:lnTo>
                    <a:lnTo>
                      <a:pt x="41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26" y="45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2" y="49"/>
                    </a:lnTo>
                    <a:lnTo>
                      <a:pt x="20" y="51"/>
                    </a:lnTo>
                    <a:lnTo>
                      <a:pt x="19" y="52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2" y="55"/>
                    </a:lnTo>
                    <a:lnTo>
                      <a:pt x="6" y="55"/>
                    </a:lnTo>
                    <a:lnTo>
                      <a:pt x="5" y="38"/>
                    </a:lnTo>
                    <a:lnTo>
                      <a:pt x="5" y="38"/>
                    </a:lnTo>
                    <a:lnTo>
                      <a:pt x="5" y="37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1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1" y="1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4" y="7"/>
                    </a:lnTo>
                    <a:lnTo>
                      <a:pt x="34" y="18"/>
                    </a:lnTo>
                    <a:lnTo>
                      <a:pt x="39" y="33"/>
                    </a:lnTo>
                    <a:lnTo>
                      <a:pt x="39" y="33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4" y="29"/>
                    </a:lnTo>
                    <a:lnTo>
                      <a:pt x="45" y="26"/>
                    </a:lnTo>
                    <a:lnTo>
                      <a:pt x="45" y="25"/>
                    </a:lnTo>
                    <a:lnTo>
                      <a:pt x="46" y="22"/>
                    </a:lnTo>
                    <a:lnTo>
                      <a:pt x="48" y="19"/>
                    </a:lnTo>
                    <a:lnTo>
                      <a:pt x="49" y="16"/>
                    </a:lnTo>
                    <a:lnTo>
                      <a:pt x="50" y="15"/>
                    </a:lnTo>
                    <a:lnTo>
                      <a:pt x="52" y="14"/>
                    </a:lnTo>
                    <a:lnTo>
                      <a:pt x="53" y="15"/>
                    </a:lnTo>
                    <a:lnTo>
                      <a:pt x="56" y="18"/>
                    </a:lnTo>
                    <a:lnTo>
                      <a:pt x="56" y="23"/>
                    </a:lnTo>
                    <a:lnTo>
                      <a:pt x="57" y="29"/>
                    </a:lnTo>
                    <a:lnTo>
                      <a:pt x="59" y="36"/>
                    </a:lnTo>
                    <a:lnTo>
                      <a:pt x="60" y="41"/>
                    </a:lnTo>
                    <a:lnTo>
                      <a:pt x="61" y="48"/>
                    </a:lnTo>
                    <a:lnTo>
                      <a:pt x="61" y="52"/>
                    </a:lnTo>
                    <a:lnTo>
                      <a:pt x="63" y="58"/>
                    </a:lnTo>
                    <a:lnTo>
                      <a:pt x="63" y="62"/>
                    </a:lnTo>
                    <a:lnTo>
                      <a:pt x="61" y="6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6" name="Freeform 818"/>
              <p:cNvSpPr>
                <a:spLocks/>
              </p:cNvSpPr>
              <p:nvPr/>
            </p:nvSpPr>
            <p:spPr bwMode="auto">
              <a:xfrm>
                <a:off x="4049" y="2542"/>
                <a:ext cx="63" cy="66"/>
              </a:xfrm>
              <a:custGeom>
                <a:avLst/>
                <a:gdLst>
                  <a:gd name="T0" fmla="*/ 56 w 63"/>
                  <a:gd name="T1" fmla="*/ 53 h 66"/>
                  <a:gd name="T2" fmla="*/ 56 w 63"/>
                  <a:gd name="T3" fmla="*/ 51 h 66"/>
                  <a:gd name="T4" fmla="*/ 53 w 63"/>
                  <a:gd name="T5" fmla="*/ 48 h 66"/>
                  <a:gd name="T6" fmla="*/ 49 w 63"/>
                  <a:gd name="T7" fmla="*/ 47 h 66"/>
                  <a:gd name="T8" fmla="*/ 44 w 63"/>
                  <a:gd name="T9" fmla="*/ 44 h 66"/>
                  <a:gd name="T10" fmla="*/ 38 w 63"/>
                  <a:gd name="T11" fmla="*/ 44 h 66"/>
                  <a:gd name="T12" fmla="*/ 30 w 63"/>
                  <a:gd name="T13" fmla="*/ 44 h 66"/>
                  <a:gd name="T14" fmla="*/ 22 w 63"/>
                  <a:gd name="T15" fmla="*/ 49 h 66"/>
                  <a:gd name="T16" fmla="*/ 19 w 63"/>
                  <a:gd name="T17" fmla="*/ 52 h 66"/>
                  <a:gd name="T18" fmla="*/ 15 w 63"/>
                  <a:gd name="T19" fmla="*/ 53 h 66"/>
                  <a:gd name="T20" fmla="*/ 6 w 63"/>
                  <a:gd name="T21" fmla="*/ 55 h 66"/>
                  <a:gd name="T22" fmla="*/ 5 w 63"/>
                  <a:gd name="T23" fmla="*/ 37 h 66"/>
                  <a:gd name="T24" fmla="*/ 5 w 63"/>
                  <a:gd name="T25" fmla="*/ 34 h 66"/>
                  <a:gd name="T26" fmla="*/ 2 w 63"/>
                  <a:gd name="T27" fmla="*/ 31 h 66"/>
                  <a:gd name="T28" fmla="*/ 0 w 63"/>
                  <a:gd name="T29" fmla="*/ 29 h 66"/>
                  <a:gd name="T30" fmla="*/ 0 w 63"/>
                  <a:gd name="T31" fmla="*/ 25 h 66"/>
                  <a:gd name="T32" fmla="*/ 0 w 63"/>
                  <a:gd name="T33" fmla="*/ 19 h 66"/>
                  <a:gd name="T34" fmla="*/ 1 w 63"/>
                  <a:gd name="T35" fmla="*/ 15 h 66"/>
                  <a:gd name="T36" fmla="*/ 1 w 63"/>
                  <a:gd name="T37" fmla="*/ 11 h 66"/>
                  <a:gd name="T38" fmla="*/ 2 w 63"/>
                  <a:gd name="T39" fmla="*/ 5 h 66"/>
                  <a:gd name="T40" fmla="*/ 5 w 63"/>
                  <a:gd name="T41" fmla="*/ 1 h 66"/>
                  <a:gd name="T42" fmla="*/ 12 w 63"/>
                  <a:gd name="T43" fmla="*/ 0 h 66"/>
                  <a:gd name="T44" fmla="*/ 19 w 63"/>
                  <a:gd name="T45" fmla="*/ 0 h 66"/>
                  <a:gd name="T46" fmla="*/ 24 w 63"/>
                  <a:gd name="T47" fmla="*/ 0 h 66"/>
                  <a:gd name="T48" fmla="*/ 27 w 63"/>
                  <a:gd name="T49" fmla="*/ 0 h 66"/>
                  <a:gd name="T50" fmla="*/ 30 w 63"/>
                  <a:gd name="T51" fmla="*/ 0 h 66"/>
                  <a:gd name="T52" fmla="*/ 33 w 63"/>
                  <a:gd name="T53" fmla="*/ 3 h 66"/>
                  <a:gd name="T54" fmla="*/ 34 w 63"/>
                  <a:gd name="T55" fmla="*/ 7 h 66"/>
                  <a:gd name="T56" fmla="*/ 39 w 63"/>
                  <a:gd name="T57" fmla="*/ 33 h 66"/>
                  <a:gd name="T58" fmla="*/ 42 w 63"/>
                  <a:gd name="T59" fmla="*/ 30 h 66"/>
                  <a:gd name="T60" fmla="*/ 44 w 63"/>
                  <a:gd name="T61" fmla="*/ 29 h 66"/>
                  <a:gd name="T62" fmla="*/ 45 w 63"/>
                  <a:gd name="T63" fmla="*/ 25 h 66"/>
                  <a:gd name="T64" fmla="*/ 48 w 63"/>
                  <a:gd name="T65" fmla="*/ 19 h 66"/>
                  <a:gd name="T66" fmla="*/ 50 w 63"/>
                  <a:gd name="T67" fmla="*/ 15 h 66"/>
                  <a:gd name="T68" fmla="*/ 53 w 63"/>
                  <a:gd name="T69" fmla="*/ 15 h 66"/>
                  <a:gd name="T70" fmla="*/ 56 w 63"/>
                  <a:gd name="T71" fmla="*/ 23 h 66"/>
                  <a:gd name="T72" fmla="*/ 59 w 63"/>
                  <a:gd name="T73" fmla="*/ 36 h 66"/>
                  <a:gd name="T74" fmla="*/ 61 w 63"/>
                  <a:gd name="T75" fmla="*/ 48 h 66"/>
                  <a:gd name="T76" fmla="*/ 63 w 63"/>
                  <a:gd name="T77" fmla="*/ 58 h 66"/>
                  <a:gd name="T78" fmla="*/ 61 w 63"/>
                  <a:gd name="T7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3" h="66">
                    <a:moveTo>
                      <a:pt x="61" y="66"/>
                    </a:moveTo>
                    <a:lnTo>
                      <a:pt x="56" y="53"/>
                    </a:lnTo>
                    <a:lnTo>
                      <a:pt x="56" y="52"/>
                    </a:lnTo>
                    <a:lnTo>
                      <a:pt x="56" y="51"/>
                    </a:lnTo>
                    <a:lnTo>
                      <a:pt x="55" y="49"/>
                    </a:lnTo>
                    <a:lnTo>
                      <a:pt x="53" y="48"/>
                    </a:lnTo>
                    <a:lnTo>
                      <a:pt x="52" y="47"/>
                    </a:lnTo>
                    <a:lnTo>
                      <a:pt x="49" y="47"/>
                    </a:lnTo>
                    <a:lnTo>
                      <a:pt x="46" y="45"/>
                    </a:lnTo>
                    <a:lnTo>
                      <a:pt x="44" y="44"/>
                    </a:lnTo>
                    <a:lnTo>
                      <a:pt x="41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26" y="45"/>
                    </a:lnTo>
                    <a:lnTo>
                      <a:pt x="22" y="49"/>
                    </a:lnTo>
                    <a:lnTo>
                      <a:pt x="20" y="51"/>
                    </a:lnTo>
                    <a:lnTo>
                      <a:pt x="19" y="52"/>
                    </a:lnTo>
                    <a:lnTo>
                      <a:pt x="17" y="53"/>
                    </a:lnTo>
                    <a:lnTo>
                      <a:pt x="15" y="53"/>
                    </a:lnTo>
                    <a:lnTo>
                      <a:pt x="12" y="55"/>
                    </a:lnTo>
                    <a:lnTo>
                      <a:pt x="6" y="55"/>
                    </a:lnTo>
                    <a:lnTo>
                      <a:pt x="5" y="38"/>
                    </a:lnTo>
                    <a:lnTo>
                      <a:pt x="5" y="37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4" y="33"/>
                    </a:lnTo>
                    <a:lnTo>
                      <a:pt x="2" y="31"/>
                    </a:lnTo>
                    <a:lnTo>
                      <a:pt x="1" y="30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1" y="11"/>
                    </a:lnTo>
                    <a:lnTo>
                      <a:pt x="2" y="8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1" y="1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4" y="7"/>
                    </a:lnTo>
                    <a:lnTo>
                      <a:pt x="34" y="18"/>
                    </a:lnTo>
                    <a:lnTo>
                      <a:pt x="39" y="33"/>
                    </a:lnTo>
                    <a:lnTo>
                      <a:pt x="41" y="31"/>
                    </a:lnTo>
                    <a:lnTo>
                      <a:pt x="42" y="30"/>
                    </a:lnTo>
                    <a:lnTo>
                      <a:pt x="44" y="30"/>
                    </a:lnTo>
                    <a:lnTo>
                      <a:pt x="44" y="29"/>
                    </a:lnTo>
                    <a:lnTo>
                      <a:pt x="45" y="26"/>
                    </a:lnTo>
                    <a:lnTo>
                      <a:pt x="45" y="25"/>
                    </a:lnTo>
                    <a:lnTo>
                      <a:pt x="46" y="22"/>
                    </a:lnTo>
                    <a:lnTo>
                      <a:pt x="48" y="19"/>
                    </a:lnTo>
                    <a:lnTo>
                      <a:pt x="49" y="16"/>
                    </a:lnTo>
                    <a:lnTo>
                      <a:pt x="50" y="15"/>
                    </a:lnTo>
                    <a:lnTo>
                      <a:pt x="52" y="14"/>
                    </a:lnTo>
                    <a:lnTo>
                      <a:pt x="53" y="15"/>
                    </a:lnTo>
                    <a:lnTo>
                      <a:pt x="56" y="18"/>
                    </a:lnTo>
                    <a:lnTo>
                      <a:pt x="56" y="23"/>
                    </a:lnTo>
                    <a:lnTo>
                      <a:pt x="57" y="29"/>
                    </a:lnTo>
                    <a:lnTo>
                      <a:pt x="59" y="36"/>
                    </a:lnTo>
                    <a:lnTo>
                      <a:pt x="60" y="41"/>
                    </a:lnTo>
                    <a:lnTo>
                      <a:pt x="61" y="48"/>
                    </a:lnTo>
                    <a:lnTo>
                      <a:pt x="61" y="52"/>
                    </a:lnTo>
                    <a:lnTo>
                      <a:pt x="63" y="58"/>
                    </a:lnTo>
                    <a:lnTo>
                      <a:pt x="63" y="62"/>
                    </a:lnTo>
                    <a:lnTo>
                      <a:pt x="61" y="6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7" name="Freeform 819"/>
              <p:cNvSpPr>
                <a:spLocks/>
              </p:cNvSpPr>
              <p:nvPr/>
            </p:nvSpPr>
            <p:spPr bwMode="auto">
              <a:xfrm>
                <a:off x="4108" y="2496"/>
                <a:ext cx="117" cy="325"/>
              </a:xfrm>
              <a:custGeom>
                <a:avLst/>
                <a:gdLst>
                  <a:gd name="T0" fmla="*/ 30 w 117"/>
                  <a:gd name="T1" fmla="*/ 200 h 325"/>
                  <a:gd name="T2" fmla="*/ 30 w 117"/>
                  <a:gd name="T3" fmla="*/ 192 h 325"/>
                  <a:gd name="T4" fmla="*/ 30 w 117"/>
                  <a:gd name="T5" fmla="*/ 174 h 325"/>
                  <a:gd name="T6" fmla="*/ 27 w 117"/>
                  <a:gd name="T7" fmla="*/ 163 h 325"/>
                  <a:gd name="T8" fmla="*/ 19 w 117"/>
                  <a:gd name="T9" fmla="*/ 148 h 325"/>
                  <a:gd name="T10" fmla="*/ 9 w 117"/>
                  <a:gd name="T11" fmla="*/ 131 h 325"/>
                  <a:gd name="T12" fmla="*/ 7 w 117"/>
                  <a:gd name="T13" fmla="*/ 127 h 325"/>
                  <a:gd name="T14" fmla="*/ 4 w 117"/>
                  <a:gd name="T15" fmla="*/ 121 h 325"/>
                  <a:gd name="T16" fmla="*/ 1 w 117"/>
                  <a:gd name="T17" fmla="*/ 113 h 325"/>
                  <a:gd name="T18" fmla="*/ 2 w 117"/>
                  <a:gd name="T19" fmla="*/ 109 h 325"/>
                  <a:gd name="T20" fmla="*/ 2 w 117"/>
                  <a:gd name="T21" fmla="*/ 99 h 325"/>
                  <a:gd name="T22" fmla="*/ 1 w 117"/>
                  <a:gd name="T23" fmla="*/ 93 h 325"/>
                  <a:gd name="T24" fmla="*/ 0 w 117"/>
                  <a:gd name="T25" fmla="*/ 87 h 325"/>
                  <a:gd name="T26" fmla="*/ 2 w 117"/>
                  <a:gd name="T27" fmla="*/ 84 h 325"/>
                  <a:gd name="T28" fmla="*/ 5 w 117"/>
                  <a:gd name="T29" fmla="*/ 87 h 325"/>
                  <a:gd name="T30" fmla="*/ 9 w 117"/>
                  <a:gd name="T31" fmla="*/ 88 h 325"/>
                  <a:gd name="T32" fmla="*/ 9 w 117"/>
                  <a:gd name="T33" fmla="*/ 84 h 325"/>
                  <a:gd name="T34" fmla="*/ 7 w 117"/>
                  <a:gd name="T35" fmla="*/ 68 h 325"/>
                  <a:gd name="T36" fmla="*/ 7 w 117"/>
                  <a:gd name="T37" fmla="*/ 66 h 325"/>
                  <a:gd name="T38" fmla="*/ 9 w 117"/>
                  <a:gd name="T39" fmla="*/ 68 h 325"/>
                  <a:gd name="T40" fmla="*/ 13 w 117"/>
                  <a:gd name="T41" fmla="*/ 71 h 325"/>
                  <a:gd name="T42" fmla="*/ 18 w 117"/>
                  <a:gd name="T43" fmla="*/ 73 h 325"/>
                  <a:gd name="T44" fmla="*/ 24 w 117"/>
                  <a:gd name="T45" fmla="*/ 69 h 325"/>
                  <a:gd name="T46" fmla="*/ 24 w 117"/>
                  <a:gd name="T47" fmla="*/ 68 h 325"/>
                  <a:gd name="T48" fmla="*/ 27 w 117"/>
                  <a:gd name="T49" fmla="*/ 66 h 325"/>
                  <a:gd name="T50" fmla="*/ 33 w 117"/>
                  <a:gd name="T51" fmla="*/ 61 h 325"/>
                  <a:gd name="T52" fmla="*/ 34 w 117"/>
                  <a:gd name="T53" fmla="*/ 55 h 325"/>
                  <a:gd name="T54" fmla="*/ 38 w 117"/>
                  <a:gd name="T55" fmla="*/ 46 h 325"/>
                  <a:gd name="T56" fmla="*/ 41 w 117"/>
                  <a:gd name="T57" fmla="*/ 40 h 325"/>
                  <a:gd name="T58" fmla="*/ 42 w 117"/>
                  <a:gd name="T59" fmla="*/ 38 h 325"/>
                  <a:gd name="T60" fmla="*/ 45 w 117"/>
                  <a:gd name="T61" fmla="*/ 33 h 325"/>
                  <a:gd name="T62" fmla="*/ 77 w 117"/>
                  <a:gd name="T63" fmla="*/ 0 h 325"/>
                  <a:gd name="T64" fmla="*/ 82 w 117"/>
                  <a:gd name="T65" fmla="*/ 7 h 325"/>
                  <a:gd name="T66" fmla="*/ 95 w 117"/>
                  <a:gd name="T67" fmla="*/ 24 h 325"/>
                  <a:gd name="T68" fmla="*/ 99 w 117"/>
                  <a:gd name="T69" fmla="*/ 42 h 325"/>
                  <a:gd name="T70" fmla="*/ 95 w 117"/>
                  <a:gd name="T71" fmla="*/ 46 h 325"/>
                  <a:gd name="T72" fmla="*/ 86 w 117"/>
                  <a:gd name="T73" fmla="*/ 69 h 325"/>
                  <a:gd name="T74" fmla="*/ 86 w 117"/>
                  <a:gd name="T75" fmla="*/ 88 h 325"/>
                  <a:gd name="T76" fmla="*/ 92 w 117"/>
                  <a:gd name="T77" fmla="*/ 95 h 325"/>
                  <a:gd name="T78" fmla="*/ 106 w 117"/>
                  <a:gd name="T79" fmla="*/ 95 h 325"/>
                  <a:gd name="T80" fmla="*/ 113 w 117"/>
                  <a:gd name="T81" fmla="*/ 119 h 325"/>
                  <a:gd name="T82" fmla="*/ 100 w 117"/>
                  <a:gd name="T83" fmla="*/ 126 h 325"/>
                  <a:gd name="T84" fmla="*/ 95 w 117"/>
                  <a:gd name="T85" fmla="*/ 150 h 325"/>
                  <a:gd name="T86" fmla="*/ 96 w 117"/>
                  <a:gd name="T87" fmla="*/ 165 h 325"/>
                  <a:gd name="T88" fmla="*/ 93 w 117"/>
                  <a:gd name="T89" fmla="*/ 172 h 325"/>
                  <a:gd name="T90" fmla="*/ 95 w 117"/>
                  <a:gd name="T91" fmla="*/ 187 h 325"/>
                  <a:gd name="T92" fmla="*/ 95 w 117"/>
                  <a:gd name="T93" fmla="*/ 196 h 325"/>
                  <a:gd name="T94" fmla="*/ 96 w 117"/>
                  <a:gd name="T95" fmla="*/ 212 h 325"/>
                  <a:gd name="T96" fmla="*/ 100 w 117"/>
                  <a:gd name="T97" fmla="*/ 252 h 325"/>
                  <a:gd name="T98" fmla="*/ 99 w 117"/>
                  <a:gd name="T99" fmla="*/ 270 h 325"/>
                  <a:gd name="T100" fmla="*/ 96 w 117"/>
                  <a:gd name="T101" fmla="*/ 292 h 325"/>
                  <a:gd name="T102" fmla="*/ 92 w 117"/>
                  <a:gd name="T103" fmla="*/ 318 h 325"/>
                  <a:gd name="T104" fmla="*/ 88 w 117"/>
                  <a:gd name="T105" fmla="*/ 322 h 325"/>
                  <a:gd name="T106" fmla="*/ 84 w 117"/>
                  <a:gd name="T107" fmla="*/ 306 h 325"/>
                  <a:gd name="T108" fmla="*/ 86 w 117"/>
                  <a:gd name="T109" fmla="*/ 270 h 325"/>
                  <a:gd name="T110" fmla="*/ 88 w 117"/>
                  <a:gd name="T111" fmla="*/ 249 h 325"/>
                  <a:gd name="T112" fmla="*/ 85 w 117"/>
                  <a:gd name="T113" fmla="*/ 207 h 325"/>
                  <a:gd name="T114" fmla="*/ 77 w 117"/>
                  <a:gd name="T115" fmla="*/ 189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7" h="325">
                    <a:moveTo>
                      <a:pt x="74" y="183"/>
                    </a:moveTo>
                    <a:lnTo>
                      <a:pt x="45" y="203"/>
                    </a:lnTo>
                    <a:lnTo>
                      <a:pt x="30" y="200"/>
                    </a:lnTo>
                    <a:lnTo>
                      <a:pt x="30" y="200"/>
                    </a:lnTo>
                    <a:lnTo>
                      <a:pt x="30" y="196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30" y="181"/>
                    </a:lnTo>
                    <a:lnTo>
                      <a:pt x="30" y="174"/>
                    </a:lnTo>
                    <a:lnTo>
                      <a:pt x="29" y="170"/>
                    </a:lnTo>
                    <a:lnTo>
                      <a:pt x="29" y="164"/>
                    </a:lnTo>
                    <a:lnTo>
                      <a:pt x="27" y="163"/>
                    </a:lnTo>
                    <a:lnTo>
                      <a:pt x="26" y="160"/>
                    </a:lnTo>
                    <a:lnTo>
                      <a:pt x="22" y="153"/>
                    </a:lnTo>
                    <a:lnTo>
                      <a:pt x="19" y="148"/>
                    </a:lnTo>
                    <a:lnTo>
                      <a:pt x="15" y="141"/>
                    </a:lnTo>
                    <a:lnTo>
                      <a:pt x="12" y="135"/>
                    </a:lnTo>
                    <a:lnTo>
                      <a:pt x="9" y="131"/>
                    </a:lnTo>
                    <a:lnTo>
                      <a:pt x="9" y="130"/>
                    </a:lnTo>
                    <a:lnTo>
                      <a:pt x="8" y="128"/>
                    </a:lnTo>
                    <a:lnTo>
                      <a:pt x="7" y="127"/>
                    </a:lnTo>
                    <a:lnTo>
                      <a:pt x="5" y="126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2" y="119"/>
                    </a:lnTo>
                    <a:lnTo>
                      <a:pt x="2" y="116"/>
                    </a:lnTo>
                    <a:lnTo>
                      <a:pt x="1" y="113"/>
                    </a:lnTo>
                    <a:lnTo>
                      <a:pt x="1" y="112"/>
                    </a:lnTo>
                    <a:lnTo>
                      <a:pt x="1" y="110"/>
                    </a:lnTo>
                    <a:lnTo>
                      <a:pt x="2" y="109"/>
                    </a:lnTo>
                    <a:lnTo>
                      <a:pt x="2" y="106"/>
                    </a:lnTo>
                    <a:lnTo>
                      <a:pt x="2" y="104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1" y="94"/>
                    </a:lnTo>
                    <a:lnTo>
                      <a:pt x="1" y="93"/>
                    </a:lnTo>
                    <a:lnTo>
                      <a:pt x="0" y="91"/>
                    </a:lnTo>
                    <a:lnTo>
                      <a:pt x="0" y="90"/>
                    </a:lnTo>
                    <a:lnTo>
                      <a:pt x="0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4" y="86"/>
                    </a:lnTo>
                    <a:lnTo>
                      <a:pt x="5" y="86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8" y="88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11" y="86"/>
                    </a:lnTo>
                    <a:lnTo>
                      <a:pt x="9" y="84"/>
                    </a:lnTo>
                    <a:lnTo>
                      <a:pt x="7" y="69"/>
                    </a:lnTo>
                    <a:lnTo>
                      <a:pt x="7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6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9" y="68"/>
                    </a:lnTo>
                    <a:lnTo>
                      <a:pt x="11" y="68"/>
                    </a:lnTo>
                    <a:lnTo>
                      <a:pt x="12" y="69"/>
                    </a:lnTo>
                    <a:lnTo>
                      <a:pt x="13" y="71"/>
                    </a:lnTo>
                    <a:lnTo>
                      <a:pt x="15" y="71"/>
                    </a:lnTo>
                    <a:lnTo>
                      <a:pt x="16" y="72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18" y="73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6"/>
                    </a:lnTo>
                    <a:lnTo>
                      <a:pt x="29" y="65"/>
                    </a:lnTo>
                    <a:lnTo>
                      <a:pt x="30" y="65"/>
                    </a:lnTo>
                    <a:lnTo>
                      <a:pt x="33" y="61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4" y="55"/>
                    </a:lnTo>
                    <a:lnTo>
                      <a:pt x="35" y="53"/>
                    </a:lnTo>
                    <a:lnTo>
                      <a:pt x="37" y="49"/>
                    </a:lnTo>
                    <a:lnTo>
                      <a:pt x="38" y="46"/>
                    </a:lnTo>
                    <a:lnTo>
                      <a:pt x="40" y="43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39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4" y="35"/>
                    </a:lnTo>
                    <a:lnTo>
                      <a:pt x="45" y="33"/>
                    </a:lnTo>
                    <a:lnTo>
                      <a:pt x="46" y="33"/>
                    </a:lnTo>
                    <a:lnTo>
                      <a:pt x="62" y="29"/>
                    </a:lnTo>
                    <a:lnTo>
                      <a:pt x="77" y="0"/>
                    </a:lnTo>
                    <a:lnTo>
                      <a:pt x="77" y="2"/>
                    </a:lnTo>
                    <a:lnTo>
                      <a:pt x="80" y="3"/>
                    </a:lnTo>
                    <a:lnTo>
                      <a:pt x="82" y="7"/>
                    </a:lnTo>
                    <a:lnTo>
                      <a:pt x="86" y="11"/>
                    </a:lnTo>
                    <a:lnTo>
                      <a:pt x="91" y="17"/>
                    </a:lnTo>
                    <a:lnTo>
                      <a:pt x="95" y="24"/>
                    </a:lnTo>
                    <a:lnTo>
                      <a:pt x="97" y="32"/>
                    </a:lnTo>
                    <a:lnTo>
                      <a:pt x="100" y="42"/>
                    </a:lnTo>
                    <a:lnTo>
                      <a:pt x="99" y="42"/>
                    </a:lnTo>
                    <a:lnTo>
                      <a:pt x="99" y="42"/>
                    </a:lnTo>
                    <a:lnTo>
                      <a:pt x="96" y="43"/>
                    </a:lnTo>
                    <a:lnTo>
                      <a:pt x="95" y="46"/>
                    </a:lnTo>
                    <a:lnTo>
                      <a:pt x="92" y="50"/>
                    </a:lnTo>
                    <a:lnTo>
                      <a:pt x="89" y="58"/>
                    </a:lnTo>
                    <a:lnTo>
                      <a:pt x="86" y="69"/>
                    </a:lnTo>
                    <a:lnTo>
                      <a:pt x="85" y="86"/>
                    </a:lnTo>
                    <a:lnTo>
                      <a:pt x="85" y="86"/>
                    </a:lnTo>
                    <a:lnTo>
                      <a:pt x="86" y="88"/>
                    </a:lnTo>
                    <a:lnTo>
                      <a:pt x="88" y="90"/>
                    </a:lnTo>
                    <a:lnTo>
                      <a:pt x="89" y="93"/>
                    </a:lnTo>
                    <a:lnTo>
                      <a:pt x="92" y="95"/>
                    </a:lnTo>
                    <a:lnTo>
                      <a:pt x="96" y="97"/>
                    </a:lnTo>
                    <a:lnTo>
                      <a:pt x="100" y="97"/>
                    </a:lnTo>
                    <a:lnTo>
                      <a:pt x="106" y="95"/>
                    </a:lnTo>
                    <a:lnTo>
                      <a:pt x="117" y="101"/>
                    </a:lnTo>
                    <a:lnTo>
                      <a:pt x="114" y="119"/>
                    </a:lnTo>
                    <a:lnTo>
                      <a:pt x="113" y="119"/>
                    </a:lnTo>
                    <a:lnTo>
                      <a:pt x="108" y="120"/>
                    </a:lnTo>
                    <a:lnTo>
                      <a:pt x="104" y="121"/>
                    </a:lnTo>
                    <a:lnTo>
                      <a:pt x="100" y="126"/>
                    </a:lnTo>
                    <a:lnTo>
                      <a:pt x="97" y="131"/>
                    </a:lnTo>
                    <a:lnTo>
                      <a:pt x="95" y="139"/>
                    </a:lnTo>
                    <a:lnTo>
                      <a:pt x="95" y="150"/>
                    </a:lnTo>
                    <a:lnTo>
                      <a:pt x="97" y="164"/>
                    </a:lnTo>
                    <a:lnTo>
                      <a:pt x="97" y="164"/>
                    </a:lnTo>
                    <a:lnTo>
                      <a:pt x="96" y="165"/>
                    </a:lnTo>
                    <a:lnTo>
                      <a:pt x="95" y="167"/>
                    </a:lnTo>
                    <a:lnTo>
                      <a:pt x="93" y="168"/>
                    </a:lnTo>
                    <a:lnTo>
                      <a:pt x="93" y="172"/>
                    </a:lnTo>
                    <a:lnTo>
                      <a:pt x="92" y="176"/>
                    </a:lnTo>
                    <a:lnTo>
                      <a:pt x="93" y="181"/>
                    </a:lnTo>
                    <a:lnTo>
                      <a:pt x="95" y="187"/>
                    </a:lnTo>
                    <a:lnTo>
                      <a:pt x="95" y="189"/>
                    </a:lnTo>
                    <a:lnTo>
                      <a:pt x="95" y="192"/>
                    </a:lnTo>
                    <a:lnTo>
                      <a:pt x="95" y="196"/>
                    </a:lnTo>
                    <a:lnTo>
                      <a:pt x="95" y="200"/>
                    </a:lnTo>
                    <a:lnTo>
                      <a:pt x="95" y="207"/>
                    </a:lnTo>
                    <a:lnTo>
                      <a:pt x="96" y="212"/>
                    </a:lnTo>
                    <a:lnTo>
                      <a:pt x="99" y="219"/>
                    </a:lnTo>
                    <a:lnTo>
                      <a:pt x="103" y="225"/>
                    </a:lnTo>
                    <a:lnTo>
                      <a:pt x="100" y="252"/>
                    </a:lnTo>
                    <a:lnTo>
                      <a:pt x="99" y="260"/>
                    </a:lnTo>
                    <a:lnTo>
                      <a:pt x="100" y="269"/>
                    </a:lnTo>
                    <a:lnTo>
                      <a:pt x="99" y="270"/>
                    </a:lnTo>
                    <a:lnTo>
                      <a:pt x="99" y="275"/>
                    </a:lnTo>
                    <a:lnTo>
                      <a:pt x="97" y="282"/>
                    </a:lnTo>
                    <a:lnTo>
                      <a:pt x="96" y="292"/>
                    </a:lnTo>
                    <a:lnTo>
                      <a:pt x="95" y="302"/>
                    </a:lnTo>
                    <a:lnTo>
                      <a:pt x="93" y="311"/>
                    </a:lnTo>
                    <a:lnTo>
                      <a:pt x="92" y="318"/>
                    </a:lnTo>
                    <a:lnTo>
                      <a:pt x="89" y="325"/>
                    </a:lnTo>
                    <a:lnTo>
                      <a:pt x="89" y="323"/>
                    </a:lnTo>
                    <a:lnTo>
                      <a:pt x="88" y="322"/>
                    </a:lnTo>
                    <a:lnTo>
                      <a:pt x="86" y="318"/>
                    </a:lnTo>
                    <a:lnTo>
                      <a:pt x="85" y="313"/>
                    </a:lnTo>
                    <a:lnTo>
                      <a:pt x="84" y="306"/>
                    </a:lnTo>
                    <a:lnTo>
                      <a:pt x="84" y="296"/>
                    </a:lnTo>
                    <a:lnTo>
                      <a:pt x="84" y="284"/>
                    </a:lnTo>
                    <a:lnTo>
                      <a:pt x="86" y="270"/>
                    </a:lnTo>
                    <a:lnTo>
                      <a:pt x="86" y="267"/>
                    </a:lnTo>
                    <a:lnTo>
                      <a:pt x="86" y="259"/>
                    </a:lnTo>
                    <a:lnTo>
                      <a:pt x="88" y="249"/>
                    </a:lnTo>
                    <a:lnTo>
                      <a:pt x="88" y="236"/>
                    </a:lnTo>
                    <a:lnTo>
                      <a:pt x="86" y="222"/>
                    </a:lnTo>
                    <a:lnTo>
                      <a:pt x="85" y="207"/>
                    </a:lnTo>
                    <a:lnTo>
                      <a:pt x="82" y="201"/>
                    </a:lnTo>
                    <a:lnTo>
                      <a:pt x="81" y="194"/>
                    </a:lnTo>
                    <a:lnTo>
                      <a:pt x="77" y="189"/>
                    </a:lnTo>
                    <a:lnTo>
                      <a:pt x="74" y="18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8" name="Freeform 820"/>
              <p:cNvSpPr>
                <a:spLocks/>
              </p:cNvSpPr>
              <p:nvPr/>
            </p:nvSpPr>
            <p:spPr bwMode="auto">
              <a:xfrm>
                <a:off x="4108" y="2496"/>
                <a:ext cx="117" cy="325"/>
              </a:xfrm>
              <a:custGeom>
                <a:avLst/>
                <a:gdLst>
                  <a:gd name="T0" fmla="*/ 30 w 117"/>
                  <a:gd name="T1" fmla="*/ 200 h 325"/>
                  <a:gd name="T2" fmla="*/ 30 w 117"/>
                  <a:gd name="T3" fmla="*/ 186 h 325"/>
                  <a:gd name="T4" fmla="*/ 29 w 117"/>
                  <a:gd name="T5" fmla="*/ 170 h 325"/>
                  <a:gd name="T6" fmla="*/ 26 w 117"/>
                  <a:gd name="T7" fmla="*/ 160 h 325"/>
                  <a:gd name="T8" fmla="*/ 15 w 117"/>
                  <a:gd name="T9" fmla="*/ 141 h 325"/>
                  <a:gd name="T10" fmla="*/ 9 w 117"/>
                  <a:gd name="T11" fmla="*/ 130 h 325"/>
                  <a:gd name="T12" fmla="*/ 5 w 117"/>
                  <a:gd name="T13" fmla="*/ 126 h 325"/>
                  <a:gd name="T14" fmla="*/ 2 w 117"/>
                  <a:gd name="T15" fmla="*/ 119 h 325"/>
                  <a:gd name="T16" fmla="*/ 1 w 117"/>
                  <a:gd name="T17" fmla="*/ 112 h 325"/>
                  <a:gd name="T18" fmla="*/ 2 w 117"/>
                  <a:gd name="T19" fmla="*/ 106 h 325"/>
                  <a:gd name="T20" fmla="*/ 2 w 117"/>
                  <a:gd name="T21" fmla="*/ 97 h 325"/>
                  <a:gd name="T22" fmla="*/ 0 w 117"/>
                  <a:gd name="T23" fmla="*/ 91 h 325"/>
                  <a:gd name="T24" fmla="*/ 0 w 117"/>
                  <a:gd name="T25" fmla="*/ 86 h 325"/>
                  <a:gd name="T26" fmla="*/ 4 w 117"/>
                  <a:gd name="T27" fmla="*/ 86 h 325"/>
                  <a:gd name="T28" fmla="*/ 7 w 117"/>
                  <a:gd name="T29" fmla="*/ 87 h 325"/>
                  <a:gd name="T30" fmla="*/ 9 w 117"/>
                  <a:gd name="T31" fmla="*/ 87 h 325"/>
                  <a:gd name="T32" fmla="*/ 7 w 117"/>
                  <a:gd name="T33" fmla="*/ 69 h 325"/>
                  <a:gd name="T34" fmla="*/ 8 w 117"/>
                  <a:gd name="T35" fmla="*/ 66 h 325"/>
                  <a:gd name="T36" fmla="*/ 12 w 117"/>
                  <a:gd name="T37" fmla="*/ 69 h 325"/>
                  <a:gd name="T38" fmla="*/ 16 w 117"/>
                  <a:gd name="T39" fmla="*/ 72 h 325"/>
                  <a:gd name="T40" fmla="*/ 24 w 117"/>
                  <a:gd name="T41" fmla="*/ 68 h 325"/>
                  <a:gd name="T42" fmla="*/ 27 w 117"/>
                  <a:gd name="T43" fmla="*/ 66 h 325"/>
                  <a:gd name="T44" fmla="*/ 33 w 117"/>
                  <a:gd name="T45" fmla="*/ 61 h 325"/>
                  <a:gd name="T46" fmla="*/ 34 w 117"/>
                  <a:gd name="T47" fmla="*/ 55 h 325"/>
                  <a:gd name="T48" fmla="*/ 38 w 117"/>
                  <a:gd name="T49" fmla="*/ 46 h 325"/>
                  <a:gd name="T50" fmla="*/ 41 w 117"/>
                  <a:gd name="T51" fmla="*/ 39 h 325"/>
                  <a:gd name="T52" fmla="*/ 44 w 117"/>
                  <a:gd name="T53" fmla="*/ 35 h 325"/>
                  <a:gd name="T54" fmla="*/ 62 w 117"/>
                  <a:gd name="T55" fmla="*/ 29 h 325"/>
                  <a:gd name="T56" fmla="*/ 80 w 117"/>
                  <a:gd name="T57" fmla="*/ 3 h 325"/>
                  <a:gd name="T58" fmla="*/ 91 w 117"/>
                  <a:gd name="T59" fmla="*/ 17 h 325"/>
                  <a:gd name="T60" fmla="*/ 100 w 117"/>
                  <a:gd name="T61" fmla="*/ 42 h 325"/>
                  <a:gd name="T62" fmla="*/ 95 w 117"/>
                  <a:gd name="T63" fmla="*/ 46 h 325"/>
                  <a:gd name="T64" fmla="*/ 86 w 117"/>
                  <a:gd name="T65" fmla="*/ 69 h 325"/>
                  <a:gd name="T66" fmla="*/ 88 w 117"/>
                  <a:gd name="T67" fmla="*/ 90 h 325"/>
                  <a:gd name="T68" fmla="*/ 96 w 117"/>
                  <a:gd name="T69" fmla="*/ 97 h 325"/>
                  <a:gd name="T70" fmla="*/ 117 w 117"/>
                  <a:gd name="T71" fmla="*/ 101 h 325"/>
                  <a:gd name="T72" fmla="*/ 108 w 117"/>
                  <a:gd name="T73" fmla="*/ 120 h 325"/>
                  <a:gd name="T74" fmla="*/ 97 w 117"/>
                  <a:gd name="T75" fmla="*/ 131 h 325"/>
                  <a:gd name="T76" fmla="*/ 97 w 117"/>
                  <a:gd name="T77" fmla="*/ 164 h 325"/>
                  <a:gd name="T78" fmla="*/ 93 w 117"/>
                  <a:gd name="T79" fmla="*/ 168 h 325"/>
                  <a:gd name="T80" fmla="*/ 93 w 117"/>
                  <a:gd name="T81" fmla="*/ 181 h 325"/>
                  <a:gd name="T82" fmla="*/ 95 w 117"/>
                  <a:gd name="T83" fmla="*/ 192 h 325"/>
                  <a:gd name="T84" fmla="*/ 95 w 117"/>
                  <a:gd name="T85" fmla="*/ 207 h 325"/>
                  <a:gd name="T86" fmla="*/ 103 w 117"/>
                  <a:gd name="T87" fmla="*/ 225 h 325"/>
                  <a:gd name="T88" fmla="*/ 100 w 117"/>
                  <a:gd name="T89" fmla="*/ 269 h 325"/>
                  <a:gd name="T90" fmla="*/ 97 w 117"/>
                  <a:gd name="T91" fmla="*/ 282 h 325"/>
                  <a:gd name="T92" fmla="*/ 93 w 117"/>
                  <a:gd name="T93" fmla="*/ 311 h 325"/>
                  <a:gd name="T94" fmla="*/ 89 w 117"/>
                  <a:gd name="T95" fmla="*/ 323 h 325"/>
                  <a:gd name="T96" fmla="*/ 85 w 117"/>
                  <a:gd name="T97" fmla="*/ 313 h 325"/>
                  <a:gd name="T98" fmla="*/ 84 w 117"/>
                  <a:gd name="T99" fmla="*/ 284 h 325"/>
                  <a:gd name="T100" fmla="*/ 86 w 117"/>
                  <a:gd name="T101" fmla="*/ 259 h 325"/>
                  <a:gd name="T102" fmla="*/ 86 w 117"/>
                  <a:gd name="T103" fmla="*/ 222 h 325"/>
                  <a:gd name="T104" fmla="*/ 81 w 117"/>
                  <a:gd name="T105" fmla="*/ 194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7" h="325">
                    <a:moveTo>
                      <a:pt x="74" y="183"/>
                    </a:moveTo>
                    <a:lnTo>
                      <a:pt x="45" y="203"/>
                    </a:lnTo>
                    <a:lnTo>
                      <a:pt x="30" y="200"/>
                    </a:lnTo>
                    <a:lnTo>
                      <a:pt x="30" y="196"/>
                    </a:lnTo>
                    <a:lnTo>
                      <a:pt x="30" y="192"/>
                    </a:lnTo>
                    <a:lnTo>
                      <a:pt x="30" y="186"/>
                    </a:lnTo>
                    <a:lnTo>
                      <a:pt x="30" y="181"/>
                    </a:lnTo>
                    <a:lnTo>
                      <a:pt x="30" y="174"/>
                    </a:lnTo>
                    <a:lnTo>
                      <a:pt x="29" y="170"/>
                    </a:lnTo>
                    <a:lnTo>
                      <a:pt x="29" y="164"/>
                    </a:lnTo>
                    <a:lnTo>
                      <a:pt x="27" y="163"/>
                    </a:lnTo>
                    <a:lnTo>
                      <a:pt x="26" y="160"/>
                    </a:lnTo>
                    <a:lnTo>
                      <a:pt x="22" y="153"/>
                    </a:lnTo>
                    <a:lnTo>
                      <a:pt x="19" y="148"/>
                    </a:lnTo>
                    <a:lnTo>
                      <a:pt x="15" y="141"/>
                    </a:lnTo>
                    <a:lnTo>
                      <a:pt x="12" y="135"/>
                    </a:lnTo>
                    <a:lnTo>
                      <a:pt x="9" y="131"/>
                    </a:lnTo>
                    <a:lnTo>
                      <a:pt x="9" y="130"/>
                    </a:lnTo>
                    <a:lnTo>
                      <a:pt x="8" y="128"/>
                    </a:lnTo>
                    <a:lnTo>
                      <a:pt x="7" y="127"/>
                    </a:lnTo>
                    <a:lnTo>
                      <a:pt x="5" y="126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2" y="119"/>
                    </a:lnTo>
                    <a:lnTo>
                      <a:pt x="2" y="116"/>
                    </a:lnTo>
                    <a:lnTo>
                      <a:pt x="1" y="113"/>
                    </a:lnTo>
                    <a:lnTo>
                      <a:pt x="1" y="112"/>
                    </a:lnTo>
                    <a:lnTo>
                      <a:pt x="1" y="110"/>
                    </a:lnTo>
                    <a:lnTo>
                      <a:pt x="2" y="109"/>
                    </a:lnTo>
                    <a:lnTo>
                      <a:pt x="2" y="106"/>
                    </a:lnTo>
                    <a:lnTo>
                      <a:pt x="2" y="104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1" y="94"/>
                    </a:lnTo>
                    <a:lnTo>
                      <a:pt x="1" y="93"/>
                    </a:lnTo>
                    <a:lnTo>
                      <a:pt x="0" y="91"/>
                    </a:lnTo>
                    <a:lnTo>
                      <a:pt x="0" y="90"/>
                    </a:lnTo>
                    <a:lnTo>
                      <a:pt x="0" y="87"/>
                    </a:lnTo>
                    <a:lnTo>
                      <a:pt x="0" y="86"/>
                    </a:lnTo>
                    <a:lnTo>
                      <a:pt x="0" y="84"/>
                    </a:lnTo>
                    <a:lnTo>
                      <a:pt x="2" y="84"/>
                    </a:lnTo>
                    <a:lnTo>
                      <a:pt x="4" y="86"/>
                    </a:lnTo>
                    <a:lnTo>
                      <a:pt x="5" y="86"/>
                    </a:lnTo>
                    <a:lnTo>
                      <a:pt x="5" y="87"/>
                    </a:lnTo>
                    <a:lnTo>
                      <a:pt x="7" y="87"/>
                    </a:lnTo>
                    <a:lnTo>
                      <a:pt x="8" y="88"/>
                    </a:lnTo>
                    <a:lnTo>
                      <a:pt x="9" y="88"/>
                    </a:lnTo>
                    <a:lnTo>
                      <a:pt x="9" y="87"/>
                    </a:lnTo>
                    <a:lnTo>
                      <a:pt x="11" y="86"/>
                    </a:lnTo>
                    <a:lnTo>
                      <a:pt x="9" y="84"/>
                    </a:lnTo>
                    <a:lnTo>
                      <a:pt x="7" y="69"/>
                    </a:lnTo>
                    <a:lnTo>
                      <a:pt x="7" y="68"/>
                    </a:lnTo>
                    <a:lnTo>
                      <a:pt x="7" y="66"/>
                    </a:lnTo>
                    <a:lnTo>
                      <a:pt x="8" y="66"/>
                    </a:lnTo>
                    <a:lnTo>
                      <a:pt x="9" y="68"/>
                    </a:lnTo>
                    <a:lnTo>
                      <a:pt x="11" y="68"/>
                    </a:lnTo>
                    <a:lnTo>
                      <a:pt x="12" y="69"/>
                    </a:lnTo>
                    <a:lnTo>
                      <a:pt x="13" y="71"/>
                    </a:lnTo>
                    <a:lnTo>
                      <a:pt x="15" y="71"/>
                    </a:lnTo>
                    <a:lnTo>
                      <a:pt x="16" y="72"/>
                    </a:lnTo>
                    <a:lnTo>
                      <a:pt x="18" y="73"/>
                    </a:lnTo>
                    <a:lnTo>
                      <a:pt x="24" y="69"/>
                    </a:lnTo>
                    <a:lnTo>
                      <a:pt x="24" y="68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6"/>
                    </a:lnTo>
                    <a:lnTo>
                      <a:pt x="29" y="65"/>
                    </a:lnTo>
                    <a:lnTo>
                      <a:pt x="30" y="65"/>
                    </a:lnTo>
                    <a:lnTo>
                      <a:pt x="33" y="61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4" y="55"/>
                    </a:lnTo>
                    <a:lnTo>
                      <a:pt x="35" y="53"/>
                    </a:lnTo>
                    <a:lnTo>
                      <a:pt x="37" y="49"/>
                    </a:lnTo>
                    <a:lnTo>
                      <a:pt x="38" y="46"/>
                    </a:lnTo>
                    <a:lnTo>
                      <a:pt x="40" y="43"/>
                    </a:lnTo>
                    <a:lnTo>
                      <a:pt x="41" y="40"/>
                    </a:lnTo>
                    <a:lnTo>
                      <a:pt x="41" y="39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4" y="35"/>
                    </a:lnTo>
                    <a:lnTo>
                      <a:pt x="45" y="33"/>
                    </a:lnTo>
                    <a:lnTo>
                      <a:pt x="46" y="33"/>
                    </a:lnTo>
                    <a:lnTo>
                      <a:pt x="62" y="29"/>
                    </a:lnTo>
                    <a:lnTo>
                      <a:pt x="77" y="0"/>
                    </a:lnTo>
                    <a:lnTo>
                      <a:pt x="77" y="2"/>
                    </a:lnTo>
                    <a:lnTo>
                      <a:pt x="80" y="3"/>
                    </a:lnTo>
                    <a:lnTo>
                      <a:pt x="82" y="7"/>
                    </a:lnTo>
                    <a:lnTo>
                      <a:pt x="86" y="11"/>
                    </a:lnTo>
                    <a:lnTo>
                      <a:pt x="91" y="17"/>
                    </a:lnTo>
                    <a:lnTo>
                      <a:pt x="95" y="24"/>
                    </a:lnTo>
                    <a:lnTo>
                      <a:pt x="97" y="32"/>
                    </a:lnTo>
                    <a:lnTo>
                      <a:pt x="100" y="42"/>
                    </a:lnTo>
                    <a:lnTo>
                      <a:pt x="99" y="42"/>
                    </a:lnTo>
                    <a:lnTo>
                      <a:pt x="96" y="43"/>
                    </a:lnTo>
                    <a:lnTo>
                      <a:pt x="95" y="46"/>
                    </a:lnTo>
                    <a:lnTo>
                      <a:pt x="92" y="50"/>
                    </a:lnTo>
                    <a:lnTo>
                      <a:pt x="89" y="58"/>
                    </a:lnTo>
                    <a:lnTo>
                      <a:pt x="86" y="69"/>
                    </a:lnTo>
                    <a:lnTo>
                      <a:pt x="85" y="86"/>
                    </a:lnTo>
                    <a:lnTo>
                      <a:pt x="86" y="88"/>
                    </a:lnTo>
                    <a:lnTo>
                      <a:pt x="88" y="90"/>
                    </a:lnTo>
                    <a:lnTo>
                      <a:pt x="89" y="93"/>
                    </a:lnTo>
                    <a:lnTo>
                      <a:pt x="92" y="95"/>
                    </a:lnTo>
                    <a:lnTo>
                      <a:pt x="96" y="97"/>
                    </a:lnTo>
                    <a:lnTo>
                      <a:pt x="100" y="97"/>
                    </a:lnTo>
                    <a:lnTo>
                      <a:pt x="106" y="95"/>
                    </a:lnTo>
                    <a:lnTo>
                      <a:pt x="117" y="101"/>
                    </a:lnTo>
                    <a:lnTo>
                      <a:pt x="114" y="119"/>
                    </a:lnTo>
                    <a:lnTo>
                      <a:pt x="113" y="119"/>
                    </a:lnTo>
                    <a:lnTo>
                      <a:pt x="108" y="120"/>
                    </a:lnTo>
                    <a:lnTo>
                      <a:pt x="104" y="121"/>
                    </a:lnTo>
                    <a:lnTo>
                      <a:pt x="100" y="126"/>
                    </a:lnTo>
                    <a:lnTo>
                      <a:pt x="97" y="131"/>
                    </a:lnTo>
                    <a:lnTo>
                      <a:pt x="95" y="139"/>
                    </a:lnTo>
                    <a:lnTo>
                      <a:pt x="95" y="150"/>
                    </a:lnTo>
                    <a:lnTo>
                      <a:pt x="97" y="164"/>
                    </a:lnTo>
                    <a:lnTo>
                      <a:pt x="96" y="165"/>
                    </a:lnTo>
                    <a:lnTo>
                      <a:pt x="95" y="167"/>
                    </a:lnTo>
                    <a:lnTo>
                      <a:pt x="93" y="168"/>
                    </a:lnTo>
                    <a:lnTo>
                      <a:pt x="93" y="172"/>
                    </a:lnTo>
                    <a:lnTo>
                      <a:pt x="92" y="176"/>
                    </a:lnTo>
                    <a:lnTo>
                      <a:pt x="93" y="181"/>
                    </a:lnTo>
                    <a:lnTo>
                      <a:pt x="95" y="187"/>
                    </a:lnTo>
                    <a:lnTo>
                      <a:pt x="95" y="189"/>
                    </a:lnTo>
                    <a:lnTo>
                      <a:pt x="95" y="192"/>
                    </a:lnTo>
                    <a:lnTo>
                      <a:pt x="95" y="196"/>
                    </a:lnTo>
                    <a:lnTo>
                      <a:pt x="95" y="200"/>
                    </a:lnTo>
                    <a:lnTo>
                      <a:pt x="95" y="207"/>
                    </a:lnTo>
                    <a:lnTo>
                      <a:pt x="96" y="212"/>
                    </a:lnTo>
                    <a:lnTo>
                      <a:pt x="99" y="219"/>
                    </a:lnTo>
                    <a:lnTo>
                      <a:pt x="103" y="225"/>
                    </a:lnTo>
                    <a:lnTo>
                      <a:pt x="100" y="252"/>
                    </a:lnTo>
                    <a:lnTo>
                      <a:pt x="99" y="260"/>
                    </a:lnTo>
                    <a:lnTo>
                      <a:pt x="100" y="269"/>
                    </a:lnTo>
                    <a:lnTo>
                      <a:pt x="99" y="270"/>
                    </a:lnTo>
                    <a:lnTo>
                      <a:pt x="99" y="275"/>
                    </a:lnTo>
                    <a:lnTo>
                      <a:pt x="97" y="282"/>
                    </a:lnTo>
                    <a:lnTo>
                      <a:pt x="96" y="292"/>
                    </a:lnTo>
                    <a:lnTo>
                      <a:pt x="95" y="302"/>
                    </a:lnTo>
                    <a:lnTo>
                      <a:pt x="93" y="311"/>
                    </a:lnTo>
                    <a:lnTo>
                      <a:pt x="92" y="318"/>
                    </a:lnTo>
                    <a:lnTo>
                      <a:pt x="89" y="325"/>
                    </a:lnTo>
                    <a:lnTo>
                      <a:pt x="89" y="323"/>
                    </a:lnTo>
                    <a:lnTo>
                      <a:pt x="88" y="322"/>
                    </a:lnTo>
                    <a:lnTo>
                      <a:pt x="86" y="318"/>
                    </a:lnTo>
                    <a:lnTo>
                      <a:pt x="85" y="313"/>
                    </a:lnTo>
                    <a:lnTo>
                      <a:pt x="84" y="306"/>
                    </a:lnTo>
                    <a:lnTo>
                      <a:pt x="84" y="296"/>
                    </a:lnTo>
                    <a:lnTo>
                      <a:pt x="84" y="284"/>
                    </a:lnTo>
                    <a:lnTo>
                      <a:pt x="86" y="270"/>
                    </a:lnTo>
                    <a:lnTo>
                      <a:pt x="86" y="267"/>
                    </a:lnTo>
                    <a:lnTo>
                      <a:pt x="86" y="259"/>
                    </a:lnTo>
                    <a:lnTo>
                      <a:pt x="88" y="249"/>
                    </a:lnTo>
                    <a:lnTo>
                      <a:pt x="88" y="236"/>
                    </a:lnTo>
                    <a:lnTo>
                      <a:pt x="86" y="222"/>
                    </a:lnTo>
                    <a:lnTo>
                      <a:pt x="85" y="207"/>
                    </a:lnTo>
                    <a:lnTo>
                      <a:pt x="82" y="201"/>
                    </a:lnTo>
                    <a:lnTo>
                      <a:pt x="81" y="194"/>
                    </a:lnTo>
                    <a:lnTo>
                      <a:pt x="77" y="189"/>
                    </a:lnTo>
                    <a:lnTo>
                      <a:pt x="74" y="18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89" name="Freeform 821"/>
              <p:cNvSpPr>
                <a:spLocks/>
              </p:cNvSpPr>
              <p:nvPr/>
            </p:nvSpPr>
            <p:spPr bwMode="auto">
              <a:xfrm>
                <a:off x="4256" y="2572"/>
                <a:ext cx="108" cy="198"/>
              </a:xfrm>
              <a:custGeom>
                <a:avLst/>
                <a:gdLst>
                  <a:gd name="T0" fmla="*/ 69 w 108"/>
                  <a:gd name="T1" fmla="*/ 147 h 198"/>
                  <a:gd name="T2" fmla="*/ 73 w 108"/>
                  <a:gd name="T3" fmla="*/ 150 h 198"/>
                  <a:gd name="T4" fmla="*/ 76 w 108"/>
                  <a:gd name="T5" fmla="*/ 155 h 198"/>
                  <a:gd name="T6" fmla="*/ 59 w 108"/>
                  <a:gd name="T7" fmla="*/ 182 h 198"/>
                  <a:gd name="T8" fmla="*/ 46 w 108"/>
                  <a:gd name="T9" fmla="*/ 198 h 198"/>
                  <a:gd name="T10" fmla="*/ 75 w 108"/>
                  <a:gd name="T11" fmla="*/ 197 h 198"/>
                  <a:gd name="T12" fmla="*/ 90 w 108"/>
                  <a:gd name="T13" fmla="*/ 182 h 198"/>
                  <a:gd name="T14" fmla="*/ 105 w 108"/>
                  <a:gd name="T15" fmla="*/ 164 h 198"/>
                  <a:gd name="T16" fmla="*/ 108 w 108"/>
                  <a:gd name="T17" fmla="*/ 154 h 198"/>
                  <a:gd name="T18" fmla="*/ 106 w 108"/>
                  <a:gd name="T19" fmla="*/ 149 h 198"/>
                  <a:gd name="T20" fmla="*/ 106 w 108"/>
                  <a:gd name="T21" fmla="*/ 146 h 198"/>
                  <a:gd name="T22" fmla="*/ 102 w 108"/>
                  <a:gd name="T23" fmla="*/ 117 h 198"/>
                  <a:gd name="T24" fmla="*/ 98 w 108"/>
                  <a:gd name="T25" fmla="*/ 105 h 198"/>
                  <a:gd name="T26" fmla="*/ 84 w 108"/>
                  <a:gd name="T27" fmla="*/ 92 h 198"/>
                  <a:gd name="T28" fmla="*/ 57 w 108"/>
                  <a:gd name="T29" fmla="*/ 54 h 198"/>
                  <a:gd name="T30" fmla="*/ 58 w 108"/>
                  <a:gd name="T31" fmla="*/ 48 h 198"/>
                  <a:gd name="T32" fmla="*/ 64 w 108"/>
                  <a:gd name="T33" fmla="*/ 40 h 198"/>
                  <a:gd name="T34" fmla="*/ 72 w 108"/>
                  <a:gd name="T35" fmla="*/ 37 h 198"/>
                  <a:gd name="T36" fmla="*/ 76 w 108"/>
                  <a:gd name="T37" fmla="*/ 36 h 198"/>
                  <a:gd name="T38" fmla="*/ 83 w 108"/>
                  <a:gd name="T39" fmla="*/ 32 h 198"/>
                  <a:gd name="T40" fmla="*/ 84 w 108"/>
                  <a:gd name="T41" fmla="*/ 28 h 198"/>
                  <a:gd name="T42" fmla="*/ 83 w 108"/>
                  <a:gd name="T43" fmla="*/ 21 h 198"/>
                  <a:gd name="T44" fmla="*/ 77 w 108"/>
                  <a:gd name="T45" fmla="*/ 14 h 198"/>
                  <a:gd name="T46" fmla="*/ 75 w 108"/>
                  <a:gd name="T47" fmla="*/ 10 h 198"/>
                  <a:gd name="T48" fmla="*/ 68 w 108"/>
                  <a:gd name="T49" fmla="*/ 4 h 198"/>
                  <a:gd name="T50" fmla="*/ 61 w 108"/>
                  <a:gd name="T51" fmla="*/ 1 h 198"/>
                  <a:gd name="T52" fmla="*/ 57 w 108"/>
                  <a:gd name="T53" fmla="*/ 3 h 198"/>
                  <a:gd name="T54" fmla="*/ 47 w 108"/>
                  <a:gd name="T55" fmla="*/ 4 h 198"/>
                  <a:gd name="T56" fmla="*/ 35 w 108"/>
                  <a:gd name="T57" fmla="*/ 1 h 198"/>
                  <a:gd name="T58" fmla="*/ 25 w 108"/>
                  <a:gd name="T59" fmla="*/ 0 h 198"/>
                  <a:gd name="T60" fmla="*/ 20 w 108"/>
                  <a:gd name="T61" fmla="*/ 1 h 198"/>
                  <a:gd name="T62" fmla="*/ 11 w 108"/>
                  <a:gd name="T63" fmla="*/ 1 h 198"/>
                  <a:gd name="T64" fmla="*/ 3 w 108"/>
                  <a:gd name="T65" fmla="*/ 4 h 198"/>
                  <a:gd name="T66" fmla="*/ 2 w 108"/>
                  <a:gd name="T67" fmla="*/ 10 h 198"/>
                  <a:gd name="T68" fmla="*/ 4 w 108"/>
                  <a:gd name="T69" fmla="*/ 11 h 198"/>
                  <a:gd name="T70" fmla="*/ 9 w 108"/>
                  <a:gd name="T71" fmla="*/ 14 h 198"/>
                  <a:gd name="T72" fmla="*/ 24 w 108"/>
                  <a:gd name="T73" fmla="*/ 36 h 198"/>
                  <a:gd name="T74" fmla="*/ 29 w 108"/>
                  <a:gd name="T75" fmla="*/ 45 h 198"/>
                  <a:gd name="T76" fmla="*/ 26 w 108"/>
                  <a:gd name="T77" fmla="*/ 54 h 198"/>
                  <a:gd name="T78" fmla="*/ 22 w 108"/>
                  <a:gd name="T79" fmla="*/ 58 h 198"/>
                  <a:gd name="T80" fmla="*/ 21 w 108"/>
                  <a:gd name="T81" fmla="*/ 63 h 198"/>
                  <a:gd name="T82" fmla="*/ 29 w 108"/>
                  <a:gd name="T83" fmla="*/ 74 h 198"/>
                  <a:gd name="T84" fmla="*/ 37 w 108"/>
                  <a:gd name="T85" fmla="*/ 80 h 198"/>
                  <a:gd name="T86" fmla="*/ 42 w 108"/>
                  <a:gd name="T87" fmla="*/ 85 h 198"/>
                  <a:gd name="T88" fmla="*/ 53 w 108"/>
                  <a:gd name="T89" fmla="*/ 96 h 198"/>
                  <a:gd name="T90" fmla="*/ 62 w 108"/>
                  <a:gd name="T91" fmla="*/ 109 h 198"/>
                  <a:gd name="T92" fmla="*/ 68 w 108"/>
                  <a:gd name="T93" fmla="*/ 125 h 198"/>
                  <a:gd name="T94" fmla="*/ 68 w 108"/>
                  <a:gd name="T95" fmla="*/ 13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8" h="198">
                    <a:moveTo>
                      <a:pt x="68" y="147"/>
                    </a:moveTo>
                    <a:lnTo>
                      <a:pt x="68" y="147"/>
                    </a:lnTo>
                    <a:lnTo>
                      <a:pt x="69" y="147"/>
                    </a:lnTo>
                    <a:lnTo>
                      <a:pt x="70" y="147"/>
                    </a:lnTo>
                    <a:lnTo>
                      <a:pt x="72" y="149"/>
                    </a:lnTo>
                    <a:lnTo>
                      <a:pt x="73" y="150"/>
                    </a:lnTo>
                    <a:lnTo>
                      <a:pt x="75" y="151"/>
                    </a:lnTo>
                    <a:lnTo>
                      <a:pt x="75" y="153"/>
                    </a:lnTo>
                    <a:lnTo>
                      <a:pt x="76" y="155"/>
                    </a:lnTo>
                    <a:lnTo>
                      <a:pt x="76" y="157"/>
                    </a:lnTo>
                    <a:lnTo>
                      <a:pt x="72" y="176"/>
                    </a:lnTo>
                    <a:lnTo>
                      <a:pt x="59" y="182"/>
                    </a:lnTo>
                    <a:lnTo>
                      <a:pt x="55" y="187"/>
                    </a:lnTo>
                    <a:lnTo>
                      <a:pt x="50" y="187"/>
                    </a:lnTo>
                    <a:lnTo>
                      <a:pt x="46" y="198"/>
                    </a:lnTo>
                    <a:lnTo>
                      <a:pt x="54" y="197"/>
                    </a:lnTo>
                    <a:lnTo>
                      <a:pt x="73" y="198"/>
                    </a:lnTo>
                    <a:lnTo>
                      <a:pt x="75" y="197"/>
                    </a:lnTo>
                    <a:lnTo>
                      <a:pt x="79" y="194"/>
                    </a:lnTo>
                    <a:lnTo>
                      <a:pt x="84" y="188"/>
                    </a:lnTo>
                    <a:lnTo>
                      <a:pt x="90" y="182"/>
                    </a:lnTo>
                    <a:lnTo>
                      <a:pt x="95" y="175"/>
                    </a:lnTo>
                    <a:lnTo>
                      <a:pt x="101" y="169"/>
                    </a:lnTo>
                    <a:lnTo>
                      <a:pt x="105" y="164"/>
                    </a:lnTo>
                    <a:lnTo>
                      <a:pt x="106" y="160"/>
                    </a:lnTo>
                    <a:lnTo>
                      <a:pt x="106" y="157"/>
                    </a:lnTo>
                    <a:lnTo>
                      <a:pt x="108" y="154"/>
                    </a:lnTo>
                    <a:lnTo>
                      <a:pt x="108" y="151"/>
                    </a:lnTo>
                    <a:lnTo>
                      <a:pt x="108" y="150"/>
                    </a:lnTo>
                    <a:lnTo>
                      <a:pt x="106" y="149"/>
                    </a:lnTo>
                    <a:lnTo>
                      <a:pt x="106" y="147"/>
                    </a:lnTo>
                    <a:lnTo>
                      <a:pt x="106" y="146"/>
                    </a:lnTo>
                    <a:lnTo>
                      <a:pt x="106" y="146"/>
                    </a:lnTo>
                    <a:lnTo>
                      <a:pt x="102" y="120"/>
                    </a:lnTo>
                    <a:lnTo>
                      <a:pt x="102" y="118"/>
                    </a:lnTo>
                    <a:lnTo>
                      <a:pt x="102" y="117"/>
                    </a:lnTo>
                    <a:lnTo>
                      <a:pt x="101" y="113"/>
                    </a:lnTo>
                    <a:lnTo>
                      <a:pt x="101" y="109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1" y="95"/>
                    </a:lnTo>
                    <a:lnTo>
                      <a:pt x="84" y="92"/>
                    </a:lnTo>
                    <a:lnTo>
                      <a:pt x="70" y="87"/>
                    </a:lnTo>
                    <a:lnTo>
                      <a:pt x="57" y="63"/>
                    </a:lnTo>
                    <a:lnTo>
                      <a:pt x="57" y="54"/>
                    </a:lnTo>
                    <a:lnTo>
                      <a:pt x="57" y="52"/>
                    </a:lnTo>
                    <a:lnTo>
                      <a:pt x="57" y="51"/>
                    </a:lnTo>
                    <a:lnTo>
                      <a:pt x="58" y="48"/>
                    </a:lnTo>
                    <a:lnTo>
                      <a:pt x="59" y="45"/>
                    </a:lnTo>
                    <a:lnTo>
                      <a:pt x="61" y="43"/>
                    </a:lnTo>
                    <a:lnTo>
                      <a:pt x="64" y="40"/>
                    </a:lnTo>
                    <a:lnTo>
                      <a:pt x="68" y="39"/>
                    </a:lnTo>
                    <a:lnTo>
                      <a:pt x="72" y="37"/>
                    </a:lnTo>
                    <a:lnTo>
                      <a:pt x="72" y="37"/>
                    </a:lnTo>
                    <a:lnTo>
                      <a:pt x="73" y="37"/>
                    </a:lnTo>
                    <a:lnTo>
                      <a:pt x="75" y="36"/>
                    </a:lnTo>
                    <a:lnTo>
                      <a:pt x="76" y="36"/>
                    </a:lnTo>
                    <a:lnTo>
                      <a:pt x="79" y="34"/>
                    </a:lnTo>
                    <a:lnTo>
                      <a:pt x="81" y="33"/>
                    </a:lnTo>
                    <a:lnTo>
                      <a:pt x="83" y="32"/>
                    </a:lnTo>
                    <a:lnTo>
                      <a:pt x="86" y="30"/>
                    </a:lnTo>
                    <a:lnTo>
                      <a:pt x="86" y="29"/>
                    </a:lnTo>
                    <a:lnTo>
                      <a:pt x="84" y="28"/>
                    </a:lnTo>
                    <a:lnTo>
                      <a:pt x="84" y="25"/>
                    </a:lnTo>
                    <a:lnTo>
                      <a:pt x="84" y="23"/>
                    </a:lnTo>
                    <a:lnTo>
                      <a:pt x="83" y="21"/>
                    </a:lnTo>
                    <a:lnTo>
                      <a:pt x="81" y="18"/>
                    </a:lnTo>
                    <a:lnTo>
                      <a:pt x="80" y="15"/>
                    </a:lnTo>
                    <a:lnTo>
                      <a:pt x="77" y="14"/>
                    </a:lnTo>
                    <a:lnTo>
                      <a:pt x="77" y="14"/>
                    </a:lnTo>
                    <a:lnTo>
                      <a:pt x="76" y="12"/>
                    </a:lnTo>
                    <a:lnTo>
                      <a:pt x="75" y="10"/>
                    </a:lnTo>
                    <a:lnTo>
                      <a:pt x="73" y="8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5" y="3"/>
                    </a:lnTo>
                    <a:lnTo>
                      <a:pt x="61" y="1"/>
                    </a:lnTo>
                    <a:lnTo>
                      <a:pt x="61" y="1"/>
                    </a:lnTo>
                    <a:lnTo>
                      <a:pt x="59" y="3"/>
                    </a:lnTo>
                    <a:lnTo>
                      <a:pt x="58" y="3"/>
                    </a:lnTo>
                    <a:lnTo>
                      <a:pt x="57" y="3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7" y="4"/>
                    </a:lnTo>
                    <a:lnTo>
                      <a:pt x="42" y="3"/>
                    </a:lnTo>
                    <a:lnTo>
                      <a:pt x="37" y="3"/>
                    </a:lnTo>
                    <a:lnTo>
                      <a:pt x="35" y="1"/>
                    </a:lnTo>
                    <a:lnTo>
                      <a:pt x="31" y="1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9" y="17"/>
                    </a:lnTo>
                    <a:lnTo>
                      <a:pt x="13" y="30"/>
                    </a:lnTo>
                    <a:lnTo>
                      <a:pt x="24" y="36"/>
                    </a:lnTo>
                    <a:lnTo>
                      <a:pt x="26" y="39"/>
                    </a:lnTo>
                    <a:lnTo>
                      <a:pt x="29" y="41"/>
                    </a:lnTo>
                    <a:lnTo>
                      <a:pt x="29" y="45"/>
                    </a:lnTo>
                    <a:lnTo>
                      <a:pt x="28" y="48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5" y="56"/>
                    </a:lnTo>
                    <a:lnTo>
                      <a:pt x="24" y="56"/>
                    </a:lnTo>
                    <a:lnTo>
                      <a:pt x="22" y="58"/>
                    </a:lnTo>
                    <a:lnTo>
                      <a:pt x="21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2" y="67"/>
                    </a:lnTo>
                    <a:lnTo>
                      <a:pt x="26" y="70"/>
                    </a:lnTo>
                    <a:lnTo>
                      <a:pt x="29" y="74"/>
                    </a:lnTo>
                    <a:lnTo>
                      <a:pt x="33" y="77"/>
                    </a:lnTo>
                    <a:lnTo>
                      <a:pt x="36" y="80"/>
                    </a:lnTo>
                    <a:lnTo>
                      <a:pt x="37" y="80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8" y="92"/>
                    </a:lnTo>
                    <a:lnTo>
                      <a:pt x="53" y="96"/>
                    </a:lnTo>
                    <a:lnTo>
                      <a:pt x="57" y="100"/>
                    </a:lnTo>
                    <a:lnTo>
                      <a:pt x="59" y="105"/>
                    </a:lnTo>
                    <a:lnTo>
                      <a:pt x="62" y="109"/>
                    </a:lnTo>
                    <a:lnTo>
                      <a:pt x="65" y="113"/>
                    </a:lnTo>
                    <a:lnTo>
                      <a:pt x="66" y="120"/>
                    </a:lnTo>
                    <a:lnTo>
                      <a:pt x="68" y="125"/>
                    </a:lnTo>
                    <a:lnTo>
                      <a:pt x="68" y="131"/>
                    </a:lnTo>
                    <a:lnTo>
                      <a:pt x="68" y="135"/>
                    </a:lnTo>
                    <a:lnTo>
                      <a:pt x="68" y="138"/>
                    </a:lnTo>
                    <a:lnTo>
                      <a:pt x="68" y="139"/>
                    </a:lnTo>
                    <a:lnTo>
                      <a:pt x="68" y="14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0" name="Freeform 822"/>
              <p:cNvSpPr>
                <a:spLocks/>
              </p:cNvSpPr>
              <p:nvPr/>
            </p:nvSpPr>
            <p:spPr bwMode="auto">
              <a:xfrm>
                <a:off x="4256" y="2572"/>
                <a:ext cx="108" cy="198"/>
              </a:xfrm>
              <a:custGeom>
                <a:avLst/>
                <a:gdLst>
                  <a:gd name="T0" fmla="*/ 70 w 108"/>
                  <a:gd name="T1" fmla="*/ 147 h 198"/>
                  <a:gd name="T2" fmla="*/ 75 w 108"/>
                  <a:gd name="T3" fmla="*/ 151 h 198"/>
                  <a:gd name="T4" fmla="*/ 76 w 108"/>
                  <a:gd name="T5" fmla="*/ 157 h 198"/>
                  <a:gd name="T6" fmla="*/ 55 w 108"/>
                  <a:gd name="T7" fmla="*/ 187 h 198"/>
                  <a:gd name="T8" fmla="*/ 54 w 108"/>
                  <a:gd name="T9" fmla="*/ 197 h 198"/>
                  <a:gd name="T10" fmla="*/ 79 w 108"/>
                  <a:gd name="T11" fmla="*/ 194 h 198"/>
                  <a:gd name="T12" fmla="*/ 95 w 108"/>
                  <a:gd name="T13" fmla="*/ 175 h 198"/>
                  <a:gd name="T14" fmla="*/ 106 w 108"/>
                  <a:gd name="T15" fmla="*/ 160 h 198"/>
                  <a:gd name="T16" fmla="*/ 108 w 108"/>
                  <a:gd name="T17" fmla="*/ 151 h 198"/>
                  <a:gd name="T18" fmla="*/ 106 w 108"/>
                  <a:gd name="T19" fmla="*/ 147 h 198"/>
                  <a:gd name="T20" fmla="*/ 102 w 108"/>
                  <a:gd name="T21" fmla="*/ 118 h 198"/>
                  <a:gd name="T22" fmla="*/ 101 w 108"/>
                  <a:gd name="T23" fmla="*/ 109 h 198"/>
                  <a:gd name="T24" fmla="*/ 91 w 108"/>
                  <a:gd name="T25" fmla="*/ 95 h 198"/>
                  <a:gd name="T26" fmla="*/ 57 w 108"/>
                  <a:gd name="T27" fmla="*/ 63 h 198"/>
                  <a:gd name="T28" fmla="*/ 57 w 108"/>
                  <a:gd name="T29" fmla="*/ 51 h 198"/>
                  <a:gd name="T30" fmla="*/ 61 w 108"/>
                  <a:gd name="T31" fmla="*/ 43 h 198"/>
                  <a:gd name="T32" fmla="*/ 72 w 108"/>
                  <a:gd name="T33" fmla="*/ 37 h 198"/>
                  <a:gd name="T34" fmla="*/ 76 w 108"/>
                  <a:gd name="T35" fmla="*/ 36 h 198"/>
                  <a:gd name="T36" fmla="*/ 83 w 108"/>
                  <a:gd name="T37" fmla="*/ 32 h 198"/>
                  <a:gd name="T38" fmla="*/ 84 w 108"/>
                  <a:gd name="T39" fmla="*/ 28 h 198"/>
                  <a:gd name="T40" fmla="*/ 83 w 108"/>
                  <a:gd name="T41" fmla="*/ 21 h 198"/>
                  <a:gd name="T42" fmla="*/ 77 w 108"/>
                  <a:gd name="T43" fmla="*/ 14 h 198"/>
                  <a:gd name="T44" fmla="*/ 73 w 108"/>
                  <a:gd name="T45" fmla="*/ 8 h 198"/>
                  <a:gd name="T46" fmla="*/ 65 w 108"/>
                  <a:gd name="T47" fmla="*/ 3 h 198"/>
                  <a:gd name="T48" fmla="*/ 58 w 108"/>
                  <a:gd name="T49" fmla="*/ 3 h 198"/>
                  <a:gd name="T50" fmla="*/ 51 w 108"/>
                  <a:gd name="T51" fmla="*/ 4 h 198"/>
                  <a:gd name="T52" fmla="*/ 37 w 108"/>
                  <a:gd name="T53" fmla="*/ 3 h 198"/>
                  <a:gd name="T54" fmla="*/ 28 w 108"/>
                  <a:gd name="T55" fmla="*/ 0 h 198"/>
                  <a:gd name="T56" fmla="*/ 21 w 108"/>
                  <a:gd name="T57" fmla="*/ 0 h 198"/>
                  <a:gd name="T58" fmla="*/ 14 w 108"/>
                  <a:gd name="T59" fmla="*/ 1 h 198"/>
                  <a:gd name="T60" fmla="*/ 4 w 108"/>
                  <a:gd name="T61" fmla="*/ 3 h 198"/>
                  <a:gd name="T62" fmla="*/ 0 w 108"/>
                  <a:gd name="T63" fmla="*/ 10 h 198"/>
                  <a:gd name="T64" fmla="*/ 4 w 108"/>
                  <a:gd name="T65" fmla="*/ 11 h 198"/>
                  <a:gd name="T66" fmla="*/ 9 w 108"/>
                  <a:gd name="T67" fmla="*/ 14 h 198"/>
                  <a:gd name="T68" fmla="*/ 24 w 108"/>
                  <a:gd name="T69" fmla="*/ 36 h 198"/>
                  <a:gd name="T70" fmla="*/ 29 w 108"/>
                  <a:gd name="T71" fmla="*/ 45 h 198"/>
                  <a:gd name="T72" fmla="*/ 26 w 108"/>
                  <a:gd name="T73" fmla="*/ 54 h 198"/>
                  <a:gd name="T74" fmla="*/ 22 w 108"/>
                  <a:gd name="T75" fmla="*/ 58 h 198"/>
                  <a:gd name="T76" fmla="*/ 21 w 108"/>
                  <a:gd name="T77" fmla="*/ 63 h 198"/>
                  <a:gd name="T78" fmla="*/ 29 w 108"/>
                  <a:gd name="T79" fmla="*/ 74 h 198"/>
                  <a:gd name="T80" fmla="*/ 37 w 108"/>
                  <a:gd name="T81" fmla="*/ 80 h 198"/>
                  <a:gd name="T82" fmla="*/ 42 w 108"/>
                  <a:gd name="T83" fmla="*/ 85 h 198"/>
                  <a:gd name="T84" fmla="*/ 53 w 108"/>
                  <a:gd name="T85" fmla="*/ 96 h 198"/>
                  <a:gd name="T86" fmla="*/ 62 w 108"/>
                  <a:gd name="T87" fmla="*/ 109 h 198"/>
                  <a:gd name="T88" fmla="*/ 68 w 108"/>
                  <a:gd name="T89" fmla="*/ 125 h 198"/>
                  <a:gd name="T90" fmla="*/ 68 w 108"/>
                  <a:gd name="T91" fmla="*/ 13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8" h="198">
                    <a:moveTo>
                      <a:pt x="68" y="147"/>
                    </a:moveTo>
                    <a:lnTo>
                      <a:pt x="69" y="147"/>
                    </a:lnTo>
                    <a:lnTo>
                      <a:pt x="70" y="147"/>
                    </a:lnTo>
                    <a:lnTo>
                      <a:pt x="72" y="149"/>
                    </a:lnTo>
                    <a:lnTo>
                      <a:pt x="73" y="150"/>
                    </a:lnTo>
                    <a:lnTo>
                      <a:pt x="75" y="151"/>
                    </a:lnTo>
                    <a:lnTo>
                      <a:pt x="75" y="153"/>
                    </a:lnTo>
                    <a:lnTo>
                      <a:pt x="76" y="155"/>
                    </a:lnTo>
                    <a:lnTo>
                      <a:pt x="76" y="157"/>
                    </a:lnTo>
                    <a:lnTo>
                      <a:pt x="72" y="176"/>
                    </a:lnTo>
                    <a:lnTo>
                      <a:pt x="59" y="182"/>
                    </a:lnTo>
                    <a:lnTo>
                      <a:pt x="55" y="187"/>
                    </a:lnTo>
                    <a:lnTo>
                      <a:pt x="50" y="187"/>
                    </a:lnTo>
                    <a:lnTo>
                      <a:pt x="46" y="198"/>
                    </a:lnTo>
                    <a:lnTo>
                      <a:pt x="54" y="197"/>
                    </a:lnTo>
                    <a:lnTo>
                      <a:pt x="73" y="198"/>
                    </a:lnTo>
                    <a:lnTo>
                      <a:pt x="75" y="197"/>
                    </a:lnTo>
                    <a:lnTo>
                      <a:pt x="79" y="194"/>
                    </a:lnTo>
                    <a:lnTo>
                      <a:pt x="84" y="188"/>
                    </a:lnTo>
                    <a:lnTo>
                      <a:pt x="90" y="182"/>
                    </a:lnTo>
                    <a:lnTo>
                      <a:pt x="95" y="175"/>
                    </a:lnTo>
                    <a:lnTo>
                      <a:pt x="101" y="169"/>
                    </a:lnTo>
                    <a:lnTo>
                      <a:pt x="105" y="164"/>
                    </a:lnTo>
                    <a:lnTo>
                      <a:pt x="106" y="160"/>
                    </a:lnTo>
                    <a:lnTo>
                      <a:pt x="106" y="157"/>
                    </a:lnTo>
                    <a:lnTo>
                      <a:pt x="108" y="154"/>
                    </a:lnTo>
                    <a:lnTo>
                      <a:pt x="108" y="151"/>
                    </a:lnTo>
                    <a:lnTo>
                      <a:pt x="108" y="150"/>
                    </a:lnTo>
                    <a:lnTo>
                      <a:pt x="106" y="149"/>
                    </a:lnTo>
                    <a:lnTo>
                      <a:pt x="106" y="147"/>
                    </a:lnTo>
                    <a:lnTo>
                      <a:pt x="106" y="146"/>
                    </a:lnTo>
                    <a:lnTo>
                      <a:pt x="102" y="120"/>
                    </a:lnTo>
                    <a:lnTo>
                      <a:pt x="102" y="118"/>
                    </a:lnTo>
                    <a:lnTo>
                      <a:pt x="102" y="117"/>
                    </a:lnTo>
                    <a:lnTo>
                      <a:pt x="101" y="113"/>
                    </a:lnTo>
                    <a:lnTo>
                      <a:pt x="101" y="109"/>
                    </a:lnTo>
                    <a:lnTo>
                      <a:pt x="98" y="105"/>
                    </a:lnTo>
                    <a:lnTo>
                      <a:pt x="95" y="99"/>
                    </a:lnTo>
                    <a:lnTo>
                      <a:pt x="91" y="95"/>
                    </a:lnTo>
                    <a:lnTo>
                      <a:pt x="84" y="92"/>
                    </a:lnTo>
                    <a:lnTo>
                      <a:pt x="70" y="87"/>
                    </a:lnTo>
                    <a:lnTo>
                      <a:pt x="57" y="63"/>
                    </a:lnTo>
                    <a:lnTo>
                      <a:pt x="57" y="54"/>
                    </a:lnTo>
                    <a:lnTo>
                      <a:pt x="57" y="52"/>
                    </a:lnTo>
                    <a:lnTo>
                      <a:pt x="57" y="51"/>
                    </a:lnTo>
                    <a:lnTo>
                      <a:pt x="58" y="48"/>
                    </a:lnTo>
                    <a:lnTo>
                      <a:pt x="59" y="45"/>
                    </a:lnTo>
                    <a:lnTo>
                      <a:pt x="61" y="43"/>
                    </a:lnTo>
                    <a:lnTo>
                      <a:pt x="64" y="40"/>
                    </a:lnTo>
                    <a:lnTo>
                      <a:pt x="68" y="39"/>
                    </a:lnTo>
                    <a:lnTo>
                      <a:pt x="72" y="37"/>
                    </a:lnTo>
                    <a:lnTo>
                      <a:pt x="73" y="37"/>
                    </a:lnTo>
                    <a:lnTo>
                      <a:pt x="75" y="36"/>
                    </a:lnTo>
                    <a:lnTo>
                      <a:pt x="76" y="36"/>
                    </a:lnTo>
                    <a:lnTo>
                      <a:pt x="79" y="34"/>
                    </a:lnTo>
                    <a:lnTo>
                      <a:pt x="81" y="33"/>
                    </a:lnTo>
                    <a:lnTo>
                      <a:pt x="83" y="32"/>
                    </a:lnTo>
                    <a:lnTo>
                      <a:pt x="86" y="30"/>
                    </a:lnTo>
                    <a:lnTo>
                      <a:pt x="86" y="29"/>
                    </a:lnTo>
                    <a:lnTo>
                      <a:pt x="84" y="28"/>
                    </a:lnTo>
                    <a:lnTo>
                      <a:pt x="84" y="25"/>
                    </a:lnTo>
                    <a:lnTo>
                      <a:pt x="84" y="23"/>
                    </a:lnTo>
                    <a:lnTo>
                      <a:pt x="83" y="21"/>
                    </a:lnTo>
                    <a:lnTo>
                      <a:pt x="81" y="18"/>
                    </a:lnTo>
                    <a:lnTo>
                      <a:pt x="80" y="15"/>
                    </a:lnTo>
                    <a:lnTo>
                      <a:pt x="77" y="14"/>
                    </a:lnTo>
                    <a:lnTo>
                      <a:pt x="76" y="12"/>
                    </a:lnTo>
                    <a:lnTo>
                      <a:pt x="75" y="10"/>
                    </a:lnTo>
                    <a:lnTo>
                      <a:pt x="73" y="8"/>
                    </a:lnTo>
                    <a:lnTo>
                      <a:pt x="70" y="6"/>
                    </a:lnTo>
                    <a:lnTo>
                      <a:pt x="68" y="4"/>
                    </a:lnTo>
                    <a:lnTo>
                      <a:pt x="65" y="3"/>
                    </a:lnTo>
                    <a:lnTo>
                      <a:pt x="61" y="1"/>
                    </a:lnTo>
                    <a:lnTo>
                      <a:pt x="59" y="3"/>
                    </a:lnTo>
                    <a:lnTo>
                      <a:pt x="58" y="3"/>
                    </a:lnTo>
                    <a:lnTo>
                      <a:pt x="57" y="3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7" y="4"/>
                    </a:lnTo>
                    <a:lnTo>
                      <a:pt x="42" y="3"/>
                    </a:lnTo>
                    <a:lnTo>
                      <a:pt x="37" y="3"/>
                    </a:lnTo>
                    <a:lnTo>
                      <a:pt x="35" y="1"/>
                    </a:lnTo>
                    <a:lnTo>
                      <a:pt x="31" y="1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0" y="1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9" y="17"/>
                    </a:lnTo>
                    <a:lnTo>
                      <a:pt x="13" y="30"/>
                    </a:lnTo>
                    <a:lnTo>
                      <a:pt x="24" y="36"/>
                    </a:lnTo>
                    <a:lnTo>
                      <a:pt x="26" y="39"/>
                    </a:lnTo>
                    <a:lnTo>
                      <a:pt x="29" y="41"/>
                    </a:lnTo>
                    <a:lnTo>
                      <a:pt x="29" y="45"/>
                    </a:lnTo>
                    <a:lnTo>
                      <a:pt x="28" y="48"/>
                    </a:lnTo>
                    <a:lnTo>
                      <a:pt x="26" y="52"/>
                    </a:lnTo>
                    <a:lnTo>
                      <a:pt x="26" y="54"/>
                    </a:lnTo>
                    <a:lnTo>
                      <a:pt x="25" y="56"/>
                    </a:lnTo>
                    <a:lnTo>
                      <a:pt x="24" y="56"/>
                    </a:lnTo>
                    <a:lnTo>
                      <a:pt x="22" y="58"/>
                    </a:lnTo>
                    <a:lnTo>
                      <a:pt x="21" y="59"/>
                    </a:lnTo>
                    <a:lnTo>
                      <a:pt x="21" y="61"/>
                    </a:lnTo>
                    <a:lnTo>
                      <a:pt x="21" y="63"/>
                    </a:lnTo>
                    <a:lnTo>
                      <a:pt x="22" y="67"/>
                    </a:lnTo>
                    <a:lnTo>
                      <a:pt x="26" y="70"/>
                    </a:lnTo>
                    <a:lnTo>
                      <a:pt x="29" y="74"/>
                    </a:lnTo>
                    <a:lnTo>
                      <a:pt x="33" y="77"/>
                    </a:lnTo>
                    <a:lnTo>
                      <a:pt x="36" y="80"/>
                    </a:lnTo>
                    <a:lnTo>
                      <a:pt x="37" y="80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8" y="92"/>
                    </a:lnTo>
                    <a:lnTo>
                      <a:pt x="53" y="96"/>
                    </a:lnTo>
                    <a:lnTo>
                      <a:pt x="57" y="100"/>
                    </a:lnTo>
                    <a:lnTo>
                      <a:pt x="59" y="105"/>
                    </a:lnTo>
                    <a:lnTo>
                      <a:pt x="62" y="109"/>
                    </a:lnTo>
                    <a:lnTo>
                      <a:pt x="65" y="113"/>
                    </a:lnTo>
                    <a:lnTo>
                      <a:pt x="66" y="120"/>
                    </a:lnTo>
                    <a:lnTo>
                      <a:pt x="68" y="125"/>
                    </a:lnTo>
                    <a:lnTo>
                      <a:pt x="68" y="131"/>
                    </a:lnTo>
                    <a:lnTo>
                      <a:pt x="68" y="135"/>
                    </a:lnTo>
                    <a:lnTo>
                      <a:pt x="68" y="138"/>
                    </a:lnTo>
                    <a:lnTo>
                      <a:pt x="68" y="139"/>
                    </a:lnTo>
                    <a:lnTo>
                      <a:pt x="68" y="14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1" name="Freeform 823"/>
              <p:cNvSpPr>
                <a:spLocks/>
              </p:cNvSpPr>
              <p:nvPr/>
            </p:nvSpPr>
            <p:spPr bwMode="auto">
              <a:xfrm>
                <a:off x="4197" y="2615"/>
                <a:ext cx="98" cy="246"/>
              </a:xfrm>
              <a:custGeom>
                <a:avLst/>
                <a:gdLst>
                  <a:gd name="T0" fmla="*/ 19 w 98"/>
                  <a:gd name="T1" fmla="*/ 1 h 246"/>
                  <a:gd name="T2" fmla="*/ 8 w 98"/>
                  <a:gd name="T3" fmla="*/ 12 h 246"/>
                  <a:gd name="T4" fmla="*/ 8 w 98"/>
                  <a:gd name="T5" fmla="*/ 45 h 246"/>
                  <a:gd name="T6" fmla="*/ 6 w 98"/>
                  <a:gd name="T7" fmla="*/ 48 h 246"/>
                  <a:gd name="T8" fmla="*/ 3 w 98"/>
                  <a:gd name="T9" fmla="*/ 57 h 246"/>
                  <a:gd name="T10" fmla="*/ 6 w 98"/>
                  <a:gd name="T11" fmla="*/ 70 h 246"/>
                  <a:gd name="T12" fmla="*/ 6 w 98"/>
                  <a:gd name="T13" fmla="*/ 81 h 246"/>
                  <a:gd name="T14" fmla="*/ 10 w 98"/>
                  <a:gd name="T15" fmla="*/ 100 h 246"/>
                  <a:gd name="T16" fmla="*/ 10 w 98"/>
                  <a:gd name="T17" fmla="*/ 141 h 246"/>
                  <a:gd name="T18" fmla="*/ 10 w 98"/>
                  <a:gd name="T19" fmla="*/ 156 h 246"/>
                  <a:gd name="T20" fmla="*/ 6 w 98"/>
                  <a:gd name="T21" fmla="*/ 183 h 246"/>
                  <a:gd name="T22" fmla="*/ 0 w 98"/>
                  <a:gd name="T23" fmla="*/ 206 h 246"/>
                  <a:gd name="T24" fmla="*/ 0 w 98"/>
                  <a:gd name="T25" fmla="*/ 207 h 246"/>
                  <a:gd name="T26" fmla="*/ 4 w 98"/>
                  <a:gd name="T27" fmla="*/ 215 h 246"/>
                  <a:gd name="T28" fmla="*/ 30 w 98"/>
                  <a:gd name="T29" fmla="*/ 237 h 246"/>
                  <a:gd name="T30" fmla="*/ 69 w 98"/>
                  <a:gd name="T31" fmla="*/ 243 h 246"/>
                  <a:gd name="T32" fmla="*/ 26 w 98"/>
                  <a:gd name="T33" fmla="*/ 198 h 246"/>
                  <a:gd name="T34" fmla="*/ 21 w 98"/>
                  <a:gd name="T35" fmla="*/ 188 h 246"/>
                  <a:gd name="T36" fmla="*/ 18 w 98"/>
                  <a:gd name="T37" fmla="*/ 166 h 246"/>
                  <a:gd name="T38" fmla="*/ 21 w 98"/>
                  <a:gd name="T39" fmla="*/ 148 h 246"/>
                  <a:gd name="T40" fmla="*/ 26 w 98"/>
                  <a:gd name="T41" fmla="*/ 125 h 246"/>
                  <a:gd name="T42" fmla="*/ 30 w 98"/>
                  <a:gd name="T43" fmla="*/ 106 h 246"/>
                  <a:gd name="T44" fmla="*/ 30 w 98"/>
                  <a:gd name="T45" fmla="*/ 101 h 246"/>
                  <a:gd name="T46" fmla="*/ 33 w 98"/>
                  <a:gd name="T47" fmla="*/ 97 h 246"/>
                  <a:gd name="T48" fmla="*/ 37 w 98"/>
                  <a:gd name="T49" fmla="*/ 97 h 246"/>
                  <a:gd name="T50" fmla="*/ 39 w 98"/>
                  <a:gd name="T51" fmla="*/ 101 h 246"/>
                  <a:gd name="T52" fmla="*/ 40 w 98"/>
                  <a:gd name="T53" fmla="*/ 107 h 246"/>
                  <a:gd name="T54" fmla="*/ 58 w 98"/>
                  <a:gd name="T55" fmla="*/ 136 h 246"/>
                  <a:gd name="T56" fmla="*/ 57 w 98"/>
                  <a:gd name="T57" fmla="*/ 126 h 246"/>
                  <a:gd name="T58" fmla="*/ 58 w 98"/>
                  <a:gd name="T59" fmla="*/ 107 h 246"/>
                  <a:gd name="T60" fmla="*/ 66 w 98"/>
                  <a:gd name="T61" fmla="*/ 97 h 246"/>
                  <a:gd name="T62" fmla="*/ 73 w 98"/>
                  <a:gd name="T63" fmla="*/ 96 h 246"/>
                  <a:gd name="T64" fmla="*/ 83 w 98"/>
                  <a:gd name="T65" fmla="*/ 95 h 246"/>
                  <a:gd name="T66" fmla="*/ 96 w 98"/>
                  <a:gd name="T67" fmla="*/ 97 h 246"/>
                  <a:gd name="T68" fmla="*/ 98 w 98"/>
                  <a:gd name="T69" fmla="*/ 90 h 246"/>
                  <a:gd name="T70" fmla="*/ 98 w 98"/>
                  <a:gd name="T71" fmla="*/ 77 h 246"/>
                  <a:gd name="T72" fmla="*/ 95 w 98"/>
                  <a:gd name="T73" fmla="*/ 68 h 246"/>
                  <a:gd name="T74" fmla="*/ 90 w 98"/>
                  <a:gd name="T75" fmla="*/ 56 h 246"/>
                  <a:gd name="T76" fmla="*/ 76 w 98"/>
                  <a:gd name="T77" fmla="*/ 38 h 246"/>
                  <a:gd name="T78" fmla="*/ 72 w 98"/>
                  <a:gd name="T79" fmla="*/ 35 h 246"/>
                  <a:gd name="T80" fmla="*/ 63 w 98"/>
                  <a:gd name="T81" fmla="*/ 34 h 246"/>
                  <a:gd name="T82" fmla="*/ 57 w 98"/>
                  <a:gd name="T83" fmla="*/ 38 h 246"/>
                  <a:gd name="T84" fmla="*/ 50 w 98"/>
                  <a:gd name="T85" fmla="*/ 41 h 246"/>
                  <a:gd name="T86" fmla="*/ 46 w 98"/>
                  <a:gd name="T87" fmla="*/ 41 h 246"/>
                  <a:gd name="T88" fmla="*/ 47 w 98"/>
                  <a:gd name="T89" fmla="*/ 37 h 246"/>
                  <a:gd name="T90" fmla="*/ 50 w 98"/>
                  <a:gd name="T91" fmla="*/ 23 h 246"/>
                  <a:gd name="T92" fmla="*/ 48 w 98"/>
                  <a:gd name="T93" fmla="*/ 11 h 246"/>
                  <a:gd name="T94" fmla="*/ 36 w 98"/>
                  <a:gd name="T95" fmla="*/ 9 h 246"/>
                  <a:gd name="T96" fmla="*/ 35 w 98"/>
                  <a:gd name="T97" fmla="*/ 5 h 246"/>
                  <a:gd name="T98" fmla="*/ 33 w 98"/>
                  <a:gd name="T99" fmla="*/ 1 h 246"/>
                  <a:gd name="T100" fmla="*/ 29 w 98"/>
                  <a:gd name="T101" fmla="*/ 0 h 246"/>
                  <a:gd name="T102" fmla="*/ 25 w 98"/>
                  <a:gd name="T103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8" h="246">
                    <a:moveTo>
                      <a:pt x="25" y="0"/>
                    </a:moveTo>
                    <a:lnTo>
                      <a:pt x="24" y="0"/>
                    </a:lnTo>
                    <a:lnTo>
                      <a:pt x="19" y="1"/>
                    </a:lnTo>
                    <a:lnTo>
                      <a:pt x="15" y="2"/>
                    </a:lnTo>
                    <a:lnTo>
                      <a:pt x="11" y="7"/>
                    </a:lnTo>
                    <a:lnTo>
                      <a:pt x="8" y="12"/>
                    </a:lnTo>
                    <a:lnTo>
                      <a:pt x="6" y="20"/>
                    </a:lnTo>
                    <a:lnTo>
                      <a:pt x="6" y="31"/>
                    </a:lnTo>
                    <a:lnTo>
                      <a:pt x="8" y="45"/>
                    </a:lnTo>
                    <a:lnTo>
                      <a:pt x="8" y="45"/>
                    </a:lnTo>
                    <a:lnTo>
                      <a:pt x="7" y="46"/>
                    </a:lnTo>
                    <a:lnTo>
                      <a:pt x="6" y="48"/>
                    </a:lnTo>
                    <a:lnTo>
                      <a:pt x="4" y="49"/>
                    </a:lnTo>
                    <a:lnTo>
                      <a:pt x="4" y="53"/>
                    </a:lnTo>
                    <a:lnTo>
                      <a:pt x="3" y="57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6" y="73"/>
                    </a:lnTo>
                    <a:lnTo>
                      <a:pt x="6" y="77"/>
                    </a:lnTo>
                    <a:lnTo>
                      <a:pt x="6" y="81"/>
                    </a:lnTo>
                    <a:lnTo>
                      <a:pt x="6" y="88"/>
                    </a:lnTo>
                    <a:lnTo>
                      <a:pt x="7" y="93"/>
                    </a:lnTo>
                    <a:lnTo>
                      <a:pt x="10" y="100"/>
                    </a:lnTo>
                    <a:lnTo>
                      <a:pt x="14" y="106"/>
                    </a:lnTo>
                    <a:lnTo>
                      <a:pt x="11" y="133"/>
                    </a:lnTo>
                    <a:lnTo>
                      <a:pt x="10" y="141"/>
                    </a:lnTo>
                    <a:lnTo>
                      <a:pt x="11" y="150"/>
                    </a:lnTo>
                    <a:lnTo>
                      <a:pt x="10" y="151"/>
                    </a:lnTo>
                    <a:lnTo>
                      <a:pt x="10" y="156"/>
                    </a:lnTo>
                    <a:lnTo>
                      <a:pt x="8" y="163"/>
                    </a:lnTo>
                    <a:lnTo>
                      <a:pt x="7" y="173"/>
                    </a:lnTo>
                    <a:lnTo>
                      <a:pt x="6" y="183"/>
                    </a:lnTo>
                    <a:lnTo>
                      <a:pt x="4" y="192"/>
                    </a:lnTo>
                    <a:lnTo>
                      <a:pt x="3" y="199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206"/>
                    </a:lnTo>
                    <a:lnTo>
                      <a:pt x="0" y="207"/>
                    </a:lnTo>
                    <a:lnTo>
                      <a:pt x="0" y="209"/>
                    </a:lnTo>
                    <a:lnTo>
                      <a:pt x="2" y="211"/>
                    </a:lnTo>
                    <a:lnTo>
                      <a:pt x="4" y="215"/>
                    </a:lnTo>
                    <a:lnTo>
                      <a:pt x="8" y="220"/>
                    </a:lnTo>
                    <a:lnTo>
                      <a:pt x="14" y="226"/>
                    </a:lnTo>
                    <a:lnTo>
                      <a:pt x="30" y="237"/>
                    </a:lnTo>
                    <a:lnTo>
                      <a:pt x="50" y="235"/>
                    </a:lnTo>
                    <a:lnTo>
                      <a:pt x="61" y="246"/>
                    </a:lnTo>
                    <a:lnTo>
                      <a:pt x="69" y="243"/>
                    </a:lnTo>
                    <a:lnTo>
                      <a:pt x="55" y="226"/>
                    </a:lnTo>
                    <a:lnTo>
                      <a:pt x="26" y="199"/>
                    </a:lnTo>
                    <a:lnTo>
                      <a:pt x="26" y="198"/>
                    </a:lnTo>
                    <a:lnTo>
                      <a:pt x="25" y="196"/>
                    </a:lnTo>
                    <a:lnTo>
                      <a:pt x="22" y="192"/>
                    </a:lnTo>
                    <a:lnTo>
                      <a:pt x="21" y="188"/>
                    </a:lnTo>
                    <a:lnTo>
                      <a:pt x="18" y="181"/>
                    </a:lnTo>
                    <a:lnTo>
                      <a:pt x="18" y="174"/>
                    </a:lnTo>
                    <a:lnTo>
                      <a:pt x="18" y="166"/>
                    </a:lnTo>
                    <a:lnTo>
                      <a:pt x="19" y="155"/>
                    </a:lnTo>
                    <a:lnTo>
                      <a:pt x="19" y="154"/>
                    </a:lnTo>
                    <a:lnTo>
                      <a:pt x="21" y="148"/>
                    </a:lnTo>
                    <a:lnTo>
                      <a:pt x="24" y="141"/>
                    </a:lnTo>
                    <a:lnTo>
                      <a:pt x="25" y="134"/>
                    </a:lnTo>
                    <a:lnTo>
                      <a:pt x="26" y="125"/>
                    </a:lnTo>
                    <a:lnTo>
                      <a:pt x="29" y="117"/>
                    </a:lnTo>
                    <a:lnTo>
                      <a:pt x="29" y="110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1"/>
                    </a:lnTo>
                    <a:lnTo>
                      <a:pt x="30" y="100"/>
                    </a:lnTo>
                    <a:lnTo>
                      <a:pt x="32" y="99"/>
                    </a:lnTo>
                    <a:lnTo>
                      <a:pt x="33" y="97"/>
                    </a:lnTo>
                    <a:lnTo>
                      <a:pt x="35" y="97"/>
                    </a:lnTo>
                    <a:lnTo>
                      <a:pt x="37" y="97"/>
                    </a:lnTo>
                    <a:lnTo>
                      <a:pt x="37" y="97"/>
                    </a:lnTo>
                    <a:lnTo>
                      <a:pt x="37" y="99"/>
                    </a:lnTo>
                    <a:lnTo>
                      <a:pt x="39" y="100"/>
                    </a:lnTo>
                    <a:lnTo>
                      <a:pt x="39" y="101"/>
                    </a:lnTo>
                    <a:lnTo>
                      <a:pt x="40" y="103"/>
                    </a:lnTo>
                    <a:lnTo>
                      <a:pt x="40" y="106"/>
                    </a:lnTo>
                    <a:lnTo>
                      <a:pt x="40" y="107"/>
                    </a:lnTo>
                    <a:lnTo>
                      <a:pt x="40" y="110"/>
                    </a:lnTo>
                    <a:lnTo>
                      <a:pt x="51" y="129"/>
                    </a:lnTo>
                    <a:lnTo>
                      <a:pt x="58" y="136"/>
                    </a:lnTo>
                    <a:lnTo>
                      <a:pt x="58" y="134"/>
                    </a:lnTo>
                    <a:lnTo>
                      <a:pt x="57" y="132"/>
                    </a:lnTo>
                    <a:lnTo>
                      <a:pt x="57" y="126"/>
                    </a:lnTo>
                    <a:lnTo>
                      <a:pt x="55" y="119"/>
                    </a:lnTo>
                    <a:lnTo>
                      <a:pt x="57" y="114"/>
                    </a:lnTo>
                    <a:lnTo>
                      <a:pt x="58" y="107"/>
                    </a:lnTo>
                    <a:lnTo>
                      <a:pt x="61" y="101"/>
                    </a:lnTo>
                    <a:lnTo>
                      <a:pt x="66" y="97"/>
                    </a:lnTo>
                    <a:lnTo>
                      <a:pt x="66" y="97"/>
                    </a:lnTo>
                    <a:lnTo>
                      <a:pt x="68" y="97"/>
                    </a:lnTo>
                    <a:lnTo>
                      <a:pt x="70" y="96"/>
                    </a:lnTo>
                    <a:lnTo>
                      <a:pt x="73" y="96"/>
                    </a:lnTo>
                    <a:lnTo>
                      <a:pt x="76" y="95"/>
                    </a:lnTo>
                    <a:lnTo>
                      <a:pt x="80" y="95"/>
                    </a:lnTo>
                    <a:lnTo>
                      <a:pt x="83" y="95"/>
                    </a:lnTo>
                    <a:lnTo>
                      <a:pt x="87" y="95"/>
                    </a:lnTo>
                    <a:lnTo>
                      <a:pt x="96" y="97"/>
                    </a:lnTo>
                    <a:lnTo>
                      <a:pt x="96" y="97"/>
                    </a:lnTo>
                    <a:lnTo>
                      <a:pt x="96" y="96"/>
                    </a:lnTo>
                    <a:lnTo>
                      <a:pt x="98" y="93"/>
                    </a:lnTo>
                    <a:lnTo>
                      <a:pt x="98" y="90"/>
                    </a:lnTo>
                    <a:lnTo>
                      <a:pt x="98" y="86"/>
                    </a:lnTo>
                    <a:lnTo>
                      <a:pt x="98" y="82"/>
                    </a:lnTo>
                    <a:lnTo>
                      <a:pt x="98" y="77"/>
                    </a:lnTo>
                    <a:lnTo>
                      <a:pt x="95" y="71"/>
                    </a:lnTo>
                    <a:lnTo>
                      <a:pt x="95" y="71"/>
                    </a:lnTo>
                    <a:lnTo>
                      <a:pt x="95" y="68"/>
                    </a:lnTo>
                    <a:lnTo>
                      <a:pt x="94" y="66"/>
                    </a:lnTo>
                    <a:lnTo>
                      <a:pt x="92" y="62"/>
                    </a:lnTo>
                    <a:lnTo>
                      <a:pt x="90" y="56"/>
                    </a:lnTo>
                    <a:lnTo>
                      <a:pt x="85" y="51"/>
                    </a:lnTo>
                    <a:lnTo>
                      <a:pt x="81" y="4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3" y="37"/>
                    </a:lnTo>
                    <a:lnTo>
                      <a:pt x="72" y="35"/>
                    </a:lnTo>
                    <a:lnTo>
                      <a:pt x="69" y="35"/>
                    </a:lnTo>
                    <a:lnTo>
                      <a:pt x="66" y="34"/>
                    </a:lnTo>
                    <a:lnTo>
                      <a:pt x="63" y="34"/>
                    </a:lnTo>
                    <a:lnTo>
                      <a:pt x="61" y="35"/>
                    </a:lnTo>
                    <a:lnTo>
                      <a:pt x="58" y="37"/>
                    </a:lnTo>
                    <a:lnTo>
                      <a:pt x="57" y="38"/>
                    </a:lnTo>
                    <a:lnTo>
                      <a:pt x="55" y="40"/>
                    </a:lnTo>
                    <a:lnTo>
                      <a:pt x="52" y="41"/>
                    </a:lnTo>
                    <a:lnTo>
                      <a:pt x="50" y="41"/>
                    </a:lnTo>
                    <a:lnTo>
                      <a:pt x="48" y="41"/>
                    </a:lnTo>
                    <a:lnTo>
                      <a:pt x="47" y="41"/>
                    </a:lnTo>
                    <a:lnTo>
                      <a:pt x="46" y="41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7" y="37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3"/>
                    </a:lnTo>
                    <a:lnTo>
                      <a:pt x="50" y="19"/>
                    </a:lnTo>
                    <a:lnTo>
                      <a:pt x="50" y="15"/>
                    </a:lnTo>
                    <a:lnTo>
                      <a:pt x="48" y="11"/>
                    </a:lnTo>
                    <a:lnTo>
                      <a:pt x="36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8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2"/>
                    </a:lnTo>
                    <a:lnTo>
                      <a:pt x="33" y="1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2" name="Freeform 824"/>
              <p:cNvSpPr>
                <a:spLocks/>
              </p:cNvSpPr>
              <p:nvPr/>
            </p:nvSpPr>
            <p:spPr bwMode="auto">
              <a:xfrm>
                <a:off x="4197" y="2615"/>
                <a:ext cx="98" cy="246"/>
              </a:xfrm>
              <a:custGeom>
                <a:avLst/>
                <a:gdLst>
                  <a:gd name="T0" fmla="*/ 19 w 98"/>
                  <a:gd name="T1" fmla="*/ 1 h 246"/>
                  <a:gd name="T2" fmla="*/ 8 w 98"/>
                  <a:gd name="T3" fmla="*/ 12 h 246"/>
                  <a:gd name="T4" fmla="*/ 8 w 98"/>
                  <a:gd name="T5" fmla="*/ 45 h 246"/>
                  <a:gd name="T6" fmla="*/ 4 w 98"/>
                  <a:gd name="T7" fmla="*/ 49 h 246"/>
                  <a:gd name="T8" fmla="*/ 4 w 98"/>
                  <a:gd name="T9" fmla="*/ 62 h 246"/>
                  <a:gd name="T10" fmla="*/ 6 w 98"/>
                  <a:gd name="T11" fmla="*/ 73 h 246"/>
                  <a:gd name="T12" fmla="*/ 6 w 98"/>
                  <a:gd name="T13" fmla="*/ 88 h 246"/>
                  <a:gd name="T14" fmla="*/ 14 w 98"/>
                  <a:gd name="T15" fmla="*/ 106 h 246"/>
                  <a:gd name="T16" fmla="*/ 11 w 98"/>
                  <a:gd name="T17" fmla="*/ 150 h 246"/>
                  <a:gd name="T18" fmla="*/ 8 w 98"/>
                  <a:gd name="T19" fmla="*/ 163 h 246"/>
                  <a:gd name="T20" fmla="*/ 4 w 98"/>
                  <a:gd name="T21" fmla="*/ 192 h 246"/>
                  <a:gd name="T22" fmla="*/ 0 w 98"/>
                  <a:gd name="T23" fmla="*/ 207 h 246"/>
                  <a:gd name="T24" fmla="*/ 4 w 98"/>
                  <a:gd name="T25" fmla="*/ 215 h 246"/>
                  <a:gd name="T26" fmla="*/ 30 w 98"/>
                  <a:gd name="T27" fmla="*/ 237 h 246"/>
                  <a:gd name="T28" fmla="*/ 69 w 98"/>
                  <a:gd name="T29" fmla="*/ 243 h 246"/>
                  <a:gd name="T30" fmla="*/ 26 w 98"/>
                  <a:gd name="T31" fmla="*/ 198 h 246"/>
                  <a:gd name="T32" fmla="*/ 21 w 98"/>
                  <a:gd name="T33" fmla="*/ 188 h 246"/>
                  <a:gd name="T34" fmla="*/ 18 w 98"/>
                  <a:gd name="T35" fmla="*/ 166 h 246"/>
                  <a:gd name="T36" fmla="*/ 21 w 98"/>
                  <a:gd name="T37" fmla="*/ 148 h 246"/>
                  <a:gd name="T38" fmla="*/ 26 w 98"/>
                  <a:gd name="T39" fmla="*/ 125 h 246"/>
                  <a:gd name="T40" fmla="*/ 30 w 98"/>
                  <a:gd name="T41" fmla="*/ 106 h 246"/>
                  <a:gd name="T42" fmla="*/ 30 w 98"/>
                  <a:gd name="T43" fmla="*/ 100 h 246"/>
                  <a:gd name="T44" fmla="*/ 35 w 98"/>
                  <a:gd name="T45" fmla="*/ 97 h 246"/>
                  <a:gd name="T46" fmla="*/ 39 w 98"/>
                  <a:gd name="T47" fmla="*/ 100 h 246"/>
                  <a:gd name="T48" fmla="*/ 40 w 98"/>
                  <a:gd name="T49" fmla="*/ 106 h 246"/>
                  <a:gd name="T50" fmla="*/ 51 w 98"/>
                  <a:gd name="T51" fmla="*/ 129 h 246"/>
                  <a:gd name="T52" fmla="*/ 57 w 98"/>
                  <a:gd name="T53" fmla="*/ 132 h 246"/>
                  <a:gd name="T54" fmla="*/ 57 w 98"/>
                  <a:gd name="T55" fmla="*/ 114 h 246"/>
                  <a:gd name="T56" fmla="*/ 66 w 98"/>
                  <a:gd name="T57" fmla="*/ 97 h 246"/>
                  <a:gd name="T58" fmla="*/ 73 w 98"/>
                  <a:gd name="T59" fmla="*/ 96 h 246"/>
                  <a:gd name="T60" fmla="*/ 83 w 98"/>
                  <a:gd name="T61" fmla="*/ 95 h 246"/>
                  <a:gd name="T62" fmla="*/ 96 w 98"/>
                  <a:gd name="T63" fmla="*/ 96 h 246"/>
                  <a:gd name="T64" fmla="*/ 98 w 98"/>
                  <a:gd name="T65" fmla="*/ 86 h 246"/>
                  <a:gd name="T66" fmla="*/ 95 w 98"/>
                  <a:gd name="T67" fmla="*/ 71 h 246"/>
                  <a:gd name="T68" fmla="*/ 92 w 98"/>
                  <a:gd name="T69" fmla="*/ 62 h 246"/>
                  <a:gd name="T70" fmla="*/ 81 w 98"/>
                  <a:gd name="T71" fmla="*/ 44 h 246"/>
                  <a:gd name="T72" fmla="*/ 72 w 98"/>
                  <a:gd name="T73" fmla="*/ 35 h 246"/>
                  <a:gd name="T74" fmla="*/ 63 w 98"/>
                  <a:gd name="T75" fmla="*/ 34 h 246"/>
                  <a:gd name="T76" fmla="*/ 57 w 98"/>
                  <a:gd name="T77" fmla="*/ 38 h 246"/>
                  <a:gd name="T78" fmla="*/ 50 w 98"/>
                  <a:gd name="T79" fmla="*/ 41 h 246"/>
                  <a:gd name="T80" fmla="*/ 46 w 98"/>
                  <a:gd name="T81" fmla="*/ 41 h 246"/>
                  <a:gd name="T82" fmla="*/ 48 w 98"/>
                  <a:gd name="T83" fmla="*/ 33 h 246"/>
                  <a:gd name="T84" fmla="*/ 50 w 98"/>
                  <a:gd name="T85" fmla="*/ 19 h 246"/>
                  <a:gd name="T86" fmla="*/ 36 w 98"/>
                  <a:gd name="T87" fmla="*/ 11 h 246"/>
                  <a:gd name="T88" fmla="*/ 35 w 98"/>
                  <a:gd name="T89" fmla="*/ 7 h 246"/>
                  <a:gd name="T90" fmla="*/ 33 w 98"/>
                  <a:gd name="T91" fmla="*/ 1 h 246"/>
                  <a:gd name="T92" fmla="*/ 29 w 98"/>
                  <a:gd name="T93" fmla="*/ 0 h 246"/>
                  <a:gd name="T94" fmla="*/ 25 w 98"/>
                  <a:gd name="T9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8" h="246">
                    <a:moveTo>
                      <a:pt x="25" y="0"/>
                    </a:moveTo>
                    <a:lnTo>
                      <a:pt x="24" y="0"/>
                    </a:lnTo>
                    <a:lnTo>
                      <a:pt x="19" y="1"/>
                    </a:lnTo>
                    <a:lnTo>
                      <a:pt x="15" y="2"/>
                    </a:lnTo>
                    <a:lnTo>
                      <a:pt x="11" y="7"/>
                    </a:lnTo>
                    <a:lnTo>
                      <a:pt x="8" y="12"/>
                    </a:lnTo>
                    <a:lnTo>
                      <a:pt x="6" y="20"/>
                    </a:lnTo>
                    <a:lnTo>
                      <a:pt x="6" y="31"/>
                    </a:lnTo>
                    <a:lnTo>
                      <a:pt x="8" y="45"/>
                    </a:lnTo>
                    <a:lnTo>
                      <a:pt x="7" y="46"/>
                    </a:lnTo>
                    <a:lnTo>
                      <a:pt x="6" y="48"/>
                    </a:lnTo>
                    <a:lnTo>
                      <a:pt x="4" y="49"/>
                    </a:lnTo>
                    <a:lnTo>
                      <a:pt x="4" y="53"/>
                    </a:lnTo>
                    <a:lnTo>
                      <a:pt x="3" y="57"/>
                    </a:lnTo>
                    <a:lnTo>
                      <a:pt x="4" y="62"/>
                    </a:lnTo>
                    <a:lnTo>
                      <a:pt x="6" y="68"/>
                    </a:lnTo>
                    <a:lnTo>
                      <a:pt x="6" y="70"/>
                    </a:lnTo>
                    <a:lnTo>
                      <a:pt x="6" y="73"/>
                    </a:lnTo>
                    <a:lnTo>
                      <a:pt x="6" y="77"/>
                    </a:lnTo>
                    <a:lnTo>
                      <a:pt x="6" y="81"/>
                    </a:lnTo>
                    <a:lnTo>
                      <a:pt x="6" y="88"/>
                    </a:lnTo>
                    <a:lnTo>
                      <a:pt x="7" y="93"/>
                    </a:lnTo>
                    <a:lnTo>
                      <a:pt x="10" y="100"/>
                    </a:lnTo>
                    <a:lnTo>
                      <a:pt x="14" y="106"/>
                    </a:lnTo>
                    <a:lnTo>
                      <a:pt x="11" y="133"/>
                    </a:lnTo>
                    <a:lnTo>
                      <a:pt x="10" y="141"/>
                    </a:lnTo>
                    <a:lnTo>
                      <a:pt x="11" y="150"/>
                    </a:lnTo>
                    <a:lnTo>
                      <a:pt x="10" y="151"/>
                    </a:lnTo>
                    <a:lnTo>
                      <a:pt x="10" y="156"/>
                    </a:lnTo>
                    <a:lnTo>
                      <a:pt x="8" y="163"/>
                    </a:lnTo>
                    <a:lnTo>
                      <a:pt x="7" y="173"/>
                    </a:lnTo>
                    <a:lnTo>
                      <a:pt x="6" y="183"/>
                    </a:lnTo>
                    <a:lnTo>
                      <a:pt x="4" y="192"/>
                    </a:lnTo>
                    <a:lnTo>
                      <a:pt x="3" y="199"/>
                    </a:lnTo>
                    <a:lnTo>
                      <a:pt x="0" y="206"/>
                    </a:lnTo>
                    <a:lnTo>
                      <a:pt x="0" y="207"/>
                    </a:lnTo>
                    <a:lnTo>
                      <a:pt x="0" y="209"/>
                    </a:lnTo>
                    <a:lnTo>
                      <a:pt x="2" y="211"/>
                    </a:lnTo>
                    <a:lnTo>
                      <a:pt x="4" y="215"/>
                    </a:lnTo>
                    <a:lnTo>
                      <a:pt x="8" y="220"/>
                    </a:lnTo>
                    <a:lnTo>
                      <a:pt x="14" y="226"/>
                    </a:lnTo>
                    <a:lnTo>
                      <a:pt x="30" y="237"/>
                    </a:lnTo>
                    <a:lnTo>
                      <a:pt x="50" y="235"/>
                    </a:lnTo>
                    <a:lnTo>
                      <a:pt x="61" y="246"/>
                    </a:lnTo>
                    <a:lnTo>
                      <a:pt x="69" y="243"/>
                    </a:lnTo>
                    <a:lnTo>
                      <a:pt x="55" y="226"/>
                    </a:lnTo>
                    <a:lnTo>
                      <a:pt x="26" y="199"/>
                    </a:lnTo>
                    <a:lnTo>
                      <a:pt x="26" y="198"/>
                    </a:lnTo>
                    <a:lnTo>
                      <a:pt x="25" y="196"/>
                    </a:lnTo>
                    <a:lnTo>
                      <a:pt x="22" y="192"/>
                    </a:lnTo>
                    <a:lnTo>
                      <a:pt x="21" y="188"/>
                    </a:lnTo>
                    <a:lnTo>
                      <a:pt x="18" y="181"/>
                    </a:lnTo>
                    <a:lnTo>
                      <a:pt x="18" y="174"/>
                    </a:lnTo>
                    <a:lnTo>
                      <a:pt x="18" y="166"/>
                    </a:lnTo>
                    <a:lnTo>
                      <a:pt x="19" y="155"/>
                    </a:lnTo>
                    <a:lnTo>
                      <a:pt x="19" y="154"/>
                    </a:lnTo>
                    <a:lnTo>
                      <a:pt x="21" y="148"/>
                    </a:lnTo>
                    <a:lnTo>
                      <a:pt x="24" y="141"/>
                    </a:lnTo>
                    <a:lnTo>
                      <a:pt x="25" y="134"/>
                    </a:lnTo>
                    <a:lnTo>
                      <a:pt x="26" y="125"/>
                    </a:lnTo>
                    <a:lnTo>
                      <a:pt x="29" y="117"/>
                    </a:lnTo>
                    <a:lnTo>
                      <a:pt x="29" y="110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30" y="101"/>
                    </a:lnTo>
                    <a:lnTo>
                      <a:pt x="30" y="100"/>
                    </a:lnTo>
                    <a:lnTo>
                      <a:pt x="32" y="99"/>
                    </a:lnTo>
                    <a:lnTo>
                      <a:pt x="33" y="97"/>
                    </a:lnTo>
                    <a:lnTo>
                      <a:pt x="35" y="97"/>
                    </a:lnTo>
                    <a:lnTo>
                      <a:pt x="37" y="97"/>
                    </a:lnTo>
                    <a:lnTo>
                      <a:pt x="37" y="99"/>
                    </a:lnTo>
                    <a:lnTo>
                      <a:pt x="39" y="100"/>
                    </a:lnTo>
                    <a:lnTo>
                      <a:pt x="39" y="101"/>
                    </a:lnTo>
                    <a:lnTo>
                      <a:pt x="40" y="103"/>
                    </a:lnTo>
                    <a:lnTo>
                      <a:pt x="40" y="106"/>
                    </a:lnTo>
                    <a:lnTo>
                      <a:pt x="40" y="107"/>
                    </a:lnTo>
                    <a:lnTo>
                      <a:pt x="40" y="110"/>
                    </a:lnTo>
                    <a:lnTo>
                      <a:pt x="51" y="129"/>
                    </a:lnTo>
                    <a:lnTo>
                      <a:pt x="58" y="136"/>
                    </a:lnTo>
                    <a:lnTo>
                      <a:pt x="58" y="134"/>
                    </a:lnTo>
                    <a:lnTo>
                      <a:pt x="57" y="132"/>
                    </a:lnTo>
                    <a:lnTo>
                      <a:pt x="57" y="126"/>
                    </a:lnTo>
                    <a:lnTo>
                      <a:pt x="55" y="119"/>
                    </a:lnTo>
                    <a:lnTo>
                      <a:pt x="57" y="114"/>
                    </a:lnTo>
                    <a:lnTo>
                      <a:pt x="58" y="107"/>
                    </a:lnTo>
                    <a:lnTo>
                      <a:pt x="61" y="101"/>
                    </a:lnTo>
                    <a:lnTo>
                      <a:pt x="66" y="97"/>
                    </a:lnTo>
                    <a:lnTo>
                      <a:pt x="68" y="97"/>
                    </a:lnTo>
                    <a:lnTo>
                      <a:pt x="70" y="96"/>
                    </a:lnTo>
                    <a:lnTo>
                      <a:pt x="73" y="96"/>
                    </a:lnTo>
                    <a:lnTo>
                      <a:pt x="76" y="95"/>
                    </a:lnTo>
                    <a:lnTo>
                      <a:pt x="80" y="95"/>
                    </a:lnTo>
                    <a:lnTo>
                      <a:pt x="83" y="95"/>
                    </a:lnTo>
                    <a:lnTo>
                      <a:pt x="87" y="95"/>
                    </a:lnTo>
                    <a:lnTo>
                      <a:pt x="96" y="97"/>
                    </a:lnTo>
                    <a:lnTo>
                      <a:pt x="96" y="96"/>
                    </a:lnTo>
                    <a:lnTo>
                      <a:pt x="98" y="93"/>
                    </a:lnTo>
                    <a:lnTo>
                      <a:pt x="98" y="90"/>
                    </a:lnTo>
                    <a:lnTo>
                      <a:pt x="98" y="86"/>
                    </a:lnTo>
                    <a:lnTo>
                      <a:pt x="98" y="82"/>
                    </a:lnTo>
                    <a:lnTo>
                      <a:pt x="98" y="77"/>
                    </a:lnTo>
                    <a:lnTo>
                      <a:pt x="95" y="71"/>
                    </a:lnTo>
                    <a:lnTo>
                      <a:pt x="95" y="68"/>
                    </a:lnTo>
                    <a:lnTo>
                      <a:pt x="94" y="66"/>
                    </a:lnTo>
                    <a:lnTo>
                      <a:pt x="92" y="62"/>
                    </a:lnTo>
                    <a:lnTo>
                      <a:pt x="90" y="56"/>
                    </a:lnTo>
                    <a:lnTo>
                      <a:pt x="85" y="51"/>
                    </a:lnTo>
                    <a:lnTo>
                      <a:pt x="81" y="44"/>
                    </a:lnTo>
                    <a:lnTo>
                      <a:pt x="76" y="38"/>
                    </a:lnTo>
                    <a:lnTo>
                      <a:pt x="73" y="37"/>
                    </a:lnTo>
                    <a:lnTo>
                      <a:pt x="72" y="35"/>
                    </a:lnTo>
                    <a:lnTo>
                      <a:pt x="69" y="35"/>
                    </a:lnTo>
                    <a:lnTo>
                      <a:pt x="66" y="34"/>
                    </a:lnTo>
                    <a:lnTo>
                      <a:pt x="63" y="34"/>
                    </a:lnTo>
                    <a:lnTo>
                      <a:pt x="61" y="35"/>
                    </a:lnTo>
                    <a:lnTo>
                      <a:pt x="58" y="37"/>
                    </a:lnTo>
                    <a:lnTo>
                      <a:pt x="57" y="38"/>
                    </a:lnTo>
                    <a:lnTo>
                      <a:pt x="55" y="40"/>
                    </a:lnTo>
                    <a:lnTo>
                      <a:pt x="52" y="41"/>
                    </a:lnTo>
                    <a:lnTo>
                      <a:pt x="50" y="41"/>
                    </a:lnTo>
                    <a:lnTo>
                      <a:pt x="48" y="41"/>
                    </a:lnTo>
                    <a:lnTo>
                      <a:pt x="47" y="41"/>
                    </a:lnTo>
                    <a:lnTo>
                      <a:pt x="46" y="41"/>
                    </a:lnTo>
                    <a:lnTo>
                      <a:pt x="46" y="40"/>
                    </a:lnTo>
                    <a:lnTo>
                      <a:pt x="47" y="37"/>
                    </a:lnTo>
                    <a:lnTo>
                      <a:pt x="48" y="33"/>
                    </a:lnTo>
                    <a:lnTo>
                      <a:pt x="50" y="29"/>
                    </a:lnTo>
                    <a:lnTo>
                      <a:pt x="50" y="23"/>
                    </a:lnTo>
                    <a:lnTo>
                      <a:pt x="50" y="19"/>
                    </a:lnTo>
                    <a:lnTo>
                      <a:pt x="50" y="15"/>
                    </a:lnTo>
                    <a:lnTo>
                      <a:pt x="48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8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2"/>
                    </a:lnTo>
                    <a:lnTo>
                      <a:pt x="33" y="1"/>
                    </a:lnTo>
                    <a:lnTo>
                      <a:pt x="32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3" name="Freeform 825"/>
              <p:cNvSpPr>
                <a:spLocks/>
              </p:cNvSpPr>
              <p:nvPr/>
            </p:nvSpPr>
            <p:spPr bwMode="auto">
              <a:xfrm>
                <a:off x="4042" y="2484"/>
                <a:ext cx="84" cy="44"/>
              </a:xfrm>
              <a:custGeom>
                <a:avLst/>
                <a:gdLst>
                  <a:gd name="T0" fmla="*/ 68 w 84"/>
                  <a:gd name="T1" fmla="*/ 44 h 44"/>
                  <a:gd name="T2" fmla="*/ 41 w 84"/>
                  <a:gd name="T3" fmla="*/ 43 h 44"/>
                  <a:gd name="T4" fmla="*/ 41 w 84"/>
                  <a:gd name="T5" fmla="*/ 43 h 44"/>
                  <a:gd name="T6" fmla="*/ 40 w 84"/>
                  <a:gd name="T7" fmla="*/ 43 h 44"/>
                  <a:gd name="T8" fmla="*/ 37 w 84"/>
                  <a:gd name="T9" fmla="*/ 43 h 44"/>
                  <a:gd name="T10" fmla="*/ 34 w 84"/>
                  <a:gd name="T11" fmla="*/ 43 h 44"/>
                  <a:gd name="T12" fmla="*/ 30 w 84"/>
                  <a:gd name="T13" fmla="*/ 43 h 44"/>
                  <a:gd name="T14" fmla="*/ 24 w 84"/>
                  <a:gd name="T15" fmla="*/ 43 h 44"/>
                  <a:gd name="T16" fmla="*/ 19 w 84"/>
                  <a:gd name="T17" fmla="*/ 43 h 44"/>
                  <a:gd name="T18" fmla="*/ 12 w 84"/>
                  <a:gd name="T19" fmla="*/ 44 h 44"/>
                  <a:gd name="T20" fmla="*/ 12 w 84"/>
                  <a:gd name="T21" fmla="*/ 44 h 44"/>
                  <a:gd name="T22" fmla="*/ 9 w 84"/>
                  <a:gd name="T23" fmla="*/ 44 h 44"/>
                  <a:gd name="T24" fmla="*/ 7 w 84"/>
                  <a:gd name="T25" fmla="*/ 44 h 44"/>
                  <a:gd name="T26" fmla="*/ 4 w 84"/>
                  <a:gd name="T27" fmla="*/ 44 h 44"/>
                  <a:gd name="T28" fmla="*/ 2 w 84"/>
                  <a:gd name="T29" fmla="*/ 44 h 44"/>
                  <a:gd name="T30" fmla="*/ 0 w 84"/>
                  <a:gd name="T31" fmla="*/ 43 h 44"/>
                  <a:gd name="T32" fmla="*/ 0 w 84"/>
                  <a:gd name="T33" fmla="*/ 40 h 44"/>
                  <a:gd name="T34" fmla="*/ 1 w 84"/>
                  <a:gd name="T35" fmla="*/ 36 h 44"/>
                  <a:gd name="T36" fmla="*/ 5 w 84"/>
                  <a:gd name="T37" fmla="*/ 18 h 44"/>
                  <a:gd name="T38" fmla="*/ 7 w 84"/>
                  <a:gd name="T39" fmla="*/ 18 h 44"/>
                  <a:gd name="T40" fmla="*/ 8 w 84"/>
                  <a:gd name="T41" fmla="*/ 15 h 44"/>
                  <a:gd name="T42" fmla="*/ 12 w 84"/>
                  <a:gd name="T43" fmla="*/ 12 h 44"/>
                  <a:gd name="T44" fmla="*/ 16 w 84"/>
                  <a:gd name="T45" fmla="*/ 8 h 44"/>
                  <a:gd name="T46" fmla="*/ 22 w 84"/>
                  <a:gd name="T47" fmla="*/ 4 h 44"/>
                  <a:gd name="T48" fmla="*/ 27 w 84"/>
                  <a:gd name="T49" fmla="*/ 2 h 44"/>
                  <a:gd name="T50" fmla="*/ 33 w 84"/>
                  <a:gd name="T51" fmla="*/ 0 h 44"/>
                  <a:gd name="T52" fmla="*/ 40 w 84"/>
                  <a:gd name="T53" fmla="*/ 0 h 44"/>
                  <a:gd name="T54" fmla="*/ 48 w 84"/>
                  <a:gd name="T55" fmla="*/ 0 h 44"/>
                  <a:gd name="T56" fmla="*/ 56 w 84"/>
                  <a:gd name="T57" fmla="*/ 2 h 44"/>
                  <a:gd name="T58" fmla="*/ 63 w 84"/>
                  <a:gd name="T59" fmla="*/ 2 h 44"/>
                  <a:gd name="T60" fmla="*/ 70 w 84"/>
                  <a:gd name="T61" fmla="*/ 3 h 44"/>
                  <a:gd name="T62" fmla="*/ 74 w 84"/>
                  <a:gd name="T63" fmla="*/ 4 h 44"/>
                  <a:gd name="T64" fmla="*/ 78 w 84"/>
                  <a:gd name="T65" fmla="*/ 6 h 44"/>
                  <a:gd name="T66" fmla="*/ 82 w 84"/>
                  <a:gd name="T67" fmla="*/ 8 h 44"/>
                  <a:gd name="T68" fmla="*/ 84 w 84"/>
                  <a:gd name="T69" fmla="*/ 12 h 44"/>
                  <a:gd name="T70" fmla="*/ 68 w 84"/>
                  <a:gd name="T7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4" h="44">
                    <a:moveTo>
                      <a:pt x="68" y="44"/>
                    </a:moveTo>
                    <a:lnTo>
                      <a:pt x="41" y="43"/>
                    </a:lnTo>
                    <a:lnTo>
                      <a:pt x="41" y="43"/>
                    </a:lnTo>
                    <a:lnTo>
                      <a:pt x="40" y="43"/>
                    </a:lnTo>
                    <a:lnTo>
                      <a:pt x="37" y="43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24" y="43"/>
                    </a:lnTo>
                    <a:lnTo>
                      <a:pt x="19" y="43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9" y="44"/>
                    </a:lnTo>
                    <a:lnTo>
                      <a:pt x="7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1" y="36"/>
                    </a:lnTo>
                    <a:lnTo>
                      <a:pt x="5" y="18"/>
                    </a:lnTo>
                    <a:lnTo>
                      <a:pt x="7" y="18"/>
                    </a:lnTo>
                    <a:lnTo>
                      <a:pt x="8" y="15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3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56" y="2"/>
                    </a:lnTo>
                    <a:lnTo>
                      <a:pt x="63" y="2"/>
                    </a:lnTo>
                    <a:lnTo>
                      <a:pt x="70" y="3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2" y="8"/>
                    </a:lnTo>
                    <a:lnTo>
                      <a:pt x="84" y="12"/>
                    </a:lnTo>
                    <a:lnTo>
                      <a:pt x="68" y="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4" name="Freeform 826"/>
              <p:cNvSpPr>
                <a:spLocks/>
              </p:cNvSpPr>
              <p:nvPr/>
            </p:nvSpPr>
            <p:spPr bwMode="auto">
              <a:xfrm>
                <a:off x="4042" y="2484"/>
                <a:ext cx="84" cy="44"/>
              </a:xfrm>
              <a:custGeom>
                <a:avLst/>
                <a:gdLst>
                  <a:gd name="T0" fmla="*/ 68 w 84"/>
                  <a:gd name="T1" fmla="*/ 44 h 44"/>
                  <a:gd name="T2" fmla="*/ 41 w 84"/>
                  <a:gd name="T3" fmla="*/ 43 h 44"/>
                  <a:gd name="T4" fmla="*/ 40 w 84"/>
                  <a:gd name="T5" fmla="*/ 43 h 44"/>
                  <a:gd name="T6" fmla="*/ 37 w 84"/>
                  <a:gd name="T7" fmla="*/ 43 h 44"/>
                  <a:gd name="T8" fmla="*/ 34 w 84"/>
                  <a:gd name="T9" fmla="*/ 43 h 44"/>
                  <a:gd name="T10" fmla="*/ 30 w 84"/>
                  <a:gd name="T11" fmla="*/ 43 h 44"/>
                  <a:gd name="T12" fmla="*/ 24 w 84"/>
                  <a:gd name="T13" fmla="*/ 43 h 44"/>
                  <a:gd name="T14" fmla="*/ 19 w 84"/>
                  <a:gd name="T15" fmla="*/ 43 h 44"/>
                  <a:gd name="T16" fmla="*/ 12 w 84"/>
                  <a:gd name="T17" fmla="*/ 44 h 44"/>
                  <a:gd name="T18" fmla="*/ 9 w 84"/>
                  <a:gd name="T19" fmla="*/ 44 h 44"/>
                  <a:gd name="T20" fmla="*/ 7 w 84"/>
                  <a:gd name="T21" fmla="*/ 44 h 44"/>
                  <a:gd name="T22" fmla="*/ 4 w 84"/>
                  <a:gd name="T23" fmla="*/ 44 h 44"/>
                  <a:gd name="T24" fmla="*/ 2 w 84"/>
                  <a:gd name="T25" fmla="*/ 44 h 44"/>
                  <a:gd name="T26" fmla="*/ 0 w 84"/>
                  <a:gd name="T27" fmla="*/ 43 h 44"/>
                  <a:gd name="T28" fmla="*/ 0 w 84"/>
                  <a:gd name="T29" fmla="*/ 40 h 44"/>
                  <a:gd name="T30" fmla="*/ 1 w 84"/>
                  <a:gd name="T31" fmla="*/ 36 h 44"/>
                  <a:gd name="T32" fmla="*/ 5 w 84"/>
                  <a:gd name="T33" fmla="*/ 18 h 44"/>
                  <a:gd name="T34" fmla="*/ 7 w 84"/>
                  <a:gd name="T35" fmla="*/ 18 h 44"/>
                  <a:gd name="T36" fmla="*/ 8 w 84"/>
                  <a:gd name="T37" fmla="*/ 15 h 44"/>
                  <a:gd name="T38" fmla="*/ 12 w 84"/>
                  <a:gd name="T39" fmla="*/ 12 h 44"/>
                  <a:gd name="T40" fmla="*/ 16 w 84"/>
                  <a:gd name="T41" fmla="*/ 8 h 44"/>
                  <a:gd name="T42" fmla="*/ 22 w 84"/>
                  <a:gd name="T43" fmla="*/ 4 h 44"/>
                  <a:gd name="T44" fmla="*/ 27 w 84"/>
                  <a:gd name="T45" fmla="*/ 2 h 44"/>
                  <a:gd name="T46" fmla="*/ 33 w 84"/>
                  <a:gd name="T47" fmla="*/ 0 h 44"/>
                  <a:gd name="T48" fmla="*/ 40 w 84"/>
                  <a:gd name="T49" fmla="*/ 0 h 44"/>
                  <a:gd name="T50" fmla="*/ 48 w 84"/>
                  <a:gd name="T51" fmla="*/ 0 h 44"/>
                  <a:gd name="T52" fmla="*/ 56 w 84"/>
                  <a:gd name="T53" fmla="*/ 2 h 44"/>
                  <a:gd name="T54" fmla="*/ 63 w 84"/>
                  <a:gd name="T55" fmla="*/ 2 h 44"/>
                  <a:gd name="T56" fmla="*/ 70 w 84"/>
                  <a:gd name="T57" fmla="*/ 3 h 44"/>
                  <a:gd name="T58" fmla="*/ 74 w 84"/>
                  <a:gd name="T59" fmla="*/ 4 h 44"/>
                  <a:gd name="T60" fmla="*/ 78 w 84"/>
                  <a:gd name="T61" fmla="*/ 6 h 44"/>
                  <a:gd name="T62" fmla="*/ 82 w 84"/>
                  <a:gd name="T63" fmla="*/ 8 h 44"/>
                  <a:gd name="T64" fmla="*/ 84 w 84"/>
                  <a:gd name="T65" fmla="*/ 12 h 44"/>
                  <a:gd name="T66" fmla="*/ 68 w 84"/>
                  <a:gd name="T67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4" h="44">
                    <a:moveTo>
                      <a:pt x="68" y="44"/>
                    </a:moveTo>
                    <a:lnTo>
                      <a:pt x="41" y="43"/>
                    </a:lnTo>
                    <a:lnTo>
                      <a:pt x="40" y="43"/>
                    </a:lnTo>
                    <a:lnTo>
                      <a:pt x="37" y="43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24" y="43"/>
                    </a:lnTo>
                    <a:lnTo>
                      <a:pt x="19" y="43"/>
                    </a:lnTo>
                    <a:lnTo>
                      <a:pt x="12" y="44"/>
                    </a:lnTo>
                    <a:lnTo>
                      <a:pt x="9" y="44"/>
                    </a:lnTo>
                    <a:lnTo>
                      <a:pt x="7" y="44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1" y="36"/>
                    </a:lnTo>
                    <a:lnTo>
                      <a:pt x="5" y="18"/>
                    </a:lnTo>
                    <a:lnTo>
                      <a:pt x="7" y="18"/>
                    </a:lnTo>
                    <a:lnTo>
                      <a:pt x="8" y="15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27" y="2"/>
                    </a:lnTo>
                    <a:lnTo>
                      <a:pt x="33" y="0"/>
                    </a:lnTo>
                    <a:lnTo>
                      <a:pt x="40" y="0"/>
                    </a:lnTo>
                    <a:lnTo>
                      <a:pt x="48" y="0"/>
                    </a:lnTo>
                    <a:lnTo>
                      <a:pt x="56" y="2"/>
                    </a:lnTo>
                    <a:lnTo>
                      <a:pt x="63" y="2"/>
                    </a:lnTo>
                    <a:lnTo>
                      <a:pt x="70" y="3"/>
                    </a:lnTo>
                    <a:lnTo>
                      <a:pt x="74" y="4"/>
                    </a:lnTo>
                    <a:lnTo>
                      <a:pt x="78" y="6"/>
                    </a:lnTo>
                    <a:lnTo>
                      <a:pt x="82" y="8"/>
                    </a:lnTo>
                    <a:lnTo>
                      <a:pt x="84" y="12"/>
                    </a:lnTo>
                    <a:lnTo>
                      <a:pt x="68" y="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5" name="Freeform 827"/>
              <p:cNvSpPr>
                <a:spLocks/>
              </p:cNvSpPr>
              <p:nvPr/>
            </p:nvSpPr>
            <p:spPr bwMode="auto">
              <a:xfrm>
                <a:off x="3922" y="2457"/>
                <a:ext cx="116" cy="63"/>
              </a:xfrm>
              <a:custGeom>
                <a:avLst/>
                <a:gdLst>
                  <a:gd name="T0" fmla="*/ 8 w 116"/>
                  <a:gd name="T1" fmla="*/ 0 h 63"/>
                  <a:gd name="T2" fmla="*/ 8 w 116"/>
                  <a:gd name="T3" fmla="*/ 0 h 63"/>
                  <a:gd name="T4" fmla="*/ 6 w 116"/>
                  <a:gd name="T5" fmla="*/ 1 h 63"/>
                  <a:gd name="T6" fmla="*/ 3 w 116"/>
                  <a:gd name="T7" fmla="*/ 4 h 63"/>
                  <a:gd name="T8" fmla="*/ 1 w 116"/>
                  <a:gd name="T9" fmla="*/ 7 h 63"/>
                  <a:gd name="T10" fmla="*/ 0 w 116"/>
                  <a:gd name="T11" fmla="*/ 11 h 63"/>
                  <a:gd name="T12" fmla="*/ 0 w 116"/>
                  <a:gd name="T13" fmla="*/ 15 h 63"/>
                  <a:gd name="T14" fmla="*/ 3 w 116"/>
                  <a:gd name="T15" fmla="*/ 19 h 63"/>
                  <a:gd name="T16" fmla="*/ 8 w 116"/>
                  <a:gd name="T17" fmla="*/ 24 h 63"/>
                  <a:gd name="T18" fmla="*/ 8 w 116"/>
                  <a:gd name="T19" fmla="*/ 24 h 63"/>
                  <a:gd name="T20" fmla="*/ 8 w 116"/>
                  <a:gd name="T21" fmla="*/ 24 h 63"/>
                  <a:gd name="T22" fmla="*/ 10 w 116"/>
                  <a:gd name="T23" fmla="*/ 24 h 63"/>
                  <a:gd name="T24" fmla="*/ 10 w 116"/>
                  <a:gd name="T25" fmla="*/ 26 h 63"/>
                  <a:gd name="T26" fmla="*/ 10 w 116"/>
                  <a:gd name="T27" fmla="*/ 26 h 63"/>
                  <a:gd name="T28" fmla="*/ 11 w 116"/>
                  <a:gd name="T29" fmla="*/ 27 h 63"/>
                  <a:gd name="T30" fmla="*/ 12 w 116"/>
                  <a:gd name="T31" fmla="*/ 30 h 63"/>
                  <a:gd name="T32" fmla="*/ 15 w 116"/>
                  <a:gd name="T33" fmla="*/ 31 h 63"/>
                  <a:gd name="T34" fmla="*/ 18 w 116"/>
                  <a:gd name="T35" fmla="*/ 34 h 63"/>
                  <a:gd name="T36" fmla="*/ 22 w 116"/>
                  <a:gd name="T37" fmla="*/ 38 h 63"/>
                  <a:gd name="T38" fmla="*/ 29 w 116"/>
                  <a:gd name="T39" fmla="*/ 42 h 63"/>
                  <a:gd name="T40" fmla="*/ 39 w 116"/>
                  <a:gd name="T41" fmla="*/ 45 h 63"/>
                  <a:gd name="T42" fmla="*/ 51 w 116"/>
                  <a:gd name="T43" fmla="*/ 50 h 63"/>
                  <a:gd name="T44" fmla="*/ 67 w 116"/>
                  <a:gd name="T45" fmla="*/ 55 h 63"/>
                  <a:gd name="T46" fmla="*/ 88 w 116"/>
                  <a:gd name="T47" fmla="*/ 59 h 63"/>
                  <a:gd name="T48" fmla="*/ 113 w 116"/>
                  <a:gd name="T49" fmla="*/ 63 h 63"/>
                  <a:gd name="T50" fmla="*/ 116 w 116"/>
                  <a:gd name="T51" fmla="*/ 41 h 63"/>
                  <a:gd name="T52" fmla="*/ 96 w 116"/>
                  <a:gd name="T53" fmla="*/ 37 h 63"/>
                  <a:gd name="T54" fmla="*/ 41 w 116"/>
                  <a:gd name="T55" fmla="*/ 26 h 63"/>
                  <a:gd name="T56" fmla="*/ 29 w 116"/>
                  <a:gd name="T57" fmla="*/ 15 h 63"/>
                  <a:gd name="T58" fmla="*/ 8 w 116"/>
                  <a:gd name="T5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16" h="63">
                    <a:moveTo>
                      <a:pt x="8" y="0"/>
                    </a:moveTo>
                    <a:lnTo>
                      <a:pt x="8" y="0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3" y="19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1" y="27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8" y="34"/>
                    </a:lnTo>
                    <a:lnTo>
                      <a:pt x="22" y="38"/>
                    </a:lnTo>
                    <a:lnTo>
                      <a:pt x="29" y="42"/>
                    </a:lnTo>
                    <a:lnTo>
                      <a:pt x="39" y="45"/>
                    </a:lnTo>
                    <a:lnTo>
                      <a:pt x="51" y="50"/>
                    </a:lnTo>
                    <a:lnTo>
                      <a:pt x="67" y="55"/>
                    </a:lnTo>
                    <a:lnTo>
                      <a:pt x="88" y="59"/>
                    </a:lnTo>
                    <a:lnTo>
                      <a:pt x="113" y="63"/>
                    </a:lnTo>
                    <a:lnTo>
                      <a:pt x="116" y="41"/>
                    </a:lnTo>
                    <a:lnTo>
                      <a:pt x="96" y="37"/>
                    </a:lnTo>
                    <a:lnTo>
                      <a:pt x="41" y="26"/>
                    </a:lnTo>
                    <a:lnTo>
                      <a:pt x="29" y="1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6" name="Freeform 828"/>
              <p:cNvSpPr>
                <a:spLocks/>
              </p:cNvSpPr>
              <p:nvPr/>
            </p:nvSpPr>
            <p:spPr bwMode="auto">
              <a:xfrm>
                <a:off x="3922" y="2457"/>
                <a:ext cx="116" cy="63"/>
              </a:xfrm>
              <a:custGeom>
                <a:avLst/>
                <a:gdLst>
                  <a:gd name="T0" fmla="*/ 8 w 116"/>
                  <a:gd name="T1" fmla="*/ 0 h 63"/>
                  <a:gd name="T2" fmla="*/ 6 w 116"/>
                  <a:gd name="T3" fmla="*/ 1 h 63"/>
                  <a:gd name="T4" fmla="*/ 3 w 116"/>
                  <a:gd name="T5" fmla="*/ 4 h 63"/>
                  <a:gd name="T6" fmla="*/ 1 w 116"/>
                  <a:gd name="T7" fmla="*/ 7 h 63"/>
                  <a:gd name="T8" fmla="*/ 0 w 116"/>
                  <a:gd name="T9" fmla="*/ 11 h 63"/>
                  <a:gd name="T10" fmla="*/ 0 w 116"/>
                  <a:gd name="T11" fmla="*/ 15 h 63"/>
                  <a:gd name="T12" fmla="*/ 3 w 116"/>
                  <a:gd name="T13" fmla="*/ 19 h 63"/>
                  <a:gd name="T14" fmla="*/ 8 w 116"/>
                  <a:gd name="T15" fmla="*/ 24 h 63"/>
                  <a:gd name="T16" fmla="*/ 10 w 116"/>
                  <a:gd name="T17" fmla="*/ 24 h 63"/>
                  <a:gd name="T18" fmla="*/ 10 w 116"/>
                  <a:gd name="T19" fmla="*/ 26 h 63"/>
                  <a:gd name="T20" fmla="*/ 11 w 116"/>
                  <a:gd name="T21" fmla="*/ 27 h 63"/>
                  <a:gd name="T22" fmla="*/ 12 w 116"/>
                  <a:gd name="T23" fmla="*/ 30 h 63"/>
                  <a:gd name="T24" fmla="*/ 15 w 116"/>
                  <a:gd name="T25" fmla="*/ 31 h 63"/>
                  <a:gd name="T26" fmla="*/ 18 w 116"/>
                  <a:gd name="T27" fmla="*/ 34 h 63"/>
                  <a:gd name="T28" fmla="*/ 22 w 116"/>
                  <a:gd name="T29" fmla="*/ 38 h 63"/>
                  <a:gd name="T30" fmla="*/ 29 w 116"/>
                  <a:gd name="T31" fmla="*/ 42 h 63"/>
                  <a:gd name="T32" fmla="*/ 39 w 116"/>
                  <a:gd name="T33" fmla="*/ 45 h 63"/>
                  <a:gd name="T34" fmla="*/ 51 w 116"/>
                  <a:gd name="T35" fmla="*/ 50 h 63"/>
                  <a:gd name="T36" fmla="*/ 67 w 116"/>
                  <a:gd name="T37" fmla="*/ 55 h 63"/>
                  <a:gd name="T38" fmla="*/ 88 w 116"/>
                  <a:gd name="T39" fmla="*/ 59 h 63"/>
                  <a:gd name="T40" fmla="*/ 113 w 116"/>
                  <a:gd name="T41" fmla="*/ 63 h 63"/>
                  <a:gd name="T42" fmla="*/ 116 w 116"/>
                  <a:gd name="T43" fmla="*/ 41 h 63"/>
                  <a:gd name="T44" fmla="*/ 96 w 116"/>
                  <a:gd name="T45" fmla="*/ 37 h 63"/>
                  <a:gd name="T46" fmla="*/ 41 w 116"/>
                  <a:gd name="T47" fmla="*/ 26 h 63"/>
                  <a:gd name="T48" fmla="*/ 29 w 116"/>
                  <a:gd name="T49" fmla="*/ 15 h 63"/>
                  <a:gd name="T50" fmla="*/ 8 w 116"/>
                  <a:gd name="T51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6" h="63">
                    <a:moveTo>
                      <a:pt x="8" y="0"/>
                    </a:moveTo>
                    <a:lnTo>
                      <a:pt x="6" y="1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3" y="19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10" y="26"/>
                    </a:lnTo>
                    <a:lnTo>
                      <a:pt x="11" y="27"/>
                    </a:lnTo>
                    <a:lnTo>
                      <a:pt x="12" y="30"/>
                    </a:lnTo>
                    <a:lnTo>
                      <a:pt x="15" y="31"/>
                    </a:lnTo>
                    <a:lnTo>
                      <a:pt x="18" y="34"/>
                    </a:lnTo>
                    <a:lnTo>
                      <a:pt x="22" y="38"/>
                    </a:lnTo>
                    <a:lnTo>
                      <a:pt x="29" y="42"/>
                    </a:lnTo>
                    <a:lnTo>
                      <a:pt x="39" y="45"/>
                    </a:lnTo>
                    <a:lnTo>
                      <a:pt x="51" y="50"/>
                    </a:lnTo>
                    <a:lnTo>
                      <a:pt x="67" y="55"/>
                    </a:lnTo>
                    <a:lnTo>
                      <a:pt x="88" y="59"/>
                    </a:lnTo>
                    <a:lnTo>
                      <a:pt x="113" y="63"/>
                    </a:lnTo>
                    <a:lnTo>
                      <a:pt x="116" y="41"/>
                    </a:lnTo>
                    <a:lnTo>
                      <a:pt x="96" y="37"/>
                    </a:lnTo>
                    <a:lnTo>
                      <a:pt x="41" y="26"/>
                    </a:lnTo>
                    <a:lnTo>
                      <a:pt x="29" y="15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7" name="Freeform 829"/>
              <p:cNvSpPr>
                <a:spLocks/>
              </p:cNvSpPr>
              <p:nvPr/>
            </p:nvSpPr>
            <p:spPr bwMode="auto">
              <a:xfrm>
                <a:off x="3732" y="2363"/>
                <a:ext cx="451" cy="444"/>
              </a:xfrm>
              <a:custGeom>
                <a:avLst/>
                <a:gdLst>
                  <a:gd name="T0" fmla="*/ 312 w 451"/>
                  <a:gd name="T1" fmla="*/ 151 h 444"/>
                  <a:gd name="T2" fmla="*/ 315 w 451"/>
                  <a:gd name="T3" fmla="*/ 136 h 444"/>
                  <a:gd name="T4" fmla="*/ 307 w 451"/>
                  <a:gd name="T5" fmla="*/ 133 h 444"/>
                  <a:gd name="T6" fmla="*/ 304 w 451"/>
                  <a:gd name="T7" fmla="*/ 149 h 444"/>
                  <a:gd name="T8" fmla="*/ 303 w 451"/>
                  <a:gd name="T9" fmla="*/ 155 h 444"/>
                  <a:gd name="T10" fmla="*/ 235 w 451"/>
                  <a:gd name="T11" fmla="*/ 140 h 444"/>
                  <a:gd name="T12" fmla="*/ 201 w 451"/>
                  <a:gd name="T13" fmla="*/ 120 h 444"/>
                  <a:gd name="T14" fmla="*/ 197 w 451"/>
                  <a:gd name="T15" fmla="*/ 95 h 444"/>
                  <a:gd name="T16" fmla="*/ 193 w 451"/>
                  <a:gd name="T17" fmla="*/ 70 h 444"/>
                  <a:gd name="T18" fmla="*/ 205 w 451"/>
                  <a:gd name="T19" fmla="*/ 50 h 444"/>
                  <a:gd name="T20" fmla="*/ 204 w 451"/>
                  <a:gd name="T21" fmla="*/ 15 h 444"/>
                  <a:gd name="T22" fmla="*/ 187 w 451"/>
                  <a:gd name="T23" fmla="*/ 0 h 444"/>
                  <a:gd name="T24" fmla="*/ 168 w 451"/>
                  <a:gd name="T25" fmla="*/ 10 h 444"/>
                  <a:gd name="T26" fmla="*/ 136 w 451"/>
                  <a:gd name="T27" fmla="*/ 21 h 444"/>
                  <a:gd name="T28" fmla="*/ 131 w 451"/>
                  <a:gd name="T29" fmla="*/ 33 h 444"/>
                  <a:gd name="T30" fmla="*/ 149 w 451"/>
                  <a:gd name="T31" fmla="*/ 40 h 444"/>
                  <a:gd name="T32" fmla="*/ 135 w 451"/>
                  <a:gd name="T33" fmla="*/ 43 h 444"/>
                  <a:gd name="T34" fmla="*/ 116 w 451"/>
                  <a:gd name="T35" fmla="*/ 54 h 444"/>
                  <a:gd name="T36" fmla="*/ 106 w 451"/>
                  <a:gd name="T37" fmla="*/ 72 h 444"/>
                  <a:gd name="T38" fmla="*/ 74 w 451"/>
                  <a:gd name="T39" fmla="*/ 96 h 444"/>
                  <a:gd name="T40" fmla="*/ 48 w 451"/>
                  <a:gd name="T41" fmla="*/ 144 h 444"/>
                  <a:gd name="T42" fmla="*/ 24 w 451"/>
                  <a:gd name="T43" fmla="*/ 175 h 444"/>
                  <a:gd name="T44" fmla="*/ 6 w 451"/>
                  <a:gd name="T45" fmla="*/ 201 h 444"/>
                  <a:gd name="T46" fmla="*/ 33 w 451"/>
                  <a:gd name="T47" fmla="*/ 199 h 444"/>
                  <a:gd name="T48" fmla="*/ 43 w 451"/>
                  <a:gd name="T49" fmla="*/ 204 h 444"/>
                  <a:gd name="T50" fmla="*/ 19 w 451"/>
                  <a:gd name="T51" fmla="*/ 228 h 444"/>
                  <a:gd name="T52" fmla="*/ 48 w 451"/>
                  <a:gd name="T53" fmla="*/ 256 h 444"/>
                  <a:gd name="T54" fmla="*/ 61 w 451"/>
                  <a:gd name="T55" fmla="*/ 243 h 444"/>
                  <a:gd name="T56" fmla="*/ 69 w 451"/>
                  <a:gd name="T57" fmla="*/ 231 h 444"/>
                  <a:gd name="T58" fmla="*/ 69 w 451"/>
                  <a:gd name="T59" fmla="*/ 248 h 444"/>
                  <a:gd name="T60" fmla="*/ 73 w 451"/>
                  <a:gd name="T61" fmla="*/ 308 h 444"/>
                  <a:gd name="T62" fmla="*/ 118 w 451"/>
                  <a:gd name="T63" fmla="*/ 411 h 444"/>
                  <a:gd name="T64" fmla="*/ 134 w 451"/>
                  <a:gd name="T65" fmla="*/ 433 h 444"/>
                  <a:gd name="T66" fmla="*/ 145 w 451"/>
                  <a:gd name="T67" fmla="*/ 444 h 444"/>
                  <a:gd name="T68" fmla="*/ 158 w 451"/>
                  <a:gd name="T69" fmla="*/ 440 h 444"/>
                  <a:gd name="T70" fmla="*/ 167 w 451"/>
                  <a:gd name="T71" fmla="*/ 425 h 444"/>
                  <a:gd name="T72" fmla="*/ 180 w 451"/>
                  <a:gd name="T73" fmla="*/ 411 h 444"/>
                  <a:gd name="T74" fmla="*/ 191 w 451"/>
                  <a:gd name="T75" fmla="*/ 380 h 444"/>
                  <a:gd name="T76" fmla="*/ 191 w 451"/>
                  <a:gd name="T77" fmla="*/ 336 h 444"/>
                  <a:gd name="T78" fmla="*/ 216 w 451"/>
                  <a:gd name="T79" fmla="*/ 322 h 444"/>
                  <a:gd name="T80" fmla="*/ 257 w 451"/>
                  <a:gd name="T81" fmla="*/ 283 h 444"/>
                  <a:gd name="T82" fmla="*/ 290 w 451"/>
                  <a:gd name="T83" fmla="*/ 254 h 444"/>
                  <a:gd name="T84" fmla="*/ 306 w 451"/>
                  <a:gd name="T85" fmla="*/ 232 h 444"/>
                  <a:gd name="T86" fmla="*/ 322 w 451"/>
                  <a:gd name="T87" fmla="*/ 213 h 444"/>
                  <a:gd name="T88" fmla="*/ 317 w 451"/>
                  <a:gd name="T89" fmla="*/ 204 h 444"/>
                  <a:gd name="T90" fmla="*/ 319 w 451"/>
                  <a:gd name="T91" fmla="*/ 184 h 444"/>
                  <a:gd name="T92" fmla="*/ 341 w 451"/>
                  <a:gd name="T93" fmla="*/ 179 h 444"/>
                  <a:gd name="T94" fmla="*/ 347 w 451"/>
                  <a:gd name="T95" fmla="*/ 179 h 444"/>
                  <a:gd name="T96" fmla="*/ 358 w 451"/>
                  <a:gd name="T97" fmla="*/ 210 h 444"/>
                  <a:gd name="T98" fmla="*/ 365 w 451"/>
                  <a:gd name="T99" fmla="*/ 198 h 444"/>
                  <a:gd name="T100" fmla="*/ 374 w 451"/>
                  <a:gd name="T101" fmla="*/ 206 h 444"/>
                  <a:gd name="T102" fmla="*/ 377 w 451"/>
                  <a:gd name="T103" fmla="*/ 219 h 444"/>
                  <a:gd name="T104" fmla="*/ 383 w 451"/>
                  <a:gd name="T105" fmla="*/ 219 h 444"/>
                  <a:gd name="T106" fmla="*/ 385 w 451"/>
                  <a:gd name="T107" fmla="*/ 210 h 444"/>
                  <a:gd name="T108" fmla="*/ 388 w 451"/>
                  <a:gd name="T109" fmla="*/ 201 h 444"/>
                  <a:gd name="T110" fmla="*/ 396 w 451"/>
                  <a:gd name="T111" fmla="*/ 205 h 444"/>
                  <a:gd name="T112" fmla="*/ 409 w 451"/>
                  <a:gd name="T113" fmla="*/ 191 h 444"/>
                  <a:gd name="T114" fmla="*/ 440 w 451"/>
                  <a:gd name="T115" fmla="*/ 154 h 444"/>
                  <a:gd name="T116" fmla="*/ 450 w 451"/>
                  <a:gd name="T117" fmla="*/ 129 h 444"/>
                  <a:gd name="T118" fmla="*/ 410 w 451"/>
                  <a:gd name="T119" fmla="*/ 135 h 444"/>
                  <a:gd name="T120" fmla="*/ 381 w 451"/>
                  <a:gd name="T121" fmla="*/ 161 h 444"/>
                  <a:gd name="T122" fmla="*/ 358 w 451"/>
                  <a:gd name="T123" fmla="*/ 164 h 444"/>
                  <a:gd name="T124" fmla="*/ 334 w 451"/>
                  <a:gd name="T125" fmla="*/ 16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51" h="444">
                    <a:moveTo>
                      <a:pt x="317" y="164"/>
                    </a:moveTo>
                    <a:lnTo>
                      <a:pt x="312" y="162"/>
                    </a:lnTo>
                    <a:lnTo>
                      <a:pt x="311" y="161"/>
                    </a:lnTo>
                    <a:lnTo>
                      <a:pt x="311" y="158"/>
                    </a:lnTo>
                    <a:lnTo>
                      <a:pt x="311" y="157"/>
                    </a:lnTo>
                    <a:lnTo>
                      <a:pt x="311" y="154"/>
                    </a:lnTo>
                    <a:lnTo>
                      <a:pt x="312" y="153"/>
                    </a:lnTo>
                    <a:lnTo>
                      <a:pt x="312" y="151"/>
                    </a:lnTo>
                    <a:lnTo>
                      <a:pt x="314" y="151"/>
                    </a:lnTo>
                    <a:lnTo>
                      <a:pt x="314" y="149"/>
                    </a:lnTo>
                    <a:lnTo>
                      <a:pt x="314" y="146"/>
                    </a:lnTo>
                    <a:lnTo>
                      <a:pt x="314" y="143"/>
                    </a:lnTo>
                    <a:lnTo>
                      <a:pt x="315" y="140"/>
                    </a:lnTo>
                    <a:lnTo>
                      <a:pt x="315" y="139"/>
                    </a:lnTo>
                    <a:lnTo>
                      <a:pt x="315" y="138"/>
                    </a:lnTo>
                    <a:lnTo>
                      <a:pt x="315" y="136"/>
                    </a:lnTo>
                    <a:lnTo>
                      <a:pt x="317" y="135"/>
                    </a:lnTo>
                    <a:lnTo>
                      <a:pt x="315" y="133"/>
                    </a:lnTo>
                    <a:lnTo>
                      <a:pt x="314" y="132"/>
                    </a:lnTo>
                    <a:lnTo>
                      <a:pt x="312" y="131"/>
                    </a:lnTo>
                    <a:lnTo>
                      <a:pt x="311" y="132"/>
                    </a:lnTo>
                    <a:lnTo>
                      <a:pt x="310" y="132"/>
                    </a:lnTo>
                    <a:lnTo>
                      <a:pt x="308" y="133"/>
                    </a:lnTo>
                    <a:lnTo>
                      <a:pt x="307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6" y="136"/>
                    </a:lnTo>
                    <a:lnTo>
                      <a:pt x="306" y="138"/>
                    </a:lnTo>
                    <a:lnTo>
                      <a:pt x="306" y="140"/>
                    </a:lnTo>
                    <a:lnTo>
                      <a:pt x="306" y="143"/>
                    </a:lnTo>
                    <a:lnTo>
                      <a:pt x="304" y="146"/>
                    </a:lnTo>
                    <a:lnTo>
                      <a:pt x="304" y="149"/>
                    </a:lnTo>
                    <a:lnTo>
                      <a:pt x="304" y="150"/>
                    </a:lnTo>
                    <a:lnTo>
                      <a:pt x="304" y="151"/>
                    </a:lnTo>
                    <a:lnTo>
                      <a:pt x="304" y="153"/>
                    </a:lnTo>
                    <a:lnTo>
                      <a:pt x="304" y="153"/>
                    </a:lnTo>
                    <a:lnTo>
                      <a:pt x="304" y="154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303" y="155"/>
                    </a:lnTo>
                    <a:lnTo>
                      <a:pt x="271" y="151"/>
                    </a:lnTo>
                    <a:lnTo>
                      <a:pt x="266" y="149"/>
                    </a:lnTo>
                    <a:lnTo>
                      <a:pt x="260" y="147"/>
                    </a:lnTo>
                    <a:lnTo>
                      <a:pt x="253" y="144"/>
                    </a:lnTo>
                    <a:lnTo>
                      <a:pt x="246" y="143"/>
                    </a:lnTo>
                    <a:lnTo>
                      <a:pt x="240" y="142"/>
                    </a:lnTo>
                    <a:lnTo>
                      <a:pt x="235" y="140"/>
                    </a:lnTo>
                    <a:lnTo>
                      <a:pt x="231" y="139"/>
                    </a:lnTo>
                    <a:lnTo>
                      <a:pt x="230" y="139"/>
                    </a:lnTo>
                    <a:lnTo>
                      <a:pt x="223" y="136"/>
                    </a:lnTo>
                    <a:lnTo>
                      <a:pt x="218" y="133"/>
                    </a:lnTo>
                    <a:lnTo>
                      <a:pt x="212" y="131"/>
                    </a:lnTo>
                    <a:lnTo>
                      <a:pt x="208" y="127"/>
                    </a:lnTo>
                    <a:lnTo>
                      <a:pt x="204" y="124"/>
                    </a:lnTo>
                    <a:lnTo>
                      <a:pt x="201" y="120"/>
                    </a:lnTo>
                    <a:lnTo>
                      <a:pt x="200" y="118"/>
                    </a:lnTo>
                    <a:lnTo>
                      <a:pt x="200" y="117"/>
                    </a:lnTo>
                    <a:lnTo>
                      <a:pt x="193" y="113"/>
                    </a:lnTo>
                    <a:lnTo>
                      <a:pt x="190" y="109"/>
                    </a:lnTo>
                    <a:lnTo>
                      <a:pt x="190" y="105"/>
                    </a:lnTo>
                    <a:lnTo>
                      <a:pt x="191" y="101"/>
                    </a:lnTo>
                    <a:lnTo>
                      <a:pt x="194" y="98"/>
                    </a:lnTo>
                    <a:lnTo>
                      <a:pt x="197" y="95"/>
                    </a:lnTo>
                    <a:lnTo>
                      <a:pt x="198" y="94"/>
                    </a:lnTo>
                    <a:lnTo>
                      <a:pt x="200" y="92"/>
                    </a:lnTo>
                    <a:lnTo>
                      <a:pt x="197" y="90"/>
                    </a:lnTo>
                    <a:lnTo>
                      <a:pt x="194" y="85"/>
                    </a:lnTo>
                    <a:lnTo>
                      <a:pt x="193" y="81"/>
                    </a:lnTo>
                    <a:lnTo>
                      <a:pt x="193" y="79"/>
                    </a:lnTo>
                    <a:lnTo>
                      <a:pt x="193" y="74"/>
                    </a:lnTo>
                    <a:lnTo>
                      <a:pt x="193" y="70"/>
                    </a:lnTo>
                    <a:lnTo>
                      <a:pt x="193" y="66"/>
                    </a:lnTo>
                    <a:lnTo>
                      <a:pt x="194" y="63"/>
                    </a:lnTo>
                    <a:lnTo>
                      <a:pt x="196" y="59"/>
                    </a:lnTo>
                    <a:lnTo>
                      <a:pt x="197" y="57"/>
                    </a:lnTo>
                    <a:lnTo>
                      <a:pt x="200" y="54"/>
                    </a:lnTo>
                    <a:lnTo>
                      <a:pt x="201" y="51"/>
                    </a:lnTo>
                    <a:lnTo>
                      <a:pt x="204" y="50"/>
                    </a:lnTo>
                    <a:lnTo>
                      <a:pt x="205" y="50"/>
                    </a:lnTo>
                    <a:lnTo>
                      <a:pt x="207" y="48"/>
                    </a:lnTo>
                    <a:lnTo>
                      <a:pt x="207" y="48"/>
                    </a:lnTo>
                    <a:lnTo>
                      <a:pt x="201" y="35"/>
                    </a:lnTo>
                    <a:lnTo>
                      <a:pt x="208" y="28"/>
                    </a:lnTo>
                    <a:lnTo>
                      <a:pt x="207" y="25"/>
                    </a:lnTo>
                    <a:lnTo>
                      <a:pt x="205" y="22"/>
                    </a:lnTo>
                    <a:lnTo>
                      <a:pt x="204" y="19"/>
                    </a:lnTo>
                    <a:lnTo>
                      <a:pt x="204" y="15"/>
                    </a:lnTo>
                    <a:lnTo>
                      <a:pt x="202" y="13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2" y="7"/>
                    </a:lnTo>
                    <a:lnTo>
                      <a:pt x="200" y="3"/>
                    </a:lnTo>
                    <a:lnTo>
                      <a:pt x="197" y="2"/>
                    </a:lnTo>
                    <a:lnTo>
                      <a:pt x="191" y="0"/>
                    </a:lnTo>
                    <a:lnTo>
                      <a:pt x="187" y="0"/>
                    </a:lnTo>
                    <a:lnTo>
                      <a:pt x="183" y="2"/>
                    </a:lnTo>
                    <a:lnTo>
                      <a:pt x="179" y="2"/>
                    </a:lnTo>
                    <a:lnTo>
                      <a:pt x="176" y="3"/>
                    </a:lnTo>
                    <a:lnTo>
                      <a:pt x="175" y="3"/>
                    </a:lnTo>
                    <a:lnTo>
                      <a:pt x="172" y="3"/>
                    </a:lnTo>
                    <a:lnTo>
                      <a:pt x="171" y="4"/>
                    </a:lnTo>
                    <a:lnTo>
                      <a:pt x="169" y="7"/>
                    </a:lnTo>
                    <a:lnTo>
                      <a:pt x="168" y="10"/>
                    </a:lnTo>
                    <a:lnTo>
                      <a:pt x="167" y="13"/>
                    </a:lnTo>
                    <a:lnTo>
                      <a:pt x="165" y="14"/>
                    </a:lnTo>
                    <a:lnTo>
                      <a:pt x="165" y="15"/>
                    </a:lnTo>
                    <a:lnTo>
                      <a:pt x="165" y="17"/>
                    </a:lnTo>
                    <a:lnTo>
                      <a:pt x="152" y="18"/>
                    </a:lnTo>
                    <a:lnTo>
                      <a:pt x="145" y="18"/>
                    </a:lnTo>
                    <a:lnTo>
                      <a:pt x="140" y="19"/>
                    </a:lnTo>
                    <a:lnTo>
                      <a:pt x="136" y="21"/>
                    </a:lnTo>
                    <a:lnTo>
                      <a:pt x="132" y="24"/>
                    </a:lnTo>
                    <a:lnTo>
                      <a:pt x="129" y="25"/>
                    </a:lnTo>
                    <a:lnTo>
                      <a:pt x="128" y="26"/>
                    </a:lnTo>
                    <a:lnTo>
                      <a:pt x="127" y="28"/>
                    </a:lnTo>
                    <a:lnTo>
                      <a:pt x="127" y="29"/>
                    </a:lnTo>
                    <a:lnTo>
                      <a:pt x="127" y="30"/>
                    </a:lnTo>
                    <a:lnTo>
                      <a:pt x="128" y="32"/>
                    </a:lnTo>
                    <a:lnTo>
                      <a:pt x="131" y="33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6" y="39"/>
                    </a:lnTo>
                    <a:lnTo>
                      <a:pt x="149" y="40"/>
                    </a:lnTo>
                    <a:lnTo>
                      <a:pt x="150" y="41"/>
                    </a:lnTo>
                    <a:lnTo>
                      <a:pt x="150" y="44"/>
                    </a:lnTo>
                    <a:lnTo>
                      <a:pt x="149" y="44"/>
                    </a:lnTo>
                    <a:lnTo>
                      <a:pt x="147" y="46"/>
                    </a:lnTo>
                    <a:lnTo>
                      <a:pt x="146" y="44"/>
                    </a:lnTo>
                    <a:lnTo>
                      <a:pt x="142" y="43"/>
                    </a:lnTo>
                    <a:lnTo>
                      <a:pt x="139" y="43"/>
                    </a:lnTo>
                    <a:lnTo>
                      <a:pt x="135" y="43"/>
                    </a:lnTo>
                    <a:lnTo>
                      <a:pt x="131" y="44"/>
                    </a:lnTo>
                    <a:lnTo>
                      <a:pt x="127" y="44"/>
                    </a:lnTo>
                    <a:lnTo>
                      <a:pt x="124" y="46"/>
                    </a:lnTo>
                    <a:lnTo>
                      <a:pt x="123" y="46"/>
                    </a:lnTo>
                    <a:lnTo>
                      <a:pt x="123" y="47"/>
                    </a:lnTo>
                    <a:lnTo>
                      <a:pt x="118" y="48"/>
                    </a:lnTo>
                    <a:lnTo>
                      <a:pt x="116" y="51"/>
                    </a:lnTo>
                    <a:lnTo>
                      <a:pt x="116" y="54"/>
                    </a:lnTo>
                    <a:lnTo>
                      <a:pt x="114" y="58"/>
                    </a:lnTo>
                    <a:lnTo>
                      <a:pt x="114" y="59"/>
                    </a:lnTo>
                    <a:lnTo>
                      <a:pt x="114" y="62"/>
                    </a:lnTo>
                    <a:lnTo>
                      <a:pt x="114" y="63"/>
                    </a:lnTo>
                    <a:lnTo>
                      <a:pt x="116" y="65"/>
                    </a:lnTo>
                    <a:lnTo>
                      <a:pt x="109" y="66"/>
                    </a:lnTo>
                    <a:lnTo>
                      <a:pt x="107" y="69"/>
                    </a:lnTo>
                    <a:lnTo>
                      <a:pt x="106" y="72"/>
                    </a:lnTo>
                    <a:lnTo>
                      <a:pt x="103" y="76"/>
                    </a:lnTo>
                    <a:lnTo>
                      <a:pt x="99" y="80"/>
                    </a:lnTo>
                    <a:lnTo>
                      <a:pt x="96" y="83"/>
                    </a:lnTo>
                    <a:lnTo>
                      <a:pt x="94" y="85"/>
                    </a:lnTo>
                    <a:lnTo>
                      <a:pt x="92" y="87"/>
                    </a:lnTo>
                    <a:lnTo>
                      <a:pt x="92" y="88"/>
                    </a:lnTo>
                    <a:lnTo>
                      <a:pt x="83" y="92"/>
                    </a:lnTo>
                    <a:lnTo>
                      <a:pt x="74" y="96"/>
                    </a:lnTo>
                    <a:lnTo>
                      <a:pt x="68" y="102"/>
                    </a:lnTo>
                    <a:lnTo>
                      <a:pt x="61" y="106"/>
                    </a:lnTo>
                    <a:lnTo>
                      <a:pt x="54" y="116"/>
                    </a:lnTo>
                    <a:lnTo>
                      <a:pt x="48" y="125"/>
                    </a:lnTo>
                    <a:lnTo>
                      <a:pt x="47" y="133"/>
                    </a:lnTo>
                    <a:lnTo>
                      <a:pt x="47" y="139"/>
                    </a:lnTo>
                    <a:lnTo>
                      <a:pt x="47" y="143"/>
                    </a:lnTo>
                    <a:lnTo>
                      <a:pt x="48" y="144"/>
                    </a:lnTo>
                    <a:lnTo>
                      <a:pt x="58" y="150"/>
                    </a:lnTo>
                    <a:lnTo>
                      <a:pt x="54" y="173"/>
                    </a:lnTo>
                    <a:lnTo>
                      <a:pt x="47" y="173"/>
                    </a:lnTo>
                    <a:lnTo>
                      <a:pt x="29" y="173"/>
                    </a:lnTo>
                    <a:lnTo>
                      <a:pt x="28" y="173"/>
                    </a:lnTo>
                    <a:lnTo>
                      <a:pt x="26" y="173"/>
                    </a:lnTo>
                    <a:lnTo>
                      <a:pt x="25" y="175"/>
                    </a:lnTo>
                    <a:lnTo>
                      <a:pt x="24" y="175"/>
                    </a:lnTo>
                    <a:lnTo>
                      <a:pt x="22" y="176"/>
                    </a:lnTo>
                    <a:lnTo>
                      <a:pt x="22" y="176"/>
                    </a:lnTo>
                    <a:lnTo>
                      <a:pt x="21" y="177"/>
                    </a:lnTo>
                    <a:lnTo>
                      <a:pt x="21" y="177"/>
                    </a:lnTo>
                    <a:lnTo>
                      <a:pt x="0" y="198"/>
                    </a:lnTo>
                    <a:lnTo>
                      <a:pt x="3" y="201"/>
                    </a:lnTo>
                    <a:lnTo>
                      <a:pt x="3" y="201"/>
                    </a:lnTo>
                    <a:lnTo>
                      <a:pt x="6" y="201"/>
                    </a:lnTo>
                    <a:lnTo>
                      <a:pt x="7" y="202"/>
                    </a:lnTo>
                    <a:lnTo>
                      <a:pt x="11" y="202"/>
                    </a:lnTo>
                    <a:lnTo>
                      <a:pt x="15" y="204"/>
                    </a:lnTo>
                    <a:lnTo>
                      <a:pt x="19" y="204"/>
                    </a:lnTo>
                    <a:lnTo>
                      <a:pt x="25" y="202"/>
                    </a:lnTo>
                    <a:lnTo>
                      <a:pt x="30" y="201"/>
                    </a:lnTo>
                    <a:lnTo>
                      <a:pt x="30" y="201"/>
                    </a:lnTo>
                    <a:lnTo>
                      <a:pt x="33" y="199"/>
                    </a:lnTo>
                    <a:lnTo>
                      <a:pt x="36" y="198"/>
                    </a:lnTo>
                    <a:lnTo>
                      <a:pt x="39" y="198"/>
                    </a:lnTo>
                    <a:lnTo>
                      <a:pt x="41" y="197"/>
                    </a:lnTo>
                    <a:lnTo>
                      <a:pt x="43" y="197"/>
                    </a:lnTo>
                    <a:lnTo>
                      <a:pt x="44" y="198"/>
                    </a:lnTo>
                    <a:lnTo>
                      <a:pt x="44" y="199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40" y="208"/>
                    </a:lnTo>
                    <a:lnTo>
                      <a:pt x="36" y="212"/>
                    </a:lnTo>
                    <a:lnTo>
                      <a:pt x="33" y="217"/>
                    </a:lnTo>
                    <a:lnTo>
                      <a:pt x="29" y="221"/>
                    </a:lnTo>
                    <a:lnTo>
                      <a:pt x="24" y="224"/>
                    </a:lnTo>
                    <a:lnTo>
                      <a:pt x="19" y="226"/>
                    </a:lnTo>
                    <a:lnTo>
                      <a:pt x="19" y="227"/>
                    </a:lnTo>
                    <a:lnTo>
                      <a:pt x="19" y="228"/>
                    </a:lnTo>
                    <a:lnTo>
                      <a:pt x="21" y="232"/>
                    </a:lnTo>
                    <a:lnTo>
                      <a:pt x="22" y="237"/>
                    </a:lnTo>
                    <a:lnTo>
                      <a:pt x="26" y="242"/>
                    </a:lnTo>
                    <a:lnTo>
                      <a:pt x="30" y="246"/>
                    </a:lnTo>
                    <a:lnTo>
                      <a:pt x="37" y="252"/>
                    </a:lnTo>
                    <a:lnTo>
                      <a:pt x="47" y="256"/>
                    </a:lnTo>
                    <a:lnTo>
                      <a:pt x="48" y="256"/>
                    </a:lnTo>
                    <a:lnTo>
                      <a:pt x="48" y="256"/>
                    </a:lnTo>
                    <a:lnTo>
                      <a:pt x="50" y="256"/>
                    </a:lnTo>
                    <a:lnTo>
                      <a:pt x="51" y="256"/>
                    </a:lnTo>
                    <a:lnTo>
                      <a:pt x="54" y="254"/>
                    </a:lnTo>
                    <a:lnTo>
                      <a:pt x="55" y="253"/>
                    </a:lnTo>
                    <a:lnTo>
                      <a:pt x="58" y="250"/>
                    </a:lnTo>
                    <a:lnTo>
                      <a:pt x="59" y="246"/>
                    </a:lnTo>
                    <a:lnTo>
                      <a:pt x="59" y="246"/>
                    </a:lnTo>
                    <a:lnTo>
                      <a:pt x="61" y="243"/>
                    </a:lnTo>
                    <a:lnTo>
                      <a:pt x="61" y="242"/>
                    </a:lnTo>
                    <a:lnTo>
                      <a:pt x="62" y="238"/>
                    </a:lnTo>
                    <a:lnTo>
                      <a:pt x="63" y="235"/>
                    </a:lnTo>
                    <a:lnTo>
                      <a:pt x="65" y="232"/>
                    </a:lnTo>
                    <a:lnTo>
                      <a:pt x="68" y="231"/>
                    </a:lnTo>
                    <a:lnTo>
                      <a:pt x="70" y="230"/>
                    </a:lnTo>
                    <a:lnTo>
                      <a:pt x="70" y="230"/>
                    </a:lnTo>
                    <a:lnTo>
                      <a:pt x="69" y="231"/>
                    </a:lnTo>
                    <a:lnTo>
                      <a:pt x="69" y="234"/>
                    </a:lnTo>
                    <a:lnTo>
                      <a:pt x="69" y="235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9" y="243"/>
                    </a:lnTo>
                    <a:lnTo>
                      <a:pt x="70" y="246"/>
                    </a:lnTo>
                    <a:lnTo>
                      <a:pt x="70" y="246"/>
                    </a:lnTo>
                    <a:lnTo>
                      <a:pt x="69" y="248"/>
                    </a:lnTo>
                    <a:lnTo>
                      <a:pt x="69" y="249"/>
                    </a:lnTo>
                    <a:lnTo>
                      <a:pt x="69" y="252"/>
                    </a:lnTo>
                    <a:lnTo>
                      <a:pt x="68" y="254"/>
                    </a:lnTo>
                    <a:lnTo>
                      <a:pt x="68" y="257"/>
                    </a:lnTo>
                    <a:lnTo>
                      <a:pt x="68" y="259"/>
                    </a:lnTo>
                    <a:lnTo>
                      <a:pt x="68" y="261"/>
                    </a:lnTo>
                    <a:lnTo>
                      <a:pt x="68" y="272"/>
                    </a:lnTo>
                    <a:lnTo>
                      <a:pt x="73" y="308"/>
                    </a:lnTo>
                    <a:lnTo>
                      <a:pt x="91" y="367"/>
                    </a:lnTo>
                    <a:lnTo>
                      <a:pt x="112" y="400"/>
                    </a:lnTo>
                    <a:lnTo>
                      <a:pt x="112" y="400"/>
                    </a:lnTo>
                    <a:lnTo>
                      <a:pt x="113" y="402"/>
                    </a:lnTo>
                    <a:lnTo>
                      <a:pt x="114" y="403"/>
                    </a:lnTo>
                    <a:lnTo>
                      <a:pt x="116" y="404"/>
                    </a:lnTo>
                    <a:lnTo>
                      <a:pt x="117" y="407"/>
                    </a:lnTo>
                    <a:lnTo>
                      <a:pt x="118" y="411"/>
                    </a:lnTo>
                    <a:lnTo>
                      <a:pt x="120" y="415"/>
                    </a:lnTo>
                    <a:lnTo>
                      <a:pt x="123" y="419"/>
                    </a:lnTo>
                    <a:lnTo>
                      <a:pt x="123" y="419"/>
                    </a:lnTo>
                    <a:lnTo>
                      <a:pt x="124" y="421"/>
                    </a:lnTo>
                    <a:lnTo>
                      <a:pt x="127" y="424"/>
                    </a:lnTo>
                    <a:lnTo>
                      <a:pt x="128" y="426"/>
                    </a:lnTo>
                    <a:lnTo>
                      <a:pt x="131" y="429"/>
                    </a:lnTo>
                    <a:lnTo>
                      <a:pt x="134" y="433"/>
                    </a:lnTo>
                    <a:lnTo>
                      <a:pt x="135" y="437"/>
                    </a:lnTo>
                    <a:lnTo>
                      <a:pt x="136" y="441"/>
                    </a:lnTo>
                    <a:lnTo>
                      <a:pt x="136" y="441"/>
                    </a:lnTo>
                    <a:lnTo>
                      <a:pt x="138" y="441"/>
                    </a:lnTo>
                    <a:lnTo>
                      <a:pt x="138" y="441"/>
                    </a:lnTo>
                    <a:lnTo>
                      <a:pt x="139" y="443"/>
                    </a:lnTo>
                    <a:lnTo>
                      <a:pt x="142" y="443"/>
                    </a:lnTo>
                    <a:lnTo>
                      <a:pt x="145" y="444"/>
                    </a:lnTo>
                    <a:lnTo>
                      <a:pt x="147" y="444"/>
                    </a:lnTo>
                    <a:lnTo>
                      <a:pt x="152" y="444"/>
                    </a:lnTo>
                    <a:lnTo>
                      <a:pt x="154" y="444"/>
                    </a:lnTo>
                    <a:lnTo>
                      <a:pt x="157" y="443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58" y="440"/>
                    </a:lnTo>
                    <a:lnTo>
                      <a:pt x="158" y="440"/>
                    </a:lnTo>
                    <a:lnTo>
                      <a:pt x="158" y="439"/>
                    </a:lnTo>
                    <a:lnTo>
                      <a:pt x="157" y="439"/>
                    </a:lnTo>
                    <a:lnTo>
                      <a:pt x="158" y="439"/>
                    </a:lnTo>
                    <a:lnTo>
                      <a:pt x="158" y="436"/>
                    </a:lnTo>
                    <a:lnTo>
                      <a:pt x="160" y="433"/>
                    </a:lnTo>
                    <a:lnTo>
                      <a:pt x="161" y="430"/>
                    </a:lnTo>
                    <a:lnTo>
                      <a:pt x="164" y="428"/>
                    </a:lnTo>
                    <a:lnTo>
                      <a:pt x="167" y="425"/>
                    </a:lnTo>
                    <a:lnTo>
                      <a:pt x="169" y="424"/>
                    </a:lnTo>
                    <a:lnTo>
                      <a:pt x="172" y="424"/>
                    </a:lnTo>
                    <a:lnTo>
                      <a:pt x="172" y="422"/>
                    </a:lnTo>
                    <a:lnTo>
                      <a:pt x="174" y="421"/>
                    </a:lnTo>
                    <a:lnTo>
                      <a:pt x="175" y="418"/>
                    </a:lnTo>
                    <a:lnTo>
                      <a:pt x="176" y="415"/>
                    </a:lnTo>
                    <a:lnTo>
                      <a:pt x="178" y="413"/>
                    </a:lnTo>
                    <a:lnTo>
                      <a:pt x="180" y="411"/>
                    </a:lnTo>
                    <a:lnTo>
                      <a:pt x="183" y="408"/>
                    </a:lnTo>
                    <a:lnTo>
                      <a:pt x="185" y="408"/>
                    </a:lnTo>
                    <a:lnTo>
                      <a:pt x="186" y="407"/>
                    </a:lnTo>
                    <a:lnTo>
                      <a:pt x="186" y="403"/>
                    </a:lnTo>
                    <a:lnTo>
                      <a:pt x="187" y="399"/>
                    </a:lnTo>
                    <a:lnTo>
                      <a:pt x="189" y="393"/>
                    </a:lnTo>
                    <a:lnTo>
                      <a:pt x="190" y="386"/>
                    </a:lnTo>
                    <a:lnTo>
                      <a:pt x="191" y="380"/>
                    </a:lnTo>
                    <a:lnTo>
                      <a:pt x="190" y="373"/>
                    </a:lnTo>
                    <a:lnTo>
                      <a:pt x="189" y="367"/>
                    </a:lnTo>
                    <a:lnTo>
                      <a:pt x="187" y="362"/>
                    </a:lnTo>
                    <a:lnTo>
                      <a:pt x="186" y="356"/>
                    </a:lnTo>
                    <a:lnTo>
                      <a:pt x="186" y="351"/>
                    </a:lnTo>
                    <a:lnTo>
                      <a:pt x="187" y="345"/>
                    </a:lnTo>
                    <a:lnTo>
                      <a:pt x="189" y="340"/>
                    </a:lnTo>
                    <a:lnTo>
                      <a:pt x="191" y="336"/>
                    </a:lnTo>
                    <a:lnTo>
                      <a:pt x="194" y="333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2" y="329"/>
                    </a:lnTo>
                    <a:lnTo>
                      <a:pt x="205" y="327"/>
                    </a:lnTo>
                    <a:lnTo>
                      <a:pt x="208" y="326"/>
                    </a:lnTo>
                    <a:lnTo>
                      <a:pt x="212" y="323"/>
                    </a:lnTo>
                    <a:lnTo>
                      <a:pt x="216" y="322"/>
                    </a:lnTo>
                    <a:lnTo>
                      <a:pt x="219" y="319"/>
                    </a:lnTo>
                    <a:lnTo>
                      <a:pt x="220" y="316"/>
                    </a:lnTo>
                    <a:lnTo>
                      <a:pt x="223" y="314"/>
                    </a:lnTo>
                    <a:lnTo>
                      <a:pt x="229" y="308"/>
                    </a:lnTo>
                    <a:lnTo>
                      <a:pt x="235" y="303"/>
                    </a:lnTo>
                    <a:lnTo>
                      <a:pt x="242" y="296"/>
                    </a:lnTo>
                    <a:lnTo>
                      <a:pt x="251" y="289"/>
                    </a:lnTo>
                    <a:lnTo>
                      <a:pt x="257" y="283"/>
                    </a:lnTo>
                    <a:lnTo>
                      <a:pt x="263" y="279"/>
                    </a:lnTo>
                    <a:lnTo>
                      <a:pt x="267" y="276"/>
                    </a:lnTo>
                    <a:lnTo>
                      <a:pt x="270" y="275"/>
                    </a:lnTo>
                    <a:lnTo>
                      <a:pt x="274" y="274"/>
                    </a:lnTo>
                    <a:lnTo>
                      <a:pt x="278" y="270"/>
                    </a:lnTo>
                    <a:lnTo>
                      <a:pt x="284" y="265"/>
                    </a:lnTo>
                    <a:lnTo>
                      <a:pt x="288" y="260"/>
                    </a:lnTo>
                    <a:lnTo>
                      <a:pt x="290" y="254"/>
                    </a:lnTo>
                    <a:lnTo>
                      <a:pt x="295" y="248"/>
                    </a:lnTo>
                    <a:lnTo>
                      <a:pt x="296" y="242"/>
                    </a:lnTo>
                    <a:lnTo>
                      <a:pt x="296" y="241"/>
                    </a:lnTo>
                    <a:lnTo>
                      <a:pt x="297" y="239"/>
                    </a:lnTo>
                    <a:lnTo>
                      <a:pt x="299" y="238"/>
                    </a:lnTo>
                    <a:lnTo>
                      <a:pt x="300" y="237"/>
                    </a:lnTo>
                    <a:lnTo>
                      <a:pt x="301" y="234"/>
                    </a:lnTo>
                    <a:lnTo>
                      <a:pt x="306" y="232"/>
                    </a:lnTo>
                    <a:lnTo>
                      <a:pt x="308" y="232"/>
                    </a:lnTo>
                    <a:lnTo>
                      <a:pt x="314" y="232"/>
                    </a:lnTo>
                    <a:lnTo>
                      <a:pt x="323" y="234"/>
                    </a:lnTo>
                    <a:lnTo>
                      <a:pt x="322" y="217"/>
                    </a:lnTo>
                    <a:lnTo>
                      <a:pt x="322" y="217"/>
                    </a:lnTo>
                    <a:lnTo>
                      <a:pt x="322" y="216"/>
                    </a:lnTo>
                    <a:lnTo>
                      <a:pt x="322" y="215"/>
                    </a:lnTo>
                    <a:lnTo>
                      <a:pt x="322" y="213"/>
                    </a:lnTo>
                    <a:lnTo>
                      <a:pt x="321" y="212"/>
                    </a:lnTo>
                    <a:lnTo>
                      <a:pt x="321" y="212"/>
                    </a:lnTo>
                    <a:lnTo>
                      <a:pt x="319" y="210"/>
                    </a:lnTo>
                    <a:lnTo>
                      <a:pt x="319" y="210"/>
                    </a:lnTo>
                    <a:lnTo>
                      <a:pt x="318" y="209"/>
                    </a:lnTo>
                    <a:lnTo>
                      <a:pt x="317" y="208"/>
                    </a:lnTo>
                    <a:lnTo>
                      <a:pt x="317" y="206"/>
                    </a:lnTo>
                    <a:lnTo>
                      <a:pt x="317" y="204"/>
                    </a:lnTo>
                    <a:lnTo>
                      <a:pt x="317" y="201"/>
                    </a:lnTo>
                    <a:lnTo>
                      <a:pt x="317" y="198"/>
                    </a:lnTo>
                    <a:lnTo>
                      <a:pt x="317" y="195"/>
                    </a:lnTo>
                    <a:lnTo>
                      <a:pt x="318" y="194"/>
                    </a:lnTo>
                    <a:lnTo>
                      <a:pt x="318" y="193"/>
                    </a:lnTo>
                    <a:lnTo>
                      <a:pt x="318" y="190"/>
                    </a:lnTo>
                    <a:lnTo>
                      <a:pt x="319" y="187"/>
                    </a:lnTo>
                    <a:lnTo>
                      <a:pt x="319" y="184"/>
                    </a:lnTo>
                    <a:lnTo>
                      <a:pt x="321" y="183"/>
                    </a:lnTo>
                    <a:lnTo>
                      <a:pt x="322" y="180"/>
                    </a:lnTo>
                    <a:lnTo>
                      <a:pt x="325" y="179"/>
                    </a:lnTo>
                    <a:lnTo>
                      <a:pt x="329" y="179"/>
                    </a:lnTo>
                    <a:lnTo>
                      <a:pt x="332" y="179"/>
                    </a:lnTo>
                    <a:lnTo>
                      <a:pt x="336" y="179"/>
                    </a:lnTo>
                    <a:lnTo>
                      <a:pt x="339" y="179"/>
                    </a:lnTo>
                    <a:lnTo>
                      <a:pt x="341" y="179"/>
                    </a:lnTo>
                    <a:lnTo>
                      <a:pt x="343" y="179"/>
                    </a:lnTo>
                    <a:lnTo>
                      <a:pt x="344" y="179"/>
                    </a:lnTo>
                    <a:lnTo>
                      <a:pt x="344" y="179"/>
                    </a:lnTo>
                    <a:lnTo>
                      <a:pt x="344" y="179"/>
                    </a:lnTo>
                    <a:lnTo>
                      <a:pt x="345" y="179"/>
                    </a:lnTo>
                    <a:lnTo>
                      <a:pt x="345" y="179"/>
                    </a:lnTo>
                    <a:lnTo>
                      <a:pt x="347" y="179"/>
                    </a:lnTo>
                    <a:lnTo>
                      <a:pt x="347" y="179"/>
                    </a:lnTo>
                    <a:lnTo>
                      <a:pt x="348" y="180"/>
                    </a:lnTo>
                    <a:lnTo>
                      <a:pt x="350" y="182"/>
                    </a:lnTo>
                    <a:lnTo>
                      <a:pt x="350" y="183"/>
                    </a:lnTo>
                    <a:lnTo>
                      <a:pt x="351" y="186"/>
                    </a:lnTo>
                    <a:lnTo>
                      <a:pt x="351" y="197"/>
                    </a:lnTo>
                    <a:lnTo>
                      <a:pt x="356" y="212"/>
                    </a:lnTo>
                    <a:lnTo>
                      <a:pt x="356" y="212"/>
                    </a:lnTo>
                    <a:lnTo>
                      <a:pt x="358" y="210"/>
                    </a:lnTo>
                    <a:lnTo>
                      <a:pt x="358" y="210"/>
                    </a:lnTo>
                    <a:lnTo>
                      <a:pt x="359" y="209"/>
                    </a:lnTo>
                    <a:lnTo>
                      <a:pt x="361" y="209"/>
                    </a:lnTo>
                    <a:lnTo>
                      <a:pt x="361" y="208"/>
                    </a:lnTo>
                    <a:lnTo>
                      <a:pt x="362" y="205"/>
                    </a:lnTo>
                    <a:lnTo>
                      <a:pt x="362" y="204"/>
                    </a:lnTo>
                    <a:lnTo>
                      <a:pt x="363" y="201"/>
                    </a:lnTo>
                    <a:lnTo>
                      <a:pt x="365" y="198"/>
                    </a:lnTo>
                    <a:lnTo>
                      <a:pt x="366" y="195"/>
                    </a:lnTo>
                    <a:lnTo>
                      <a:pt x="367" y="194"/>
                    </a:lnTo>
                    <a:lnTo>
                      <a:pt x="369" y="193"/>
                    </a:lnTo>
                    <a:lnTo>
                      <a:pt x="370" y="194"/>
                    </a:lnTo>
                    <a:lnTo>
                      <a:pt x="373" y="197"/>
                    </a:lnTo>
                    <a:lnTo>
                      <a:pt x="373" y="202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9"/>
                    </a:lnTo>
                    <a:lnTo>
                      <a:pt x="374" y="210"/>
                    </a:lnTo>
                    <a:lnTo>
                      <a:pt x="376" y="213"/>
                    </a:lnTo>
                    <a:lnTo>
                      <a:pt x="376" y="216"/>
                    </a:lnTo>
                    <a:lnTo>
                      <a:pt x="376" y="217"/>
                    </a:lnTo>
                    <a:lnTo>
                      <a:pt x="376" y="220"/>
                    </a:lnTo>
                    <a:lnTo>
                      <a:pt x="376" y="219"/>
                    </a:lnTo>
                    <a:lnTo>
                      <a:pt x="377" y="219"/>
                    </a:lnTo>
                    <a:lnTo>
                      <a:pt x="377" y="219"/>
                    </a:lnTo>
                    <a:lnTo>
                      <a:pt x="377" y="217"/>
                    </a:lnTo>
                    <a:lnTo>
                      <a:pt x="378" y="217"/>
                    </a:lnTo>
                    <a:lnTo>
                      <a:pt x="378" y="217"/>
                    </a:lnTo>
                    <a:lnTo>
                      <a:pt x="380" y="217"/>
                    </a:lnTo>
                    <a:lnTo>
                      <a:pt x="381" y="219"/>
                    </a:lnTo>
                    <a:lnTo>
                      <a:pt x="381" y="219"/>
                    </a:lnTo>
                    <a:lnTo>
                      <a:pt x="383" y="219"/>
                    </a:lnTo>
                    <a:lnTo>
                      <a:pt x="383" y="220"/>
                    </a:lnTo>
                    <a:lnTo>
                      <a:pt x="384" y="220"/>
                    </a:lnTo>
                    <a:lnTo>
                      <a:pt x="385" y="220"/>
                    </a:lnTo>
                    <a:lnTo>
                      <a:pt x="387" y="220"/>
                    </a:lnTo>
                    <a:lnTo>
                      <a:pt x="387" y="219"/>
                    </a:lnTo>
                    <a:lnTo>
                      <a:pt x="387" y="216"/>
                    </a:lnTo>
                    <a:lnTo>
                      <a:pt x="387" y="213"/>
                    </a:lnTo>
                    <a:lnTo>
                      <a:pt x="385" y="210"/>
                    </a:lnTo>
                    <a:lnTo>
                      <a:pt x="385" y="206"/>
                    </a:lnTo>
                    <a:lnTo>
                      <a:pt x="384" y="204"/>
                    </a:lnTo>
                    <a:lnTo>
                      <a:pt x="384" y="202"/>
                    </a:lnTo>
                    <a:lnTo>
                      <a:pt x="384" y="199"/>
                    </a:lnTo>
                    <a:lnTo>
                      <a:pt x="385" y="199"/>
                    </a:lnTo>
                    <a:lnTo>
                      <a:pt x="385" y="199"/>
                    </a:lnTo>
                    <a:lnTo>
                      <a:pt x="387" y="201"/>
                    </a:lnTo>
                    <a:lnTo>
                      <a:pt x="388" y="201"/>
                    </a:lnTo>
                    <a:lnTo>
                      <a:pt x="389" y="202"/>
                    </a:lnTo>
                    <a:lnTo>
                      <a:pt x="391" y="204"/>
                    </a:lnTo>
                    <a:lnTo>
                      <a:pt x="392" y="204"/>
                    </a:lnTo>
                    <a:lnTo>
                      <a:pt x="394" y="205"/>
                    </a:lnTo>
                    <a:lnTo>
                      <a:pt x="394" y="205"/>
                    </a:lnTo>
                    <a:lnTo>
                      <a:pt x="395" y="205"/>
                    </a:lnTo>
                    <a:lnTo>
                      <a:pt x="396" y="205"/>
                    </a:lnTo>
                    <a:lnTo>
                      <a:pt x="396" y="205"/>
                    </a:lnTo>
                    <a:lnTo>
                      <a:pt x="398" y="204"/>
                    </a:lnTo>
                    <a:lnTo>
                      <a:pt x="400" y="202"/>
                    </a:lnTo>
                    <a:lnTo>
                      <a:pt x="402" y="201"/>
                    </a:lnTo>
                    <a:lnTo>
                      <a:pt x="403" y="199"/>
                    </a:lnTo>
                    <a:lnTo>
                      <a:pt x="405" y="198"/>
                    </a:lnTo>
                    <a:lnTo>
                      <a:pt x="406" y="197"/>
                    </a:lnTo>
                    <a:lnTo>
                      <a:pt x="407" y="195"/>
                    </a:lnTo>
                    <a:lnTo>
                      <a:pt x="409" y="191"/>
                    </a:lnTo>
                    <a:lnTo>
                      <a:pt x="411" y="187"/>
                    </a:lnTo>
                    <a:lnTo>
                      <a:pt x="413" y="182"/>
                    </a:lnTo>
                    <a:lnTo>
                      <a:pt x="416" y="175"/>
                    </a:lnTo>
                    <a:lnTo>
                      <a:pt x="418" y="171"/>
                    </a:lnTo>
                    <a:lnTo>
                      <a:pt x="422" y="166"/>
                    </a:lnTo>
                    <a:lnTo>
                      <a:pt x="427" y="165"/>
                    </a:lnTo>
                    <a:lnTo>
                      <a:pt x="439" y="161"/>
                    </a:lnTo>
                    <a:lnTo>
                      <a:pt x="440" y="154"/>
                    </a:lnTo>
                    <a:lnTo>
                      <a:pt x="442" y="153"/>
                    </a:lnTo>
                    <a:lnTo>
                      <a:pt x="443" y="150"/>
                    </a:lnTo>
                    <a:lnTo>
                      <a:pt x="446" y="146"/>
                    </a:lnTo>
                    <a:lnTo>
                      <a:pt x="449" y="142"/>
                    </a:lnTo>
                    <a:lnTo>
                      <a:pt x="450" y="136"/>
                    </a:lnTo>
                    <a:lnTo>
                      <a:pt x="451" y="133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6" y="129"/>
                    </a:lnTo>
                    <a:lnTo>
                      <a:pt x="440" y="131"/>
                    </a:lnTo>
                    <a:lnTo>
                      <a:pt x="435" y="132"/>
                    </a:lnTo>
                    <a:lnTo>
                      <a:pt x="429" y="132"/>
                    </a:lnTo>
                    <a:lnTo>
                      <a:pt x="424" y="133"/>
                    </a:lnTo>
                    <a:lnTo>
                      <a:pt x="418" y="135"/>
                    </a:lnTo>
                    <a:lnTo>
                      <a:pt x="414" y="135"/>
                    </a:lnTo>
                    <a:lnTo>
                      <a:pt x="410" y="135"/>
                    </a:lnTo>
                    <a:lnTo>
                      <a:pt x="395" y="133"/>
                    </a:lnTo>
                    <a:lnTo>
                      <a:pt x="394" y="135"/>
                    </a:lnTo>
                    <a:lnTo>
                      <a:pt x="392" y="138"/>
                    </a:lnTo>
                    <a:lnTo>
                      <a:pt x="391" y="142"/>
                    </a:lnTo>
                    <a:lnTo>
                      <a:pt x="388" y="146"/>
                    </a:lnTo>
                    <a:lnTo>
                      <a:pt x="387" y="151"/>
                    </a:lnTo>
                    <a:lnTo>
                      <a:pt x="384" y="157"/>
                    </a:lnTo>
                    <a:lnTo>
                      <a:pt x="381" y="161"/>
                    </a:lnTo>
                    <a:lnTo>
                      <a:pt x="380" y="162"/>
                    </a:lnTo>
                    <a:lnTo>
                      <a:pt x="378" y="164"/>
                    </a:lnTo>
                    <a:lnTo>
                      <a:pt x="377" y="164"/>
                    </a:lnTo>
                    <a:lnTo>
                      <a:pt x="373" y="164"/>
                    </a:lnTo>
                    <a:lnTo>
                      <a:pt x="370" y="164"/>
                    </a:lnTo>
                    <a:lnTo>
                      <a:pt x="366" y="164"/>
                    </a:lnTo>
                    <a:lnTo>
                      <a:pt x="362" y="164"/>
                    </a:lnTo>
                    <a:lnTo>
                      <a:pt x="358" y="164"/>
                    </a:lnTo>
                    <a:lnTo>
                      <a:pt x="355" y="164"/>
                    </a:lnTo>
                    <a:lnTo>
                      <a:pt x="352" y="164"/>
                    </a:lnTo>
                    <a:lnTo>
                      <a:pt x="350" y="164"/>
                    </a:lnTo>
                    <a:lnTo>
                      <a:pt x="345" y="164"/>
                    </a:lnTo>
                    <a:lnTo>
                      <a:pt x="343" y="164"/>
                    </a:lnTo>
                    <a:lnTo>
                      <a:pt x="340" y="164"/>
                    </a:lnTo>
                    <a:lnTo>
                      <a:pt x="337" y="164"/>
                    </a:lnTo>
                    <a:lnTo>
                      <a:pt x="334" y="162"/>
                    </a:lnTo>
                    <a:lnTo>
                      <a:pt x="334" y="162"/>
                    </a:lnTo>
                    <a:lnTo>
                      <a:pt x="317" y="16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8" name="Freeform 830"/>
              <p:cNvSpPr>
                <a:spLocks/>
              </p:cNvSpPr>
              <p:nvPr/>
            </p:nvSpPr>
            <p:spPr bwMode="auto">
              <a:xfrm>
                <a:off x="3732" y="2363"/>
                <a:ext cx="451" cy="444"/>
              </a:xfrm>
              <a:custGeom>
                <a:avLst/>
                <a:gdLst>
                  <a:gd name="T0" fmla="*/ 312 w 451"/>
                  <a:gd name="T1" fmla="*/ 151 h 444"/>
                  <a:gd name="T2" fmla="*/ 315 w 451"/>
                  <a:gd name="T3" fmla="*/ 136 h 444"/>
                  <a:gd name="T4" fmla="*/ 307 w 451"/>
                  <a:gd name="T5" fmla="*/ 133 h 444"/>
                  <a:gd name="T6" fmla="*/ 304 w 451"/>
                  <a:gd name="T7" fmla="*/ 150 h 444"/>
                  <a:gd name="T8" fmla="*/ 253 w 451"/>
                  <a:gd name="T9" fmla="*/ 144 h 444"/>
                  <a:gd name="T10" fmla="*/ 212 w 451"/>
                  <a:gd name="T11" fmla="*/ 131 h 444"/>
                  <a:gd name="T12" fmla="*/ 190 w 451"/>
                  <a:gd name="T13" fmla="*/ 105 h 444"/>
                  <a:gd name="T14" fmla="*/ 193 w 451"/>
                  <a:gd name="T15" fmla="*/ 81 h 444"/>
                  <a:gd name="T16" fmla="*/ 200 w 451"/>
                  <a:gd name="T17" fmla="*/ 54 h 444"/>
                  <a:gd name="T18" fmla="*/ 205 w 451"/>
                  <a:gd name="T19" fmla="*/ 22 h 444"/>
                  <a:gd name="T20" fmla="*/ 197 w 451"/>
                  <a:gd name="T21" fmla="*/ 2 h 444"/>
                  <a:gd name="T22" fmla="*/ 171 w 451"/>
                  <a:gd name="T23" fmla="*/ 4 h 444"/>
                  <a:gd name="T24" fmla="*/ 145 w 451"/>
                  <a:gd name="T25" fmla="*/ 18 h 444"/>
                  <a:gd name="T26" fmla="*/ 127 w 451"/>
                  <a:gd name="T27" fmla="*/ 30 h 444"/>
                  <a:gd name="T28" fmla="*/ 146 w 451"/>
                  <a:gd name="T29" fmla="*/ 39 h 444"/>
                  <a:gd name="T30" fmla="*/ 139 w 451"/>
                  <a:gd name="T31" fmla="*/ 43 h 444"/>
                  <a:gd name="T32" fmla="*/ 116 w 451"/>
                  <a:gd name="T33" fmla="*/ 51 h 444"/>
                  <a:gd name="T34" fmla="*/ 107 w 451"/>
                  <a:gd name="T35" fmla="*/ 69 h 444"/>
                  <a:gd name="T36" fmla="*/ 83 w 451"/>
                  <a:gd name="T37" fmla="*/ 92 h 444"/>
                  <a:gd name="T38" fmla="*/ 47 w 451"/>
                  <a:gd name="T39" fmla="*/ 143 h 444"/>
                  <a:gd name="T40" fmla="*/ 25 w 451"/>
                  <a:gd name="T41" fmla="*/ 175 h 444"/>
                  <a:gd name="T42" fmla="*/ 11 w 451"/>
                  <a:gd name="T43" fmla="*/ 202 h 444"/>
                  <a:gd name="T44" fmla="*/ 41 w 451"/>
                  <a:gd name="T45" fmla="*/ 197 h 444"/>
                  <a:gd name="T46" fmla="*/ 29 w 451"/>
                  <a:gd name="T47" fmla="*/ 221 h 444"/>
                  <a:gd name="T48" fmla="*/ 30 w 451"/>
                  <a:gd name="T49" fmla="*/ 246 h 444"/>
                  <a:gd name="T50" fmla="*/ 58 w 451"/>
                  <a:gd name="T51" fmla="*/ 250 h 444"/>
                  <a:gd name="T52" fmla="*/ 70 w 451"/>
                  <a:gd name="T53" fmla="*/ 230 h 444"/>
                  <a:gd name="T54" fmla="*/ 69 w 451"/>
                  <a:gd name="T55" fmla="*/ 248 h 444"/>
                  <a:gd name="T56" fmla="*/ 73 w 451"/>
                  <a:gd name="T57" fmla="*/ 308 h 444"/>
                  <a:gd name="T58" fmla="*/ 120 w 451"/>
                  <a:gd name="T59" fmla="*/ 415 h 444"/>
                  <a:gd name="T60" fmla="*/ 136 w 451"/>
                  <a:gd name="T61" fmla="*/ 441 h 444"/>
                  <a:gd name="T62" fmla="*/ 157 w 451"/>
                  <a:gd name="T63" fmla="*/ 443 h 444"/>
                  <a:gd name="T64" fmla="*/ 160 w 451"/>
                  <a:gd name="T65" fmla="*/ 433 h 444"/>
                  <a:gd name="T66" fmla="*/ 175 w 451"/>
                  <a:gd name="T67" fmla="*/ 418 h 444"/>
                  <a:gd name="T68" fmla="*/ 187 w 451"/>
                  <a:gd name="T69" fmla="*/ 399 h 444"/>
                  <a:gd name="T70" fmla="*/ 186 w 451"/>
                  <a:gd name="T71" fmla="*/ 351 h 444"/>
                  <a:gd name="T72" fmla="*/ 205 w 451"/>
                  <a:gd name="T73" fmla="*/ 327 h 444"/>
                  <a:gd name="T74" fmla="*/ 235 w 451"/>
                  <a:gd name="T75" fmla="*/ 303 h 444"/>
                  <a:gd name="T76" fmla="*/ 278 w 451"/>
                  <a:gd name="T77" fmla="*/ 270 h 444"/>
                  <a:gd name="T78" fmla="*/ 299 w 451"/>
                  <a:gd name="T79" fmla="*/ 238 h 444"/>
                  <a:gd name="T80" fmla="*/ 322 w 451"/>
                  <a:gd name="T81" fmla="*/ 216 h 444"/>
                  <a:gd name="T82" fmla="*/ 317 w 451"/>
                  <a:gd name="T83" fmla="*/ 204 h 444"/>
                  <a:gd name="T84" fmla="*/ 319 w 451"/>
                  <a:gd name="T85" fmla="*/ 184 h 444"/>
                  <a:gd name="T86" fmla="*/ 341 w 451"/>
                  <a:gd name="T87" fmla="*/ 179 h 444"/>
                  <a:gd name="T88" fmla="*/ 351 w 451"/>
                  <a:gd name="T89" fmla="*/ 186 h 444"/>
                  <a:gd name="T90" fmla="*/ 362 w 451"/>
                  <a:gd name="T91" fmla="*/ 204 h 444"/>
                  <a:gd name="T92" fmla="*/ 373 w 451"/>
                  <a:gd name="T93" fmla="*/ 202 h 444"/>
                  <a:gd name="T94" fmla="*/ 376 w 451"/>
                  <a:gd name="T95" fmla="*/ 220 h 444"/>
                  <a:gd name="T96" fmla="*/ 383 w 451"/>
                  <a:gd name="T97" fmla="*/ 220 h 444"/>
                  <a:gd name="T98" fmla="*/ 385 w 451"/>
                  <a:gd name="T99" fmla="*/ 206 h 444"/>
                  <a:gd name="T100" fmla="*/ 391 w 451"/>
                  <a:gd name="T101" fmla="*/ 204 h 444"/>
                  <a:gd name="T102" fmla="*/ 403 w 451"/>
                  <a:gd name="T103" fmla="*/ 199 h 444"/>
                  <a:gd name="T104" fmla="*/ 418 w 451"/>
                  <a:gd name="T105" fmla="*/ 171 h 444"/>
                  <a:gd name="T106" fmla="*/ 449 w 451"/>
                  <a:gd name="T107" fmla="*/ 142 h 444"/>
                  <a:gd name="T108" fmla="*/ 429 w 451"/>
                  <a:gd name="T109" fmla="*/ 132 h 444"/>
                  <a:gd name="T110" fmla="*/ 391 w 451"/>
                  <a:gd name="T111" fmla="*/ 142 h 444"/>
                  <a:gd name="T112" fmla="*/ 373 w 451"/>
                  <a:gd name="T113" fmla="*/ 164 h 444"/>
                  <a:gd name="T114" fmla="*/ 345 w 451"/>
                  <a:gd name="T115" fmla="*/ 16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1" h="444">
                    <a:moveTo>
                      <a:pt x="317" y="164"/>
                    </a:moveTo>
                    <a:lnTo>
                      <a:pt x="312" y="162"/>
                    </a:lnTo>
                    <a:lnTo>
                      <a:pt x="311" y="161"/>
                    </a:lnTo>
                    <a:lnTo>
                      <a:pt x="311" y="158"/>
                    </a:lnTo>
                    <a:lnTo>
                      <a:pt x="311" y="157"/>
                    </a:lnTo>
                    <a:lnTo>
                      <a:pt x="311" y="154"/>
                    </a:lnTo>
                    <a:lnTo>
                      <a:pt x="312" y="153"/>
                    </a:lnTo>
                    <a:lnTo>
                      <a:pt x="312" y="151"/>
                    </a:lnTo>
                    <a:lnTo>
                      <a:pt x="314" y="151"/>
                    </a:lnTo>
                    <a:lnTo>
                      <a:pt x="314" y="149"/>
                    </a:lnTo>
                    <a:lnTo>
                      <a:pt x="314" y="146"/>
                    </a:lnTo>
                    <a:lnTo>
                      <a:pt x="314" y="143"/>
                    </a:lnTo>
                    <a:lnTo>
                      <a:pt x="315" y="140"/>
                    </a:lnTo>
                    <a:lnTo>
                      <a:pt x="315" y="139"/>
                    </a:lnTo>
                    <a:lnTo>
                      <a:pt x="315" y="138"/>
                    </a:lnTo>
                    <a:lnTo>
                      <a:pt x="315" y="136"/>
                    </a:lnTo>
                    <a:lnTo>
                      <a:pt x="317" y="135"/>
                    </a:lnTo>
                    <a:lnTo>
                      <a:pt x="315" y="133"/>
                    </a:lnTo>
                    <a:lnTo>
                      <a:pt x="314" y="132"/>
                    </a:lnTo>
                    <a:lnTo>
                      <a:pt x="312" y="131"/>
                    </a:lnTo>
                    <a:lnTo>
                      <a:pt x="311" y="132"/>
                    </a:lnTo>
                    <a:lnTo>
                      <a:pt x="310" y="132"/>
                    </a:lnTo>
                    <a:lnTo>
                      <a:pt x="308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6" y="136"/>
                    </a:lnTo>
                    <a:lnTo>
                      <a:pt x="306" y="138"/>
                    </a:lnTo>
                    <a:lnTo>
                      <a:pt x="306" y="140"/>
                    </a:lnTo>
                    <a:lnTo>
                      <a:pt x="306" y="143"/>
                    </a:lnTo>
                    <a:lnTo>
                      <a:pt x="304" y="146"/>
                    </a:lnTo>
                    <a:lnTo>
                      <a:pt x="304" y="149"/>
                    </a:lnTo>
                    <a:lnTo>
                      <a:pt x="304" y="150"/>
                    </a:lnTo>
                    <a:lnTo>
                      <a:pt x="304" y="151"/>
                    </a:lnTo>
                    <a:lnTo>
                      <a:pt x="304" y="153"/>
                    </a:lnTo>
                    <a:lnTo>
                      <a:pt x="304" y="154"/>
                    </a:lnTo>
                    <a:lnTo>
                      <a:pt x="303" y="155"/>
                    </a:lnTo>
                    <a:lnTo>
                      <a:pt x="271" y="151"/>
                    </a:lnTo>
                    <a:lnTo>
                      <a:pt x="266" y="149"/>
                    </a:lnTo>
                    <a:lnTo>
                      <a:pt x="260" y="147"/>
                    </a:lnTo>
                    <a:lnTo>
                      <a:pt x="253" y="144"/>
                    </a:lnTo>
                    <a:lnTo>
                      <a:pt x="246" y="143"/>
                    </a:lnTo>
                    <a:lnTo>
                      <a:pt x="240" y="142"/>
                    </a:lnTo>
                    <a:lnTo>
                      <a:pt x="235" y="140"/>
                    </a:lnTo>
                    <a:lnTo>
                      <a:pt x="231" y="139"/>
                    </a:lnTo>
                    <a:lnTo>
                      <a:pt x="230" y="139"/>
                    </a:lnTo>
                    <a:lnTo>
                      <a:pt x="223" y="136"/>
                    </a:lnTo>
                    <a:lnTo>
                      <a:pt x="218" y="133"/>
                    </a:lnTo>
                    <a:lnTo>
                      <a:pt x="212" y="131"/>
                    </a:lnTo>
                    <a:lnTo>
                      <a:pt x="208" y="127"/>
                    </a:lnTo>
                    <a:lnTo>
                      <a:pt x="204" y="124"/>
                    </a:lnTo>
                    <a:lnTo>
                      <a:pt x="201" y="120"/>
                    </a:lnTo>
                    <a:lnTo>
                      <a:pt x="200" y="118"/>
                    </a:lnTo>
                    <a:lnTo>
                      <a:pt x="200" y="117"/>
                    </a:lnTo>
                    <a:lnTo>
                      <a:pt x="193" y="113"/>
                    </a:lnTo>
                    <a:lnTo>
                      <a:pt x="190" y="109"/>
                    </a:lnTo>
                    <a:lnTo>
                      <a:pt x="190" y="105"/>
                    </a:lnTo>
                    <a:lnTo>
                      <a:pt x="191" y="101"/>
                    </a:lnTo>
                    <a:lnTo>
                      <a:pt x="194" y="98"/>
                    </a:lnTo>
                    <a:lnTo>
                      <a:pt x="197" y="95"/>
                    </a:lnTo>
                    <a:lnTo>
                      <a:pt x="198" y="94"/>
                    </a:lnTo>
                    <a:lnTo>
                      <a:pt x="200" y="92"/>
                    </a:lnTo>
                    <a:lnTo>
                      <a:pt x="197" y="90"/>
                    </a:lnTo>
                    <a:lnTo>
                      <a:pt x="194" y="85"/>
                    </a:lnTo>
                    <a:lnTo>
                      <a:pt x="193" y="81"/>
                    </a:lnTo>
                    <a:lnTo>
                      <a:pt x="193" y="79"/>
                    </a:lnTo>
                    <a:lnTo>
                      <a:pt x="193" y="74"/>
                    </a:lnTo>
                    <a:lnTo>
                      <a:pt x="193" y="70"/>
                    </a:lnTo>
                    <a:lnTo>
                      <a:pt x="193" y="66"/>
                    </a:lnTo>
                    <a:lnTo>
                      <a:pt x="194" y="63"/>
                    </a:lnTo>
                    <a:lnTo>
                      <a:pt x="196" y="59"/>
                    </a:lnTo>
                    <a:lnTo>
                      <a:pt x="197" y="57"/>
                    </a:lnTo>
                    <a:lnTo>
                      <a:pt x="200" y="54"/>
                    </a:lnTo>
                    <a:lnTo>
                      <a:pt x="201" y="51"/>
                    </a:lnTo>
                    <a:lnTo>
                      <a:pt x="204" y="50"/>
                    </a:lnTo>
                    <a:lnTo>
                      <a:pt x="205" y="50"/>
                    </a:lnTo>
                    <a:lnTo>
                      <a:pt x="207" y="48"/>
                    </a:lnTo>
                    <a:lnTo>
                      <a:pt x="201" y="35"/>
                    </a:lnTo>
                    <a:lnTo>
                      <a:pt x="208" y="28"/>
                    </a:lnTo>
                    <a:lnTo>
                      <a:pt x="207" y="25"/>
                    </a:lnTo>
                    <a:lnTo>
                      <a:pt x="205" y="22"/>
                    </a:lnTo>
                    <a:lnTo>
                      <a:pt x="204" y="19"/>
                    </a:lnTo>
                    <a:lnTo>
                      <a:pt x="204" y="15"/>
                    </a:lnTo>
                    <a:lnTo>
                      <a:pt x="202" y="13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2" y="7"/>
                    </a:lnTo>
                    <a:lnTo>
                      <a:pt x="200" y="3"/>
                    </a:lnTo>
                    <a:lnTo>
                      <a:pt x="197" y="2"/>
                    </a:lnTo>
                    <a:lnTo>
                      <a:pt x="191" y="0"/>
                    </a:lnTo>
                    <a:lnTo>
                      <a:pt x="187" y="0"/>
                    </a:lnTo>
                    <a:lnTo>
                      <a:pt x="183" y="2"/>
                    </a:lnTo>
                    <a:lnTo>
                      <a:pt x="179" y="2"/>
                    </a:lnTo>
                    <a:lnTo>
                      <a:pt x="176" y="3"/>
                    </a:lnTo>
                    <a:lnTo>
                      <a:pt x="175" y="3"/>
                    </a:lnTo>
                    <a:lnTo>
                      <a:pt x="172" y="3"/>
                    </a:lnTo>
                    <a:lnTo>
                      <a:pt x="171" y="4"/>
                    </a:lnTo>
                    <a:lnTo>
                      <a:pt x="169" y="7"/>
                    </a:lnTo>
                    <a:lnTo>
                      <a:pt x="168" y="10"/>
                    </a:lnTo>
                    <a:lnTo>
                      <a:pt x="167" y="13"/>
                    </a:lnTo>
                    <a:lnTo>
                      <a:pt x="165" y="14"/>
                    </a:lnTo>
                    <a:lnTo>
                      <a:pt x="165" y="15"/>
                    </a:lnTo>
                    <a:lnTo>
                      <a:pt x="165" y="17"/>
                    </a:lnTo>
                    <a:lnTo>
                      <a:pt x="152" y="18"/>
                    </a:lnTo>
                    <a:lnTo>
                      <a:pt x="145" y="18"/>
                    </a:lnTo>
                    <a:lnTo>
                      <a:pt x="140" y="19"/>
                    </a:lnTo>
                    <a:lnTo>
                      <a:pt x="136" y="21"/>
                    </a:lnTo>
                    <a:lnTo>
                      <a:pt x="132" y="24"/>
                    </a:lnTo>
                    <a:lnTo>
                      <a:pt x="129" y="25"/>
                    </a:lnTo>
                    <a:lnTo>
                      <a:pt x="128" y="26"/>
                    </a:lnTo>
                    <a:lnTo>
                      <a:pt x="127" y="28"/>
                    </a:lnTo>
                    <a:lnTo>
                      <a:pt x="127" y="29"/>
                    </a:lnTo>
                    <a:lnTo>
                      <a:pt x="127" y="30"/>
                    </a:lnTo>
                    <a:lnTo>
                      <a:pt x="128" y="32"/>
                    </a:lnTo>
                    <a:lnTo>
                      <a:pt x="131" y="33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3" y="36"/>
                    </a:lnTo>
                    <a:lnTo>
                      <a:pt x="146" y="39"/>
                    </a:lnTo>
                    <a:lnTo>
                      <a:pt x="149" y="40"/>
                    </a:lnTo>
                    <a:lnTo>
                      <a:pt x="150" y="41"/>
                    </a:lnTo>
                    <a:lnTo>
                      <a:pt x="150" y="44"/>
                    </a:lnTo>
                    <a:lnTo>
                      <a:pt x="149" y="44"/>
                    </a:lnTo>
                    <a:lnTo>
                      <a:pt x="147" y="46"/>
                    </a:lnTo>
                    <a:lnTo>
                      <a:pt x="146" y="44"/>
                    </a:lnTo>
                    <a:lnTo>
                      <a:pt x="142" y="43"/>
                    </a:lnTo>
                    <a:lnTo>
                      <a:pt x="139" y="43"/>
                    </a:lnTo>
                    <a:lnTo>
                      <a:pt x="135" y="43"/>
                    </a:lnTo>
                    <a:lnTo>
                      <a:pt x="131" y="44"/>
                    </a:lnTo>
                    <a:lnTo>
                      <a:pt x="127" y="44"/>
                    </a:lnTo>
                    <a:lnTo>
                      <a:pt x="124" y="46"/>
                    </a:lnTo>
                    <a:lnTo>
                      <a:pt x="123" y="46"/>
                    </a:lnTo>
                    <a:lnTo>
                      <a:pt x="123" y="47"/>
                    </a:lnTo>
                    <a:lnTo>
                      <a:pt x="118" y="48"/>
                    </a:lnTo>
                    <a:lnTo>
                      <a:pt x="116" y="51"/>
                    </a:lnTo>
                    <a:lnTo>
                      <a:pt x="116" y="54"/>
                    </a:lnTo>
                    <a:lnTo>
                      <a:pt x="114" y="58"/>
                    </a:lnTo>
                    <a:lnTo>
                      <a:pt x="114" y="59"/>
                    </a:lnTo>
                    <a:lnTo>
                      <a:pt x="114" y="62"/>
                    </a:lnTo>
                    <a:lnTo>
                      <a:pt x="114" y="63"/>
                    </a:lnTo>
                    <a:lnTo>
                      <a:pt x="116" y="65"/>
                    </a:lnTo>
                    <a:lnTo>
                      <a:pt x="109" y="66"/>
                    </a:lnTo>
                    <a:lnTo>
                      <a:pt x="107" y="69"/>
                    </a:lnTo>
                    <a:lnTo>
                      <a:pt x="106" y="72"/>
                    </a:lnTo>
                    <a:lnTo>
                      <a:pt x="103" y="76"/>
                    </a:lnTo>
                    <a:lnTo>
                      <a:pt x="99" y="80"/>
                    </a:lnTo>
                    <a:lnTo>
                      <a:pt x="96" y="83"/>
                    </a:lnTo>
                    <a:lnTo>
                      <a:pt x="94" y="85"/>
                    </a:lnTo>
                    <a:lnTo>
                      <a:pt x="92" y="87"/>
                    </a:lnTo>
                    <a:lnTo>
                      <a:pt x="92" y="88"/>
                    </a:lnTo>
                    <a:lnTo>
                      <a:pt x="83" y="92"/>
                    </a:lnTo>
                    <a:lnTo>
                      <a:pt x="74" y="96"/>
                    </a:lnTo>
                    <a:lnTo>
                      <a:pt x="68" y="102"/>
                    </a:lnTo>
                    <a:lnTo>
                      <a:pt x="61" y="106"/>
                    </a:lnTo>
                    <a:lnTo>
                      <a:pt x="54" y="116"/>
                    </a:lnTo>
                    <a:lnTo>
                      <a:pt x="48" y="125"/>
                    </a:lnTo>
                    <a:lnTo>
                      <a:pt x="47" y="133"/>
                    </a:lnTo>
                    <a:lnTo>
                      <a:pt x="47" y="139"/>
                    </a:lnTo>
                    <a:lnTo>
                      <a:pt x="47" y="143"/>
                    </a:lnTo>
                    <a:lnTo>
                      <a:pt x="48" y="144"/>
                    </a:lnTo>
                    <a:lnTo>
                      <a:pt x="58" y="150"/>
                    </a:lnTo>
                    <a:lnTo>
                      <a:pt x="54" y="173"/>
                    </a:lnTo>
                    <a:lnTo>
                      <a:pt x="47" y="173"/>
                    </a:lnTo>
                    <a:lnTo>
                      <a:pt x="29" y="173"/>
                    </a:lnTo>
                    <a:lnTo>
                      <a:pt x="28" y="173"/>
                    </a:lnTo>
                    <a:lnTo>
                      <a:pt x="26" y="173"/>
                    </a:lnTo>
                    <a:lnTo>
                      <a:pt x="25" y="175"/>
                    </a:lnTo>
                    <a:lnTo>
                      <a:pt x="24" y="175"/>
                    </a:lnTo>
                    <a:lnTo>
                      <a:pt x="22" y="176"/>
                    </a:lnTo>
                    <a:lnTo>
                      <a:pt x="21" y="177"/>
                    </a:lnTo>
                    <a:lnTo>
                      <a:pt x="0" y="198"/>
                    </a:lnTo>
                    <a:lnTo>
                      <a:pt x="3" y="201"/>
                    </a:lnTo>
                    <a:lnTo>
                      <a:pt x="6" y="201"/>
                    </a:lnTo>
                    <a:lnTo>
                      <a:pt x="7" y="202"/>
                    </a:lnTo>
                    <a:lnTo>
                      <a:pt x="11" y="202"/>
                    </a:lnTo>
                    <a:lnTo>
                      <a:pt x="15" y="204"/>
                    </a:lnTo>
                    <a:lnTo>
                      <a:pt x="19" y="204"/>
                    </a:lnTo>
                    <a:lnTo>
                      <a:pt x="25" y="202"/>
                    </a:lnTo>
                    <a:lnTo>
                      <a:pt x="30" y="201"/>
                    </a:lnTo>
                    <a:lnTo>
                      <a:pt x="33" y="199"/>
                    </a:lnTo>
                    <a:lnTo>
                      <a:pt x="36" y="198"/>
                    </a:lnTo>
                    <a:lnTo>
                      <a:pt x="39" y="198"/>
                    </a:lnTo>
                    <a:lnTo>
                      <a:pt x="41" y="197"/>
                    </a:lnTo>
                    <a:lnTo>
                      <a:pt x="43" y="197"/>
                    </a:lnTo>
                    <a:lnTo>
                      <a:pt x="44" y="198"/>
                    </a:lnTo>
                    <a:lnTo>
                      <a:pt x="44" y="199"/>
                    </a:lnTo>
                    <a:lnTo>
                      <a:pt x="43" y="204"/>
                    </a:lnTo>
                    <a:lnTo>
                      <a:pt x="40" y="208"/>
                    </a:lnTo>
                    <a:lnTo>
                      <a:pt x="36" y="212"/>
                    </a:lnTo>
                    <a:lnTo>
                      <a:pt x="33" y="217"/>
                    </a:lnTo>
                    <a:lnTo>
                      <a:pt x="29" y="221"/>
                    </a:lnTo>
                    <a:lnTo>
                      <a:pt x="24" y="224"/>
                    </a:lnTo>
                    <a:lnTo>
                      <a:pt x="19" y="226"/>
                    </a:lnTo>
                    <a:lnTo>
                      <a:pt x="19" y="227"/>
                    </a:lnTo>
                    <a:lnTo>
                      <a:pt x="19" y="228"/>
                    </a:lnTo>
                    <a:lnTo>
                      <a:pt x="21" y="232"/>
                    </a:lnTo>
                    <a:lnTo>
                      <a:pt x="22" y="237"/>
                    </a:lnTo>
                    <a:lnTo>
                      <a:pt x="26" y="242"/>
                    </a:lnTo>
                    <a:lnTo>
                      <a:pt x="30" y="246"/>
                    </a:lnTo>
                    <a:lnTo>
                      <a:pt x="37" y="252"/>
                    </a:lnTo>
                    <a:lnTo>
                      <a:pt x="47" y="256"/>
                    </a:lnTo>
                    <a:lnTo>
                      <a:pt x="48" y="256"/>
                    </a:lnTo>
                    <a:lnTo>
                      <a:pt x="50" y="256"/>
                    </a:lnTo>
                    <a:lnTo>
                      <a:pt x="51" y="256"/>
                    </a:lnTo>
                    <a:lnTo>
                      <a:pt x="54" y="254"/>
                    </a:lnTo>
                    <a:lnTo>
                      <a:pt x="55" y="253"/>
                    </a:lnTo>
                    <a:lnTo>
                      <a:pt x="58" y="250"/>
                    </a:lnTo>
                    <a:lnTo>
                      <a:pt x="59" y="246"/>
                    </a:lnTo>
                    <a:lnTo>
                      <a:pt x="61" y="243"/>
                    </a:lnTo>
                    <a:lnTo>
                      <a:pt x="61" y="242"/>
                    </a:lnTo>
                    <a:lnTo>
                      <a:pt x="62" y="238"/>
                    </a:lnTo>
                    <a:lnTo>
                      <a:pt x="63" y="235"/>
                    </a:lnTo>
                    <a:lnTo>
                      <a:pt x="65" y="232"/>
                    </a:lnTo>
                    <a:lnTo>
                      <a:pt x="68" y="231"/>
                    </a:lnTo>
                    <a:lnTo>
                      <a:pt x="70" y="230"/>
                    </a:lnTo>
                    <a:lnTo>
                      <a:pt x="69" y="231"/>
                    </a:lnTo>
                    <a:lnTo>
                      <a:pt x="69" y="234"/>
                    </a:lnTo>
                    <a:lnTo>
                      <a:pt x="69" y="235"/>
                    </a:lnTo>
                    <a:lnTo>
                      <a:pt x="68" y="238"/>
                    </a:lnTo>
                    <a:lnTo>
                      <a:pt x="68" y="241"/>
                    </a:lnTo>
                    <a:lnTo>
                      <a:pt x="69" y="243"/>
                    </a:lnTo>
                    <a:lnTo>
                      <a:pt x="70" y="246"/>
                    </a:lnTo>
                    <a:lnTo>
                      <a:pt x="69" y="248"/>
                    </a:lnTo>
                    <a:lnTo>
                      <a:pt x="69" y="249"/>
                    </a:lnTo>
                    <a:lnTo>
                      <a:pt x="69" y="252"/>
                    </a:lnTo>
                    <a:lnTo>
                      <a:pt x="68" y="254"/>
                    </a:lnTo>
                    <a:lnTo>
                      <a:pt x="68" y="257"/>
                    </a:lnTo>
                    <a:lnTo>
                      <a:pt x="68" y="259"/>
                    </a:lnTo>
                    <a:lnTo>
                      <a:pt x="68" y="261"/>
                    </a:lnTo>
                    <a:lnTo>
                      <a:pt x="68" y="272"/>
                    </a:lnTo>
                    <a:lnTo>
                      <a:pt x="73" y="308"/>
                    </a:lnTo>
                    <a:lnTo>
                      <a:pt x="91" y="367"/>
                    </a:lnTo>
                    <a:lnTo>
                      <a:pt x="112" y="400"/>
                    </a:lnTo>
                    <a:lnTo>
                      <a:pt x="113" y="402"/>
                    </a:lnTo>
                    <a:lnTo>
                      <a:pt x="114" y="403"/>
                    </a:lnTo>
                    <a:lnTo>
                      <a:pt x="116" y="404"/>
                    </a:lnTo>
                    <a:lnTo>
                      <a:pt x="117" y="407"/>
                    </a:lnTo>
                    <a:lnTo>
                      <a:pt x="118" y="411"/>
                    </a:lnTo>
                    <a:lnTo>
                      <a:pt x="120" y="415"/>
                    </a:lnTo>
                    <a:lnTo>
                      <a:pt x="123" y="419"/>
                    </a:lnTo>
                    <a:lnTo>
                      <a:pt x="124" y="421"/>
                    </a:lnTo>
                    <a:lnTo>
                      <a:pt x="127" y="424"/>
                    </a:lnTo>
                    <a:lnTo>
                      <a:pt x="128" y="426"/>
                    </a:lnTo>
                    <a:lnTo>
                      <a:pt x="131" y="429"/>
                    </a:lnTo>
                    <a:lnTo>
                      <a:pt x="134" y="433"/>
                    </a:lnTo>
                    <a:lnTo>
                      <a:pt x="135" y="437"/>
                    </a:lnTo>
                    <a:lnTo>
                      <a:pt x="136" y="441"/>
                    </a:lnTo>
                    <a:lnTo>
                      <a:pt x="138" y="441"/>
                    </a:lnTo>
                    <a:lnTo>
                      <a:pt x="139" y="443"/>
                    </a:lnTo>
                    <a:lnTo>
                      <a:pt x="142" y="443"/>
                    </a:lnTo>
                    <a:lnTo>
                      <a:pt x="145" y="444"/>
                    </a:lnTo>
                    <a:lnTo>
                      <a:pt x="147" y="444"/>
                    </a:lnTo>
                    <a:lnTo>
                      <a:pt x="152" y="444"/>
                    </a:lnTo>
                    <a:lnTo>
                      <a:pt x="154" y="444"/>
                    </a:lnTo>
                    <a:lnTo>
                      <a:pt x="157" y="443"/>
                    </a:lnTo>
                    <a:lnTo>
                      <a:pt x="158" y="443"/>
                    </a:lnTo>
                    <a:lnTo>
                      <a:pt x="158" y="441"/>
                    </a:lnTo>
                    <a:lnTo>
                      <a:pt x="158" y="440"/>
                    </a:lnTo>
                    <a:lnTo>
                      <a:pt x="158" y="439"/>
                    </a:lnTo>
                    <a:lnTo>
                      <a:pt x="157" y="439"/>
                    </a:lnTo>
                    <a:lnTo>
                      <a:pt x="158" y="439"/>
                    </a:lnTo>
                    <a:lnTo>
                      <a:pt x="158" y="436"/>
                    </a:lnTo>
                    <a:lnTo>
                      <a:pt x="160" y="433"/>
                    </a:lnTo>
                    <a:lnTo>
                      <a:pt x="161" y="430"/>
                    </a:lnTo>
                    <a:lnTo>
                      <a:pt x="164" y="428"/>
                    </a:lnTo>
                    <a:lnTo>
                      <a:pt x="167" y="425"/>
                    </a:lnTo>
                    <a:lnTo>
                      <a:pt x="169" y="424"/>
                    </a:lnTo>
                    <a:lnTo>
                      <a:pt x="172" y="424"/>
                    </a:lnTo>
                    <a:lnTo>
                      <a:pt x="172" y="422"/>
                    </a:lnTo>
                    <a:lnTo>
                      <a:pt x="174" y="421"/>
                    </a:lnTo>
                    <a:lnTo>
                      <a:pt x="175" y="418"/>
                    </a:lnTo>
                    <a:lnTo>
                      <a:pt x="176" y="415"/>
                    </a:lnTo>
                    <a:lnTo>
                      <a:pt x="178" y="413"/>
                    </a:lnTo>
                    <a:lnTo>
                      <a:pt x="180" y="411"/>
                    </a:lnTo>
                    <a:lnTo>
                      <a:pt x="183" y="408"/>
                    </a:lnTo>
                    <a:lnTo>
                      <a:pt x="185" y="408"/>
                    </a:lnTo>
                    <a:lnTo>
                      <a:pt x="186" y="407"/>
                    </a:lnTo>
                    <a:lnTo>
                      <a:pt x="186" y="403"/>
                    </a:lnTo>
                    <a:lnTo>
                      <a:pt x="187" y="399"/>
                    </a:lnTo>
                    <a:lnTo>
                      <a:pt x="189" y="393"/>
                    </a:lnTo>
                    <a:lnTo>
                      <a:pt x="190" y="386"/>
                    </a:lnTo>
                    <a:lnTo>
                      <a:pt x="191" y="380"/>
                    </a:lnTo>
                    <a:lnTo>
                      <a:pt x="190" y="373"/>
                    </a:lnTo>
                    <a:lnTo>
                      <a:pt x="189" y="367"/>
                    </a:lnTo>
                    <a:lnTo>
                      <a:pt x="187" y="362"/>
                    </a:lnTo>
                    <a:lnTo>
                      <a:pt x="186" y="356"/>
                    </a:lnTo>
                    <a:lnTo>
                      <a:pt x="186" y="351"/>
                    </a:lnTo>
                    <a:lnTo>
                      <a:pt x="187" y="345"/>
                    </a:lnTo>
                    <a:lnTo>
                      <a:pt x="189" y="340"/>
                    </a:lnTo>
                    <a:lnTo>
                      <a:pt x="191" y="336"/>
                    </a:lnTo>
                    <a:lnTo>
                      <a:pt x="194" y="333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2" y="329"/>
                    </a:lnTo>
                    <a:lnTo>
                      <a:pt x="205" y="327"/>
                    </a:lnTo>
                    <a:lnTo>
                      <a:pt x="208" y="326"/>
                    </a:lnTo>
                    <a:lnTo>
                      <a:pt x="212" y="323"/>
                    </a:lnTo>
                    <a:lnTo>
                      <a:pt x="216" y="322"/>
                    </a:lnTo>
                    <a:lnTo>
                      <a:pt x="219" y="319"/>
                    </a:lnTo>
                    <a:lnTo>
                      <a:pt x="220" y="316"/>
                    </a:lnTo>
                    <a:lnTo>
                      <a:pt x="223" y="314"/>
                    </a:lnTo>
                    <a:lnTo>
                      <a:pt x="229" y="308"/>
                    </a:lnTo>
                    <a:lnTo>
                      <a:pt x="235" y="303"/>
                    </a:lnTo>
                    <a:lnTo>
                      <a:pt x="242" y="296"/>
                    </a:lnTo>
                    <a:lnTo>
                      <a:pt x="251" y="289"/>
                    </a:lnTo>
                    <a:lnTo>
                      <a:pt x="257" y="283"/>
                    </a:lnTo>
                    <a:lnTo>
                      <a:pt x="263" y="279"/>
                    </a:lnTo>
                    <a:lnTo>
                      <a:pt x="267" y="276"/>
                    </a:lnTo>
                    <a:lnTo>
                      <a:pt x="270" y="275"/>
                    </a:lnTo>
                    <a:lnTo>
                      <a:pt x="274" y="274"/>
                    </a:lnTo>
                    <a:lnTo>
                      <a:pt x="278" y="270"/>
                    </a:lnTo>
                    <a:lnTo>
                      <a:pt x="284" y="265"/>
                    </a:lnTo>
                    <a:lnTo>
                      <a:pt x="288" y="260"/>
                    </a:lnTo>
                    <a:lnTo>
                      <a:pt x="290" y="254"/>
                    </a:lnTo>
                    <a:lnTo>
                      <a:pt x="295" y="248"/>
                    </a:lnTo>
                    <a:lnTo>
                      <a:pt x="296" y="242"/>
                    </a:lnTo>
                    <a:lnTo>
                      <a:pt x="296" y="241"/>
                    </a:lnTo>
                    <a:lnTo>
                      <a:pt x="297" y="239"/>
                    </a:lnTo>
                    <a:lnTo>
                      <a:pt x="299" y="238"/>
                    </a:lnTo>
                    <a:lnTo>
                      <a:pt x="300" y="237"/>
                    </a:lnTo>
                    <a:lnTo>
                      <a:pt x="301" y="234"/>
                    </a:lnTo>
                    <a:lnTo>
                      <a:pt x="306" y="232"/>
                    </a:lnTo>
                    <a:lnTo>
                      <a:pt x="308" y="232"/>
                    </a:lnTo>
                    <a:lnTo>
                      <a:pt x="314" y="232"/>
                    </a:lnTo>
                    <a:lnTo>
                      <a:pt x="323" y="234"/>
                    </a:lnTo>
                    <a:lnTo>
                      <a:pt x="322" y="217"/>
                    </a:lnTo>
                    <a:lnTo>
                      <a:pt x="322" y="216"/>
                    </a:lnTo>
                    <a:lnTo>
                      <a:pt x="322" y="215"/>
                    </a:lnTo>
                    <a:lnTo>
                      <a:pt x="322" y="213"/>
                    </a:lnTo>
                    <a:lnTo>
                      <a:pt x="321" y="212"/>
                    </a:lnTo>
                    <a:lnTo>
                      <a:pt x="319" y="210"/>
                    </a:lnTo>
                    <a:lnTo>
                      <a:pt x="318" y="209"/>
                    </a:lnTo>
                    <a:lnTo>
                      <a:pt x="317" y="208"/>
                    </a:lnTo>
                    <a:lnTo>
                      <a:pt x="317" y="206"/>
                    </a:lnTo>
                    <a:lnTo>
                      <a:pt x="317" y="204"/>
                    </a:lnTo>
                    <a:lnTo>
                      <a:pt x="317" y="201"/>
                    </a:lnTo>
                    <a:lnTo>
                      <a:pt x="317" y="198"/>
                    </a:lnTo>
                    <a:lnTo>
                      <a:pt x="317" y="195"/>
                    </a:lnTo>
                    <a:lnTo>
                      <a:pt x="318" y="194"/>
                    </a:lnTo>
                    <a:lnTo>
                      <a:pt x="318" y="193"/>
                    </a:lnTo>
                    <a:lnTo>
                      <a:pt x="318" y="190"/>
                    </a:lnTo>
                    <a:lnTo>
                      <a:pt x="319" y="187"/>
                    </a:lnTo>
                    <a:lnTo>
                      <a:pt x="319" y="184"/>
                    </a:lnTo>
                    <a:lnTo>
                      <a:pt x="321" y="183"/>
                    </a:lnTo>
                    <a:lnTo>
                      <a:pt x="322" y="180"/>
                    </a:lnTo>
                    <a:lnTo>
                      <a:pt x="325" y="179"/>
                    </a:lnTo>
                    <a:lnTo>
                      <a:pt x="329" y="179"/>
                    </a:lnTo>
                    <a:lnTo>
                      <a:pt x="332" y="179"/>
                    </a:lnTo>
                    <a:lnTo>
                      <a:pt x="336" y="179"/>
                    </a:lnTo>
                    <a:lnTo>
                      <a:pt x="339" y="179"/>
                    </a:lnTo>
                    <a:lnTo>
                      <a:pt x="341" y="179"/>
                    </a:lnTo>
                    <a:lnTo>
                      <a:pt x="343" y="179"/>
                    </a:lnTo>
                    <a:lnTo>
                      <a:pt x="344" y="179"/>
                    </a:lnTo>
                    <a:lnTo>
                      <a:pt x="345" y="179"/>
                    </a:lnTo>
                    <a:lnTo>
                      <a:pt x="347" y="179"/>
                    </a:lnTo>
                    <a:lnTo>
                      <a:pt x="348" y="180"/>
                    </a:lnTo>
                    <a:lnTo>
                      <a:pt x="350" y="182"/>
                    </a:lnTo>
                    <a:lnTo>
                      <a:pt x="350" y="183"/>
                    </a:lnTo>
                    <a:lnTo>
                      <a:pt x="351" y="186"/>
                    </a:lnTo>
                    <a:lnTo>
                      <a:pt x="351" y="197"/>
                    </a:lnTo>
                    <a:lnTo>
                      <a:pt x="356" y="212"/>
                    </a:lnTo>
                    <a:lnTo>
                      <a:pt x="358" y="210"/>
                    </a:lnTo>
                    <a:lnTo>
                      <a:pt x="359" y="209"/>
                    </a:lnTo>
                    <a:lnTo>
                      <a:pt x="361" y="209"/>
                    </a:lnTo>
                    <a:lnTo>
                      <a:pt x="361" y="208"/>
                    </a:lnTo>
                    <a:lnTo>
                      <a:pt x="362" y="205"/>
                    </a:lnTo>
                    <a:lnTo>
                      <a:pt x="362" y="204"/>
                    </a:lnTo>
                    <a:lnTo>
                      <a:pt x="363" y="201"/>
                    </a:lnTo>
                    <a:lnTo>
                      <a:pt x="365" y="198"/>
                    </a:lnTo>
                    <a:lnTo>
                      <a:pt x="366" y="195"/>
                    </a:lnTo>
                    <a:lnTo>
                      <a:pt x="367" y="194"/>
                    </a:lnTo>
                    <a:lnTo>
                      <a:pt x="369" y="193"/>
                    </a:lnTo>
                    <a:lnTo>
                      <a:pt x="370" y="194"/>
                    </a:lnTo>
                    <a:lnTo>
                      <a:pt x="373" y="197"/>
                    </a:lnTo>
                    <a:lnTo>
                      <a:pt x="373" y="202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9"/>
                    </a:lnTo>
                    <a:lnTo>
                      <a:pt x="374" y="210"/>
                    </a:lnTo>
                    <a:lnTo>
                      <a:pt x="376" y="213"/>
                    </a:lnTo>
                    <a:lnTo>
                      <a:pt x="376" y="216"/>
                    </a:lnTo>
                    <a:lnTo>
                      <a:pt x="376" y="217"/>
                    </a:lnTo>
                    <a:lnTo>
                      <a:pt x="376" y="220"/>
                    </a:lnTo>
                    <a:lnTo>
                      <a:pt x="376" y="219"/>
                    </a:lnTo>
                    <a:lnTo>
                      <a:pt x="377" y="219"/>
                    </a:lnTo>
                    <a:lnTo>
                      <a:pt x="377" y="217"/>
                    </a:lnTo>
                    <a:lnTo>
                      <a:pt x="378" y="217"/>
                    </a:lnTo>
                    <a:lnTo>
                      <a:pt x="380" y="217"/>
                    </a:lnTo>
                    <a:lnTo>
                      <a:pt x="381" y="219"/>
                    </a:lnTo>
                    <a:lnTo>
                      <a:pt x="383" y="219"/>
                    </a:lnTo>
                    <a:lnTo>
                      <a:pt x="383" y="220"/>
                    </a:lnTo>
                    <a:lnTo>
                      <a:pt x="384" y="220"/>
                    </a:lnTo>
                    <a:lnTo>
                      <a:pt x="385" y="220"/>
                    </a:lnTo>
                    <a:lnTo>
                      <a:pt x="387" y="220"/>
                    </a:lnTo>
                    <a:lnTo>
                      <a:pt x="387" y="219"/>
                    </a:lnTo>
                    <a:lnTo>
                      <a:pt x="387" y="216"/>
                    </a:lnTo>
                    <a:lnTo>
                      <a:pt x="387" y="213"/>
                    </a:lnTo>
                    <a:lnTo>
                      <a:pt x="385" y="210"/>
                    </a:lnTo>
                    <a:lnTo>
                      <a:pt x="385" y="206"/>
                    </a:lnTo>
                    <a:lnTo>
                      <a:pt x="384" y="204"/>
                    </a:lnTo>
                    <a:lnTo>
                      <a:pt x="384" y="202"/>
                    </a:lnTo>
                    <a:lnTo>
                      <a:pt x="384" y="199"/>
                    </a:lnTo>
                    <a:lnTo>
                      <a:pt x="385" y="199"/>
                    </a:lnTo>
                    <a:lnTo>
                      <a:pt x="387" y="201"/>
                    </a:lnTo>
                    <a:lnTo>
                      <a:pt x="388" y="201"/>
                    </a:lnTo>
                    <a:lnTo>
                      <a:pt x="389" y="202"/>
                    </a:lnTo>
                    <a:lnTo>
                      <a:pt x="391" y="204"/>
                    </a:lnTo>
                    <a:lnTo>
                      <a:pt x="392" y="204"/>
                    </a:lnTo>
                    <a:lnTo>
                      <a:pt x="394" y="205"/>
                    </a:lnTo>
                    <a:lnTo>
                      <a:pt x="395" y="205"/>
                    </a:lnTo>
                    <a:lnTo>
                      <a:pt x="396" y="205"/>
                    </a:lnTo>
                    <a:lnTo>
                      <a:pt x="398" y="204"/>
                    </a:lnTo>
                    <a:lnTo>
                      <a:pt x="400" y="202"/>
                    </a:lnTo>
                    <a:lnTo>
                      <a:pt x="402" y="201"/>
                    </a:lnTo>
                    <a:lnTo>
                      <a:pt x="403" y="199"/>
                    </a:lnTo>
                    <a:lnTo>
                      <a:pt x="405" y="198"/>
                    </a:lnTo>
                    <a:lnTo>
                      <a:pt x="406" y="197"/>
                    </a:lnTo>
                    <a:lnTo>
                      <a:pt x="407" y="195"/>
                    </a:lnTo>
                    <a:lnTo>
                      <a:pt x="409" y="191"/>
                    </a:lnTo>
                    <a:lnTo>
                      <a:pt x="411" y="187"/>
                    </a:lnTo>
                    <a:lnTo>
                      <a:pt x="413" y="182"/>
                    </a:lnTo>
                    <a:lnTo>
                      <a:pt x="416" y="175"/>
                    </a:lnTo>
                    <a:lnTo>
                      <a:pt x="418" y="171"/>
                    </a:lnTo>
                    <a:lnTo>
                      <a:pt x="422" y="166"/>
                    </a:lnTo>
                    <a:lnTo>
                      <a:pt x="427" y="165"/>
                    </a:lnTo>
                    <a:lnTo>
                      <a:pt x="439" y="161"/>
                    </a:lnTo>
                    <a:lnTo>
                      <a:pt x="440" y="154"/>
                    </a:lnTo>
                    <a:lnTo>
                      <a:pt x="442" y="153"/>
                    </a:lnTo>
                    <a:lnTo>
                      <a:pt x="443" y="150"/>
                    </a:lnTo>
                    <a:lnTo>
                      <a:pt x="446" y="146"/>
                    </a:lnTo>
                    <a:lnTo>
                      <a:pt x="449" y="142"/>
                    </a:lnTo>
                    <a:lnTo>
                      <a:pt x="450" y="136"/>
                    </a:lnTo>
                    <a:lnTo>
                      <a:pt x="451" y="133"/>
                    </a:lnTo>
                    <a:lnTo>
                      <a:pt x="451" y="131"/>
                    </a:lnTo>
                    <a:lnTo>
                      <a:pt x="450" y="129"/>
                    </a:lnTo>
                    <a:lnTo>
                      <a:pt x="446" y="129"/>
                    </a:lnTo>
                    <a:lnTo>
                      <a:pt x="440" y="131"/>
                    </a:lnTo>
                    <a:lnTo>
                      <a:pt x="435" y="132"/>
                    </a:lnTo>
                    <a:lnTo>
                      <a:pt x="429" y="132"/>
                    </a:lnTo>
                    <a:lnTo>
                      <a:pt x="424" y="133"/>
                    </a:lnTo>
                    <a:lnTo>
                      <a:pt x="418" y="135"/>
                    </a:lnTo>
                    <a:lnTo>
                      <a:pt x="414" y="135"/>
                    </a:lnTo>
                    <a:lnTo>
                      <a:pt x="410" y="135"/>
                    </a:lnTo>
                    <a:lnTo>
                      <a:pt x="395" y="133"/>
                    </a:lnTo>
                    <a:lnTo>
                      <a:pt x="394" y="135"/>
                    </a:lnTo>
                    <a:lnTo>
                      <a:pt x="392" y="138"/>
                    </a:lnTo>
                    <a:lnTo>
                      <a:pt x="391" y="142"/>
                    </a:lnTo>
                    <a:lnTo>
                      <a:pt x="388" y="146"/>
                    </a:lnTo>
                    <a:lnTo>
                      <a:pt x="387" y="151"/>
                    </a:lnTo>
                    <a:lnTo>
                      <a:pt x="384" y="157"/>
                    </a:lnTo>
                    <a:lnTo>
                      <a:pt x="381" y="161"/>
                    </a:lnTo>
                    <a:lnTo>
                      <a:pt x="380" y="162"/>
                    </a:lnTo>
                    <a:lnTo>
                      <a:pt x="378" y="164"/>
                    </a:lnTo>
                    <a:lnTo>
                      <a:pt x="377" y="164"/>
                    </a:lnTo>
                    <a:lnTo>
                      <a:pt x="373" y="164"/>
                    </a:lnTo>
                    <a:lnTo>
                      <a:pt x="370" y="164"/>
                    </a:lnTo>
                    <a:lnTo>
                      <a:pt x="366" y="164"/>
                    </a:lnTo>
                    <a:lnTo>
                      <a:pt x="362" y="164"/>
                    </a:lnTo>
                    <a:lnTo>
                      <a:pt x="358" y="164"/>
                    </a:lnTo>
                    <a:lnTo>
                      <a:pt x="355" y="164"/>
                    </a:lnTo>
                    <a:lnTo>
                      <a:pt x="352" y="164"/>
                    </a:lnTo>
                    <a:lnTo>
                      <a:pt x="350" y="164"/>
                    </a:lnTo>
                    <a:lnTo>
                      <a:pt x="345" y="164"/>
                    </a:lnTo>
                    <a:lnTo>
                      <a:pt x="343" y="164"/>
                    </a:lnTo>
                    <a:lnTo>
                      <a:pt x="340" y="164"/>
                    </a:lnTo>
                    <a:lnTo>
                      <a:pt x="337" y="164"/>
                    </a:lnTo>
                    <a:lnTo>
                      <a:pt x="334" y="162"/>
                    </a:lnTo>
                    <a:lnTo>
                      <a:pt x="317" y="16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99" name="Freeform 831"/>
              <p:cNvSpPr>
                <a:spLocks/>
              </p:cNvSpPr>
              <p:nvPr/>
            </p:nvSpPr>
            <p:spPr bwMode="auto">
              <a:xfrm>
                <a:off x="3629" y="2312"/>
                <a:ext cx="232" cy="160"/>
              </a:xfrm>
              <a:custGeom>
                <a:avLst/>
                <a:gdLst>
                  <a:gd name="T0" fmla="*/ 231 w 232"/>
                  <a:gd name="T1" fmla="*/ 43 h 160"/>
                  <a:gd name="T2" fmla="*/ 226 w 232"/>
                  <a:gd name="T3" fmla="*/ 43 h 160"/>
                  <a:gd name="T4" fmla="*/ 216 w 232"/>
                  <a:gd name="T5" fmla="*/ 43 h 160"/>
                  <a:gd name="T6" fmla="*/ 204 w 232"/>
                  <a:gd name="T7" fmla="*/ 43 h 160"/>
                  <a:gd name="T8" fmla="*/ 197 w 232"/>
                  <a:gd name="T9" fmla="*/ 44 h 160"/>
                  <a:gd name="T10" fmla="*/ 193 w 232"/>
                  <a:gd name="T11" fmla="*/ 47 h 160"/>
                  <a:gd name="T12" fmla="*/ 187 w 232"/>
                  <a:gd name="T13" fmla="*/ 51 h 160"/>
                  <a:gd name="T14" fmla="*/ 183 w 232"/>
                  <a:gd name="T15" fmla="*/ 57 h 160"/>
                  <a:gd name="T16" fmla="*/ 162 w 232"/>
                  <a:gd name="T17" fmla="*/ 65 h 160"/>
                  <a:gd name="T18" fmla="*/ 158 w 232"/>
                  <a:gd name="T19" fmla="*/ 77 h 160"/>
                  <a:gd name="T20" fmla="*/ 154 w 232"/>
                  <a:gd name="T21" fmla="*/ 77 h 160"/>
                  <a:gd name="T22" fmla="*/ 147 w 232"/>
                  <a:gd name="T23" fmla="*/ 81 h 160"/>
                  <a:gd name="T24" fmla="*/ 144 w 232"/>
                  <a:gd name="T25" fmla="*/ 91 h 160"/>
                  <a:gd name="T26" fmla="*/ 122 w 232"/>
                  <a:gd name="T27" fmla="*/ 121 h 160"/>
                  <a:gd name="T28" fmla="*/ 118 w 232"/>
                  <a:gd name="T29" fmla="*/ 121 h 160"/>
                  <a:gd name="T30" fmla="*/ 109 w 232"/>
                  <a:gd name="T31" fmla="*/ 123 h 160"/>
                  <a:gd name="T32" fmla="*/ 98 w 232"/>
                  <a:gd name="T33" fmla="*/ 125 h 160"/>
                  <a:gd name="T34" fmla="*/ 88 w 232"/>
                  <a:gd name="T35" fmla="*/ 131 h 160"/>
                  <a:gd name="T36" fmla="*/ 83 w 232"/>
                  <a:gd name="T37" fmla="*/ 139 h 160"/>
                  <a:gd name="T38" fmla="*/ 74 w 232"/>
                  <a:gd name="T39" fmla="*/ 146 h 160"/>
                  <a:gd name="T40" fmla="*/ 67 w 232"/>
                  <a:gd name="T41" fmla="*/ 152 h 160"/>
                  <a:gd name="T42" fmla="*/ 65 w 232"/>
                  <a:gd name="T43" fmla="*/ 153 h 160"/>
                  <a:gd name="T44" fmla="*/ 61 w 232"/>
                  <a:gd name="T45" fmla="*/ 156 h 160"/>
                  <a:gd name="T46" fmla="*/ 51 w 232"/>
                  <a:gd name="T47" fmla="*/ 158 h 160"/>
                  <a:gd name="T48" fmla="*/ 37 w 232"/>
                  <a:gd name="T49" fmla="*/ 160 h 160"/>
                  <a:gd name="T50" fmla="*/ 23 w 232"/>
                  <a:gd name="T51" fmla="*/ 158 h 160"/>
                  <a:gd name="T52" fmla="*/ 1 w 232"/>
                  <a:gd name="T53" fmla="*/ 131 h 160"/>
                  <a:gd name="T54" fmla="*/ 11 w 232"/>
                  <a:gd name="T55" fmla="*/ 75 h 160"/>
                  <a:gd name="T56" fmla="*/ 33 w 232"/>
                  <a:gd name="T57" fmla="*/ 48 h 160"/>
                  <a:gd name="T58" fmla="*/ 40 w 232"/>
                  <a:gd name="T59" fmla="*/ 37 h 160"/>
                  <a:gd name="T60" fmla="*/ 47 w 232"/>
                  <a:gd name="T61" fmla="*/ 33 h 160"/>
                  <a:gd name="T62" fmla="*/ 58 w 232"/>
                  <a:gd name="T63" fmla="*/ 26 h 160"/>
                  <a:gd name="T64" fmla="*/ 66 w 232"/>
                  <a:gd name="T65" fmla="*/ 15 h 160"/>
                  <a:gd name="T66" fmla="*/ 69 w 232"/>
                  <a:gd name="T67" fmla="*/ 10 h 160"/>
                  <a:gd name="T68" fmla="*/ 73 w 232"/>
                  <a:gd name="T69" fmla="*/ 11 h 160"/>
                  <a:gd name="T70" fmla="*/ 78 w 232"/>
                  <a:gd name="T71" fmla="*/ 11 h 160"/>
                  <a:gd name="T72" fmla="*/ 84 w 232"/>
                  <a:gd name="T73" fmla="*/ 13 h 160"/>
                  <a:gd name="T74" fmla="*/ 89 w 232"/>
                  <a:gd name="T75" fmla="*/ 11 h 160"/>
                  <a:gd name="T76" fmla="*/ 102 w 232"/>
                  <a:gd name="T77" fmla="*/ 14 h 160"/>
                  <a:gd name="T78" fmla="*/ 118 w 232"/>
                  <a:gd name="T79" fmla="*/ 14 h 160"/>
                  <a:gd name="T80" fmla="*/ 136 w 232"/>
                  <a:gd name="T81" fmla="*/ 9 h 160"/>
                  <a:gd name="T82" fmla="*/ 157 w 232"/>
                  <a:gd name="T83" fmla="*/ 0 h 160"/>
                  <a:gd name="T84" fmla="*/ 166 w 232"/>
                  <a:gd name="T85" fmla="*/ 10 h 160"/>
                  <a:gd name="T86" fmla="*/ 172 w 232"/>
                  <a:gd name="T87" fmla="*/ 15 h 160"/>
                  <a:gd name="T88" fmla="*/ 179 w 232"/>
                  <a:gd name="T89" fmla="*/ 21 h 160"/>
                  <a:gd name="T90" fmla="*/ 187 w 232"/>
                  <a:gd name="T91" fmla="*/ 24 h 160"/>
                  <a:gd name="T92" fmla="*/ 230 w 232"/>
                  <a:gd name="T93" fmla="*/ 24 h 160"/>
                  <a:gd name="T94" fmla="*/ 230 w 232"/>
                  <a:gd name="T95" fmla="*/ 26 h 160"/>
                  <a:gd name="T96" fmla="*/ 231 w 232"/>
                  <a:gd name="T97" fmla="*/ 32 h 160"/>
                  <a:gd name="T98" fmla="*/ 231 w 232"/>
                  <a:gd name="T99" fmla="*/ 37 h 160"/>
                  <a:gd name="T100" fmla="*/ 232 w 232"/>
                  <a:gd name="T101" fmla="*/ 4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32" h="160">
                    <a:moveTo>
                      <a:pt x="232" y="43"/>
                    </a:moveTo>
                    <a:lnTo>
                      <a:pt x="231" y="43"/>
                    </a:lnTo>
                    <a:lnTo>
                      <a:pt x="230" y="43"/>
                    </a:lnTo>
                    <a:lnTo>
                      <a:pt x="226" y="43"/>
                    </a:lnTo>
                    <a:lnTo>
                      <a:pt x="221" y="43"/>
                    </a:lnTo>
                    <a:lnTo>
                      <a:pt x="216" y="43"/>
                    </a:lnTo>
                    <a:lnTo>
                      <a:pt x="210" y="43"/>
                    </a:lnTo>
                    <a:lnTo>
                      <a:pt x="204" y="43"/>
                    </a:lnTo>
                    <a:lnTo>
                      <a:pt x="197" y="44"/>
                    </a:lnTo>
                    <a:lnTo>
                      <a:pt x="197" y="44"/>
                    </a:lnTo>
                    <a:lnTo>
                      <a:pt x="195" y="46"/>
                    </a:lnTo>
                    <a:lnTo>
                      <a:pt x="193" y="47"/>
                    </a:lnTo>
                    <a:lnTo>
                      <a:pt x="190" y="48"/>
                    </a:lnTo>
                    <a:lnTo>
                      <a:pt x="187" y="51"/>
                    </a:lnTo>
                    <a:lnTo>
                      <a:pt x="184" y="54"/>
                    </a:lnTo>
                    <a:lnTo>
                      <a:pt x="183" y="57"/>
                    </a:lnTo>
                    <a:lnTo>
                      <a:pt x="182" y="59"/>
                    </a:lnTo>
                    <a:lnTo>
                      <a:pt x="162" y="65"/>
                    </a:lnTo>
                    <a:lnTo>
                      <a:pt x="160" y="77"/>
                    </a:lnTo>
                    <a:lnTo>
                      <a:pt x="158" y="77"/>
                    </a:lnTo>
                    <a:lnTo>
                      <a:pt x="157" y="77"/>
                    </a:lnTo>
                    <a:lnTo>
                      <a:pt x="154" y="77"/>
                    </a:lnTo>
                    <a:lnTo>
                      <a:pt x="151" y="79"/>
                    </a:lnTo>
                    <a:lnTo>
                      <a:pt x="147" y="81"/>
                    </a:lnTo>
                    <a:lnTo>
                      <a:pt x="146" y="86"/>
                    </a:lnTo>
                    <a:lnTo>
                      <a:pt x="144" y="91"/>
                    </a:lnTo>
                    <a:lnTo>
                      <a:pt x="143" y="99"/>
                    </a:lnTo>
                    <a:lnTo>
                      <a:pt x="122" y="121"/>
                    </a:lnTo>
                    <a:lnTo>
                      <a:pt x="121" y="121"/>
                    </a:lnTo>
                    <a:lnTo>
                      <a:pt x="118" y="121"/>
                    </a:lnTo>
                    <a:lnTo>
                      <a:pt x="114" y="121"/>
                    </a:lnTo>
                    <a:lnTo>
                      <a:pt x="109" y="123"/>
                    </a:lnTo>
                    <a:lnTo>
                      <a:pt x="103" y="123"/>
                    </a:lnTo>
                    <a:lnTo>
                      <a:pt x="98" y="125"/>
                    </a:lnTo>
                    <a:lnTo>
                      <a:pt x="92" y="127"/>
                    </a:lnTo>
                    <a:lnTo>
                      <a:pt x="88" y="131"/>
                    </a:lnTo>
                    <a:lnTo>
                      <a:pt x="85" y="135"/>
                    </a:lnTo>
                    <a:lnTo>
                      <a:pt x="83" y="139"/>
                    </a:lnTo>
                    <a:lnTo>
                      <a:pt x="78" y="142"/>
                    </a:lnTo>
                    <a:lnTo>
                      <a:pt x="74" y="146"/>
                    </a:lnTo>
                    <a:lnTo>
                      <a:pt x="70" y="149"/>
                    </a:lnTo>
                    <a:lnTo>
                      <a:pt x="67" y="152"/>
                    </a:lnTo>
                    <a:lnTo>
                      <a:pt x="65" y="153"/>
                    </a:lnTo>
                    <a:lnTo>
                      <a:pt x="65" y="153"/>
                    </a:lnTo>
                    <a:lnTo>
                      <a:pt x="63" y="154"/>
                    </a:lnTo>
                    <a:lnTo>
                      <a:pt x="61" y="156"/>
                    </a:lnTo>
                    <a:lnTo>
                      <a:pt x="56" y="157"/>
                    </a:lnTo>
                    <a:lnTo>
                      <a:pt x="51" y="158"/>
                    </a:lnTo>
                    <a:lnTo>
                      <a:pt x="44" y="160"/>
                    </a:lnTo>
                    <a:lnTo>
                      <a:pt x="37" y="160"/>
                    </a:lnTo>
                    <a:lnTo>
                      <a:pt x="30" y="160"/>
                    </a:lnTo>
                    <a:lnTo>
                      <a:pt x="23" y="158"/>
                    </a:lnTo>
                    <a:lnTo>
                      <a:pt x="12" y="157"/>
                    </a:lnTo>
                    <a:lnTo>
                      <a:pt x="1" y="131"/>
                    </a:lnTo>
                    <a:lnTo>
                      <a:pt x="0" y="94"/>
                    </a:lnTo>
                    <a:lnTo>
                      <a:pt x="11" y="75"/>
                    </a:lnTo>
                    <a:lnTo>
                      <a:pt x="12" y="50"/>
                    </a:lnTo>
                    <a:lnTo>
                      <a:pt x="33" y="48"/>
                    </a:lnTo>
                    <a:lnTo>
                      <a:pt x="39" y="37"/>
                    </a:lnTo>
                    <a:lnTo>
                      <a:pt x="40" y="37"/>
                    </a:lnTo>
                    <a:lnTo>
                      <a:pt x="43" y="36"/>
                    </a:lnTo>
                    <a:lnTo>
                      <a:pt x="47" y="33"/>
                    </a:lnTo>
                    <a:lnTo>
                      <a:pt x="52" y="31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6" y="15"/>
                    </a:lnTo>
                    <a:lnTo>
                      <a:pt x="69" y="10"/>
                    </a:lnTo>
                    <a:lnTo>
                      <a:pt x="69" y="10"/>
                    </a:lnTo>
                    <a:lnTo>
                      <a:pt x="72" y="10"/>
                    </a:lnTo>
                    <a:lnTo>
                      <a:pt x="73" y="11"/>
                    </a:lnTo>
                    <a:lnTo>
                      <a:pt x="76" y="11"/>
                    </a:lnTo>
                    <a:lnTo>
                      <a:pt x="78" y="11"/>
                    </a:lnTo>
                    <a:lnTo>
                      <a:pt x="81" y="11"/>
                    </a:lnTo>
                    <a:lnTo>
                      <a:pt x="84" y="13"/>
                    </a:lnTo>
                    <a:lnTo>
                      <a:pt x="87" y="11"/>
                    </a:lnTo>
                    <a:lnTo>
                      <a:pt x="89" y="11"/>
                    </a:lnTo>
                    <a:lnTo>
                      <a:pt x="95" y="13"/>
                    </a:lnTo>
                    <a:lnTo>
                      <a:pt x="102" y="14"/>
                    </a:lnTo>
                    <a:lnTo>
                      <a:pt x="110" y="14"/>
                    </a:lnTo>
                    <a:lnTo>
                      <a:pt x="118" y="14"/>
                    </a:lnTo>
                    <a:lnTo>
                      <a:pt x="128" y="11"/>
                    </a:lnTo>
                    <a:lnTo>
                      <a:pt x="136" y="9"/>
                    </a:lnTo>
                    <a:lnTo>
                      <a:pt x="144" y="2"/>
                    </a:lnTo>
                    <a:lnTo>
                      <a:pt x="157" y="0"/>
                    </a:lnTo>
                    <a:lnTo>
                      <a:pt x="166" y="10"/>
                    </a:lnTo>
                    <a:lnTo>
                      <a:pt x="166" y="10"/>
                    </a:lnTo>
                    <a:lnTo>
                      <a:pt x="169" y="13"/>
                    </a:lnTo>
                    <a:lnTo>
                      <a:pt x="172" y="15"/>
                    </a:lnTo>
                    <a:lnTo>
                      <a:pt x="175" y="18"/>
                    </a:lnTo>
                    <a:lnTo>
                      <a:pt x="179" y="21"/>
                    </a:lnTo>
                    <a:lnTo>
                      <a:pt x="183" y="22"/>
                    </a:lnTo>
                    <a:lnTo>
                      <a:pt x="187" y="24"/>
                    </a:lnTo>
                    <a:lnTo>
                      <a:pt x="191" y="24"/>
                    </a:lnTo>
                    <a:lnTo>
                      <a:pt x="230" y="24"/>
                    </a:lnTo>
                    <a:lnTo>
                      <a:pt x="230" y="25"/>
                    </a:lnTo>
                    <a:lnTo>
                      <a:pt x="230" y="26"/>
                    </a:lnTo>
                    <a:lnTo>
                      <a:pt x="230" y="29"/>
                    </a:lnTo>
                    <a:lnTo>
                      <a:pt x="231" y="32"/>
                    </a:lnTo>
                    <a:lnTo>
                      <a:pt x="231" y="35"/>
                    </a:lnTo>
                    <a:lnTo>
                      <a:pt x="231" y="37"/>
                    </a:lnTo>
                    <a:lnTo>
                      <a:pt x="232" y="40"/>
                    </a:lnTo>
                    <a:lnTo>
                      <a:pt x="232" y="4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0" name="Freeform 832"/>
              <p:cNvSpPr>
                <a:spLocks/>
              </p:cNvSpPr>
              <p:nvPr/>
            </p:nvSpPr>
            <p:spPr bwMode="auto">
              <a:xfrm>
                <a:off x="3629" y="2312"/>
                <a:ext cx="232" cy="160"/>
              </a:xfrm>
              <a:custGeom>
                <a:avLst/>
                <a:gdLst>
                  <a:gd name="T0" fmla="*/ 231 w 232"/>
                  <a:gd name="T1" fmla="*/ 43 h 160"/>
                  <a:gd name="T2" fmla="*/ 226 w 232"/>
                  <a:gd name="T3" fmla="*/ 43 h 160"/>
                  <a:gd name="T4" fmla="*/ 216 w 232"/>
                  <a:gd name="T5" fmla="*/ 43 h 160"/>
                  <a:gd name="T6" fmla="*/ 204 w 232"/>
                  <a:gd name="T7" fmla="*/ 43 h 160"/>
                  <a:gd name="T8" fmla="*/ 195 w 232"/>
                  <a:gd name="T9" fmla="*/ 46 h 160"/>
                  <a:gd name="T10" fmla="*/ 190 w 232"/>
                  <a:gd name="T11" fmla="*/ 48 h 160"/>
                  <a:gd name="T12" fmla="*/ 184 w 232"/>
                  <a:gd name="T13" fmla="*/ 54 h 160"/>
                  <a:gd name="T14" fmla="*/ 182 w 232"/>
                  <a:gd name="T15" fmla="*/ 59 h 160"/>
                  <a:gd name="T16" fmla="*/ 160 w 232"/>
                  <a:gd name="T17" fmla="*/ 77 h 160"/>
                  <a:gd name="T18" fmla="*/ 157 w 232"/>
                  <a:gd name="T19" fmla="*/ 77 h 160"/>
                  <a:gd name="T20" fmla="*/ 151 w 232"/>
                  <a:gd name="T21" fmla="*/ 79 h 160"/>
                  <a:gd name="T22" fmla="*/ 146 w 232"/>
                  <a:gd name="T23" fmla="*/ 86 h 160"/>
                  <a:gd name="T24" fmla="*/ 143 w 232"/>
                  <a:gd name="T25" fmla="*/ 99 h 160"/>
                  <a:gd name="T26" fmla="*/ 121 w 232"/>
                  <a:gd name="T27" fmla="*/ 121 h 160"/>
                  <a:gd name="T28" fmla="*/ 114 w 232"/>
                  <a:gd name="T29" fmla="*/ 121 h 160"/>
                  <a:gd name="T30" fmla="*/ 103 w 232"/>
                  <a:gd name="T31" fmla="*/ 123 h 160"/>
                  <a:gd name="T32" fmla="*/ 92 w 232"/>
                  <a:gd name="T33" fmla="*/ 127 h 160"/>
                  <a:gd name="T34" fmla="*/ 85 w 232"/>
                  <a:gd name="T35" fmla="*/ 135 h 160"/>
                  <a:gd name="T36" fmla="*/ 78 w 232"/>
                  <a:gd name="T37" fmla="*/ 142 h 160"/>
                  <a:gd name="T38" fmla="*/ 70 w 232"/>
                  <a:gd name="T39" fmla="*/ 149 h 160"/>
                  <a:gd name="T40" fmla="*/ 65 w 232"/>
                  <a:gd name="T41" fmla="*/ 153 h 160"/>
                  <a:gd name="T42" fmla="*/ 61 w 232"/>
                  <a:gd name="T43" fmla="*/ 156 h 160"/>
                  <a:gd name="T44" fmla="*/ 51 w 232"/>
                  <a:gd name="T45" fmla="*/ 158 h 160"/>
                  <a:gd name="T46" fmla="*/ 37 w 232"/>
                  <a:gd name="T47" fmla="*/ 160 h 160"/>
                  <a:gd name="T48" fmla="*/ 23 w 232"/>
                  <a:gd name="T49" fmla="*/ 158 h 160"/>
                  <a:gd name="T50" fmla="*/ 1 w 232"/>
                  <a:gd name="T51" fmla="*/ 131 h 160"/>
                  <a:gd name="T52" fmla="*/ 11 w 232"/>
                  <a:gd name="T53" fmla="*/ 75 h 160"/>
                  <a:gd name="T54" fmla="*/ 33 w 232"/>
                  <a:gd name="T55" fmla="*/ 48 h 160"/>
                  <a:gd name="T56" fmla="*/ 40 w 232"/>
                  <a:gd name="T57" fmla="*/ 37 h 160"/>
                  <a:gd name="T58" fmla="*/ 47 w 232"/>
                  <a:gd name="T59" fmla="*/ 33 h 160"/>
                  <a:gd name="T60" fmla="*/ 58 w 232"/>
                  <a:gd name="T61" fmla="*/ 26 h 160"/>
                  <a:gd name="T62" fmla="*/ 66 w 232"/>
                  <a:gd name="T63" fmla="*/ 15 h 160"/>
                  <a:gd name="T64" fmla="*/ 72 w 232"/>
                  <a:gd name="T65" fmla="*/ 10 h 160"/>
                  <a:gd name="T66" fmla="*/ 76 w 232"/>
                  <a:gd name="T67" fmla="*/ 11 h 160"/>
                  <a:gd name="T68" fmla="*/ 81 w 232"/>
                  <a:gd name="T69" fmla="*/ 11 h 160"/>
                  <a:gd name="T70" fmla="*/ 87 w 232"/>
                  <a:gd name="T71" fmla="*/ 11 h 160"/>
                  <a:gd name="T72" fmla="*/ 95 w 232"/>
                  <a:gd name="T73" fmla="*/ 13 h 160"/>
                  <a:gd name="T74" fmla="*/ 110 w 232"/>
                  <a:gd name="T75" fmla="*/ 14 h 160"/>
                  <a:gd name="T76" fmla="*/ 128 w 232"/>
                  <a:gd name="T77" fmla="*/ 11 h 160"/>
                  <a:gd name="T78" fmla="*/ 144 w 232"/>
                  <a:gd name="T79" fmla="*/ 2 h 160"/>
                  <a:gd name="T80" fmla="*/ 166 w 232"/>
                  <a:gd name="T81" fmla="*/ 10 h 160"/>
                  <a:gd name="T82" fmla="*/ 172 w 232"/>
                  <a:gd name="T83" fmla="*/ 15 h 160"/>
                  <a:gd name="T84" fmla="*/ 179 w 232"/>
                  <a:gd name="T85" fmla="*/ 21 h 160"/>
                  <a:gd name="T86" fmla="*/ 187 w 232"/>
                  <a:gd name="T87" fmla="*/ 24 h 160"/>
                  <a:gd name="T88" fmla="*/ 230 w 232"/>
                  <a:gd name="T89" fmla="*/ 24 h 160"/>
                  <a:gd name="T90" fmla="*/ 230 w 232"/>
                  <a:gd name="T91" fmla="*/ 26 h 160"/>
                  <a:gd name="T92" fmla="*/ 231 w 232"/>
                  <a:gd name="T93" fmla="*/ 32 h 160"/>
                  <a:gd name="T94" fmla="*/ 231 w 232"/>
                  <a:gd name="T95" fmla="*/ 37 h 160"/>
                  <a:gd name="T96" fmla="*/ 232 w 232"/>
                  <a:gd name="T97" fmla="*/ 4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32" h="160">
                    <a:moveTo>
                      <a:pt x="232" y="43"/>
                    </a:moveTo>
                    <a:lnTo>
                      <a:pt x="231" y="43"/>
                    </a:lnTo>
                    <a:lnTo>
                      <a:pt x="230" y="43"/>
                    </a:lnTo>
                    <a:lnTo>
                      <a:pt x="226" y="43"/>
                    </a:lnTo>
                    <a:lnTo>
                      <a:pt x="221" y="43"/>
                    </a:lnTo>
                    <a:lnTo>
                      <a:pt x="216" y="43"/>
                    </a:lnTo>
                    <a:lnTo>
                      <a:pt x="210" y="43"/>
                    </a:lnTo>
                    <a:lnTo>
                      <a:pt x="204" y="43"/>
                    </a:lnTo>
                    <a:lnTo>
                      <a:pt x="197" y="44"/>
                    </a:lnTo>
                    <a:lnTo>
                      <a:pt x="195" y="46"/>
                    </a:lnTo>
                    <a:lnTo>
                      <a:pt x="193" y="47"/>
                    </a:lnTo>
                    <a:lnTo>
                      <a:pt x="190" y="48"/>
                    </a:lnTo>
                    <a:lnTo>
                      <a:pt x="187" y="51"/>
                    </a:lnTo>
                    <a:lnTo>
                      <a:pt x="184" y="54"/>
                    </a:lnTo>
                    <a:lnTo>
                      <a:pt x="183" y="57"/>
                    </a:lnTo>
                    <a:lnTo>
                      <a:pt x="182" y="59"/>
                    </a:lnTo>
                    <a:lnTo>
                      <a:pt x="162" y="65"/>
                    </a:lnTo>
                    <a:lnTo>
                      <a:pt x="160" y="77"/>
                    </a:lnTo>
                    <a:lnTo>
                      <a:pt x="158" y="77"/>
                    </a:lnTo>
                    <a:lnTo>
                      <a:pt x="157" y="77"/>
                    </a:lnTo>
                    <a:lnTo>
                      <a:pt x="154" y="77"/>
                    </a:lnTo>
                    <a:lnTo>
                      <a:pt x="151" y="79"/>
                    </a:lnTo>
                    <a:lnTo>
                      <a:pt x="147" y="81"/>
                    </a:lnTo>
                    <a:lnTo>
                      <a:pt x="146" y="86"/>
                    </a:lnTo>
                    <a:lnTo>
                      <a:pt x="144" y="91"/>
                    </a:lnTo>
                    <a:lnTo>
                      <a:pt x="143" y="99"/>
                    </a:lnTo>
                    <a:lnTo>
                      <a:pt x="122" y="121"/>
                    </a:lnTo>
                    <a:lnTo>
                      <a:pt x="121" y="121"/>
                    </a:lnTo>
                    <a:lnTo>
                      <a:pt x="118" y="121"/>
                    </a:lnTo>
                    <a:lnTo>
                      <a:pt x="114" y="121"/>
                    </a:lnTo>
                    <a:lnTo>
                      <a:pt x="109" y="123"/>
                    </a:lnTo>
                    <a:lnTo>
                      <a:pt x="103" y="123"/>
                    </a:lnTo>
                    <a:lnTo>
                      <a:pt x="98" y="125"/>
                    </a:lnTo>
                    <a:lnTo>
                      <a:pt x="92" y="127"/>
                    </a:lnTo>
                    <a:lnTo>
                      <a:pt x="88" y="131"/>
                    </a:lnTo>
                    <a:lnTo>
                      <a:pt x="85" y="135"/>
                    </a:lnTo>
                    <a:lnTo>
                      <a:pt x="83" y="139"/>
                    </a:lnTo>
                    <a:lnTo>
                      <a:pt x="78" y="142"/>
                    </a:lnTo>
                    <a:lnTo>
                      <a:pt x="74" y="146"/>
                    </a:lnTo>
                    <a:lnTo>
                      <a:pt x="70" y="149"/>
                    </a:lnTo>
                    <a:lnTo>
                      <a:pt x="67" y="152"/>
                    </a:lnTo>
                    <a:lnTo>
                      <a:pt x="65" y="153"/>
                    </a:lnTo>
                    <a:lnTo>
                      <a:pt x="63" y="154"/>
                    </a:lnTo>
                    <a:lnTo>
                      <a:pt x="61" y="156"/>
                    </a:lnTo>
                    <a:lnTo>
                      <a:pt x="56" y="157"/>
                    </a:lnTo>
                    <a:lnTo>
                      <a:pt x="51" y="158"/>
                    </a:lnTo>
                    <a:lnTo>
                      <a:pt x="44" y="160"/>
                    </a:lnTo>
                    <a:lnTo>
                      <a:pt x="37" y="160"/>
                    </a:lnTo>
                    <a:lnTo>
                      <a:pt x="30" y="160"/>
                    </a:lnTo>
                    <a:lnTo>
                      <a:pt x="23" y="158"/>
                    </a:lnTo>
                    <a:lnTo>
                      <a:pt x="12" y="157"/>
                    </a:lnTo>
                    <a:lnTo>
                      <a:pt x="1" y="131"/>
                    </a:lnTo>
                    <a:lnTo>
                      <a:pt x="0" y="94"/>
                    </a:lnTo>
                    <a:lnTo>
                      <a:pt x="11" y="75"/>
                    </a:lnTo>
                    <a:lnTo>
                      <a:pt x="12" y="50"/>
                    </a:lnTo>
                    <a:lnTo>
                      <a:pt x="33" y="48"/>
                    </a:lnTo>
                    <a:lnTo>
                      <a:pt x="39" y="37"/>
                    </a:lnTo>
                    <a:lnTo>
                      <a:pt x="40" y="37"/>
                    </a:lnTo>
                    <a:lnTo>
                      <a:pt x="43" y="36"/>
                    </a:lnTo>
                    <a:lnTo>
                      <a:pt x="47" y="33"/>
                    </a:lnTo>
                    <a:lnTo>
                      <a:pt x="52" y="31"/>
                    </a:lnTo>
                    <a:lnTo>
                      <a:pt x="58" y="26"/>
                    </a:lnTo>
                    <a:lnTo>
                      <a:pt x="63" y="21"/>
                    </a:lnTo>
                    <a:lnTo>
                      <a:pt x="66" y="15"/>
                    </a:lnTo>
                    <a:lnTo>
                      <a:pt x="69" y="10"/>
                    </a:lnTo>
                    <a:lnTo>
                      <a:pt x="72" y="10"/>
                    </a:lnTo>
                    <a:lnTo>
                      <a:pt x="73" y="11"/>
                    </a:lnTo>
                    <a:lnTo>
                      <a:pt x="76" y="11"/>
                    </a:lnTo>
                    <a:lnTo>
                      <a:pt x="78" y="11"/>
                    </a:lnTo>
                    <a:lnTo>
                      <a:pt x="81" y="11"/>
                    </a:lnTo>
                    <a:lnTo>
                      <a:pt x="84" y="13"/>
                    </a:lnTo>
                    <a:lnTo>
                      <a:pt x="87" y="11"/>
                    </a:lnTo>
                    <a:lnTo>
                      <a:pt x="89" y="11"/>
                    </a:lnTo>
                    <a:lnTo>
                      <a:pt x="95" y="13"/>
                    </a:lnTo>
                    <a:lnTo>
                      <a:pt x="102" y="14"/>
                    </a:lnTo>
                    <a:lnTo>
                      <a:pt x="110" y="14"/>
                    </a:lnTo>
                    <a:lnTo>
                      <a:pt x="118" y="14"/>
                    </a:lnTo>
                    <a:lnTo>
                      <a:pt x="128" y="11"/>
                    </a:lnTo>
                    <a:lnTo>
                      <a:pt x="136" y="9"/>
                    </a:lnTo>
                    <a:lnTo>
                      <a:pt x="144" y="2"/>
                    </a:lnTo>
                    <a:lnTo>
                      <a:pt x="157" y="0"/>
                    </a:lnTo>
                    <a:lnTo>
                      <a:pt x="166" y="10"/>
                    </a:lnTo>
                    <a:lnTo>
                      <a:pt x="169" y="13"/>
                    </a:lnTo>
                    <a:lnTo>
                      <a:pt x="172" y="15"/>
                    </a:lnTo>
                    <a:lnTo>
                      <a:pt x="175" y="18"/>
                    </a:lnTo>
                    <a:lnTo>
                      <a:pt x="179" y="21"/>
                    </a:lnTo>
                    <a:lnTo>
                      <a:pt x="183" y="22"/>
                    </a:lnTo>
                    <a:lnTo>
                      <a:pt x="187" y="24"/>
                    </a:lnTo>
                    <a:lnTo>
                      <a:pt x="191" y="24"/>
                    </a:lnTo>
                    <a:lnTo>
                      <a:pt x="230" y="24"/>
                    </a:lnTo>
                    <a:lnTo>
                      <a:pt x="230" y="25"/>
                    </a:lnTo>
                    <a:lnTo>
                      <a:pt x="230" y="26"/>
                    </a:lnTo>
                    <a:lnTo>
                      <a:pt x="230" y="29"/>
                    </a:lnTo>
                    <a:lnTo>
                      <a:pt x="231" y="32"/>
                    </a:lnTo>
                    <a:lnTo>
                      <a:pt x="231" y="35"/>
                    </a:lnTo>
                    <a:lnTo>
                      <a:pt x="231" y="37"/>
                    </a:lnTo>
                    <a:lnTo>
                      <a:pt x="232" y="40"/>
                    </a:lnTo>
                    <a:lnTo>
                      <a:pt x="232" y="4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1" name="Freeform 833"/>
              <p:cNvSpPr>
                <a:spLocks/>
              </p:cNvSpPr>
              <p:nvPr/>
            </p:nvSpPr>
            <p:spPr bwMode="auto">
              <a:xfrm>
                <a:off x="4571" y="2163"/>
                <a:ext cx="138" cy="203"/>
              </a:xfrm>
              <a:custGeom>
                <a:avLst/>
                <a:gdLst>
                  <a:gd name="T0" fmla="*/ 136 w 138"/>
                  <a:gd name="T1" fmla="*/ 1 h 203"/>
                  <a:gd name="T2" fmla="*/ 125 w 138"/>
                  <a:gd name="T3" fmla="*/ 10 h 203"/>
                  <a:gd name="T4" fmla="*/ 109 w 138"/>
                  <a:gd name="T5" fmla="*/ 23 h 203"/>
                  <a:gd name="T6" fmla="*/ 95 w 138"/>
                  <a:gd name="T7" fmla="*/ 35 h 203"/>
                  <a:gd name="T8" fmla="*/ 86 w 138"/>
                  <a:gd name="T9" fmla="*/ 43 h 203"/>
                  <a:gd name="T10" fmla="*/ 77 w 138"/>
                  <a:gd name="T11" fmla="*/ 50 h 203"/>
                  <a:gd name="T12" fmla="*/ 69 w 138"/>
                  <a:gd name="T13" fmla="*/ 54 h 203"/>
                  <a:gd name="T14" fmla="*/ 64 w 138"/>
                  <a:gd name="T15" fmla="*/ 57 h 203"/>
                  <a:gd name="T16" fmla="*/ 26 w 138"/>
                  <a:gd name="T17" fmla="*/ 54 h 203"/>
                  <a:gd name="T18" fmla="*/ 20 w 138"/>
                  <a:gd name="T19" fmla="*/ 56 h 203"/>
                  <a:gd name="T20" fmla="*/ 20 w 138"/>
                  <a:gd name="T21" fmla="*/ 64 h 203"/>
                  <a:gd name="T22" fmla="*/ 21 w 138"/>
                  <a:gd name="T23" fmla="*/ 74 h 203"/>
                  <a:gd name="T24" fmla="*/ 22 w 138"/>
                  <a:gd name="T25" fmla="*/ 78 h 203"/>
                  <a:gd name="T26" fmla="*/ 18 w 138"/>
                  <a:gd name="T27" fmla="*/ 83 h 203"/>
                  <a:gd name="T28" fmla="*/ 10 w 138"/>
                  <a:gd name="T29" fmla="*/ 85 h 203"/>
                  <a:gd name="T30" fmla="*/ 3 w 138"/>
                  <a:gd name="T31" fmla="*/ 83 h 203"/>
                  <a:gd name="T32" fmla="*/ 0 w 138"/>
                  <a:gd name="T33" fmla="*/ 82 h 203"/>
                  <a:gd name="T34" fmla="*/ 15 w 138"/>
                  <a:gd name="T35" fmla="*/ 105 h 203"/>
                  <a:gd name="T36" fmla="*/ 20 w 138"/>
                  <a:gd name="T37" fmla="*/ 131 h 203"/>
                  <a:gd name="T38" fmla="*/ 22 w 138"/>
                  <a:gd name="T39" fmla="*/ 134 h 203"/>
                  <a:gd name="T40" fmla="*/ 28 w 138"/>
                  <a:gd name="T41" fmla="*/ 140 h 203"/>
                  <a:gd name="T42" fmla="*/ 36 w 138"/>
                  <a:gd name="T43" fmla="*/ 145 h 203"/>
                  <a:gd name="T44" fmla="*/ 44 w 138"/>
                  <a:gd name="T45" fmla="*/ 148 h 203"/>
                  <a:gd name="T46" fmla="*/ 48 w 138"/>
                  <a:gd name="T47" fmla="*/ 151 h 203"/>
                  <a:gd name="T48" fmla="*/ 51 w 138"/>
                  <a:gd name="T49" fmla="*/ 155 h 203"/>
                  <a:gd name="T50" fmla="*/ 51 w 138"/>
                  <a:gd name="T51" fmla="*/ 158 h 203"/>
                  <a:gd name="T52" fmla="*/ 50 w 138"/>
                  <a:gd name="T53" fmla="*/ 158 h 203"/>
                  <a:gd name="T54" fmla="*/ 50 w 138"/>
                  <a:gd name="T55" fmla="*/ 160 h 203"/>
                  <a:gd name="T56" fmla="*/ 50 w 138"/>
                  <a:gd name="T57" fmla="*/ 166 h 203"/>
                  <a:gd name="T58" fmla="*/ 50 w 138"/>
                  <a:gd name="T59" fmla="*/ 174 h 203"/>
                  <a:gd name="T60" fmla="*/ 48 w 138"/>
                  <a:gd name="T61" fmla="*/ 185 h 203"/>
                  <a:gd name="T62" fmla="*/ 50 w 138"/>
                  <a:gd name="T63" fmla="*/ 193 h 203"/>
                  <a:gd name="T64" fmla="*/ 55 w 138"/>
                  <a:gd name="T65" fmla="*/ 199 h 203"/>
                  <a:gd name="T66" fmla="*/ 64 w 138"/>
                  <a:gd name="T67" fmla="*/ 202 h 203"/>
                  <a:gd name="T68" fmla="*/ 72 w 138"/>
                  <a:gd name="T69" fmla="*/ 203 h 203"/>
                  <a:gd name="T70" fmla="*/ 79 w 138"/>
                  <a:gd name="T71" fmla="*/ 202 h 203"/>
                  <a:gd name="T72" fmla="*/ 86 w 138"/>
                  <a:gd name="T73" fmla="*/ 196 h 203"/>
                  <a:gd name="T74" fmla="*/ 90 w 138"/>
                  <a:gd name="T75" fmla="*/ 191 h 203"/>
                  <a:gd name="T76" fmla="*/ 91 w 138"/>
                  <a:gd name="T77" fmla="*/ 189 h 203"/>
                  <a:gd name="T78" fmla="*/ 92 w 138"/>
                  <a:gd name="T79" fmla="*/ 151 h 203"/>
                  <a:gd name="T80" fmla="*/ 87 w 138"/>
                  <a:gd name="T81" fmla="*/ 136 h 203"/>
                  <a:gd name="T82" fmla="*/ 80 w 138"/>
                  <a:gd name="T83" fmla="*/ 129 h 203"/>
                  <a:gd name="T84" fmla="*/ 76 w 138"/>
                  <a:gd name="T85" fmla="*/ 126 h 203"/>
                  <a:gd name="T86" fmla="*/ 68 w 138"/>
                  <a:gd name="T87" fmla="*/ 118 h 203"/>
                  <a:gd name="T88" fmla="*/ 64 w 138"/>
                  <a:gd name="T89" fmla="*/ 107 h 203"/>
                  <a:gd name="T90" fmla="*/ 66 w 138"/>
                  <a:gd name="T91" fmla="*/ 101 h 203"/>
                  <a:gd name="T92" fmla="*/ 70 w 138"/>
                  <a:gd name="T93" fmla="*/ 100 h 203"/>
                  <a:gd name="T94" fmla="*/ 80 w 138"/>
                  <a:gd name="T95" fmla="*/ 90 h 203"/>
                  <a:gd name="T96" fmla="*/ 95 w 138"/>
                  <a:gd name="T97" fmla="*/ 72 h 203"/>
                  <a:gd name="T98" fmla="*/ 108 w 138"/>
                  <a:gd name="T99" fmla="*/ 59 h 203"/>
                  <a:gd name="T100" fmla="*/ 116 w 138"/>
                  <a:gd name="T101" fmla="*/ 50 h 203"/>
                  <a:gd name="T102" fmla="*/ 120 w 138"/>
                  <a:gd name="T103" fmla="*/ 43 h 203"/>
                  <a:gd name="T104" fmla="*/ 127 w 138"/>
                  <a:gd name="T105" fmla="*/ 30 h 203"/>
                  <a:gd name="T106" fmla="*/ 132 w 138"/>
                  <a:gd name="T107" fmla="*/ 17 h 203"/>
                  <a:gd name="T108" fmla="*/ 135 w 138"/>
                  <a:gd name="T109" fmla="*/ 9 h 203"/>
                  <a:gd name="T110" fmla="*/ 138 w 138"/>
                  <a:gd name="T11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8" h="203">
                    <a:moveTo>
                      <a:pt x="138" y="0"/>
                    </a:moveTo>
                    <a:lnTo>
                      <a:pt x="136" y="1"/>
                    </a:lnTo>
                    <a:lnTo>
                      <a:pt x="131" y="5"/>
                    </a:lnTo>
                    <a:lnTo>
                      <a:pt x="125" y="10"/>
                    </a:lnTo>
                    <a:lnTo>
                      <a:pt x="117" y="16"/>
                    </a:lnTo>
                    <a:lnTo>
                      <a:pt x="109" y="23"/>
                    </a:lnTo>
                    <a:lnTo>
                      <a:pt x="102" y="30"/>
                    </a:lnTo>
                    <a:lnTo>
                      <a:pt x="95" y="35"/>
                    </a:lnTo>
                    <a:lnTo>
                      <a:pt x="90" y="41"/>
                    </a:lnTo>
                    <a:lnTo>
                      <a:pt x="86" y="43"/>
                    </a:lnTo>
                    <a:lnTo>
                      <a:pt x="81" y="48"/>
                    </a:lnTo>
                    <a:lnTo>
                      <a:pt x="77" y="50"/>
                    </a:lnTo>
                    <a:lnTo>
                      <a:pt x="73" y="52"/>
                    </a:lnTo>
                    <a:lnTo>
                      <a:pt x="69" y="54"/>
                    </a:lnTo>
                    <a:lnTo>
                      <a:pt x="66" y="56"/>
                    </a:lnTo>
                    <a:lnTo>
                      <a:pt x="64" y="57"/>
                    </a:lnTo>
                    <a:lnTo>
                      <a:pt x="64" y="57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0" y="64"/>
                    </a:lnTo>
                    <a:lnTo>
                      <a:pt x="20" y="70"/>
                    </a:lnTo>
                    <a:lnTo>
                      <a:pt x="21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1" y="81"/>
                    </a:lnTo>
                    <a:lnTo>
                      <a:pt x="18" y="83"/>
                    </a:lnTo>
                    <a:lnTo>
                      <a:pt x="14" y="85"/>
                    </a:lnTo>
                    <a:lnTo>
                      <a:pt x="10" y="85"/>
                    </a:lnTo>
                    <a:lnTo>
                      <a:pt x="7" y="83"/>
                    </a:lnTo>
                    <a:lnTo>
                      <a:pt x="3" y="83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108"/>
                    </a:lnTo>
                    <a:lnTo>
                      <a:pt x="15" y="105"/>
                    </a:lnTo>
                    <a:lnTo>
                      <a:pt x="26" y="115"/>
                    </a:lnTo>
                    <a:lnTo>
                      <a:pt x="20" y="131"/>
                    </a:lnTo>
                    <a:lnTo>
                      <a:pt x="21" y="133"/>
                    </a:lnTo>
                    <a:lnTo>
                      <a:pt x="22" y="134"/>
                    </a:lnTo>
                    <a:lnTo>
                      <a:pt x="25" y="137"/>
                    </a:lnTo>
                    <a:lnTo>
                      <a:pt x="28" y="140"/>
                    </a:lnTo>
                    <a:lnTo>
                      <a:pt x="32" y="142"/>
                    </a:lnTo>
                    <a:lnTo>
                      <a:pt x="36" y="145"/>
                    </a:lnTo>
                    <a:lnTo>
                      <a:pt x="40" y="147"/>
                    </a:lnTo>
                    <a:lnTo>
                      <a:pt x="44" y="148"/>
                    </a:lnTo>
                    <a:lnTo>
                      <a:pt x="47" y="149"/>
                    </a:lnTo>
                    <a:lnTo>
                      <a:pt x="48" y="151"/>
                    </a:lnTo>
                    <a:lnTo>
                      <a:pt x="50" y="152"/>
                    </a:lnTo>
                    <a:lnTo>
                      <a:pt x="51" y="155"/>
                    </a:lnTo>
                    <a:lnTo>
                      <a:pt x="51" y="156"/>
                    </a:lnTo>
                    <a:lnTo>
                      <a:pt x="51" y="158"/>
                    </a:lnTo>
                    <a:lnTo>
                      <a:pt x="51" y="158"/>
                    </a:lnTo>
                    <a:lnTo>
                      <a:pt x="50" y="158"/>
                    </a:lnTo>
                    <a:lnTo>
                      <a:pt x="50" y="159"/>
                    </a:lnTo>
                    <a:lnTo>
                      <a:pt x="50" y="160"/>
                    </a:lnTo>
                    <a:lnTo>
                      <a:pt x="50" y="163"/>
                    </a:lnTo>
                    <a:lnTo>
                      <a:pt x="50" y="166"/>
                    </a:lnTo>
                    <a:lnTo>
                      <a:pt x="50" y="170"/>
                    </a:lnTo>
                    <a:lnTo>
                      <a:pt x="50" y="174"/>
                    </a:lnTo>
                    <a:lnTo>
                      <a:pt x="48" y="180"/>
                    </a:lnTo>
                    <a:lnTo>
                      <a:pt x="48" y="185"/>
                    </a:lnTo>
                    <a:lnTo>
                      <a:pt x="48" y="189"/>
                    </a:lnTo>
                    <a:lnTo>
                      <a:pt x="50" y="193"/>
                    </a:lnTo>
                    <a:lnTo>
                      <a:pt x="53" y="196"/>
                    </a:lnTo>
                    <a:lnTo>
                      <a:pt x="55" y="199"/>
                    </a:lnTo>
                    <a:lnTo>
                      <a:pt x="59" y="202"/>
                    </a:lnTo>
                    <a:lnTo>
                      <a:pt x="64" y="202"/>
                    </a:lnTo>
                    <a:lnTo>
                      <a:pt x="68" y="203"/>
                    </a:lnTo>
                    <a:lnTo>
                      <a:pt x="72" y="203"/>
                    </a:lnTo>
                    <a:lnTo>
                      <a:pt x="76" y="203"/>
                    </a:lnTo>
                    <a:lnTo>
                      <a:pt x="79" y="202"/>
                    </a:lnTo>
                    <a:lnTo>
                      <a:pt x="81" y="199"/>
                    </a:lnTo>
                    <a:lnTo>
                      <a:pt x="86" y="196"/>
                    </a:lnTo>
                    <a:lnTo>
                      <a:pt x="87" y="193"/>
                    </a:lnTo>
                    <a:lnTo>
                      <a:pt x="90" y="191"/>
                    </a:lnTo>
                    <a:lnTo>
                      <a:pt x="91" y="189"/>
                    </a:lnTo>
                    <a:lnTo>
                      <a:pt x="91" y="189"/>
                    </a:lnTo>
                    <a:lnTo>
                      <a:pt x="94" y="160"/>
                    </a:lnTo>
                    <a:lnTo>
                      <a:pt x="92" y="151"/>
                    </a:lnTo>
                    <a:lnTo>
                      <a:pt x="91" y="142"/>
                    </a:lnTo>
                    <a:lnTo>
                      <a:pt x="87" y="136"/>
                    </a:lnTo>
                    <a:lnTo>
                      <a:pt x="84" y="131"/>
                    </a:lnTo>
                    <a:lnTo>
                      <a:pt x="80" y="129"/>
                    </a:lnTo>
                    <a:lnTo>
                      <a:pt x="77" y="126"/>
                    </a:lnTo>
                    <a:lnTo>
                      <a:pt x="76" y="126"/>
                    </a:lnTo>
                    <a:lnTo>
                      <a:pt x="75" y="125"/>
                    </a:lnTo>
                    <a:lnTo>
                      <a:pt x="68" y="118"/>
                    </a:lnTo>
                    <a:lnTo>
                      <a:pt x="64" y="111"/>
                    </a:lnTo>
                    <a:lnTo>
                      <a:pt x="64" y="107"/>
                    </a:lnTo>
                    <a:lnTo>
                      <a:pt x="64" y="103"/>
                    </a:lnTo>
                    <a:lnTo>
                      <a:pt x="66" y="101"/>
                    </a:lnTo>
                    <a:lnTo>
                      <a:pt x="69" y="100"/>
                    </a:lnTo>
                    <a:lnTo>
                      <a:pt x="70" y="100"/>
                    </a:lnTo>
                    <a:lnTo>
                      <a:pt x="72" y="98"/>
                    </a:lnTo>
                    <a:lnTo>
                      <a:pt x="80" y="90"/>
                    </a:lnTo>
                    <a:lnTo>
                      <a:pt x="88" y="82"/>
                    </a:lnTo>
                    <a:lnTo>
                      <a:pt x="95" y="72"/>
                    </a:lnTo>
                    <a:lnTo>
                      <a:pt x="102" y="65"/>
                    </a:lnTo>
                    <a:lnTo>
                      <a:pt x="108" y="59"/>
                    </a:lnTo>
                    <a:lnTo>
                      <a:pt x="113" y="54"/>
                    </a:lnTo>
                    <a:lnTo>
                      <a:pt x="116" y="50"/>
                    </a:lnTo>
                    <a:lnTo>
                      <a:pt x="116" y="50"/>
                    </a:lnTo>
                    <a:lnTo>
                      <a:pt x="120" y="43"/>
                    </a:lnTo>
                    <a:lnTo>
                      <a:pt x="124" y="37"/>
                    </a:lnTo>
                    <a:lnTo>
                      <a:pt x="127" y="30"/>
                    </a:lnTo>
                    <a:lnTo>
                      <a:pt x="130" y="23"/>
                    </a:lnTo>
                    <a:lnTo>
                      <a:pt x="132" y="17"/>
                    </a:lnTo>
                    <a:lnTo>
                      <a:pt x="134" y="13"/>
                    </a:lnTo>
                    <a:lnTo>
                      <a:pt x="135" y="9"/>
                    </a:lnTo>
                    <a:lnTo>
                      <a:pt x="136" y="9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2" name="Freeform 834"/>
              <p:cNvSpPr>
                <a:spLocks/>
              </p:cNvSpPr>
              <p:nvPr/>
            </p:nvSpPr>
            <p:spPr bwMode="auto">
              <a:xfrm>
                <a:off x="4571" y="2163"/>
                <a:ext cx="138" cy="203"/>
              </a:xfrm>
              <a:custGeom>
                <a:avLst/>
                <a:gdLst>
                  <a:gd name="T0" fmla="*/ 136 w 138"/>
                  <a:gd name="T1" fmla="*/ 1 h 203"/>
                  <a:gd name="T2" fmla="*/ 125 w 138"/>
                  <a:gd name="T3" fmla="*/ 10 h 203"/>
                  <a:gd name="T4" fmla="*/ 109 w 138"/>
                  <a:gd name="T5" fmla="*/ 23 h 203"/>
                  <a:gd name="T6" fmla="*/ 95 w 138"/>
                  <a:gd name="T7" fmla="*/ 35 h 203"/>
                  <a:gd name="T8" fmla="*/ 86 w 138"/>
                  <a:gd name="T9" fmla="*/ 43 h 203"/>
                  <a:gd name="T10" fmla="*/ 77 w 138"/>
                  <a:gd name="T11" fmla="*/ 50 h 203"/>
                  <a:gd name="T12" fmla="*/ 69 w 138"/>
                  <a:gd name="T13" fmla="*/ 54 h 203"/>
                  <a:gd name="T14" fmla="*/ 64 w 138"/>
                  <a:gd name="T15" fmla="*/ 57 h 203"/>
                  <a:gd name="T16" fmla="*/ 22 w 138"/>
                  <a:gd name="T17" fmla="*/ 54 h 203"/>
                  <a:gd name="T18" fmla="*/ 20 w 138"/>
                  <a:gd name="T19" fmla="*/ 60 h 203"/>
                  <a:gd name="T20" fmla="*/ 20 w 138"/>
                  <a:gd name="T21" fmla="*/ 70 h 203"/>
                  <a:gd name="T22" fmla="*/ 22 w 138"/>
                  <a:gd name="T23" fmla="*/ 76 h 203"/>
                  <a:gd name="T24" fmla="*/ 21 w 138"/>
                  <a:gd name="T25" fmla="*/ 81 h 203"/>
                  <a:gd name="T26" fmla="*/ 14 w 138"/>
                  <a:gd name="T27" fmla="*/ 85 h 203"/>
                  <a:gd name="T28" fmla="*/ 7 w 138"/>
                  <a:gd name="T29" fmla="*/ 83 h 203"/>
                  <a:gd name="T30" fmla="*/ 2 w 138"/>
                  <a:gd name="T31" fmla="*/ 82 h 203"/>
                  <a:gd name="T32" fmla="*/ 0 w 138"/>
                  <a:gd name="T33" fmla="*/ 108 h 203"/>
                  <a:gd name="T34" fmla="*/ 26 w 138"/>
                  <a:gd name="T35" fmla="*/ 115 h 203"/>
                  <a:gd name="T36" fmla="*/ 21 w 138"/>
                  <a:gd name="T37" fmla="*/ 133 h 203"/>
                  <a:gd name="T38" fmla="*/ 25 w 138"/>
                  <a:gd name="T39" fmla="*/ 137 h 203"/>
                  <a:gd name="T40" fmla="*/ 32 w 138"/>
                  <a:gd name="T41" fmla="*/ 142 h 203"/>
                  <a:gd name="T42" fmla="*/ 40 w 138"/>
                  <a:gd name="T43" fmla="*/ 147 h 203"/>
                  <a:gd name="T44" fmla="*/ 47 w 138"/>
                  <a:gd name="T45" fmla="*/ 149 h 203"/>
                  <a:gd name="T46" fmla="*/ 50 w 138"/>
                  <a:gd name="T47" fmla="*/ 152 h 203"/>
                  <a:gd name="T48" fmla="*/ 51 w 138"/>
                  <a:gd name="T49" fmla="*/ 156 h 203"/>
                  <a:gd name="T50" fmla="*/ 50 w 138"/>
                  <a:gd name="T51" fmla="*/ 158 h 203"/>
                  <a:gd name="T52" fmla="*/ 50 w 138"/>
                  <a:gd name="T53" fmla="*/ 160 h 203"/>
                  <a:gd name="T54" fmla="*/ 50 w 138"/>
                  <a:gd name="T55" fmla="*/ 166 h 203"/>
                  <a:gd name="T56" fmla="*/ 50 w 138"/>
                  <a:gd name="T57" fmla="*/ 174 h 203"/>
                  <a:gd name="T58" fmla="*/ 48 w 138"/>
                  <a:gd name="T59" fmla="*/ 185 h 203"/>
                  <a:gd name="T60" fmla="*/ 50 w 138"/>
                  <a:gd name="T61" fmla="*/ 193 h 203"/>
                  <a:gd name="T62" fmla="*/ 55 w 138"/>
                  <a:gd name="T63" fmla="*/ 199 h 203"/>
                  <a:gd name="T64" fmla="*/ 64 w 138"/>
                  <a:gd name="T65" fmla="*/ 202 h 203"/>
                  <a:gd name="T66" fmla="*/ 72 w 138"/>
                  <a:gd name="T67" fmla="*/ 203 h 203"/>
                  <a:gd name="T68" fmla="*/ 79 w 138"/>
                  <a:gd name="T69" fmla="*/ 202 h 203"/>
                  <a:gd name="T70" fmla="*/ 86 w 138"/>
                  <a:gd name="T71" fmla="*/ 196 h 203"/>
                  <a:gd name="T72" fmla="*/ 90 w 138"/>
                  <a:gd name="T73" fmla="*/ 191 h 203"/>
                  <a:gd name="T74" fmla="*/ 94 w 138"/>
                  <a:gd name="T75" fmla="*/ 160 h 203"/>
                  <a:gd name="T76" fmla="*/ 91 w 138"/>
                  <a:gd name="T77" fmla="*/ 142 h 203"/>
                  <a:gd name="T78" fmla="*/ 84 w 138"/>
                  <a:gd name="T79" fmla="*/ 131 h 203"/>
                  <a:gd name="T80" fmla="*/ 77 w 138"/>
                  <a:gd name="T81" fmla="*/ 126 h 203"/>
                  <a:gd name="T82" fmla="*/ 75 w 138"/>
                  <a:gd name="T83" fmla="*/ 125 h 203"/>
                  <a:gd name="T84" fmla="*/ 64 w 138"/>
                  <a:gd name="T85" fmla="*/ 111 h 203"/>
                  <a:gd name="T86" fmla="*/ 64 w 138"/>
                  <a:gd name="T87" fmla="*/ 103 h 203"/>
                  <a:gd name="T88" fmla="*/ 69 w 138"/>
                  <a:gd name="T89" fmla="*/ 100 h 203"/>
                  <a:gd name="T90" fmla="*/ 72 w 138"/>
                  <a:gd name="T91" fmla="*/ 98 h 203"/>
                  <a:gd name="T92" fmla="*/ 88 w 138"/>
                  <a:gd name="T93" fmla="*/ 82 h 203"/>
                  <a:gd name="T94" fmla="*/ 102 w 138"/>
                  <a:gd name="T95" fmla="*/ 65 h 203"/>
                  <a:gd name="T96" fmla="*/ 113 w 138"/>
                  <a:gd name="T97" fmla="*/ 54 h 203"/>
                  <a:gd name="T98" fmla="*/ 120 w 138"/>
                  <a:gd name="T99" fmla="*/ 43 h 203"/>
                  <a:gd name="T100" fmla="*/ 127 w 138"/>
                  <a:gd name="T101" fmla="*/ 30 h 203"/>
                  <a:gd name="T102" fmla="*/ 132 w 138"/>
                  <a:gd name="T103" fmla="*/ 17 h 203"/>
                  <a:gd name="T104" fmla="*/ 135 w 138"/>
                  <a:gd name="T105" fmla="*/ 9 h 203"/>
                  <a:gd name="T106" fmla="*/ 138 w 138"/>
                  <a:gd name="T107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8" h="203">
                    <a:moveTo>
                      <a:pt x="138" y="0"/>
                    </a:moveTo>
                    <a:lnTo>
                      <a:pt x="136" y="1"/>
                    </a:lnTo>
                    <a:lnTo>
                      <a:pt x="131" y="5"/>
                    </a:lnTo>
                    <a:lnTo>
                      <a:pt x="125" y="10"/>
                    </a:lnTo>
                    <a:lnTo>
                      <a:pt x="117" y="16"/>
                    </a:lnTo>
                    <a:lnTo>
                      <a:pt x="109" y="23"/>
                    </a:lnTo>
                    <a:lnTo>
                      <a:pt x="102" y="30"/>
                    </a:lnTo>
                    <a:lnTo>
                      <a:pt x="95" y="35"/>
                    </a:lnTo>
                    <a:lnTo>
                      <a:pt x="90" y="41"/>
                    </a:lnTo>
                    <a:lnTo>
                      <a:pt x="86" y="43"/>
                    </a:lnTo>
                    <a:lnTo>
                      <a:pt x="81" y="48"/>
                    </a:lnTo>
                    <a:lnTo>
                      <a:pt x="77" y="50"/>
                    </a:lnTo>
                    <a:lnTo>
                      <a:pt x="73" y="52"/>
                    </a:lnTo>
                    <a:lnTo>
                      <a:pt x="69" y="54"/>
                    </a:lnTo>
                    <a:lnTo>
                      <a:pt x="66" y="56"/>
                    </a:lnTo>
                    <a:lnTo>
                      <a:pt x="64" y="57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0" y="64"/>
                    </a:lnTo>
                    <a:lnTo>
                      <a:pt x="20" y="70"/>
                    </a:lnTo>
                    <a:lnTo>
                      <a:pt x="21" y="74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1" y="81"/>
                    </a:lnTo>
                    <a:lnTo>
                      <a:pt x="18" y="83"/>
                    </a:lnTo>
                    <a:lnTo>
                      <a:pt x="14" y="85"/>
                    </a:lnTo>
                    <a:lnTo>
                      <a:pt x="10" y="85"/>
                    </a:lnTo>
                    <a:lnTo>
                      <a:pt x="7" y="83"/>
                    </a:lnTo>
                    <a:lnTo>
                      <a:pt x="3" y="83"/>
                    </a:lnTo>
                    <a:lnTo>
                      <a:pt x="2" y="82"/>
                    </a:lnTo>
                    <a:lnTo>
                      <a:pt x="0" y="82"/>
                    </a:lnTo>
                    <a:lnTo>
                      <a:pt x="0" y="108"/>
                    </a:lnTo>
                    <a:lnTo>
                      <a:pt x="15" y="105"/>
                    </a:lnTo>
                    <a:lnTo>
                      <a:pt x="26" y="115"/>
                    </a:lnTo>
                    <a:lnTo>
                      <a:pt x="20" y="131"/>
                    </a:lnTo>
                    <a:lnTo>
                      <a:pt x="21" y="133"/>
                    </a:lnTo>
                    <a:lnTo>
                      <a:pt x="22" y="134"/>
                    </a:lnTo>
                    <a:lnTo>
                      <a:pt x="25" y="137"/>
                    </a:lnTo>
                    <a:lnTo>
                      <a:pt x="28" y="140"/>
                    </a:lnTo>
                    <a:lnTo>
                      <a:pt x="32" y="142"/>
                    </a:lnTo>
                    <a:lnTo>
                      <a:pt x="36" y="145"/>
                    </a:lnTo>
                    <a:lnTo>
                      <a:pt x="40" y="147"/>
                    </a:lnTo>
                    <a:lnTo>
                      <a:pt x="44" y="148"/>
                    </a:lnTo>
                    <a:lnTo>
                      <a:pt x="47" y="149"/>
                    </a:lnTo>
                    <a:lnTo>
                      <a:pt x="48" y="151"/>
                    </a:lnTo>
                    <a:lnTo>
                      <a:pt x="50" y="152"/>
                    </a:lnTo>
                    <a:lnTo>
                      <a:pt x="51" y="155"/>
                    </a:lnTo>
                    <a:lnTo>
                      <a:pt x="51" y="156"/>
                    </a:lnTo>
                    <a:lnTo>
                      <a:pt x="51" y="158"/>
                    </a:lnTo>
                    <a:lnTo>
                      <a:pt x="50" y="158"/>
                    </a:lnTo>
                    <a:lnTo>
                      <a:pt x="50" y="159"/>
                    </a:lnTo>
                    <a:lnTo>
                      <a:pt x="50" y="160"/>
                    </a:lnTo>
                    <a:lnTo>
                      <a:pt x="50" y="163"/>
                    </a:lnTo>
                    <a:lnTo>
                      <a:pt x="50" y="166"/>
                    </a:lnTo>
                    <a:lnTo>
                      <a:pt x="50" y="170"/>
                    </a:lnTo>
                    <a:lnTo>
                      <a:pt x="50" y="174"/>
                    </a:lnTo>
                    <a:lnTo>
                      <a:pt x="48" y="180"/>
                    </a:lnTo>
                    <a:lnTo>
                      <a:pt x="48" y="185"/>
                    </a:lnTo>
                    <a:lnTo>
                      <a:pt x="48" y="189"/>
                    </a:lnTo>
                    <a:lnTo>
                      <a:pt x="50" y="193"/>
                    </a:lnTo>
                    <a:lnTo>
                      <a:pt x="53" y="196"/>
                    </a:lnTo>
                    <a:lnTo>
                      <a:pt x="55" y="199"/>
                    </a:lnTo>
                    <a:lnTo>
                      <a:pt x="59" y="202"/>
                    </a:lnTo>
                    <a:lnTo>
                      <a:pt x="64" y="202"/>
                    </a:lnTo>
                    <a:lnTo>
                      <a:pt x="68" y="203"/>
                    </a:lnTo>
                    <a:lnTo>
                      <a:pt x="72" y="203"/>
                    </a:lnTo>
                    <a:lnTo>
                      <a:pt x="76" y="203"/>
                    </a:lnTo>
                    <a:lnTo>
                      <a:pt x="79" y="202"/>
                    </a:lnTo>
                    <a:lnTo>
                      <a:pt x="81" y="199"/>
                    </a:lnTo>
                    <a:lnTo>
                      <a:pt x="86" y="196"/>
                    </a:lnTo>
                    <a:lnTo>
                      <a:pt x="87" y="193"/>
                    </a:lnTo>
                    <a:lnTo>
                      <a:pt x="90" y="191"/>
                    </a:lnTo>
                    <a:lnTo>
                      <a:pt x="91" y="189"/>
                    </a:lnTo>
                    <a:lnTo>
                      <a:pt x="94" y="160"/>
                    </a:lnTo>
                    <a:lnTo>
                      <a:pt x="92" y="151"/>
                    </a:lnTo>
                    <a:lnTo>
                      <a:pt x="91" y="142"/>
                    </a:lnTo>
                    <a:lnTo>
                      <a:pt x="87" y="136"/>
                    </a:lnTo>
                    <a:lnTo>
                      <a:pt x="84" y="131"/>
                    </a:lnTo>
                    <a:lnTo>
                      <a:pt x="80" y="129"/>
                    </a:lnTo>
                    <a:lnTo>
                      <a:pt x="77" y="126"/>
                    </a:lnTo>
                    <a:lnTo>
                      <a:pt x="76" y="126"/>
                    </a:lnTo>
                    <a:lnTo>
                      <a:pt x="75" y="125"/>
                    </a:lnTo>
                    <a:lnTo>
                      <a:pt x="68" y="118"/>
                    </a:lnTo>
                    <a:lnTo>
                      <a:pt x="64" y="111"/>
                    </a:lnTo>
                    <a:lnTo>
                      <a:pt x="64" y="107"/>
                    </a:lnTo>
                    <a:lnTo>
                      <a:pt x="64" y="103"/>
                    </a:lnTo>
                    <a:lnTo>
                      <a:pt x="66" y="101"/>
                    </a:lnTo>
                    <a:lnTo>
                      <a:pt x="69" y="100"/>
                    </a:lnTo>
                    <a:lnTo>
                      <a:pt x="70" y="100"/>
                    </a:lnTo>
                    <a:lnTo>
                      <a:pt x="72" y="98"/>
                    </a:lnTo>
                    <a:lnTo>
                      <a:pt x="80" y="90"/>
                    </a:lnTo>
                    <a:lnTo>
                      <a:pt x="88" y="82"/>
                    </a:lnTo>
                    <a:lnTo>
                      <a:pt x="95" y="72"/>
                    </a:lnTo>
                    <a:lnTo>
                      <a:pt x="102" y="65"/>
                    </a:lnTo>
                    <a:lnTo>
                      <a:pt x="108" y="59"/>
                    </a:lnTo>
                    <a:lnTo>
                      <a:pt x="113" y="54"/>
                    </a:lnTo>
                    <a:lnTo>
                      <a:pt x="116" y="50"/>
                    </a:lnTo>
                    <a:lnTo>
                      <a:pt x="120" y="43"/>
                    </a:lnTo>
                    <a:lnTo>
                      <a:pt x="124" y="37"/>
                    </a:lnTo>
                    <a:lnTo>
                      <a:pt x="127" y="30"/>
                    </a:lnTo>
                    <a:lnTo>
                      <a:pt x="130" y="23"/>
                    </a:lnTo>
                    <a:lnTo>
                      <a:pt x="132" y="17"/>
                    </a:lnTo>
                    <a:lnTo>
                      <a:pt x="134" y="13"/>
                    </a:lnTo>
                    <a:lnTo>
                      <a:pt x="135" y="9"/>
                    </a:lnTo>
                    <a:lnTo>
                      <a:pt x="136" y="9"/>
                    </a:lnTo>
                    <a:lnTo>
                      <a:pt x="13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3" name="Freeform 835"/>
              <p:cNvSpPr>
                <a:spLocks/>
              </p:cNvSpPr>
              <p:nvPr/>
            </p:nvSpPr>
            <p:spPr bwMode="auto">
              <a:xfrm>
                <a:off x="4055" y="2025"/>
                <a:ext cx="500" cy="208"/>
              </a:xfrm>
              <a:custGeom>
                <a:avLst/>
                <a:gdLst>
                  <a:gd name="T0" fmla="*/ 29 w 500"/>
                  <a:gd name="T1" fmla="*/ 23 h 208"/>
                  <a:gd name="T2" fmla="*/ 36 w 500"/>
                  <a:gd name="T3" fmla="*/ 17 h 208"/>
                  <a:gd name="T4" fmla="*/ 54 w 500"/>
                  <a:gd name="T5" fmla="*/ 14 h 208"/>
                  <a:gd name="T6" fmla="*/ 69 w 500"/>
                  <a:gd name="T7" fmla="*/ 18 h 208"/>
                  <a:gd name="T8" fmla="*/ 86 w 500"/>
                  <a:gd name="T9" fmla="*/ 19 h 208"/>
                  <a:gd name="T10" fmla="*/ 104 w 500"/>
                  <a:gd name="T11" fmla="*/ 30 h 208"/>
                  <a:gd name="T12" fmla="*/ 127 w 500"/>
                  <a:gd name="T13" fmla="*/ 51 h 208"/>
                  <a:gd name="T14" fmla="*/ 135 w 500"/>
                  <a:gd name="T15" fmla="*/ 45 h 208"/>
                  <a:gd name="T16" fmla="*/ 141 w 500"/>
                  <a:gd name="T17" fmla="*/ 34 h 208"/>
                  <a:gd name="T18" fmla="*/ 145 w 500"/>
                  <a:gd name="T19" fmla="*/ 25 h 208"/>
                  <a:gd name="T20" fmla="*/ 152 w 500"/>
                  <a:gd name="T21" fmla="*/ 22 h 208"/>
                  <a:gd name="T22" fmla="*/ 159 w 500"/>
                  <a:gd name="T23" fmla="*/ 22 h 208"/>
                  <a:gd name="T24" fmla="*/ 171 w 500"/>
                  <a:gd name="T25" fmla="*/ 10 h 208"/>
                  <a:gd name="T26" fmla="*/ 189 w 500"/>
                  <a:gd name="T27" fmla="*/ 0 h 208"/>
                  <a:gd name="T28" fmla="*/ 207 w 500"/>
                  <a:gd name="T29" fmla="*/ 4 h 208"/>
                  <a:gd name="T30" fmla="*/ 223 w 500"/>
                  <a:gd name="T31" fmla="*/ 6 h 208"/>
                  <a:gd name="T32" fmla="*/ 238 w 500"/>
                  <a:gd name="T33" fmla="*/ 4 h 208"/>
                  <a:gd name="T34" fmla="*/ 259 w 500"/>
                  <a:gd name="T35" fmla="*/ 7 h 208"/>
                  <a:gd name="T36" fmla="*/ 284 w 500"/>
                  <a:gd name="T37" fmla="*/ 18 h 208"/>
                  <a:gd name="T38" fmla="*/ 302 w 500"/>
                  <a:gd name="T39" fmla="*/ 30 h 208"/>
                  <a:gd name="T40" fmla="*/ 311 w 500"/>
                  <a:gd name="T41" fmla="*/ 33 h 208"/>
                  <a:gd name="T42" fmla="*/ 336 w 500"/>
                  <a:gd name="T43" fmla="*/ 30 h 208"/>
                  <a:gd name="T44" fmla="*/ 369 w 500"/>
                  <a:gd name="T45" fmla="*/ 18 h 208"/>
                  <a:gd name="T46" fmla="*/ 381 w 500"/>
                  <a:gd name="T47" fmla="*/ 8 h 208"/>
                  <a:gd name="T48" fmla="*/ 383 w 500"/>
                  <a:gd name="T49" fmla="*/ 4 h 208"/>
                  <a:gd name="T50" fmla="*/ 392 w 500"/>
                  <a:gd name="T51" fmla="*/ 6 h 208"/>
                  <a:gd name="T52" fmla="*/ 412 w 500"/>
                  <a:gd name="T53" fmla="*/ 11 h 208"/>
                  <a:gd name="T54" fmla="*/ 448 w 500"/>
                  <a:gd name="T55" fmla="*/ 28 h 208"/>
                  <a:gd name="T56" fmla="*/ 445 w 500"/>
                  <a:gd name="T57" fmla="*/ 72 h 208"/>
                  <a:gd name="T58" fmla="*/ 459 w 500"/>
                  <a:gd name="T59" fmla="*/ 72 h 208"/>
                  <a:gd name="T60" fmla="*/ 474 w 500"/>
                  <a:gd name="T61" fmla="*/ 72 h 208"/>
                  <a:gd name="T62" fmla="*/ 490 w 500"/>
                  <a:gd name="T63" fmla="*/ 77 h 208"/>
                  <a:gd name="T64" fmla="*/ 500 w 500"/>
                  <a:gd name="T65" fmla="*/ 87 h 208"/>
                  <a:gd name="T66" fmla="*/ 494 w 500"/>
                  <a:gd name="T67" fmla="*/ 94 h 208"/>
                  <a:gd name="T68" fmla="*/ 483 w 500"/>
                  <a:gd name="T69" fmla="*/ 100 h 208"/>
                  <a:gd name="T70" fmla="*/ 470 w 500"/>
                  <a:gd name="T71" fmla="*/ 106 h 208"/>
                  <a:gd name="T72" fmla="*/ 454 w 500"/>
                  <a:gd name="T73" fmla="*/ 107 h 208"/>
                  <a:gd name="T74" fmla="*/ 441 w 500"/>
                  <a:gd name="T75" fmla="*/ 113 h 208"/>
                  <a:gd name="T76" fmla="*/ 427 w 500"/>
                  <a:gd name="T77" fmla="*/ 120 h 208"/>
                  <a:gd name="T78" fmla="*/ 427 w 500"/>
                  <a:gd name="T79" fmla="*/ 131 h 208"/>
                  <a:gd name="T80" fmla="*/ 417 w 500"/>
                  <a:gd name="T81" fmla="*/ 148 h 208"/>
                  <a:gd name="T82" fmla="*/ 387 w 500"/>
                  <a:gd name="T83" fmla="*/ 161 h 208"/>
                  <a:gd name="T84" fmla="*/ 333 w 500"/>
                  <a:gd name="T85" fmla="*/ 173 h 208"/>
                  <a:gd name="T86" fmla="*/ 289 w 500"/>
                  <a:gd name="T87" fmla="*/ 183 h 208"/>
                  <a:gd name="T88" fmla="*/ 274 w 500"/>
                  <a:gd name="T89" fmla="*/ 190 h 208"/>
                  <a:gd name="T90" fmla="*/ 251 w 500"/>
                  <a:gd name="T91" fmla="*/ 202 h 208"/>
                  <a:gd name="T92" fmla="*/ 222 w 500"/>
                  <a:gd name="T93" fmla="*/ 208 h 208"/>
                  <a:gd name="T94" fmla="*/ 201 w 500"/>
                  <a:gd name="T95" fmla="*/ 201 h 208"/>
                  <a:gd name="T96" fmla="*/ 188 w 500"/>
                  <a:gd name="T97" fmla="*/ 191 h 208"/>
                  <a:gd name="T98" fmla="*/ 160 w 500"/>
                  <a:gd name="T99" fmla="*/ 192 h 208"/>
                  <a:gd name="T100" fmla="*/ 120 w 500"/>
                  <a:gd name="T101" fmla="*/ 195 h 208"/>
                  <a:gd name="T102" fmla="*/ 94 w 500"/>
                  <a:gd name="T103" fmla="*/ 187 h 208"/>
                  <a:gd name="T104" fmla="*/ 91 w 500"/>
                  <a:gd name="T105" fmla="*/ 177 h 208"/>
                  <a:gd name="T106" fmla="*/ 88 w 500"/>
                  <a:gd name="T107" fmla="*/ 161 h 208"/>
                  <a:gd name="T108" fmla="*/ 79 w 500"/>
                  <a:gd name="T109" fmla="*/ 133 h 208"/>
                  <a:gd name="T110" fmla="*/ 69 w 500"/>
                  <a:gd name="T111" fmla="*/ 122 h 208"/>
                  <a:gd name="T112" fmla="*/ 43 w 500"/>
                  <a:gd name="T113" fmla="*/ 110 h 208"/>
                  <a:gd name="T114" fmla="*/ 13 w 500"/>
                  <a:gd name="T115" fmla="*/ 88 h 208"/>
                  <a:gd name="T116" fmla="*/ 2 w 500"/>
                  <a:gd name="T117" fmla="*/ 70 h 208"/>
                  <a:gd name="T118" fmla="*/ 0 w 500"/>
                  <a:gd name="T119" fmla="*/ 48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0" h="208">
                    <a:moveTo>
                      <a:pt x="3" y="39"/>
                    </a:moveTo>
                    <a:lnTo>
                      <a:pt x="29" y="25"/>
                    </a:lnTo>
                    <a:lnTo>
                      <a:pt x="29" y="23"/>
                    </a:lnTo>
                    <a:lnTo>
                      <a:pt x="31" y="22"/>
                    </a:lnTo>
                    <a:lnTo>
                      <a:pt x="32" y="19"/>
                    </a:lnTo>
                    <a:lnTo>
                      <a:pt x="36" y="17"/>
                    </a:lnTo>
                    <a:lnTo>
                      <a:pt x="40" y="14"/>
                    </a:lnTo>
                    <a:lnTo>
                      <a:pt x="46" y="12"/>
                    </a:lnTo>
                    <a:lnTo>
                      <a:pt x="54" y="14"/>
                    </a:lnTo>
                    <a:lnTo>
                      <a:pt x="65" y="18"/>
                    </a:lnTo>
                    <a:lnTo>
                      <a:pt x="66" y="18"/>
                    </a:lnTo>
                    <a:lnTo>
                      <a:pt x="69" y="18"/>
                    </a:lnTo>
                    <a:lnTo>
                      <a:pt x="73" y="18"/>
                    </a:lnTo>
                    <a:lnTo>
                      <a:pt x="79" y="18"/>
                    </a:lnTo>
                    <a:lnTo>
                      <a:pt x="86" y="19"/>
                    </a:lnTo>
                    <a:lnTo>
                      <a:pt x="93" y="22"/>
                    </a:lnTo>
                    <a:lnTo>
                      <a:pt x="98" y="25"/>
                    </a:lnTo>
                    <a:lnTo>
                      <a:pt x="104" y="30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7" y="51"/>
                    </a:lnTo>
                    <a:lnTo>
                      <a:pt x="130" y="50"/>
                    </a:lnTo>
                    <a:lnTo>
                      <a:pt x="133" y="48"/>
                    </a:lnTo>
                    <a:lnTo>
                      <a:pt x="135" y="45"/>
                    </a:lnTo>
                    <a:lnTo>
                      <a:pt x="138" y="43"/>
                    </a:lnTo>
                    <a:lnTo>
                      <a:pt x="139" y="40"/>
                    </a:lnTo>
                    <a:lnTo>
                      <a:pt x="141" y="34"/>
                    </a:lnTo>
                    <a:lnTo>
                      <a:pt x="142" y="30"/>
                    </a:lnTo>
                    <a:lnTo>
                      <a:pt x="144" y="26"/>
                    </a:lnTo>
                    <a:lnTo>
                      <a:pt x="145" y="25"/>
                    </a:lnTo>
                    <a:lnTo>
                      <a:pt x="146" y="23"/>
                    </a:lnTo>
                    <a:lnTo>
                      <a:pt x="149" y="22"/>
                    </a:lnTo>
                    <a:lnTo>
                      <a:pt x="152" y="22"/>
                    </a:lnTo>
                    <a:lnTo>
                      <a:pt x="155" y="22"/>
                    </a:lnTo>
                    <a:lnTo>
                      <a:pt x="157" y="23"/>
                    </a:lnTo>
                    <a:lnTo>
                      <a:pt x="159" y="22"/>
                    </a:lnTo>
                    <a:lnTo>
                      <a:pt x="161" y="18"/>
                    </a:lnTo>
                    <a:lnTo>
                      <a:pt x="166" y="14"/>
                    </a:lnTo>
                    <a:lnTo>
                      <a:pt x="171" y="10"/>
                    </a:lnTo>
                    <a:lnTo>
                      <a:pt x="177" y="4"/>
                    </a:lnTo>
                    <a:lnTo>
                      <a:pt x="183" y="1"/>
                    </a:lnTo>
                    <a:lnTo>
                      <a:pt x="189" y="0"/>
                    </a:lnTo>
                    <a:lnTo>
                      <a:pt x="196" y="1"/>
                    </a:lnTo>
                    <a:lnTo>
                      <a:pt x="201" y="3"/>
                    </a:lnTo>
                    <a:lnTo>
                      <a:pt x="207" y="4"/>
                    </a:lnTo>
                    <a:lnTo>
                      <a:pt x="212" y="6"/>
                    </a:lnTo>
                    <a:lnTo>
                      <a:pt x="218" y="6"/>
                    </a:lnTo>
                    <a:lnTo>
                      <a:pt x="223" y="6"/>
                    </a:lnTo>
                    <a:lnTo>
                      <a:pt x="229" y="6"/>
                    </a:lnTo>
                    <a:lnTo>
                      <a:pt x="233" y="4"/>
                    </a:lnTo>
                    <a:lnTo>
                      <a:pt x="238" y="4"/>
                    </a:lnTo>
                    <a:lnTo>
                      <a:pt x="244" y="3"/>
                    </a:lnTo>
                    <a:lnTo>
                      <a:pt x="251" y="4"/>
                    </a:lnTo>
                    <a:lnTo>
                      <a:pt x="259" y="7"/>
                    </a:lnTo>
                    <a:lnTo>
                      <a:pt x="266" y="10"/>
                    </a:lnTo>
                    <a:lnTo>
                      <a:pt x="276" y="14"/>
                    </a:lnTo>
                    <a:lnTo>
                      <a:pt x="284" y="18"/>
                    </a:lnTo>
                    <a:lnTo>
                      <a:pt x="292" y="23"/>
                    </a:lnTo>
                    <a:lnTo>
                      <a:pt x="300" y="30"/>
                    </a:lnTo>
                    <a:lnTo>
                      <a:pt x="302" y="30"/>
                    </a:lnTo>
                    <a:lnTo>
                      <a:pt x="303" y="30"/>
                    </a:lnTo>
                    <a:lnTo>
                      <a:pt x="306" y="32"/>
                    </a:lnTo>
                    <a:lnTo>
                      <a:pt x="311" y="33"/>
                    </a:lnTo>
                    <a:lnTo>
                      <a:pt x="317" y="33"/>
                    </a:lnTo>
                    <a:lnTo>
                      <a:pt x="325" y="33"/>
                    </a:lnTo>
                    <a:lnTo>
                      <a:pt x="336" y="30"/>
                    </a:lnTo>
                    <a:lnTo>
                      <a:pt x="348" y="28"/>
                    </a:lnTo>
                    <a:lnTo>
                      <a:pt x="359" y="22"/>
                    </a:lnTo>
                    <a:lnTo>
                      <a:pt x="369" y="18"/>
                    </a:lnTo>
                    <a:lnTo>
                      <a:pt x="375" y="14"/>
                    </a:lnTo>
                    <a:lnTo>
                      <a:pt x="379" y="11"/>
                    </a:lnTo>
                    <a:lnTo>
                      <a:pt x="381" y="8"/>
                    </a:lnTo>
                    <a:lnTo>
                      <a:pt x="383" y="6"/>
                    </a:lnTo>
                    <a:lnTo>
                      <a:pt x="383" y="4"/>
                    </a:lnTo>
                    <a:lnTo>
                      <a:pt x="383" y="4"/>
                    </a:lnTo>
                    <a:lnTo>
                      <a:pt x="384" y="4"/>
                    </a:lnTo>
                    <a:lnTo>
                      <a:pt x="388" y="4"/>
                    </a:lnTo>
                    <a:lnTo>
                      <a:pt x="392" y="6"/>
                    </a:lnTo>
                    <a:lnTo>
                      <a:pt x="398" y="6"/>
                    </a:lnTo>
                    <a:lnTo>
                      <a:pt x="405" y="8"/>
                    </a:lnTo>
                    <a:lnTo>
                      <a:pt x="412" y="11"/>
                    </a:lnTo>
                    <a:lnTo>
                      <a:pt x="419" y="14"/>
                    </a:lnTo>
                    <a:lnTo>
                      <a:pt x="424" y="18"/>
                    </a:lnTo>
                    <a:lnTo>
                      <a:pt x="448" y="28"/>
                    </a:lnTo>
                    <a:lnTo>
                      <a:pt x="441" y="72"/>
                    </a:lnTo>
                    <a:lnTo>
                      <a:pt x="442" y="72"/>
                    </a:lnTo>
                    <a:lnTo>
                      <a:pt x="445" y="72"/>
                    </a:lnTo>
                    <a:lnTo>
                      <a:pt x="449" y="72"/>
                    </a:lnTo>
                    <a:lnTo>
                      <a:pt x="453" y="72"/>
                    </a:lnTo>
                    <a:lnTo>
                      <a:pt x="459" y="72"/>
                    </a:lnTo>
                    <a:lnTo>
                      <a:pt x="464" y="72"/>
                    </a:lnTo>
                    <a:lnTo>
                      <a:pt x="470" y="72"/>
                    </a:lnTo>
                    <a:lnTo>
                      <a:pt x="474" y="72"/>
                    </a:lnTo>
                    <a:lnTo>
                      <a:pt x="479" y="73"/>
                    </a:lnTo>
                    <a:lnTo>
                      <a:pt x="485" y="74"/>
                    </a:lnTo>
                    <a:lnTo>
                      <a:pt x="490" y="77"/>
                    </a:lnTo>
                    <a:lnTo>
                      <a:pt x="494" y="80"/>
                    </a:lnTo>
                    <a:lnTo>
                      <a:pt x="498" y="83"/>
                    </a:lnTo>
                    <a:lnTo>
                      <a:pt x="500" y="87"/>
                    </a:lnTo>
                    <a:lnTo>
                      <a:pt x="500" y="89"/>
                    </a:lnTo>
                    <a:lnTo>
                      <a:pt x="498" y="91"/>
                    </a:lnTo>
                    <a:lnTo>
                      <a:pt x="494" y="94"/>
                    </a:lnTo>
                    <a:lnTo>
                      <a:pt x="490" y="95"/>
                    </a:lnTo>
                    <a:lnTo>
                      <a:pt x="487" y="98"/>
                    </a:lnTo>
                    <a:lnTo>
                      <a:pt x="483" y="100"/>
                    </a:lnTo>
                    <a:lnTo>
                      <a:pt x="479" y="102"/>
                    </a:lnTo>
                    <a:lnTo>
                      <a:pt x="475" y="105"/>
                    </a:lnTo>
                    <a:lnTo>
                      <a:pt x="470" y="106"/>
                    </a:lnTo>
                    <a:lnTo>
                      <a:pt x="464" y="106"/>
                    </a:lnTo>
                    <a:lnTo>
                      <a:pt x="459" y="106"/>
                    </a:lnTo>
                    <a:lnTo>
                      <a:pt x="454" y="107"/>
                    </a:lnTo>
                    <a:lnTo>
                      <a:pt x="449" y="109"/>
                    </a:lnTo>
                    <a:lnTo>
                      <a:pt x="445" y="110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1" y="117"/>
                    </a:lnTo>
                    <a:lnTo>
                      <a:pt x="427" y="120"/>
                    </a:lnTo>
                    <a:lnTo>
                      <a:pt x="427" y="121"/>
                    </a:lnTo>
                    <a:lnTo>
                      <a:pt x="427" y="125"/>
                    </a:lnTo>
                    <a:lnTo>
                      <a:pt x="427" y="131"/>
                    </a:lnTo>
                    <a:lnTo>
                      <a:pt x="426" y="136"/>
                    </a:lnTo>
                    <a:lnTo>
                      <a:pt x="423" y="143"/>
                    </a:lnTo>
                    <a:lnTo>
                      <a:pt x="417" y="148"/>
                    </a:lnTo>
                    <a:lnTo>
                      <a:pt x="410" y="154"/>
                    </a:lnTo>
                    <a:lnTo>
                      <a:pt x="401" y="158"/>
                    </a:lnTo>
                    <a:lnTo>
                      <a:pt x="387" y="161"/>
                    </a:lnTo>
                    <a:lnTo>
                      <a:pt x="370" y="165"/>
                    </a:lnTo>
                    <a:lnTo>
                      <a:pt x="351" y="169"/>
                    </a:lnTo>
                    <a:lnTo>
                      <a:pt x="333" y="173"/>
                    </a:lnTo>
                    <a:lnTo>
                      <a:pt x="315" y="177"/>
                    </a:lnTo>
                    <a:lnTo>
                      <a:pt x="300" y="180"/>
                    </a:lnTo>
                    <a:lnTo>
                      <a:pt x="289" y="183"/>
                    </a:lnTo>
                    <a:lnTo>
                      <a:pt x="284" y="184"/>
                    </a:lnTo>
                    <a:lnTo>
                      <a:pt x="280" y="186"/>
                    </a:lnTo>
                    <a:lnTo>
                      <a:pt x="274" y="190"/>
                    </a:lnTo>
                    <a:lnTo>
                      <a:pt x="267" y="194"/>
                    </a:lnTo>
                    <a:lnTo>
                      <a:pt x="260" y="198"/>
                    </a:lnTo>
                    <a:lnTo>
                      <a:pt x="251" y="202"/>
                    </a:lnTo>
                    <a:lnTo>
                      <a:pt x="241" y="205"/>
                    </a:lnTo>
                    <a:lnTo>
                      <a:pt x="232" y="208"/>
                    </a:lnTo>
                    <a:lnTo>
                      <a:pt x="222" y="208"/>
                    </a:lnTo>
                    <a:lnTo>
                      <a:pt x="214" y="206"/>
                    </a:lnTo>
                    <a:lnTo>
                      <a:pt x="207" y="203"/>
                    </a:lnTo>
                    <a:lnTo>
                      <a:pt x="201" y="201"/>
                    </a:lnTo>
                    <a:lnTo>
                      <a:pt x="197" y="197"/>
                    </a:lnTo>
                    <a:lnTo>
                      <a:pt x="192" y="194"/>
                    </a:lnTo>
                    <a:lnTo>
                      <a:pt x="188" y="191"/>
                    </a:lnTo>
                    <a:lnTo>
                      <a:pt x="181" y="191"/>
                    </a:lnTo>
                    <a:lnTo>
                      <a:pt x="172" y="191"/>
                    </a:lnTo>
                    <a:lnTo>
                      <a:pt x="160" y="192"/>
                    </a:lnTo>
                    <a:lnTo>
                      <a:pt x="148" y="194"/>
                    </a:lnTo>
                    <a:lnTo>
                      <a:pt x="134" y="195"/>
                    </a:lnTo>
                    <a:lnTo>
                      <a:pt x="120" y="195"/>
                    </a:lnTo>
                    <a:lnTo>
                      <a:pt x="108" y="194"/>
                    </a:lnTo>
                    <a:lnTo>
                      <a:pt x="98" y="190"/>
                    </a:lnTo>
                    <a:lnTo>
                      <a:pt x="94" y="187"/>
                    </a:lnTo>
                    <a:lnTo>
                      <a:pt x="93" y="184"/>
                    </a:lnTo>
                    <a:lnTo>
                      <a:pt x="91" y="181"/>
                    </a:lnTo>
                    <a:lnTo>
                      <a:pt x="91" y="177"/>
                    </a:lnTo>
                    <a:lnTo>
                      <a:pt x="91" y="175"/>
                    </a:lnTo>
                    <a:lnTo>
                      <a:pt x="90" y="169"/>
                    </a:lnTo>
                    <a:lnTo>
                      <a:pt x="88" y="161"/>
                    </a:lnTo>
                    <a:lnTo>
                      <a:pt x="87" y="153"/>
                    </a:lnTo>
                    <a:lnTo>
                      <a:pt x="84" y="142"/>
                    </a:lnTo>
                    <a:lnTo>
                      <a:pt x="79" y="133"/>
                    </a:lnTo>
                    <a:lnTo>
                      <a:pt x="76" y="129"/>
                    </a:lnTo>
                    <a:lnTo>
                      <a:pt x="73" y="125"/>
                    </a:lnTo>
                    <a:lnTo>
                      <a:pt x="69" y="122"/>
                    </a:lnTo>
                    <a:lnTo>
                      <a:pt x="65" y="120"/>
                    </a:lnTo>
                    <a:lnTo>
                      <a:pt x="54" y="116"/>
                    </a:lnTo>
                    <a:lnTo>
                      <a:pt x="43" y="110"/>
                    </a:lnTo>
                    <a:lnTo>
                      <a:pt x="31" y="103"/>
                    </a:lnTo>
                    <a:lnTo>
                      <a:pt x="18" y="94"/>
                    </a:lnTo>
                    <a:lnTo>
                      <a:pt x="13" y="88"/>
                    </a:lnTo>
                    <a:lnTo>
                      <a:pt x="9" y="83"/>
                    </a:lnTo>
                    <a:lnTo>
                      <a:pt x="5" y="77"/>
                    </a:lnTo>
                    <a:lnTo>
                      <a:pt x="2" y="70"/>
                    </a:lnTo>
                    <a:lnTo>
                      <a:pt x="0" y="63"/>
                    </a:lnTo>
                    <a:lnTo>
                      <a:pt x="0" y="56"/>
                    </a:lnTo>
                    <a:lnTo>
                      <a:pt x="0" y="48"/>
                    </a:lnTo>
                    <a:lnTo>
                      <a:pt x="3" y="3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4" name="Freeform 836"/>
              <p:cNvSpPr>
                <a:spLocks/>
              </p:cNvSpPr>
              <p:nvPr/>
            </p:nvSpPr>
            <p:spPr bwMode="auto">
              <a:xfrm>
                <a:off x="4055" y="2025"/>
                <a:ext cx="500" cy="208"/>
              </a:xfrm>
              <a:custGeom>
                <a:avLst/>
                <a:gdLst>
                  <a:gd name="T0" fmla="*/ 29 w 500"/>
                  <a:gd name="T1" fmla="*/ 23 h 208"/>
                  <a:gd name="T2" fmla="*/ 36 w 500"/>
                  <a:gd name="T3" fmla="*/ 17 h 208"/>
                  <a:gd name="T4" fmla="*/ 54 w 500"/>
                  <a:gd name="T5" fmla="*/ 14 h 208"/>
                  <a:gd name="T6" fmla="*/ 69 w 500"/>
                  <a:gd name="T7" fmla="*/ 18 h 208"/>
                  <a:gd name="T8" fmla="*/ 86 w 500"/>
                  <a:gd name="T9" fmla="*/ 19 h 208"/>
                  <a:gd name="T10" fmla="*/ 104 w 500"/>
                  <a:gd name="T11" fmla="*/ 30 h 208"/>
                  <a:gd name="T12" fmla="*/ 127 w 500"/>
                  <a:gd name="T13" fmla="*/ 51 h 208"/>
                  <a:gd name="T14" fmla="*/ 135 w 500"/>
                  <a:gd name="T15" fmla="*/ 45 h 208"/>
                  <a:gd name="T16" fmla="*/ 141 w 500"/>
                  <a:gd name="T17" fmla="*/ 34 h 208"/>
                  <a:gd name="T18" fmla="*/ 145 w 500"/>
                  <a:gd name="T19" fmla="*/ 25 h 208"/>
                  <a:gd name="T20" fmla="*/ 152 w 500"/>
                  <a:gd name="T21" fmla="*/ 22 h 208"/>
                  <a:gd name="T22" fmla="*/ 159 w 500"/>
                  <a:gd name="T23" fmla="*/ 22 h 208"/>
                  <a:gd name="T24" fmla="*/ 171 w 500"/>
                  <a:gd name="T25" fmla="*/ 10 h 208"/>
                  <a:gd name="T26" fmla="*/ 189 w 500"/>
                  <a:gd name="T27" fmla="*/ 0 h 208"/>
                  <a:gd name="T28" fmla="*/ 207 w 500"/>
                  <a:gd name="T29" fmla="*/ 4 h 208"/>
                  <a:gd name="T30" fmla="*/ 223 w 500"/>
                  <a:gd name="T31" fmla="*/ 6 h 208"/>
                  <a:gd name="T32" fmla="*/ 238 w 500"/>
                  <a:gd name="T33" fmla="*/ 4 h 208"/>
                  <a:gd name="T34" fmla="*/ 259 w 500"/>
                  <a:gd name="T35" fmla="*/ 7 h 208"/>
                  <a:gd name="T36" fmla="*/ 284 w 500"/>
                  <a:gd name="T37" fmla="*/ 18 h 208"/>
                  <a:gd name="T38" fmla="*/ 302 w 500"/>
                  <a:gd name="T39" fmla="*/ 30 h 208"/>
                  <a:gd name="T40" fmla="*/ 311 w 500"/>
                  <a:gd name="T41" fmla="*/ 33 h 208"/>
                  <a:gd name="T42" fmla="*/ 336 w 500"/>
                  <a:gd name="T43" fmla="*/ 30 h 208"/>
                  <a:gd name="T44" fmla="*/ 369 w 500"/>
                  <a:gd name="T45" fmla="*/ 18 h 208"/>
                  <a:gd name="T46" fmla="*/ 381 w 500"/>
                  <a:gd name="T47" fmla="*/ 8 h 208"/>
                  <a:gd name="T48" fmla="*/ 384 w 500"/>
                  <a:gd name="T49" fmla="*/ 4 h 208"/>
                  <a:gd name="T50" fmla="*/ 398 w 500"/>
                  <a:gd name="T51" fmla="*/ 6 h 208"/>
                  <a:gd name="T52" fmla="*/ 419 w 500"/>
                  <a:gd name="T53" fmla="*/ 14 h 208"/>
                  <a:gd name="T54" fmla="*/ 441 w 500"/>
                  <a:gd name="T55" fmla="*/ 72 h 208"/>
                  <a:gd name="T56" fmla="*/ 449 w 500"/>
                  <a:gd name="T57" fmla="*/ 72 h 208"/>
                  <a:gd name="T58" fmla="*/ 464 w 500"/>
                  <a:gd name="T59" fmla="*/ 72 h 208"/>
                  <a:gd name="T60" fmla="*/ 479 w 500"/>
                  <a:gd name="T61" fmla="*/ 73 h 208"/>
                  <a:gd name="T62" fmla="*/ 494 w 500"/>
                  <a:gd name="T63" fmla="*/ 80 h 208"/>
                  <a:gd name="T64" fmla="*/ 500 w 500"/>
                  <a:gd name="T65" fmla="*/ 89 h 208"/>
                  <a:gd name="T66" fmla="*/ 490 w 500"/>
                  <a:gd name="T67" fmla="*/ 95 h 208"/>
                  <a:gd name="T68" fmla="*/ 479 w 500"/>
                  <a:gd name="T69" fmla="*/ 102 h 208"/>
                  <a:gd name="T70" fmla="*/ 464 w 500"/>
                  <a:gd name="T71" fmla="*/ 106 h 208"/>
                  <a:gd name="T72" fmla="*/ 449 w 500"/>
                  <a:gd name="T73" fmla="*/ 109 h 208"/>
                  <a:gd name="T74" fmla="*/ 435 w 500"/>
                  <a:gd name="T75" fmla="*/ 114 h 208"/>
                  <a:gd name="T76" fmla="*/ 427 w 500"/>
                  <a:gd name="T77" fmla="*/ 121 h 208"/>
                  <a:gd name="T78" fmla="*/ 426 w 500"/>
                  <a:gd name="T79" fmla="*/ 136 h 208"/>
                  <a:gd name="T80" fmla="*/ 410 w 500"/>
                  <a:gd name="T81" fmla="*/ 154 h 208"/>
                  <a:gd name="T82" fmla="*/ 370 w 500"/>
                  <a:gd name="T83" fmla="*/ 165 h 208"/>
                  <a:gd name="T84" fmla="*/ 315 w 500"/>
                  <a:gd name="T85" fmla="*/ 177 h 208"/>
                  <a:gd name="T86" fmla="*/ 284 w 500"/>
                  <a:gd name="T87" fmla="*/ 184 h 208"/>
                  <a:gd name="T88" fmla="*/ 267 w 500"/>
                  <a:gd name="T89" fmla="*/ 194 h 208"/>
                  <a:gd name="T90" fmla="*/ 241 w 500"/>
                  <a:gd name="T91" fmla="*/ 205 h 208"/>
                  <a:gd name="T92" fmla="*/ 214 w 500"/>
                  <a:gd name="T93" fmla="*/ 206 h 208"/>
                  <a:gd name="T94" fmla="*/ 197 w 500"/>
                  <a:gd name="T95" fmla="*/ 197 h 208"/>
                  <a:gd name="T96" fmla="*/ 181 w 500"/>
                  <a:gd name="T97" fmla="*/ 191 h 208"/>
                  <a:gd name="T98" fmla="*/ 148 w 500"/>
                  <a:gd name="T99" fmla="*/ 194 h 208"/>
                  <a:gd name="T100" fmla="*/ 108 w 500"/>
                  <a:gd name="T101" fmla="*/ 194 h 208"/>
                  <a:gd name="T102" fmla="*/ 93 w 500"/>
                  <a:gd name="T103" fmla="*/ 184 h 208"/>
                  <a:gd name="T104" fmla="*/ 91 w 500"/>
                  <a:gd name="T105" fmla="*/ 175 h 208"/>
                  <a:gd name="T106" fmla="*/ 87 w 500"/>
                  <a:gd name="T107" fmla="*/ 153 h 208"/>
                  <a:gd name="T108" fmla="*/ 76 w 500"/>
                  <a:gd name="T109" fmla="*/ 129 h 208"/>
                  <a:gd name="T110" fmla="*/ 65 w 500"/>
                  <a:gd name="T111" fmla="*/ 120 h 208"/>
                  <a:gd name="T112" fmla="*/ 31 w 500"/>
                  <a:gd name="T113" fmla="*/ 103 h 208"/>
                  <a:gd name="T114" fmla="*/ 9 w 500"/>
                  <a:gd name="T115" fmla="*/ 83 h 208"/>
                  <a:gd name="T116" fmla="*/ 0 w 500"/>
                  <a:gd name="T117" fmla="*/ 63 h 208"/>
                  <a:gd name="T118" fmla="*/ 3 w 500"/>
                  <a:gd name="T119" fmla="*/ 39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0" h="208">
                    <a:moveTo>
                      <a:pt x="3" y="39"/>
                    </a:moveTo>
                    <a:lnTo>
                      <a:pt x="29" y="25"/>
                    </a:lnTo>
                    <a:lnTo>
                      <a:pt x="29" y="23"/>
                    </a:lnTo>
                    <a:lnTo>
                      <a:pt x="31" y="22"/>
                    </a:lnTo>
                    <a:lnTo>
                      <a:pt x="32" y="19"/>
                    </a:lnTo>
                    <a:lnTo>
                      <a:pt x="36" y="17"/>
                    </a:lnTo>
                    <a:lnTo>
                      <a:pt x="40" y="14"/>
                    </a:lnTo>
                    <a:lnTo>
                      <a:pt x="46" y="12"/>
                    </a:lnTo>
                    <a:lnTo>
                      <a:pt x="54" y="14"/>
                    </a:lnTo>
                    <a:lnTo>
                      <a:pt x="65" y="18"/>
                    </a:lnTo>
                    <a:lnTo>
                      <a:pt x="66" y="18"/>
                    </a:lnTo>
                    <a:lnTo>
                      <a:pt x="69" y="18"/>
                    </a:lnTo>
                    <a:lnTo>
                      <a:pt x="73" y="18"/>
                    </a:lnTo>
                    <a:lnTo>
                      <a:pt x="79" y="18"/>
                    </a:lnTo>
                    <a:lnTo>
                      <a:pt x="86" y="19"/>
                    </a:lnTo>
                    <a:lnTo>
                      <a:pt x="93" y="22"/>
                    </a:lnTo>
                    <a:lnTo>
                      <a:pt x="98" y="25"/>
                    </a:lnTo>
                    <a:lnTo>
                      <a:pt x="104" y="30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7" y="51"/>
                    </a:lnTo>
                    <a:lnTo>
                      <a:pt x="130" y="50"/>
                    </a:lnTo>
                    <a:lnTo>
                      <a:pt x="133" y="48"/>
                    </a:lnTo>
                    <a:lnTo>
                      <a:pt x="135" y="45"/>
                    </a:lnTo>
                    <a:lnTo>
                      <a:pt x="138" y="43"/>
                    </a:lnTo>
                    <a:lnTo>
                      <a:pt x="139" y="40"/>
                    </a:lnTo>
                    <a:lnTo>
                      <a:pt x="141" y="34"/>
                    </a:lnTo>
                    <a:lnTo>
                      <a:pt x="142" y="30"/>
                    </a:lnTo>
                    <a:lnTo>
                      <a:pt x="144" y="26"/>
                    </a:lnTo>
                    <a:lnTo>
                      <a:pt x="145" y="25"/>
                    </a:lnTo>
                    <a:lnTo>
                      <a:pt x="146" y="23"/>
                    </a:lnTo>
                    <a:lnTo>
                      <a:pt x="149" y="22"/>
                    </a:lnTo>
                    <a:lnTo>
                      <a:pt x="152" y="22"/>
                    </a:lnTo>
                    <a:lnTo>
                      <a:pt x="155" y="22"/>
                    </a:lnTo>
                    <a:lnTo>
                      <a:pt x="157" y="23"/>
                    </a:lnTo>
                    <a:lnTo>
                      <a:pt x="159" y="22"/>
                    </a:lnTo>
                    <a:lnTo>
                      <a:pt x="161" y="18"/>
                    </a:lnTo>
                    <a:lnTo>
                      <a:pt x="166" y="14"/>
                    </a:lnTo>
                    <a:lnTo>
                      <a:pt x="171" y="10"/>
                    </a:lnTo>
                    <a:lnTo>
                      <a:pt x="177" y="4"/>
                    </a:lnTo>
                    <a:lnTo>
                      <a:pt x="183" y="1"/>
                    </a:lnTo>
                    <a:lnTo>
                      <a:pt x="189" y="0"/>
                    </a:lnTo>
                    <a:lnTo>
                      <a:pt x="196" y="1"/>
                    </a:lnTo>
                    <a:lnTo>
                      <a:pt x="201" y="3"/>
                    </a:lnTo>
                    <a:lnTo>
                      <a:pt x="207" y="4"/>
                    </a:lnTo>
                    <a:lnTo>
                      <a:pt x="212" y="6"/>
                    </a:lnTo>
                    <a:lnTo>
                      <a:pt x="218" y="6"/>
                    </a:lnTo>
                    <a:lnTo>
                      <a:pt x="223" y="6"/>
                    </a:lnTo>
                    <a:lnTo>
                      <a:pt x="229" y="6"/>
                    </a:lnTo>
                    <a:lnTo>
                      <a:pt x="233" y="4"/>
                    </a:lnTo>
                    <a:lnTo>
                      <a:pt x="238" y="4"/>
                    </a:lnTo>
                    <a:lnTo>
                      <a:pt x="244" y="3"/>
                    </a:lnTo>
                    <a:lnTo>
                      <a:pt x="251" y="4"/>
                    </a:lnTo>
                    <a:lnTo>
                      <a:pt x="259" y="7"/>
                    </a:lnTo>
                    <a:lnTo>
                      <a:pt x="266" y="10"/>
                    </a:lnTo>
                    <a:lnTo>
                      <a:pt x="276" y="14"/>
                    </a:lnTo>
                    <a:lnTo>
                      <a:pt x="284" y="18"/>
                    </a:lnTo>
                    <a:lnTo>
                      <a:pt x="292" y="23"/>
                    </a:lnTo>
                    <a:lnTo>
                      <a:pt x="300" y="30"/>
                    </a:lnTo>
                    <a:lnTo>
                      <a:pt x="302" y="30"/>
                    </a:lnTo>
                    <a:lnTo>
                      <a:pt x="303" y="30"/>
                    </a:lnTo>
                    <a:lnTo>
                      <a:pt x="306" y="32"/>
                    </a:lnTo>
                    <a:lnTo>
                      <a:pt x="311" y="33"/>
                    </a:lnTo>
                    <a:lnTo>
                      <a:pt x="317" y="33"/>
                    </a:lnTo>
                    <a:lnTo>
                      <a:pt x="325" y="33"/>
                    </a:lnTo>
                    <a:lnTo>
                      <a:pt x="336" y="30"/>
                    </a:lnTo>
                    <a:lnTo>
                      <a:pt x="348" y="28"/>
                    </a:lnTo>
                    <a:lnTo>
                      <a:pt x="359" y="22"/>
                    </a:lnTo>
                    <a:lnTo>
                      <a:pt x="369" y="18"/>
                    </a:lnTo>
                    <a:lnTo>
                      <a:pt x="375" y="14"/>
                    </a:lnTo>
                    <a:lnTo>
                      <a:pt x="379" y="11"/>
                    </a:lnTo>
                    <a:lnTo>
                      <a:pt x="381" y="8"/>
                    </a:lnTo>
                    <a:lnTo>
                      <a:pt x="383" y="6"/>
                    </a:lnTo>
                    <a:lnTo>
                      <a:pt x="383" y="4"/>
                    </a:lnTo>
                    <a:lnTo>
                      <a:pt x="384" y="4"/>
                    </a:lnTo>
                    <a:lnTo>
                      <a:pt x="388" y="4"/>
                    </a:lnTo>
                    <a:lnTo>
                      <a:pt x="392" y="6"/>
                    </a:lnTo>
                    <a:lnTo>
                      <a:pt x="398" y="6"/>
                    </a:lnTo>
                    <a:lnTo>
                      <a:pt x="405" y="8"/>
                    </a:lnTo>
                    <a:lnTo>
                      <a:pt x="412" y="11"/>
                    </a:lnTo>
                    <a:lnTo>
                      <a:pt x="419" y="14"/>
                    </a:lnTo>
                    <a:lnTo>
                      <a:pt x="424" y="18"/>
                    </a:lnTo>
                    <a:lnTo>
                      <a:pt x="448" y="28"/>
                    </a:lnTo>
                    <a:lnTo>
                      <a:pt x="441" y="72"/>
                    </a:lnTo>
                    <a:lnTo>
                      <a:pt x="442" y="72"/>
                    </a:lnTo>
                    <a:lnTo>
                      <a:pt x="445" y="72"/>
                    </a:lnTo>
                    <a:lnTo>
                      <a:pt x="449" y="72"/>
                    </a:lnTo>
                    <a:lnTo>
                      <a:pt x="453" y="72"/>
                    </a:lnTo>
                    <a:lnTo>
                      <a:pt x="459" y="72"/>
                    </a:lnTo>
                    <a:lnTo>
                      <a:pt x="464" y="72"/>
                    </a:lnTo>
                    <a:lnTo>
                      <a:pt x="470" y="72"/>
                    </a:lnTo>
                    <a:lnTo>
                      <a:pt x="474" y="72"/>
                    </a:lnTo>
                    <a:lnTo>
                      <a:pt x="479" y="73"/>
                    </a:lnTo>
                    <a:lnTo>
                      <a:pt x="485" y="74"/>
                    </a:lnTo>
                    <a:lnTo>
                      <a:pt x="490" y="77"/>
                    </a:lnTo>
                    <a:lnTo>
                      <a:pt x="494" y="80"/>
                    </a:lnTo>
                    <a:lnTo>
                      <a:pt x="498" y="83"/>
                    </a:lnTo>
                    <a:lnTo>
                      <a:pt x="500" y="87"/>
                    </a:lnTo>
                    <a:lnTo>
                      <a:pt x="500" y="89"/>
                    </a:lnTo>
                    <a:lnTo>
                      <a:pt x="498" y="91"/>
                    </a:lnTo>
                    <a:lnTo>
                      <a:pt x="494" y="94"/>
                    </a:lnTo>
                    <a:lnTo>
                      <a:pt x="490" y="95"/>
                    </a:lnTo>
                    <a:lnTo>
                      <a:pt x="487" y="98"/>
                    </a:lnTo>
                    <a:lnTo>
                      <a:pt x="483" y="100"/>
                    </a:lnTo>
                    <a:lnTo>
                      <a:pt x="479" y="102"/>
                    </a:lnTo>
                    <a:lnTo>
                      <a:pt x="475" y="105"/>
                    </a:lnTo>
                    <a:lnTo>
                      <a:pt x="470" y="106"/>
                    </a:lnTo>
                    <a:lnTo>
                      <a:pt x="464" y="106"/>
                    </a:lnTo>
                    <a:lnTo>
                      <a:pt x="459" y="106"/>
                    </a:lnTo>
                    <a:lnTo>
                      <a:pt x="454" y="107"/>
                    </a:lnTo>
                    <a:lnTo>
                      <a:pt x="449" y="109"/>
                    </a:lnTo>
                    <a:lnTo>
                      <a:pt x="445" y="110"/>
                    </a:lnTo>
                    <a:lnTo>
                      <a:pt x="441" y="113"/>
                    </a:lnTo>
                    <a:lnTo>
                      <a:pt x="435" y="114"/>
                    </a:lnTo>
                    <a:lnTo>
                      <a:pt x="431" y="117"/>
                    </a:lnTo>
                    <a:lnTo>
                      <a:pt x="427" y="120"/>
                    </a:lnTo>
                    <a:lnTo>
                      <a:pt x="427" y="121"/>
                    </a:lnTo>
                    <a:lnTo>
                      <a:pt x="427" y="125"/>
                    </a:lnTo>
                    <a:lnTo>
                      <a:pt x="427" y="131"/>
                    </a:lnTo>
                    <a:lnTo>
                      <a:pt x="426" y="136"/>
                    </a:lnTo>
                    <a:lnTo>
                      <a:pt x="423" y="143"/>
                    </a:lnTo>
                    <a:lnTo>
                      <a:pt x="417" y="148"/>
                    </a:lnTo>
                    <a:lnTo>
                      <a:pt x="410" y="154"/>
                    </a:lnTo>
                    <a:lnTo>
                      <a:pt x="401" y="158"/>
                    </a:lnTo>
                    <a:lnTo>
                      <a:pt x="387" y="161"/>
                    </a:lnTo>
                    <a:lnTo>
                      <a:pt x="370" y="165"/>
                    </a:lnTo>
                    <a:lnTo>
                      <a:pt x="351" y="169"/>
                    </a:lnTo>
                    <a:lnTo>
                      <a:pt x="333" y="173"/>
                    </a:lnTo>
                    <a:lnTo>
                      <a:pt x="315" y="177"/>
                    </a:lnTo>
                    <a:lnTo>
                      <a:pt x="300" y="180"/>
                    </a:lnTo>
                    <a:lnTo>
                      <a:pt x="289" y="183"/>
                    </a:lnTo>
                    <a:lnTo>
                      <a:pt x="284" y="184"/>
                    </a:lnTo>
                    <a:lnTo>
                      <a:pt x="280" y="186"/>
                    </a:lnTo>
                    <a:lnTo>
                      <a:pt x="274" y="190"/>
                    </a:lnTo>
                    <a:lnTo>
                      <a:pt x="267" y="194"/>
                    </a:lnTo>
                    <a:lnTo>
                      <a:pt x="260" y="198"/>
                    </a:lnTo>
                    <a:lnTo>
                      <a:pt x="251" y="202"/>
                    </a:lnTo>
                    <a:lnTo>
                      <a:pt x="241" y="205"/>
                    </a:lnTo>
                    <a:lnTo>
                      <a:pt x="232" y="208"/>
                    </a:lnTo>
                    <a:lnTo>
                      <a:pt x="222" y="208"/>
                    </a:lnTo>
                    <a:lnTo>
                      <a:pt x="214" y="206"/>
                    </a:lnTo>
                    <a:lnTo>
                      <a:pt x="207" y="203"/>
                    </a:lnTo>
                    <a:lnTo>
                      <a:pt x="201" y="201"/>
                    </a:lnTo>
                    <a:lnTo>
                      <a:pt x="197" y="197"/>
                    </a:lnTo>
                    <a:lnTo>
                      <a:pt x="192" y="194"/>
                    </a:lnTo>
                    <a:lnTo>
                      <a:pt x="188" y="191"/>
                    </a:lnTo>
                    <a:lnTo>
                      <a:pt x="181" y="191"/>
                    </a:lnTo>
                    <a:lnTo>
                      <a:pt x="172" y="191"/>
                    </a:lnTo>
                    <a:lnTo>
                      <a:pt x="160" y="192"/>
                    </a:lnTo>
                    <a:lnTo>
                      <a:pt x="148" y="194"/>
                    </a:lnTo>
                    <a:lnTo>
                      <a:pt x="134" y="195"/>
                    </a:lnTo>
                    <a:lnTo>
                      <a:pt x="120" y="195"/>
                    </a:lnTo>
                    <a:lnTo>
                      <a:pt x="108" y="194"/>
                    </a:lnTo>
                    <a:lnTo>
                      <a:pt x="98" y="190"/>
                    </a:lnTo>
                    <a:lnTo>
                      <a:pt x="94" y="187"/>
                    </a:lnTo>
                    <a:lnTo>
                      <a:pt x="93" y="184"/>
                    </a:lnTo>
                    <a:lnTo>
                      <a:pt x="91" y="181"/>
                    </a:lnTo>
                    <a:lnTo>
                      <a:pt x="91" y="177"/>
                    </a:lnTo>
                    <a:lnTo>
                      <a:pt x="91" y="175"/>
                    </a:lnTo>
                    <a:lnTo>
                      <a:pt x="90" y="169"/>
                    </a:lnTo>
                    <a:lnTo>
                      <a:pt x="88" y="161"/>
                    </a:lnTo>
                    <a:lnTo>
                      <a:pt x="87" y="153"/>
                    </a:lnTo>
                    <a:lnTo>
                      <a:pt x="84" y="142"/>
                    </a:lnTo>
                    <a:lnTo>
                      <a:pt x="79" y="133"/>
                    </a:lnTo>
                    <a:lnTo>
                      <a:pt x="76" y="129"/>
                    </a:lnTo>
                    <a:lnTo>
                      <a:pt x="73" y="125"/>
                    </a:lnTo>
                    <a:lnTo>
                      <a:pt x="69" y="122"/>
                    </a:lnTo>
                    <a:lnTo>
                      <a:pt x="65" y="120"/>
                    </a:lnTo>
                    <a:lnTo>
                      <a:pt x="54" y="116"/>
                    </a:lnTo>
                    <a:lnTo>
                      <a:pt x="43" y="110"/>
                    </a:lnTo>
                    <a:lnTo>
                      <a:pt x="31" y="103"/>
                    </a:lnTo>
                    <a:lnTo>
                      <a:pt x="18" y="94"/>
                    </a:lnTo>
                    <a:lnTo>
                      <a:pt x="13" y="88"/>
                    </a:lnTo>
                    <a:lnTo>
                      <a:pt x="9" y="83"/>
                    </a:lnTo>
                    <a:lnTo>
                      <a:pt x="5" y="77"/>
                    </a:lnTo>
                    <a:lnTo>
                      <a:pt x="2" y="70"/>
                    </a:lnTo>
                    <a:lnTo>
                      <a:pt x="0" y="63"/>
                    </a:lnTo>
                    <a:lnTo>
                      <a:pt x="0" y="56"/>
                    </a:lnTo>
                    <a:lnTo>
                      <a:pt x="0" y="48"/>
                    </a:lnTo>
                    <a:lnTo>
                      <a:pt x="3" y="3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5" name="Freeform 837"/>
              <p:cNvSpPr>
                <a:spLocks/>
              </p:cNvSpPr>
              <p:nvPr/>
            </p:nvSpPr>
            <p:spPr bwMode="auto">
              <a:xfrm>
                <a:off x="3844" y="2303"/>
                <a:ext cx="725" cy="342"/>
              </a:xfrm>
              <a:custGeom>
                <a:avLst/>
                <a:gdLst>
                  <a:gd name="T0" fmla="*/ 668 w 725"/>
                  <a:gd name="T1" fmla="*/ 9 h 342"/>
                  <a:gd name="T2" fmla="*/ 674 w 725"/>
                  <a:gd name="T3" fmla="*/ 11 h 342"/>
                  <a:gd name="T4" fmla="*/ 694 w 725"/>
                  <a:gd name="T5" fmla="*/ 5 h 342"/>
                  <a:gd name="T6" fmla="*/ 720 w 725"/>
                  <a:gd name="T7" fmla="*/ 9 h 342"/>
                  <a:gd name="T8" fmla="*/ 719 w 725"/>
                  <a:gd name="T9" fmla="*/ 19 h 342"/>
                  <a:gd name="T10" fmla="*/ 696 w 725"/>
                  <a:gd name="T11" fmla="*/ 29 h 342"/>
                  <a:gd name="T12" fmla="*/ 685 w 725"/>
                  <a:gd name="T13" fmla="*/ 35 h 342"/>
                  <a:gd name="T14" fmla="*/ 672 w 725"/>
                  <a:gd name="T15" fmla="*/ 53 h 342"/>
                  <a:gd name="T16" fmla="*/ 693 w 725"/>
                  <a:gd name="T17" fmla="*/ 86 h 342"/>
                  <a:gd name="T18" fmla="*/ 708 w 725"/>
                  <a:gd name="T19" fmla="*/ 126 h 342"/>
                  <a:gd name="T20" fmla="*/ 714 w 725"/>
                  <a:gd name="T21" fmla="*/ 154 h 342"/>
                  <a:gd name="T22" fmla="*/ 703 w 725"/>
                  <a:gd name="T23" fmla="*/ 177 h 342"/>
                  <a:gd name="T24" fmla="*/ 630 w 725"/>
                  <a:gd name="T25" fmla="*/ 268 h 342"/>
                  <a:gd name="T26" fmla="*/ 601 w 725"/>
                  <a:gd name="T27" fmla="*/ 280 h 342"/>
                  <a:gd name="T28" fmla="*/ 555 w 725"/>
                  <a:gd name="T29" fmla="*/ 294 h 342"/>
                  <a:gd name="T30" fmla="*/ 539 w 725"/>
                  <a:gd name="T31" fmla="*/ 303 h 342"/>
                  <a:gd name="T32" fmla="*/ 542 w 725"/>
                  <a:gd name="T33" fmla="*/ 334 h 342"/>
                  <a:gd name="T34" fmla="*/ 521 w 725"/>
                  <a:gd name="T35" fmla="*/ 341 h 342"/>
                  <a:gd name="T36" fmla="*/ 521 w 725"/>
                  <a:gd name="T37" fmla="*/ 325 h 342"/>
                  <a:gd name="T38" fmla="*/ 528 w 725"/>
                  <a:gd name="T39" fmla="*/ 301 h 342"/>
                  <a:gd name="T40" fmla="*/ 511 w 725"/>
                  <a:gd name="T41" fmla="*/ 294 h 342"/>
                  <a:gd name="T42" fmla="*/ 503 w 725"/>
                  <a:gd name="T43" fmla="*/ 294 h 342"/>
                  <a:gd name="T44" fmla="*/ 496 w 725"/>
                  <a:gd name="T45" fmla="*/ 299 h 342"/>
                  <a:gd name="T46" fmla="*/ 456 w 725"/>
                  <a:gd name="T47" fmla="*/ 273 h 342"/>
                  <a:gd name="T48" fmla="*/ 433 w 725"/>
                  <a:gd name="T49" fmla="*/ 270 h 342"/>
                  <a:gd name="T50" fmla="*/ 421 w 725"/>
                  <a:gd name="T51" fmla="*/ 272 h 342"/>
                  <a:gd name="T52" fmla="*/ 412 w 725"/>
                  <a:gd name="T53" fmla="*/ 277 h 342"/>
                  <a:gd name="T54" fmla="*/ 405 w 725"/>
                  <a:gd name="T55" fmla="*/ 283 h 342"/>
                  <a:gd name="T56" fmla="*/ 407 w 725"/>
                  <a:gd name="T57" fmla="*/ 287 h 342"/>
                  <a:gd name="T58" fmla="*/ 407 w 725"/>
                  <a:gd name="T59" fmla="*/ 297 h 342"/>
                  <a:gd name="T60" fmla="*/ 403 w 725"/>
                  <a:gd name="T61" fmla="*/ 305 h 342"/>
                  <a:gd name="T62" fmla="*/ 393 w 725"/>
                  <a:gd name="T63" fmla="*/ 308 h 342"/>
                  <a:gd name="T64" fmla="*/ 377 w 725"/>
                  <a:gd name="T65" fmla="*/ 312 h 342"/>
                  <a:gd name="T66" fmla="*/ 379 w 725"/>
                  <a:gd name="T67" fmla="*/ 295 h 342"/>
                  <a:gd name="T68" fmla="*/ 350 w 725"/>
                  <a:gd name="T69" fmla="*/ 284 h 342"/>
                  <a:gd name="T70" fmla="*/ 353 w 725"/>
                  <a:gd name="T71" fmla="*/ 251 h 342"/>
                  <a:gd name="T72" fmla="*/ 364 w 725"/>
                  <a:gd name="T73" fmla="*/ 235 h 342"/>
                  <a:gd name="T74" fmla="*/ 344 w 725"/>
                  <a:gd name="T75" fmla="*/ 196 h 342"/>
                  <a:gd name="T76" fmla="*/ 282 w 725"/>
                  <a:gd name="T77" fmla="*/ 193 h 342"/>
                  <a:gd name="T78" fmla="*/ 250 w 725"/>
                  <a:gd name="T79" fmla="*/ 181 h 342"/>
                  <a:gd name="T80" fmla="*/ 220 w 725"/>
                  <a:gd name="T81" fmla="*/ 187 h 342"/>
                  <a:gd name="T82" fmla="*/ 203 w 725"/>
                  <a:gd name="T83" fmla="*/ 199 h 342"/>
                  <a:gd name="T84" fmla="*/ 203 w 725"/>
                  <a:gd name="T85" fmla="*/ 196 h 342"/>
                  <a:gd name="T86" fmla="*/ 196 w 725"/>
                  <a:gd name="T87" fmla="*/ 193 h 342"/>
                  <a:gd name="T88" fmla="*/ 81 w 725"/>
                  <a:gd name="T89" fmla="*/ 143 h 342"/>
                  <a:gd name="T90" fmla="*/ 93 w 725"/>
                  <a:gd name="T91" fmla="*/ 111 h 342"/>
                  <a:gd name="T92" fmla="*/ 92 w 725"/>
                  <a:gd name="T93" fmla="*/ 81 h 342"/>
                  <a:gd name="T94" fmla="*/ 88 w 725"/>
                  <a:gd name="T95" fmla="*/ 64 h 342"/>
                  <a:gd name="T96" fmla="*/ 68 w 725"/>
                  <a:gd name="T97" fmla="*/ 57 h 342"/>
                  <a:gd name="T98" fmla="*/ 53 w 725"/>
                  <a:gd name="T99" fmla="*/ 52 h 342"/>
                  <a:gd name="T100" fmla="*/ 17 w 725"/>
                  <a:gd name="T101" fmla="*/ 53 h 342"/>
                  <a:gd name="T102" fmla="*/ 6 w 725"/>
                  <a:gd name="T103" fmla="*/ 22 h 342"/>
                  <a:gd name="T104" fmla="*/ 2 w 725"/>
                  <a:gd name="T105" fmla="*/ 4 h 342"/>
                  <a:gd name="T106" fmla="*/ 0 w 725"/>
                  <a:gd name="T107" fmla="*/ 0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5" h="342">
                    <a:moveTo>
                      <a:pt x="656" y="0"/>
                    </a:moveTo>
                    <a:lnTo>
                      <a:pt x="659" y="2"/>
                    </a:lnTo>
                    <a:lnTo>
                      <a:pt x="661" y="5"/>
                    </a:lnTo>
                    <a:lnTo>
                      <a:pt x="664" y="7"/>
                    </a:lnTo>
                    <a:lnTo>
                      <a:pt x="667" y="8"/>
                    </a:lnTo>
                    <a:lnTo>
                      <a:pt x="668" y="9"/>
                    </a:lnTo>
                    <a:lnTo>
                      <a:pt x="670" y="11"/>
                    </a:lnTo>
                    <a:lnTo>
                      <a:pt x="671" y="11"/>
                    </a:lnTo>
                    <a:lnTo>
                      <a:pt x="671" y="11"/>
                    </a:lnTo>
                    <a:lnTo>
                      <a:pt x="671" y="11"/>
                    </a:lnTo>
                    <a:lnTo>
                      <a:pt x="672" y="11"/>
                    </a:lnTo>
                    <a:lnTo>
                      <a:pt x="674" y="11"/>
                    </a:lnTo>
                    <a:lnTo>
                      <a:pt x="676" y="9"/>
                    </a:lnTo>
                    <a:lnTo>
                      <a:pt x="679" y="9"/>
                    </a:lnTo>
                    <a:lnTo>
                      <a:pt x="683" y="8"/>
                    </a:lnTo>
                    <a:lnTo>
                      <a:pt x="686" y="7"/>
                    </a:lnTo>
                    <a:lnTo>
                      <a:pt x="690" y="7"/>
                    </a:lnTo>
                    <a:lnTo>
                      <a:pt x="694" y="5"/>
                    </a:lnTo>
                    <a:lnTo>
                      <a:pt x="698" y="5"/>
                    </a:lnTo>
                    <a:lnTo>
                      <a:pt x="703" y="5"/>
                    </a:lnTo>
                    <a:lnTo>
                      <a:pt x="708" y="5"/>
                    </a:lnTo>
                    <a:lnTo>
                      <a:pt x="712" y="5"/>
                    </a:lnTo>
                    <a:lnTo>
                      <a:pt x="716" y="7"/>
                    </a:lnTo>
                    <a:lnTo>
                      <a:pt x="720" y="9"/>
                    </a:lnTo>
                    <a:lnTo>
                      <a:pt x="723" y="11"/>
                    </a:lnTo>
                    <a:lnTo>
                      <a:pt x="725" y="13"/>
                    </a:lnTo>
                    <a:lnTo>
                      <a:pt x="725" y="15"/>
                    </a:lnTo>
                    <a:lnTo>
                      <a:pt x="723" y="16"/>
                    </a:lnTo>
                    <a:lnTo>
                      <a:pt x="722" y="18"/>
                    </a:lnTo>
                    <a:lnTo>
                      <a:pt x="719" y="19"/>
                    </a:lnTo>
                    <a:lnTo>
                      <a:pt x="716" y="20"/>
                    </a:lnTo>
                    <a:lnTo>
                      <a:pt x="712" y="22"/>
                    </a:lnTo>
                    <a:lnTo>
                      <a:pt x="708" y="23"/>
                    </a:lnTo>
                    <a:lnTo>
                      <a:pt x="704" y="24"/>
                    </a:lnTo>
                    <a:lnTo>
                      <a:pt x="700" y="27"/>
                    </a:lnTo>
                    <a:lnTo>
                      <a:pt x="696" y="29"/>
                    </a:lnTo>
                    <a:lnTo>
                      <a:pt x="693" y="31"/>
                    </a:lnTo>
                    <a:lnTo>
                      <a:pt x="689" y="33"/>
                    </a:lnTo>
                    <a:lnTo>
                      <a:pt x="687" y="34"/>
                    </a:lnTo>
                    <a:lnTo>
                      <a:pt x="686" y="35"/>
                    </a:lnTo>
                    <a:lnTo>
                      <a:pt x="685" y="35"/>
                    </a:lnTo>
                    <a:lnTo>
                      <a:pt x="685" y="35"/>
                    </a:lnTo>
                    <a:lnTo>
                      <a:pt x="682" y="37"/>
                    </a:lnTo>
                    <a:lnTo>
                      <a:pt x="679" y="40"/>
                    </a:lnTo>
                    <a:lnTo>
                      <a:pt x="676" y="42"/>
                    </a:lnTo>
                    <a:lnTo>
                      <a:pt x="674" y="45"/>
                    </a:lnTo>
                    <a:lnTo>
                      <a:pt x="672" y="49"/>
                    </a:lnTo>
                    <a:lnTo>
                      <a:pt x="672" y="53"/>
                    </a:lnTo>
                    <a:lnTo>
                      <a:pt x="675" y="59"/>
                    </a:lnTo>
                    <a:lnTo>
                      <a:pt x="679" y="64"/>
                    </a:lnTo>
                    <a:lnTo>
                      <a:pt x="683" y="70"/>
                    </a:lnTo>
                    <a:lnTo>
                      <a:pt x="687" y="77"/>
                    </a:lnTo>
                    <a:lnTo>
                      <a:pt x="690" y="82"/>
                    </a:lnTo>
                    <a:lnTo>
                      <a:pt x="693" y="86"/>
                    </a:lnTo>
                    <a:lnTo>
                      <a:pt x="694" y="90"/>
                    </a:lnTo>
                    <a:lnTo>
                      <a:pt x="696" y="93"/>
                    </a:lnTo>
                    <a:lnTo>
                      <a:pt x="697" y="95"/>
                    </a:lnTo>
                    <a:lnTo>
                      <a:pt x="707" y="123"/>
                    </a:lnTo>
                    <a:lnTo>
                      <a:pt x="707" y="123"/>
                    </a:lnTo>
                    <a:lnTo>
                      <a:pt x="708" y="126"/>
                    </a:lnTo>
                    <a:lnTo>
                      <a:pt x="709" y="129"/>
                    </a:lnTo>
                    <a:lnTo>
                      <a:pt x="711" y="134"/>
                    </a:lnTo>
                    <a:lnTo>
                      <a:pt x="712" y="139"/>
                    </a:lnTo>
                    <a:lnTo>
                      <a:pt x="714" y="144"/>
                    </a:lnTo>
                    <a:lnTo>
                      <a:pt x="714" y="150"/>
                    </a:lnTo>
                    <a:lnTo>
                      <a:pt x="714" y="154"/>
                    </a:lnTo>
                    <a:lnTo>
                      <a:pt x="712" y="158"/>
                    </a:lnTo>
                    <a:lnTo>
                      <a:pt x="711" y="163"/>
                    </a:lnTo>
                    <a:lnTo>
                      <a:pt x="708" y="167"/>
                    </a:lnTo>
                    <a:lnTo>
                      <a:pt x="707" y="172"/>
                    </a:lnTo>
                    <a:lnTo>
                      <a:pt x="704" y="174"/>
                    </a:lnTo>
                    <a:lnTo>
                      <a:pt x="703" y="177"/>
                    </a:lnTo>
                    <a:lnTo>
                      <a:pt x="703" y="178"/>
                    </a:lnTo>
                    <a:lnTo>
                      <a:pt x="701" y="180"/>
                    </a:lnTo>
                    <a:lnTo>
                      <a:pt x="687" y="203"/>
                    </a:lnTo>
                    <a:lnTo>
                      <a:pt x="675" y="232"/>
                    </a:lnTo>
                    <a:lnTo>
                      <a:pt x="649" y="257"/>
                    </a:lnTo>
                    <a:lnTo>
                      <a:pt x="630" y="268"/>
                    </a:lnTo>
                    <a:lnTo>
                      <a:pt x="626" y="277"/>
                    </a:lnTo>
                    <a:lnTo>
                      <a:pt x="624" y="277"/>
                    </a:lnTo>
                    <a:lnTo>
                      <a:pt x="620" y="279"/>
                    </a:lnTo>
                    <a:lnTo>
                      <a:pt x="615" y="279"/>
                    </a:lnTo>
                    <a:lnTo>
                      <a:pt x="608" y="279"/>
                    </a:lnTo>
                    <a:lnTo>
                      <a:pt x="601" y="280"/>
                    </a:lnTo>
                    <a:lnTo>
                      <a:pt x="592" y="280"/>
                    </a:lnTo>
                    <a:lnTo>
                      <a:pt x="584" y="279"/>
                    </a:lnTo>
                    <a:lnTo>
                      <a:pt x="579" y="277"/>
                    </a:lnTo>
                    <a:lnTo>
                      <a:pt x="569" y="292"/>
                    </a:lnTo>
                    <a:lnTo>
                      <a:pt x="557" y="294"/>
                    </a:lnTo>
                    <a:lnTo>
                      <a:pt x="555" y="294"/>
                    </a:lnTo>
                    <a:lnTo>
                      <a:pt x="553" y="294"/>
                    </a:lnTo>
                    <a:lnTo>
                      <a:pt x="550" y="295"/>
                    </a:lnTo>
                    <a:lnTo>
                      <a:pt x="546" y="295"/>
                    </a:lnTo>
                    <a:lnTo>
                      <a:pt x="543" y="298"/>
                    </a:lnTo>
                    <a:lnTo>
                      <a:pt x="540" y="301"/>
                    </a:lnTo>
                    <a:lnTo>
                      <a:pt x="539" y="303"/>
                    </a:lnTo>
                    <a:lnTo>
                      <a:pt x="540" y="309"/>
                    </a:lnTo>
                    <a:lnTo>
                      <a:pt x="542" y="314"/>
                    </a:lnTo>
                    <a:lnTo>
                      <a:pt x="542" y="319"/>
                    </a:lnTo>
                    <a:lnTo>
                      <a:pt x="542" y="324"/>
                    </a:lnTo>
                    <a:lnTo>
                      <a:pt x="542" y="330"/>
                    </a:lnTo>
                    <a:lnTo>
                      <a:pt x="542" y="334"/>
                    </a:lnTo>
                    <a:lnTo>
                      <a:pt x="540" y="336"/>
                    </a:lnTo>
                    <a:lnTo>
                      <a:pt x="540" y="338"/>
                    </a:lnTo>
                    <a:lnTo>
                      <a:pt x="540" y="339"/>
                    </a:lnTo>
                    <a:lnTo>
                      <a:pt x="524" y="342"/>
                    </a:lnTo>
                    <a:lnTo>
                      <a:pt x="522" y="342"/>
                    </a:lnTo>
                    <a:lnTo>
                      <a:pt x="521" y="341"/>
                    </a:lnTo>
                    <a:lnTo>
                      <a:pt x="520" y="338"/>
                    </a:lnTo>
                    <a:lnTo>
                      <a:pt x="518" y="336"/>
                    </a:lnTo>
                    <a:lnTo>
                      <a:pt x="517" y="334"/>
                    </a:lnTo>
                    <a:lnTo>
                      <a:pt x="517" y="331"/>
                    </a:lnTo>
                    <a:lnTo>
                      <a:pt x="518" y="328"/>
                    </a:lnTo>
                    <a:lnTo>
                      <a:pt x="521" y="325"/>
                    </a:lnTo>
                    <a:lnTo>
                      <a:pt x="524" y="321"/>
                    </a:lnTo>
                    <a:lnTo>
                      <a:pt x="526" y="317"/>
                    </a:lnTo>
                    <a:lnTo>
                      <a:pt x="528" y="313"/>
                    </a:lnTo>
                    <a:lnTo>
                      <a:pt x="529" y="309"/>
                    </a:lnTo>
                    <a:lnTo>
                      <a:pt x="529" y="305"/>
                    </a:lnTo>
                    <a:lnTo>
                      <a:pt x="528" y="301"/>
                    </a:lnTo>
                    <a:lnTo>
                      <a:pt x="525" y="298"/>
                    </a:lnTo>
                    <a:lnTo>
                      <a:pt x="521" y="297"/>
                    </a:lnTo>
                    <a:lnTo>
                      <a:pt x="518" y="297"/>
                    </a:lnTo>
                    <a:lnTo>
                      <a:pt x="515" y="295"/>
                    </a:lnTo>
                    <a:lnTo>
                      <a:pt x="513" y="295"/>
                    </a:lnTo>
                    <a:lnTo>
                      <a:pt x="511" y="294"/>
                    </a:lnTo>
                    <a:lnTo>
                      <a:pt x="510" y="292"/>
                    </a:lnTo>
                    <a:lnTo>
                      <a:pt x="509" y="292"/>
                    </a:lnTo>
                    <a:lnTo>
                      <a:pt x="509" y="292"/>
                    </a:lnTo>
                    <a:lnTo>
                      <a:pt x="509" y="292"/>
                    </a:lnTo>
                    <a:lnTo>
                      <a:pt x="506" y="292"/>
                    </a:lnTo>
                    <a:lnTo>
                      <a:pt x="503" y="294"/>
                    </a:lnTo>
                    <a:lnTo>
                      <a:pt x="500" y="294"/>
                    </a:lnTo>
                    <a:lnTo>
                      <a:pt x="499" y="295"/>
                    </a:lnTo>
                    <a:lnTo>
                      <a:pt x="498" y="297"/>
                    </a:lnTo>
                    <a:lnTo>
                      <a:pt x="498" y="298"/>
                    </a:lnTo>
                    <a:lnTo>
                      <a:pt x="496" y="298"/>
                    </a:lnTo>
                    <a:lnTo>
                      <a:pt x="496" y="299"/>
                    </a:lnTo>
                    <a:lnTo>
                      <a:pt x="493" y="288"/>
                    </a:lnTo>
                    <a:lnTo>
                      <a:pt x="480" y="273"/>
                    </a:lnTo>
                    <a:lnTo>
                      <a:pt x="473" y="270"/>
                    </a:lnTo>
                    <a:lnTo>
                      <a:pt x="469" y="273"/>
                    </a:lnTo>
                    <a:lnTo>
                      <a:pt x="462" y="273"/>
                    </a:lnTo>
                    <a:lnTo>
                      <a:pt x="456" y="273"/>
                    </a:lnTo>
                    <a:lnTo>
                      <a:pt x="449" y="273"/>
                    </a:lnTo>
                    <a:lnTo>
                      <a:pt x="444" y="272"/>
                    </a:lnTo>
                    <a:lnTo>
                      <a:pt x="440" y="270"/>
                    </a:lnTo>
                    <a:lnTo>
                      <a:pt x="437" y="269"/>
                    </a:lnTo>
                    <a:lnTo>
                      <a:pt x="436" y="269"/>
                    </a:lnTo>
                    <a:lnTo>
                      <a:pt x="433" y="270"/>
                    </a:lnTo>
                    <a:lnTo>
                      <a:pt x="430" y="270"/>
                    </a:lnTo>
                    <a:lnTo>
                      <a:pt x="429" y="270"/>
                    </a:lnTo>
                    <a:lnTo>
                      <a:pt x="426" y="272"/>
                    </a:lnTo>
                    <a:lnTo>
                      <a:pt x="423" y="272"/>
                    </a:lnTo>
                    <a:lnTo>
                      <a:pt x="422" y="272"/>
                    </a:lnTo>
                    <a:lnTo>
                      <a:pt x="421" y="272"/>
                    </a:lnTo>
                    <a:lnTo>
                      <a:pt x="419" y="272"/>
                    </a:lnTo>
                    <a:lnTo>
                      <a:pt x="416" y="273"/>
                    </a:lnTo>
                    <a:lnTo>
                      <a:pt x="415" y="273"/>
                    </a:lnTo>
                    <a:lnTo>
                      <a:pt x="414" y="275"/>
                    </a:lnTo>
                    <a:lnTo>
                      <a:pt x="412" y="276"/>
                    </a:lnTo>
                    <a:lnTo>
                      <a:pt x="412" y="277"/>
                    </a:lnTo>
                    <a:lnTo>
                      <a:pt x="412" y="277"/>
                    </a:lnTo>
                    <a:lnTo>
                      <a:pt x="412" y="279"/>
                    </a:lnTo>
                    <a:lnTo>
                      <a:pt x="412" y="279"/>
                    </a:lnTo>
                    <a:lnTo>
                      <a:pt x="410" y="280"/>
                    </a:lnTo>
                    <a:lnTo>
                      <a:pt x="407" y="281"/>
                    </a:lnTo>
                    <a:lnTo>
                      <a:pt x="405" y="283"/>
                    </a:lnTo>
                    <a:lnTo>
                      <a:pt x="405" y="284"/>
                    </a:lnTo>
                    <a:lnTo>
                      <a:pt x="405" y="286"/>
                    </a:lnTo>
                    <a:lnTo>
                      <a:pt x="405" y="286"/>
                    </a:lnTo>
                    <a:lnTo>
                      <a:pt x="405" y="287"/>
                    </a:lnTo>
                    <a:lnTo>
                      <a:pt x="407" y="287"/>
                    </a:lnTo>
                    <a:lnTo>
                      <a:pt x="407" y="287"/>
                    </a:lnTo>
                    <a:lnTo>
                      <a:pt x="407" y="287"/>
                    </a:lnTo>
                    <a:lnTo>
                      <a:pt x="407" y="288"/>
                    </a:lnTo>
                    <a:lnTo>
                      <a:pt x="407" y="290"/>
                    </a:lnTo>
                    <a:lnTo>
                      <a:pt x="407" y="291"/>
                    </a:lnTo>
                    <a:lnTo>
                      <a:pt x="407" y="294"/>
                    </a:lnTo>
                    <a:lnTo>
                      <a:pt x="407" y="297"/>
                    </a:lnTo>
                    <a:lnTo>
                      <a:pt x="407" y="299"/>
                    </a:lnTo>
                    <a:lnTo>
                      <a:pt x="407" y="302"/>
                    </a:lnTo>
                    <a:lnTo>
                      <a:pt x="405" y="303"/>
                    </a:lnTo>
                    <a:lnTo>
                      <a:pt x="405" y="305"/>
                    </a:lnTo>
                    <a:lnTo>
                      <a:pt x="404" y="305"/>
                    </a:lnTo>
                    <a:lnTo>
                      <a:pt x="403" y="305"/>
                    </a:lnTo>
                    <a:lnTo>
                      <a:pt x="401" y="305"/>
                    </a:lnTo>
                    <a:lnTo>
                      <a:pt x="401" y="305"/>
                    </a:lnTo>
                    <a:lnTo>
                      <a:pt x="401" y="305"/>
                    </a:lnTo>
                    <a:lnTo>
                      <a:pt x="400" y="305"/>
                    </a:lnTo>
                    <a:lnTo>
                      <a:pt x="397" y="306"/>
                    </a:lnTo>
                    <a:lnTo>
                      <a:pt x="393" y="308"/>
                    </a:lnTo>
                    <a:lnTo>
                      <a:pt x="389" y="308"/>
                    </a:lnTo>
                    <a:lnTo>
                      <a:pt x="385" y="309"/>
                    </a:lnTo>
                    <a:lnTo>
                      <a:pt x="381" y="310"/>
                    </a:lnTo>
                    <a:lnTo>
                      <a:pt x="378" y="312"/>
                    </a:lnTo>
                    <a:lnTo>
                      <a:pt x="377" y="312"/>
                    </a:lnTo>
                    <a:lnTo>
                      <a:pt x="377" y="312"/>
                    </a:lnTo>
                    <a:lnTo>
                      <a:pt x="377" y="309"/>
                    </a:lnTo>
                    <a:lnTo>
                      <a:pt x="377" y="306"/>
                    </a:lnTo>
                    <a:lnTo>
                      <a:pt x="378" y="303"/>
                    </a:lnTo>
                    <a:lnTo>
                      <a:pt x="379" y="299"/>
                    </a:lnTo>
                    <a:lnTo>
                      <a:pt x="379" y="297"/>
                    </a:lnTo>
                    <a:lnTo>
                      <a:pt x="379" y="295"/>
                    </a:lnTo>
                    <a:lnTo>
                      <a:pt x="381" y="294"/>
                    </a:lnTo>
                    <a:lnTo>
                      <a:pt x="370" y="288"/>
                    </a:lnTo>
                    <a:lnTo>
                      <a:pt x="363" y="290"/>
                    </a:lnTo>
                    <a:lnTo>
                      <a:pt x="357" y="288"/>
                    </a:lnTo>
                    <a:lnTo>
                      <a:pt x="353" y="287"/>
                    </a:lnTo>
                    <a:lnTo>
                      <a:pt x="350" y="284"/>
                    </a:lnTo>
                    <a:lnTo>
                      <a:pt x="349" y="281"/>
                    </a:lnTo>
                    <a:lnTo>
                      <a:pt x="349" y="279"/>
                    </a:lnTo>
                    <a:lnTo>
                      <a:pt x="349" y="277"/>
                    </a:lnTo>
                    <a:lnTo>
                      <a:pt x="349" y="276"/>
                    </a:lnTo>
                    <a:lnTo>
                      <a:pt x="350" y="262"/>
                    </a:lnTo>
                    <a:lnTo>
                      <a:pt x="353" y="251"/>
                    </a:lnTo>
                    <a:lnTo>
                      <a:pt x="356" y="244"/>
                    </a:lnTo>
                    <a:lnTo>
                      <a:pt x="357" y="239"/>
                    </a:lnTo>
                    <a:lnTo>
                      <a:pt x="360" y="236"/>
                    </a:lnTo>
                    <a:lnTo>
                      <a:pt x="361" y="235"/>
                    </a:lnTo>
                    <a:lnTo>
                      <a:pt x="363" y="235"/>
                    </a:lnTo>
                    <a:lnTo>
                      <a:pt x="364" y="235"/>
                    </a:lnTo>
                    <a:lnTo>
                      <a:pt x="361" y="225"/>
                    </a:lnTo>
                    <a:lnTo>
                      <a:pt x="359" y="217"/>
                    </a:lnTo>
                    <a:lnTo>
                      <a:pt x="355" y="210"/>
                    </a:lnTo>
                    <a:lnTo>
                      <a:pt x="350" y="204"/>
                    </a:lnTo>
                    <a:lnTo>
                      <a:pt x="346" y="200"/>
                    </a:lnTo>
                    <a:lnTo>
                      <a:pt x="344" y="196"/>
                    </a:lnTo>
                    <a:lnTo>
                      <a:pt x="341" y="195"/>
                    </a:lnTo>
                    <a:lnTo>
                      <a:pt x="339" y="193"/>
                    </a:lnTo>
                    <a:lnTo>
                      <a:pt x="339" y="192"/>
                    </a:lnTo>
                    <a:lnTo>
                      <a:pt x="337" y="191"/>
                    </a:lnTo>
                    <a:lnTo>
                      <a:pt x="297" y="196"/>
                    </a:lnTo>
                    <a:lnTo>
                      <a:pt x="282" y="193"/>
                    </a:lnTo>
                    <a:lnTo>
                      <a:pt x="277" y="188"/>
                    </a:lnTo>
                    <a:lnTo>
                      <a:pt x="275" y="187"/>
                    </a:lnTo>
                    <a:lnTo>
                      <a:pt x="271" y="185"/>
                    </a:lnTo>
                    <a:lnTo>
                      <a:pt x="264" y="184"/>
                    </a:lnTo>
                    <a:lnTo>
                      <a:pt x="257" y="183"/>
                    </a:lnTo>
                    <a:lnTo>
                      <a:pt x="250" y="181"/>
                    </a:lnTo>
                    <a:lnTo>
                      <a:pt x="244" y="181"/>
                    </a:lnTo>
                    <a:lnTo>
                      <a:pt x="242" y="181"/>
                    </a:lnTo>
                    <a:lnTo>
                      <a:pt x="239" y="181"/>
                    </a:lnTo>
                    <a:lnTo>
                      <a:pt x="232" y="183"/>
                    </a:lnTo>
                    <a:lnTo>
                      <a:pt x="225" y="184"/>
                    </a:lnTo>
                    <a:lnTo>
                      <a:pt x="220" y="187"/>
                    </a:lnTo>
                    <a:lnTo>
                      <a:pt x="214" y="189"/>
                    </a:lnTo>
                    <a:lnTo>
                      <a:pt x="210" y="192"/>
                    </a:lnTo>
                    <a:lnTo>
                      <a:pt x="207" y="195"/>
                    </a:lnTo>
                    <a:lnTo>
                      <a:pt x="206" y="198"/>
                    </a:lnTo>
                    <a:lnTo>
                      <a:pt x="205" y="198"/>
                    </a:lnTo>
                    <a:lnTo>
                      <a:pt x="203" y="199"/>
                    </a:lnTo>
                    <a:lnTo>
                      <a:pt x="203" y="199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8"/>
                    </a:lnTo>
                    <a:lnTo>
                      <a:pt x="203" y="196"/>
                    </a:lnTo>
                    <a:lnTo>
                      <a:pt x="203" y="196"/>
                    </a:lnTo>
                    <a:lnTo>
                      <a:pt x="202" y="195"/>
                    </a:lnTo>
                    <a:lnTo>
                      <a:pt x="200" y="193"/>
                    </a:lnTo>
                    <a:lnTo>
                      <a:pt x="199" y="192"/>
                    </a:lnTo>
                    <a:lnTo>
                      <a:pt x="198" y="193"/>
                    </a:lnTo>
                    <a:lnTo>
                      <a:pt x="196" y="193"/>
                    </a:lnTo>
                    <a:lnTo>
                      <a:pt x="195" y="195"/>
                    </a:lnTo>
                    <a:lnTo>
                      <a:pt x="194" y="195"/>
                    </a:lnTo>
                    <a:lnTo>
                      <a:pt x="194" y="195"/>
                    </a:lnTo>
                    <a:lnTo>
                      <a:pt x="118" y="180"/>
                    </a:lnTo>
                    <a:lnTo>
                      <a:pt x="86" y="154"/>
                    </a:lnTo>
                    <a:lnTo>
                      <a:pt x="81" y="143"/>
                    </a:lnTo>
                    <a:lnTo>
                      <a:pt x="79" y="133"/>
                    </a:lnTo>
                    <a:lnTo>
                      <a:pt x="81" y="126"/>
                    </a:lnTo>
                    <a:lnTo>
                      <a:pt x="82" y="119"/>
                    </a:lnTo>
                    <a:lnTo>
                      <a:pt x="86" y="115"/>
                    </a:lnTo>
                    <a:lnTo>
                      <a:pt x="90" y="112"/>
                    </a:lnTo>
                    <a:lnTo>
                      <a:pt x="93" y="111"/>
                    </a:lnTo>
                    <a:lnTo>
                      <a:pt x="93" y="110"/>
                    </a:lnTo>
                    <a:lnTo>
                      <a:pt x="88" y="96"/>
                    </a:lnTo>
                    <a:lnTo>
                      <a:pt x="95" y="89"/>
                    </a:lnTo>
                    <a:lnTo>
                      <a:pt x="93" y="86"/>
                    </a:lnTo>
                    <a:lnTo>
                      <a:pt x="92" y="85"/>
                    </a:lnTo>
                    <a:lnTo>
                      <a:pt x="92" y="81"/>
                    </a:lnTo>
                    <a:lnTo>
                      <a:pt x="90" y="78"/>
                    </a:lnTo>
                    <a:lnTo>
                      <a:pt x="90" y="75"/>
                    </a:lnTo>
                    <a:lnTo>
                      <a:pt x="90" y="73"/>
                    </a:lnTo>
                    <a:lnTo>
                      <a:pt x="89" y="71"/>
                    </a:lnTo>
                    <a:lnTo>
                      <a:pt x="89" y="71"/>
                    </a:lnTo>
                    <a:lnTo>
                      <a:pt x="88" y="64"/>
                    </a:lnTo>
                    <a:lnTo>
                      <a:pt x="86" y="63"/>
                    </a:lnTo>
                    <a:lnTo>
                      <a:pt x="84" y="62"/>
                    </a:lnTo>
                    <a:lnTo>
                      <a:pt x="79" y="62"/>
                    </a:lnTo>
                    <a:lnTo>
                      <a:pt x="77" y="60"/>
                    </a:lnTo>
                    <a:lnTo>
                      <a:pt x="73" y="59"/>
                    </a:lnTo>
                    <a:lnTo>
                      <a:pt x="68" y="57"/>
                    </a:lnTo>
                    <a:lnTo>
                      <a:pt x="64" y="57"/>
                    </a:lnTo>
                    <a:lnTo>
                      <a:pt x="62" y="56"/>
                    </a:lnTo>
                    <a:lnTo>
                      <a:pt x="59" y="55"/>
                    </a:lnTo>
                    <a:lnTo>
                      <a:pt x="57" y="55"/>
                    </a:lnTo>
                    <a:lnTo>
                      <a:pt x="55" y="53"/>
                    </a:lnTo>
                    <a:lnTo>
                      <a:pt x="53" y="52"/>
                    </a:lnTo>
                    <a:lnTo>
                      <a:pt x="53" y="52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41" y="52"/>
                    </a:lnTo>
                    <a:lnTo>
                      <a:pt x="17" y="53"/>
                    </a:lnTo>
                    <a:lnTo>
                      <a:pt x="15" y="33"/>
                    </a:lnTo>
                    <a:lnTo>
                      <a:pt x="13" y="31"/>
                    </a:lnTo>
                    <a:lnTo>
                      <a:pt x="13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2"/>
                    </a:lnTo>
                    <a:lnTo>
                      <a:pt x="4" y="18"/>
                    </a:lnTo>
                    <a:lnTo>
                      <a:pt x="2" y="13"/>
                    </a:lnTo>
                    <a:lnTo>
                      <a:pt x="1" y="9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65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6" name="Freeform 838"/>
              <p:cNvSpPr>
                <a:spLocks/>
              </p:cNvSpPr>
              <p:nvPr/>
            </p:nvSpPr>
            <p:spPr bwMode="auto">
              <a:xfrm>
                <a:off x="3826" y="1962"/>
                <a:ext cx="941" cy="341"/>
              </a:xfrm>
              <a:custGeom>
                <a:avLst/>
                <a:gdLst>
                  <a:gd name="T0" fmla="*/ 238 w 941"/>
                  <a:gd name="T1" fmla="*/ 147 h 341"/>
                  <a:gd name="T2" fmla="*/ 298 w 941"/>
                  <a:gd name="T3" fmla="*/ 185 h 341"/>
                  <a:gd name="T4" fmla="*/ 320 w 941"/>
                  <a:gd name="T5" fmla="*/ 233 h 341"/>
                  <a:gd name="T6" fmla="*/ 338 w 941"/>
                  <a:gd name="T7" fmla="*/ 257 h 341"/>
                  <a:gd name="T8" fmla="*/ 417 w 941"/>
                  <a:gd name="T9" fmla="*/ 255 h 341"/>
                  <a:gd name="T10" fmla="*/ 462 w 941"/>
                  <a:gd name="T11" fmla="*/ 271 h 341"/>
                  <a:gd name="T12" fmla="*/ 514 w 941"/>
                  <a:gd name="T13" fmla="*/ 247 h 341"/>
                  <a:gd name="T14" fmla="*/ 617 w 941"/>
                  <a:gd name="T15" fmla="*/ 224 h 341"/>
                  <a:gd name="T16" fmla="*/ 655 w 941"/>
                  <a:gd name="T17" fmla="*/ 199 h 341"/>
                  <a:gd name="T18" fmla="*/ 670 w 941"/>
                  <a:gd name="T19" fmla="*/ 176 h 341"/>
                  <a:gd name="T20" fmla="*/ 707 w 941"/>
                  <a:gd name="T21" fmla="*/ 168 h 341"/>
                  <a:gd name="T22" fmla="*/ 726 w 941"/>
                  <a:gd name="T23" fmla="*/ 146 h 341"/>
                  <a:gd name="T24" fmla="*/ 703 w 941"/>
                  <a:gd name="T25" fmla="*/ 136 h 341"/>
                  <a:gd name="T26" fmla="*/ 703 w 941"/>
                  <a:gd name="T27" fmla="*/ 40 h 341"/>
                  <a:gd name="T28" fmla="*/ 744 w 941"/>
                  <a:gd name="T29" fmla="*/ 0 h 341"/>
                  <a:gd name="T30" fmla="*/ 791 w 941"/>
                  <a:gd name="T31" fmla="*/ 25 h 341"/>
                  <a:gd name="T32" fmla="*/ 802 w 941"/>
                  <a:gd name="T33" fmla="*/ 52 h 341"/>
                  <a:gd name="T34" fmla="*/ 832 w 941"/>
                  <a:gd name="T35" fmla="*/ 93 h 341"/>
                  <a:gd name="T36" fmla="*/ 857 w 941"/>
                  <a:gd name="T37" fmla="*/ 108 h 341"/>
                  <a:gd name="T38" fmla="*/ 877 w 941"/>
                  <a:gd name="T39" fmla="*/ 133 h 341"/>
                  <a:gd name="T40" fmla="*/ 909 w 941"/>
                  <a:gd name="T41" fmla="*/ 118 h 341"/>
                  <a:gd name="T42" fmla="*/ 939 w 941"/>
                  <a:gd name="T43" fmla="*/ 93 h 341"/>
                  <a:gd name="T44" fmla="*/ 934 w 941"/>
                  <a:gd name="T45" fmla="*/ 125 h 341"/>
                  <a:gd name="T46" fmla="*/ 908 w 941"/>
                  <a:gd name="T47" fmla="*/ 172 h 341"/>
                  <a:gd name="T48" fmla="*/ 829 w 941"/>
                  <a:gd name="T49" fmla="*/ 250 h 341"/>
                  <a:gd name="T50" fmla="*/ 793 w 941"/>
                  <a:gd name="T51" fmla="*/ 258 h 341"/>
                  <a:gd name="T52" fmla="*/ 777 w 941"/>
                  <a:gd name="T53" fmla="*/ 257 h 341"/>
                  <a:gd name="T54" fmla="*/ 769 w 941"/>
                  <a:gd name="T55" fmla="*/ 277 h 341"/>
                  <a:gd name="T56" fmla="*/ 752 w 941"/>
                  <a:gd name="T57" fmla="*/ 286 h 341"/>
                  <a:gd name="T58" fmla="*/ 740 w 941"/>
                  <a:gd name="T59" fmla="*/ 319 h 341"/>
                  <a:gd name="T60" fmla="*/ 719 w 941"/>
                  <a:gd name="T61" fmla="*/ 328 h 341"/>
                  <a:gd name="T62" fmla="*/ 719 w 941"/>
                  <a:gd name="T63" fmla="*/ 312 h 341"/>
                  <a:gd name="T64" fmla="*/ 716 w 941"/>
                  <a:gd name="T65" fmla="*/ 299 h 341"/>
                  <a:gd name="T66" fmla="*/ 683 w 941"/>
                  <a:gd name="T67" fmla="*/ 316 h 341"/>
                  <a:gd name="T68" fmla="*/ 660 w 941"/>
                  <a:gd name="T69" fmla="*/ 315 h 341"/>
                  <a:gd name="T70" fmla="*/ 655 w 941"/>
                  <a:gd name="T71" fmla="*/ 324 h 341"/>
                  <a:gd name="T72" fmla="*/ 668 w 941"/>
                  <a:gd name="T73" fmla="*/ 338 h 341"/>
                  <a:gd name="T74" fmla="*/ 16 w 941"/>
                  <a:gd name="T75" fmla="*/ 339 h 341"/>
                  <a:gd name="T76" fmla="*/ 7 w 941"/>
                  <a:gd name="T77" fmla="*/ 334 h 341"/>
                  <a:gd name="T78" fmla="*/ 0 w 941"/>
                  <a:gd name="T79" fmla="*/ 323 h 341"/>
                  <a:gd name="T80" fmla="*/ 22 w 941"/>
                  <a:gd name="T81" fmla="*/ 299 h 341"/>
                  <a:gd name="T82" fmla="*/ 53 w 941"/>
                  <a:gd name="T83" fmla="*/ 288 h 341"/>
                  <a:gd name="T84" fmla="*/ 77 w 941"/>
                  <a:gd name="T85" fmla="*/ 284 h 341"/>
                  <a:gd name="T86" fmla="*/ 99 w 941"/>
                  <a:gd name="T87" fmla="*/ 255 h 341"/>
                  <a:gd name="T88" fmla="*/ 95 w 941"/>
                  <a:gd name="T89" fmla="*/ 238 h 341"/>
                  <a:gd name="T90" fmla="*/ 92 w 941"/>
                  <a:gd name="T91" fmla="*/ 220 h 341"/>
                  <a:gd name="T92" fmla="*/ 104 w 941"/>
                  <a:gd name="T93" fmla="*/ 216 h 341"/>
                  <a:gd name="T94" fmla="*/ 107 w 941"/>
                  <a:gd name="T95" fmla="*/ 209 h 341"/>
                  <a:gd name="T96" fmla="*/ 115 w 941"/>
                  <a:gd name="T97" fmla="*/ 203 h 341"/>
                  <a:gd name="T98" fmla="*/ 135 w 941"/>
                  <a:gd name="T99" fmla="*/ 188 h 341"/>
                  <a:gd name="T100" fmla="*/ 144 w 941"/>
                  <a:gd name="T101" fmla="*/ 161 h 341"/>
                  <a:gd name="T102" fmla="*/ 168 w 941"/>
                  <a:gd name="T103" fmla="*/ 154 h 341"/>
                  <a:gd name="T104" fmla="*/ 180 w 941"/>
                  <a:gd name="T105" fmla="*/ 135 h 341"/>
                  <a:gd name="T106" fmla="*/ 207 w 941"/>
                  <a:gd name="T107" fmla="*/ 119 h 341"/>
                  <a:gd name="T108" fmla="*/ 214 w 941"/>
                  <a:gd name="T109" fmla="*/ 106 h 341"/>
                  <a:gd name="T110" fmla="*/ 227 w 941"/>
                  <a:gd name="T111" fmla="*/ 91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41" h="341">
                    <a:moveTo>
                      <a:pt x="232" y="102"/>
                    </a:moveTo>
                    <a:lnTo>
                      <a:pt x="229" y="111"/>
                    </a:lnTo>
                    <a:lnTo>
                      <a:pt x="228" y="119"/>
                    </a:lnTo>
                    <a:lnTo>
                      <a:pt x="229" y="126"/>
                    </a:lnTo>
                    <a:lnTo>
                      <a:pt x="231" y="133"/>
                    </a:lnTo>
                    <a:lnTo>
                      <a:pt x="234" y="140"/>
                    </a:lnTo>
                    <a:lnTo>
                      <a:pt x="238" y="147"/>
                    </a:lnTo>
                    <a:lnTo>
                      <a:pt x="243" y="152"/>
                    </a:lnTo>
                    <a:lnTo>
                      <a:pt x="249" y="157"/>
                    </a:lnTo>
                    <a:lnTo>
                      <a:pt x="260" y="166"/>
                    </a:lnTo>
                    <a:lnTo>
                      <a:pt x="272" y="173"/>
                    </a:lnTo>
                    <a:lnTo>
                      <a:pt x="284" y="179"/>
                    </a:lnTo>
                    <a:lnTo>
                      <a:pt x="294" y="183"/>
                    </a:lnTo>
                    <a:lnTo>
                      <a:pt x="298" y="185"/>
                    </a:lnTo>
                    <a:lnTo>
                      <a:pt x="302" y="188"/>
                    </a:lnTo>
                    <a:lnTo>
                      <a:pt x="306" y="192"/>
                    </a:lnTo>
                    <a:lnTo>
                      <a:pt x="309" y="196"/>
                    </a:lnTo>
                    <a:lnTo>
                      <a:pt x="313" y="206"/>
                    </a:lnTo>
                    <a:lnTo>
                      <a:pt x="316" y="216"/>
                    </a:lnTo>
                    <a:lnTo>
                      <a:pt x="319" y="225"/>
                    </a:lnTo>
                    <a:lnTo>
                      <a:pt x="320" y="233"/>
                    </a:lnTo>
                    <a:lnTo>
                      <a:pt x="320" y="239"/>
                    </a:lnTo>
                    <a:lnTo>
                      <a:pt x="320" y="240"/>
                    </a:lnTo>
                    <a:lnTo>
                      <a:pt x="320" y="244"/>
                    </a:lnTo>
                    <a:lnTo>
                      <a:pt x="322" y="249"/>
                    </a:lnTo>
                    <a:lnTo>
                      <a:pt x="324" y="251"/>
                    </a:lnTo>
                    <a:lnTo>
                      <a:pt x="328" y="253"/>
                    </a:lnTo>
                    <a:lnTo>
                      <a:pt x="338" y="257"/>
                    </a:lnTo>
                    <a:lnTo>
                      <a:pt x="351" y="258"/>
                    </a:lnTo>
                    <a:lnTo>
                      <a:pt x="363" y="258"/>
                    </a:lnTo>
                    <a:lnTo>
                      <a:pt x="378" y="258"/>
                    </a:lnTo>
                    <a:lnTo>
                      <a:pt x="390" y="257"/>
                    </a:lnTo>
                    <a:lnTo>
                      <a:pt x="403" y="255"/>
                    </a:lnTo>
                    <a:lnTo>
                      <a:pt x="411" y="254"/>
                    </a:lnTo>
                    <a:lnTo>
                      <a:pt x="417" y="255"/>
                    </a:lnTo>
                    <a:lnTo>
                      <a:pt x="422" y="257"/>
                    </a:lnTo>
                    <a:lnTo>
                      <a:pt x="426" y="261"/>
                    </a:lnTo>
                    <a:lnTo>
                      <a:pt x="432" y="264"/>
                    </a:lnTo>
                    <a:lnTo>
                      <a:pt x="437" y="266"/>
                    </a:lnTo>
                    <a:lnTo>
                      <a:pt x="443" y="269"/>
                    </a:lnTo>
                    <a:lnTo>
                      <a:pt x="451" y="272"/>
                    </a:lnTo>
                    <a:lnTo>
                      <a:pt x="462" y="271"/>
                    </a:lnTo>
                    <a:lnTo>
                      <a:pt x="472" y="269"/>
                    </a:lnTo>
                    <a:lnTo>
                      <a:pt x="481" y="265"/>
                    </a:lnTo>
                    <a:lnTo>
                      <a:pt x="489" y="261"/>
                    </a:lnTo>
                    <a:lnTo>
                      <a:pt x="498" y="257"/>
                    </a:lnTo>
                    <a:lnTo>
                      <a:pt x="505" y="253"/>
                    </a:lnTo>
                    <a:lnTo>
                      <a:pt x="510" y="249"/>
                    </a:lnTo>
                    <a:lnTo>
                      <a:pt x="514" y="247"/>
                    </a:lnTo>
                    <a:lnTo>
                      <a:pt x="520" y="246"/>
                    </a:lnTo>
                    <a:lnTo>
                      <a:pt x="531" y="243"/>
                    </a:lnTo>
                    <a:lnTo>
                      <a:pt x="546" y="240"/>
                    </a:lnTo>
                    <a:lnTo>
                      <a:pt x="564" y="236"/>
                    </a:lnTo>
                    <a:lnTo>
                      <a:pt x="582" y="232"/>
                    </a:lnTo>
                    <a:lnTo>
                      <a:pt x="599" y="228"/>
                    </a:lnTo>
                    <a:lnTo>
                      <a:pt x="617" y="224"/>
                    </a:lnTo>
                    <a:lnTo>
                      <a:pt x="630" y="221"/>
                    </a:lnTo>
                    <a:lnTo>
                      <a:pt x="635" y="220"/>
                    </a:lnTo>
                    <a:lnTo>
                      <a:pt x="641" y="218"/>
                    </a:lnTo>
                    <a:lnTo>
                      <a:pt x="645" y="216"/>
                    </a:lnTo>
                    <a:lnTo>
                      <a:pt x="648" y="213"/>
                    </a:lnTo>
                    <a:lnTo>
                      <a:pt x="652" y="206"/>
                    </a:lnTo>
                    <a:lnTo>
                      <a:pt x="655" y="199"/>
                    </a:lnTo>
                    <a:lnTo>
                      <a:pt x="656" y="194"/>
                    </a:lnTo>
                    <a:lnTo>
                      <a:pt x="657" y="188"/>
                    </a:lnTo>
                    <a:lnTo>
                      <a:pt x="656" y="184"/>
                    </a:lnTo>
                    <a:lnTo>
                      <a:pt x="656" y="183"/>
                    </a:lnTo>
                    <a:lnTo>
                      <a:pt x="661" y="180"/>
                    </a:lnTo>
                    <a:lnTo>
                      <a:pt x="666" y="179"/>
                    </a:lnTo>
                    <a:lnTo>
                      <a:pt x="670" y="176"/>
                    </a:lnTo>
                    <a:lnTo>
                      <a:pt x="675" y="173"/>
                    </a:lnTo>
                    <a:lnTo>
                      <a:pt x="679" y="172"/>
                    </a:lnTo>
                    <a:lnTo>
                      <a:pt x="685" y="170"/>
                    </a:lnTo>
                    <a:lnTo>
                      <a:pt x="689" y="170"/>
                    </a:lnTo>
                    <a:lnTo>
                      <a:pt x="694" y="169"/>
                    </a:lnTo>
                    <a:lnTo>
                      <a:pt x="700" y="169"/>
                    </a:lnTo>
                    <a:lnTo>
                      <a:pt x="707" y="168"/>
                    </a:lnTo>
                    <a:lnTo>
                      <a:pt x="712" y="166"/>
                    </a:lnTo>
                    <a:lnTo>
                      <a:pt x="718" y="163"/>
                    </a:lnTo>
                    <a:lnTo>
                      <a:pt x="722" y="161"/>
                    </a:lnTo>
                    <a:lnTo>
                      <a:pt x="726" y="158"/>
                    </a:lnTo>
                    <a:lnTo>
                      <a:pt x="727" y="154"/>
                    </a:lnTo>
                    <a:lnTo>
                      <a:pt x="727" y="150"/>
                    </a:lnTo>
                    <a:lnTo>
                      <a:pt x="726" y="146"/>
                    </a:lnTo>
                    <a:lnTo>
                      <a:pt x="722" y="143"/>
                    </a:lnTo>
                    <a:lnTo>
                      <a:pt x="718" y="140"/>
                    </a:lnTo>
                    <a:lnTo>
                      <a:pt x="714" y="139"/>
                    </a:lnTo>
                    <a:lnTo>
                      <a:pt x="710" y="137"/>
                    </a:lnTo>
                    <a:lnTo>
                      <a:pt x="707" y="136"/>
                    </a:lnTo>
                    <a:lnTo>
                      <a:pt x="704" y="136"/>
                    </a:lnTo>
                    <a:lnTo>
                      <a:pt x="703" y="136"/>
                    </a:lnTo>
                    <a:lnTo>
                      <a:pt x="670" y="136"/>
                    </a:lnTo>
                    <a:lnTo>
                      <a:pt x="677" y="91"/>
                    </a:lnTo>
                    <a:lnTo>
                      <a:pt x="700" y="71"/>
                    </a:lnTo>
                    <a:lnTo>
                      <a:pt x="700" y="69"/>
                    </a:lnTo>
                    <a:lnTo>
                      <a:pt x="700" y="62"/>
                    </a:lnTo>
                    <a:lnTo>
                      <a:pt x="701" y="52"/>
                    </a:lnTo>
                    <a:lnTo>
                      <a:pt x="703" y="40"/>
                    </a:lnTo>
                    <a:lnTo>
                      <a:pt x="705" y="27"/>
                    </a:lnTo>
                    <a:lnTo>
                      <a:pt x="711" y="16"/>
                    </a:lnTo>
                    <a:lnTo>
                      <a:pt x="715" y="11"/>
                    </a:lnTo>
                    <a:lnTo>
                      <a:pt x="719" y="7"/>
                    </a:lnTo>
                    <a:lnTo>
                      <a:pt x="725" y="4"/>
                    </a:lnTo>
                    <a:lnTo>
                      <a:pt x="732" y="3"/>
                    </a:lnTo>
                    <a:lnTo>
                      <a:pt x="744" y="0"/>
                    </a:lnTo>
                    <a:lnTo>
                      <a:pt x="755" y="0"/>
                    </a:lnTo>
                    <a:lnTo>
                      <a:pt x="765" y="0"/>
                    </a:lnTo>
                    <a:lnTo>
                      <a:pt x="771" y="3"/>
                    </a:lnTo>
                    <a:lnTo>
                      <a:pt x="778" y="5"/>
                    </a:lnTo>
                    <a:lnTo>
                      <a:pt x="784" y="11"/>
                    </a:lnTo>
                    <a:lnTo>
                      <a:pt x="788" y="16"/>
                    </a:lnTo>
                    <a:lnTo>
                      <a:pt x="791" y="25"/>
                    </a:lnTo>
                    <a:lnTo>
                      <a:pt x="791" y="25"/>
                    </a:lnTo>
                    <a:lnTo>
                      <a:pt x="792" y="27"/>
                    </a:lnTo>
                    <a:lnTo>
                      <a:pt x="793" y="30"/>
                    </a:lnTo>
                    <a:lnTo>
                      <a:pt x="796" y="34"/>
                    </a:lnTo>
                    <a:lnTo>
                      <a:pt x="798" y="40"/>
                    </a:lnTo>
                    <a:lnTo>
                      <a:pt x="800" y="47"/>
                    </a:lnTo>
                    <a:lnTo>
                      <a:pt x="802" y="52"/>
                    </a:lnTo>
                    <a:lnTo>
                      <a:pt x="803" y="60"/>
                    </a:lnTo>
                    <a:lnTo>
                      <a:pt x="804" y="60"/>
                    </a:lnTo>
                    <a:lnTo>
                      <a:pt x="809" y="64"/>
                    </a:lnTo>
                    <a:lnTo>
                      <a:pt x="814" y="70"/>
                    </a:lnTo>
                    <a:lnTo>
                      <a:pt x="821" y="77"/>
                    </a:lnTo>
                    <a:lnTo>
                      <a:pt x="826" y="84"/>
                    </a:lnTo>
                    <a:lnTo>
                      <a:pt x="832" y="93"/>
                    </a:lnTo>
                    <a:lnTo>
                      <a:pt x="835" y="102"/>
                    </a:lnTo>
                    <a:lnTo>
                      <a:pt x="836" y="110"/>
                    </a:lnTo>
                    <a:lnTo>
                      <a:pt x="837" y="110"/>
                    </a:lnTo>
                    <a:lnTo>
                      <a:pt x="840" y="108"/>
                    </a:lnTo>
                    <a:lnTo>
                      <a:pt x="844" y="107"/>
                    </a:lnTo>
                    <a:lnTo>
                      <a:pt x="850" y="107"/>
                    </a:lnTo>
                    <a:lnTo>
                      <a:pt x="857" y="108"/>
                    </a:lnTo>
                    <a:lnTo>
                      <a:pt x="862" y="111"/>
                    </a:lnTo>
                    <a:lnTo>
                      <a:pt x="868" y="115"/>
                    </a:lnTo>
                    <a:lnTo>
                      <a:pt x="872" y="124"/>
                    </a:lnTo>
                    <a:lnTo>
                      <a:pt x="872" y="125"/>
                    </a:lnTo>
                    <a:lnTo>
                      <a:pt x="873" y="128"/>
                    </a:lnTo>
                    <a:lnTo>
                      <a:pt x="875" y="130"/>
                    </a:lnTo>
                    <a:lnTo>
                      <a:pt x="877" y="133"/>
                    </a:lnTo>
                    <a:lnTo>
                      <a:pt x="881" y="136"/>
                    </a:lnTo>
                    <a:lnTo>
                      <a:pt x="887" y="136"/>
                    </a:lnTo>
                    <a:lnTo>
                      <a:pt x="894" y="135"/>
                    </a:lnTo>
                    <a:lnTo>
                      <a:pt x="902" y="129"/>
                    </a:lnTo>
                    <a:lnTo>
                      <a:pt x="903" y="128"/>
                    </a:lnTo>
                    <a:lnTo>
                      <a:pt x="906" y="124"/>
                    </a:lnTo>
                    <a:lnTo>
                      <a:pt x="909" y="118"/>
                    </a:lnTo>
                    <a:lnTo>
                      <a:pt x="915" y="113"/>
                    </a:lnTo>
                    <a:lnTo>
                      <a:pt x="920" y="106"/>
                    </a:lnTo>
                    <a:lnTo>
                      <a:pt x="926" y="100"/>
                    </a:lnTo>
                    <a:lnTo>
                      <a:pt x="932" y="96"/>
                    </a:lnTo>
                    <a:lnTo>
                      <a:pt x="939" y="93"/>
                    </a:lnTo>
                    <a:lnTo>
                      <a:pt x="939" y="93"/>
                    </a:lnTo>
                    <a:lnTo>
                      <a:pt x="939" y="93"/>
                    </a:lnTo>
                    <a:lnTo>
                      <a:pt x="941" y="95"/>
                    </a:lnTo>
                    <a:lnTo>
                      <a:pt x="941" y="97"/>
                    </a:lnTo>
                    <a:lnTo>
                      <a:pt x="941" y="102"/>
                    </a:lnTo>
                    <a:lnTo>
                      <a:pt x="939" y="107"/>
                    </a:lnTo>
                    <a:lnTo>
                      <a:pt x="938" y="114"/>
                    </a:lnTo>
                    <a:lnTo>
                      <a:pt x="934" y="124"/>
                    </a:lnTo>
                    <a:lnTo>
                      <a:pt x="934" y="125"/>
                    </a:lnTo>
                    <a:lnTo>
                      <a:pt x="932" y="129"/>
                    </a:lnTo>
                    <a:lnTo>
                      <a:pt x="930" y="136"/>
                    </a:lnTo>
                    <a:lnTo>
                      <a:pt x="926" y="143"/>
                    </a:lnTo>
                    <a:lnTo>
                      <a:pt x="921" y="150"/>
                    </a:lnTo>
                    <a:lnTo>
                      <a:pt x="917" y="158"/>
                    </a:lnTo>
                    <a:lnTo>
                      <a:pt x="913" y="165"/>
                    </a:lnTo>
                    <a:lnTo>
                      <a:pt x="908" y="172"/>
                    </a:lnTo>
                    <a:lnTo>
                      <a:pt x="895" y="184"/>
                    </a:lnTo>
                    <a:lnTo>
                      <a:pt x="886" y="195"/>
                    </a:lnTo>
                    <a:lnTo>
                      <a:pt x="881" y="207"/>
                    </a:lnTo>
                    <a:lnTo>
                      <a:pt x="857" y="227"/>
                    </a:lnTo>
                    <a:lnTo>
                      <a:pt x="831" y="247"/>
                    </a:lnTo>
                    <a:lnTo>
                      <a:pt x="831" y="249"/>
                    </a:lnTo>
                    <a:lnTo>
                      <a:pt x="829" y="250"/>
                    </a:lnTo>
                    <a:lnTo>
                      <a:pt x="826" y="251"/>
                    </a:lnTo>
                    <a:lnTo>
                      <a:pt x="824" y="254"/>
                    </a:lnTo>
                    <a:lnTo>
                      <a:pt x="820" y="257"/>
                    </a:lnTo>
                    <a:lnTo>
                      <a:pt x="814" y="258"/>
                    </a:lnTo>
                    <a:lnTo>
                      <a:pt x="807" y="260"/>
                    </a:lnTo>
                    <a:lnTo>
                      <a:pt x="800" y="260"/>
                    </a:lnTo>
                    <a:lnTo>
                      <a:pt x="793" y="258"/>
                    </a:lnTo>
                    <a:lnTo>
                      <a:pt x="788" y="258"/>
                    </a:lnTo>
                    <a:lnTo>
                      <a:pt x="784" y="257"/>
                    </a:lnTo>
                    <a:lnTo>
                      <a:pt x="780" y="257"/>
                    </a:lnTo>
                    <a:lnTo>
                      <a:pt x="778" y="257"/>
                    </a:lnTo>
                    <a:lnTo>
                      <a:pt x="777" y="257"/>
                    </a:lnTo>
                    <a:lnTo>
                      <a:pt x="777" y="257"/>
                    </a:lnTo>
                    <a:lnTo>
                      <a:pt x="777" y="257"/>
                    </a:lnTo>
                    <a:lnTo>
                      <a:pt x="771" y="257"/>
                    </a:lnTo>
                    <a:lnTo>
                      <a:pt x="769" y="258"/>
                    </a:lnTo>
                    <a:lnTo>
                      <a:pt x="767" y="261"/>
                    </a:lnTo>
                    <a:lnTo>
                      <a:pt x="767" y="265"/>
                    </a:lnTo>
                    <a:lnTo>
                      <a:pt x="767" y="269"/>
                    </a:lnTo>
                    <a:lnTo>
                      <a:pt x="767" y="273"/>
                    </a:lnTo>
                    <a:lnTo>
                      <a:pt x="769" y="277"/>
                    </a:lnTo>
                    <a:lnTo>
                      <a:pt x="770" y="282"/>
                    </a:lnTo>
                    <a:lnTo>
                      <a:pt x="769" y="284"/>
                    </a:lnTo>
                    <a:lnTo>
                      <a:pt x="767" y="286"/>
                    </a:lnTo>
                    <a:lnTo>
                      <a:pt x="763" y="287"/>
                    </a:lnTo>
                    <a:lnTo>
                      <a:pt x="759" y="287"/>
                    </a:lnTo>
                    <a:lnTo>
                      <a:pt x="755" y="287"/>
                    </a:lnTo>
                    <a:lnTo>
                      <a:pt x="752" y="286"/>
                    </a:lnTo>
                    <a:lnTo>
                      <a:pt x="749" y="286"/>
                    </a:lnTo>
                    <a:lnTo>
                      <a:pt x="748" y="286"/>
                    </a:lnTo>
                    <a:lnTo>
                      <a:pt x="748" y="312"/>
                    </a:lnTo>
                    <a:lnTo>
                      <a:pt x="748" y="312"/>
                    </a:lnTo>
                    <a:lnTo>
                      <a:pt x="745" y="313"/>
                    </a:lnTo>
                    <a:lnTo>
                      <a:pt x="743" y="316"/>
                    </a:lnTo>
                    <a:lnTo>
                      <a:pt x="740" y="319"/>
                    </a:lnTo>
                    <a:lnTo>
                      <a:pt x="736" y="321"/>
                    </a:lnTo>
                    <a:lnTo>
                      <a:pt x="732" y="324"/>
                    </a:lnTo>
                    <a:lnTo>
                      <a:pt x="726" y="326"/>
                    </a:lnTo>
                    <a:lnTo>
                      <a:pt x="722" y="328"/>
                    </a:lnTo>
                    <a:lnTo>
                      <a:pt x="722" y="328"/>
                    </a:lnTo>
                    <a:lnTo>
                      <a:pt x="721" y="328"/>
                    </a:lnTo>
                    <a:lnTo>
                      <a:pt x="719" y="328"/>
                    </a:lnTo>
                    <a:lnTo>
                      <a:pt x="716" y="327"/>
                    </a:lnTo>
                    <a:lnTo>
                      <a:pt x="715" y="326"/>
                    </a:lnTo>
                    <a:lnTo>
                      <a:pt x="714" y="324"/>
                    </a:lnTo>
                    <a:lnTo>
                      <a:pt x="714" y="321"/>
                    </a:lnTo>
                    <a:lnTo>
                      <a:pt x="715" y="319"/>
                    </a:lnTo>
                    <a:lnTo>
                      <a:pt x="716" y="315"/>
                    </a:lnTo>
                    <a:lnTo>
                      <a:pt x="719" y="312"/>
                    </a:lnTo>
                    <a:lnTo>
                      <a:pt x="721" y="309"/>
                    </a:lnTo>
                    <a:lnTo>
                      <a:pt x="722" y="308"/>
                    </a:lnTo>
                    <a:lnTo>
                      <a:pt x="723" y="305"/>
                    </a:lnTo>
                    <a:lnTo>
                      <a:pt x="723" y="304"/>
                    </a:lnTo>
                    <a:lnTo>
                      <a:pt x="722" y="302"/>
                    </a:lnTo>
                    <a:lnTo>
                      <a:pt x="719" y="299"/>
                    </a:lnTo>
                    <a:lnTo>
                      <a:pt x="716" y="299"/>
                    </a:lnTo>
                    <a:lnTo>
                      <a:pt x="712" y="301"/>
                    </a:lnTo>
                    <a:lnTo>
                      <a:pt x="708" y="302"/>
                    </a:lnTo>
                    <a:lnTo>
                      <a:pt x="704" y="305"/>
                    </a:lnTo>
                    <a:lnTo>
                      <a:pt x="700" y="309"/>
                    </a:lnTo>
                    <a:lnTo>
                      <a:pt x="694" y="312"/>
                    </a:lnTo>
                    <a:lnTo>
                      <a:pt x="690" y="315"/>
                    </a:lnTo>
                    <a:lnTo>
                      <a:pt x="683" y="316"/>
                    </a:lnTo>
                    <a:lnTo>
                      <a:pt x="678" y="317"/>
                    </a:lnTo>
                    <a:lnTo>
                      <a:pt x="674" y="317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63" y="315"/>
                    </a:lnTo>
                    <a:lnTo>
                      <a:pt x="661" y="315"/>
                    </a:lnTo>
                    <a:lnTo>
                      <a:pt x="660" y="315"/>
                    </a:lnTo>
                    <a:lnTo>
                      <a:pt x="660" y="313"/>
                    </a:lnTo>
                    <a:lnTo>
                      <a:pt x="660" y="315"/>
                    </a:lnTo>
                    <a:lnTo>
                      <a:pt x="659" y="315"/>
                    </a:lnTo>
                    <a:lnTo>
                      <a:pt x="657" y="317"/>
                    </a:lnTo>
                    <a:lnTo>
                      <a:pt x="656" y="319"/>
                    </a:lnTo>
                    <a:lnTo>
                      <a:pt x="655" y="321"/>
                    </a:lnTo>
                    <a:lnTo>
                      <a:pt x="655" y="324"/>
                    </a:lnTo>
                    <a:lnTo>
                      <a:pt x="656" y="327"/>
                    </a:lnTo>
                    <a:lnTo>
                      <a:pt x="660" y="331"/>
                    </a:lnTo>
                    <a:lnTo>
                      <a:pt x="661" y="332"/>
                    </a:lnTo>
                    <a:lnTo>
                      <a:pt x="663" y="334"/>
                    </a:lnTo>
                    <a:lnTo>
                      <a:pt x="666" y="335"/>
                    </a:lnTo>
                    <a:lnTo>
                      <a:pt x="667" y="337"/>
                    </a:lnTo>
                    <a:lnTo>
                      <a:pt x="668" y="338"/>
                    </a:lnTo>
                    <a:lnTo>
                      <a:pt x="670" y="339"/>
                    </a:lnTo>
                    <a:lnTo>
                      <a:pt x="672" y="341"/>
                    </a:lnTo>
                    <a:lnTo>
                      <a:pt x="674" y="341"/>
                    </a:lnTo>
                    <a:lnTo>
                      <a:pt x="18" y="341"/>
                    </a:lnTo>
                    <a:lnTo>
                      <a:pt x="18" y="341"/>
                    </a:lnTo>
                    <a:lnTo>
                      <a:pt x="16" y="339"/>
                    </a:lnTo>
                    <a:lnTo>
                      <a:pt x="16" y="339"/>
                    </a:lnTo>
                    <a:lnTo>
                      <a:pt x="15" y="338"/>
                    </a:lnTo>
                    <a:lnTo>
                      <a:pt x="13" y="338"/>
                    </a:lnTo>
                    <a:lnTo>
                      <a:pt x="13" y="337"/>
                    </a:lnTo>
                    <a:lnTo>
                      <a:pt x="12" y="337"/>
                    </a:lnTo>
                    <a:lnTo>
                      <a:pt x="11" y="335"/>
                    </a:lnTo>
                    <a:lnTo>
                      <a:pt x="9" y="335"/>
                    </a:lnTo>
                    <a:lnTo>
                      <a:pt x="7" y="334"/>
                    </a:lnTo>
                    <a:lnTo>
                      <a:pt x="5" y="334"/>
                    </a:lnTo>
                    <a:lnTo>
                      <a:pt x="4" y="332"/>
                    </a:lnTo>
                    <a:lnTo>
                      <a:pt x="2" y="332"/>
                    </a:lnTo>
                    <a:lnTo>
                      <a:pt x="1" y="330"/>
                    </a:lnTo>
                    <a:lnTo>
                      <a:pt x="0" y="327"/>
                    </a:lnTo>
                    <a:lnTo>
                      <a:pt x="0" y="324"/>
                    </a:lnTo>
                    <a:lnTo>
                      <a:pt x="0" y="323"/>
                    </a:lnTo>
                    <a:lnTo>
                      <a:pt x="0" y="320"/>
                    </a:lnTo>
                    <a:lnTo>
                      <a:pt x="0" y="316"/>
                    </a:lnTo>
                    <a:lnTo>
                      <a:pt x="1" y="310"/>
                    </a:lnTo>
                    <a:lnTo>
                      <a:pt x="4" y="306"/>
                    </a:lnTo>
                    <a:lnTo>
                      <a:pt x="8" y="302"/>
                    </a:lnTo>
                    <a:lnTo>
                      <a:pt x="13" y="301"/>
                    </a:lnTo>
                    <a:lnTo>
                      <a:pt x="22" y="299"/>
                    </a:lnTo>
                    <a:lnTo>
                      <a:pt x="34" y="301"/>
                    </a:lnTo>
                    <a:lnTo>
                      <a:pt x="46" y="293"/>
                    </a:lnTo>
                    <a:lnTo>
                      <a:pt x="46" y="293"/>
                    </a:lnTo>
                    <a:lnTo>
                      <a:pt x="48" y="291"/>
                    </a:lnTo>
                    <a:lnTo>
                      <a:pt x="49" y="290"/>
                    </a:lnTo>
                    <a:lnTo>
                      <a:pt x="51" y="290"/>
                    </a:lnTo>
                    <a:lnTo>
                      <a:pt x="53" y="288"/>
                    </a:lnTo>
                    <a:lnTo>
                      <a:pt x="56" y="287"/>
                    </a:lnTo>
                    <a:lnTo>
                      <a:pt x="60" y="287"/>
                    </a:lnTo>
                    <a:lnTo>
                      <a:pt x="63" y="287"/>
                    </a:lnTo>
                    <a:lnTo>
                      <a:pt x="64" y="287"/>
                    </a:lnTo>
                    <a:lnTo>
                      <a:pt x="67" y="286"/>
                    </a:lnTo>
                    <a:lnTo>
                      <a:pt x="71" y="286"/>
                    </a:lnTo>
                    <a:lnTo>
                      <a:pt x="77" y="284"/>
                    </a:lnTo>
                    <a:lnTo>
                      <a:pt x="82" y="280"/>
                    </a:lnTo>
                    <a:lnTo>
                      <a:pt x="88" y="276"/>
                    </a:lnTo>
                    <a:lnTo>
                      <a:pt x="92" y="269"/>
                    </a:lnTo>
                    <a:lnTo>
                      <a:pt x="96" y="261"/>
                    </a:lnTo>
                    <a:lnTo>
                      <a:pt x="96" y="261"/>
                    </a:lnTo>
                    <a:lnTo>
                      <a:pt x="97" y="258"/>
                    </a:lnTo>
                    <a:lnTo>
                      <a:pt x="99" y="255"/>
                    </a:lnTo>
                    <a:lnTo>
                      <a:pt x="100" y="253"/>
                    </a:lnTo>
                    <a:lnTo>
                      <a:pt x="100" y="249"/>
                    </a:lnTo>
                    <a:lnTo>
                      <a:pt x="102" y="246"/>
                    </a:lnTo>
                    <a:lnTo>
                      <a:pt x="100" y="243"/>
                    </a:lnTo>
                    <a:lnTo>
                      <a:pt x="99" y="242"/>
                    </a:lnTo>
                    <a:lnTo>
                      <a:pt x="97" y="240"/>
                    </a:lnTo>
                    <a:lnTo>
                      <a:pt x="95" y="238"/>
                    </a:lnTo>
                    <a:lnTo>
                      <a:pt x="92" y="235"/>
                    </a:lnTo>
                    <a:lnTo>
                      <a:pt x="89" y="232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88" y="224"/>
                    </a:lnTo>
                    <a:lnTo>
                      <a:pt x="89" y="221"/>
                    </a:lnTo>
                    <a:lnTo>
                      <a:pt x="92" y="220"/>
                    </a:lnTo>
                    <a:lnTo>
                      <a:pt x="95" y="218"/>
                    </a:lnTo>
                    <a:lnTo>
                      <a:pt x="97" y="217"/>
                    </a:lnTo>
                    <a:lnTo>
                      <a:pt x="99" y="216"/>
                    </a:lnTo>
                    <a:lnTo>
                      <a:pt x="102" y="216"/>
                    </a:lnTo>
                    <a:lnTo>
                      <a:pt x="103" y="216"/>
                    </a:lnTo>
                    <a:lnTo>
                      <a:pt x="104" y="216"/>
                    </a:lnTo>
                    <a:lnTo>
                      <a:pt x="104" y="216"/>
                    </a:lnTo>
                    <a:lnTo>
                      <a:pt x="104" y="216"/>
                    </a:lnTo>
                    <a:lnTo>
                      <a:pt x="106" y="214"/>
                    </a:lnTo>
                    <a:lnTo>
                      <a:pt x="106" y="213"/>
                    </a:lnTo>
                    <a:lnTo>
                      <a:pt x="107" y="211"/>
                    </a:lnTo>
                    <a:lnTo>
                      <a:pt x="107" y="210"/>
                    </a:lnTo>
                    <a:lnTo>
                      <a:pt x="107" y="209"/>
                    </a:lnTo>
                    <a:lnTo>
                      <a:pt x="107" y="209"/>
                    </a:lnTo>
                    <a:lnTo>
                      <a:pt x="106" y="207"/>
                    </a:lnTo>
                    <a:lnTo>
                      <a:pt x="106" y="206"/>
                    </a:lnTo>
                    <a:lnTo>
                      <a:pt x="107" y="205"/>
                    </a:lnTo>
                    <a:lnTo>
                      <a:pt x="108" y="205"/>
                    </a:lnTo>
                    <a:lnTo>
                      <a:pt x="110" y="205"/>
                    </a:lnTo>
                    <a:lnTo>
                      <a:pt x="113" y="203"/>
                    </a:lnTo>
                    <a:lnTo>
                      <a:pt x="115" y="203"/>
                    </a:lnTo>
                    <a:lnTo>
                      <a:pt x="118" y="202"/>
                    </a:lnTo>
                    <a:lnTo>
                      <a:pt x="121" y="202"/>
                    </a:lnTo>
                    <a:lnTo>
                      <a:pt x="124" y="201"/>
                    </a:lnTo>
                    <a:lnTo>
                      <a:pt x="126" y="198"/>
                    </a:lnTo>
                    <a:lnTo>
                      <a:pt x="129" y="195"/>
                    </a:lnTo>
                    <a:lnTo>
                      <a:pt x="132" y="192"/>
                    </a:lnTo>
                    <a:lnTo>
                      <a:pt x="135" y="188"/>
                    </a:lnTo>
                    <a:lnTo>
                      <a:pt x="136" y="183"/>
                    </a:lnTo>
                    <a:lnTo>
                      <a:pt x="137" y="179"/>
                    </a:lnTo>
                    <a:lnTo>
                      <a:pt x="137" y="174"/>
                    </a:lnTo>
                    <a:lnTo>
                      <a:pt x="139" y="170"/>
                    </a:lnTo>
                    <a:lnTo>
                      <a:pt x="140" y="166"/>
                    </a:lnTo>
                    <a:lnTo>
                      <a:pt x="141" y="163"/>
                    </a:lnTo>
                    <a:lnTo>
                      <a:pt x="144" y="161"/>
                    </a:lnTo>
                    <a:lnTo>
                      <a:pt x="148" y="158"/>
                    </a:lnTo>
                    <a:lnTo>
                      <a:pt x="151" y="157"/>
                    </a:lnTo>
                    <a:lnTo>
                      <a:pt x="155" y="155"/>
                    </a:lnTo>
                    <a:lnTo>
                      <a:pt x="159" y="155"/>
                    </a:lnTo>
                    <a:lnTo>
                      <a:pt x="162" y="155"/>
                    </a:lnTo>
                    <a:lnTo>
                      <a:pt x="165" y="155"/>
                    </a:lnTo>
                    <a:lnTo>
                      <a:pt x="168" y="154"/>
                    </a:lnTo>
                    <a:lnTo>
                      <a:pt x="170" y="152"/>
                    </a:lnTo>
                    <a:lnTo>
                      <a:pt x="173" y="150"/>
                    </a:lnTo>
                    <a:lnTo>
                      <a:pt x="174" y="147"/>
                    </a:lnTo>
                    <a:lnTo>
                      <a:pt x="176" y="146"/>
                    </a:lnTo>
                    <a:lnTo>
                      <a:pt x="177" y="141"/>
                    </a:lnTo>
                    <a:lnTo>
                      <a:pt x="177" y="139"/>
                    </a:lnTo>
                    <a:lnTo>
                      <a:pt x="180" y="135"/>
                    </a:lnTo>
                    <a:lnTo>
                      <a:pt x="183" y="130"/>
                    </a:lnTo>
                    <a:lnTo>
                      <a:pt x="185" y="128"/>
                    </a:lnTo>
                    <a:lnTo>
                      <a:pt x="190" y="124"/>
                    </a:lnTo>
                    <a:lnTo>
                      <a:pt x="194" y="122"/>
                    </a:lnTo>
                    <a:lnTo>
                      <a:pt x="199" y="119"/>
                    </a:lnTo>
                    <a:lnTo>
                      <a:pt x="203" y="119"/>
                    </a:lnTo>
                    <a:lnTo>
                      <a:pt x="207" y="119"/>
                    </a:lnTo>
                    <a:lnTo>
                      <a:pt x="210" y="118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4" y="113"/>
                    </a:lnTo>
                    <a:lnTo>
                      <a:pt x="214" y="110"/>
                    </a:lnTo>
                    <a:lnTo>
                      <a:pt x="214" y="108"/>
                    </a:lnTo>
                    <a:lnTo>
                      <a:pt x="214" y="106"/>
                    </a:lnTo>
                    <a:lnTo>
                      <a:pt x="214" y="104"/>
                    </a:lnTo>
                    <a:lnTo>
                      <a:pt x="216" y="102"/>
                    </a:lnTo>
                    <a:lnTo>
                      <a:pt x="217" y="99"/>
                    </a:lnTo>
                    <a:lnTo>
                      <a:pt x="218" y="96"/>
                    </a:lnTo>
                    <a:lnTo>
                      <a:pt x="221" y="93"/>
                    </a:lnTo>
                    <a:lnTo>
                      <a:pt x="224" y="92"/>
                    </a:lnTo>
                    <a:lnTo>
                      <a:pt x="227" y="91"/>
                    </a:lnTo>
                    <a:lnTo>
                      <a:pt x="232" y="89"/>
                    </a:lnTo>
                    <a:lnTo>
                      <a:pt x="257" y="88"/>
                    </a:lnTo>
                    <a:lnTo>
                      <a:pt x="232" y="10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7" name="Freeform 839"/>
              <p:cNvSpPr>
                <a:spLocks/>
              </p:cNvSpPr>
              <p:nvPr/>
            </p:nvSpPr>
            <p:spPr bwMode="auto">
              <a:xfrm>
                <a:off x="4252" y="2710"/>
                <a:ext cx="80" cy="66"/>
              </a:xfrm>
              <a:custGeom>
                <a:avLst/>
                <a:gdLst>
                  <a:gd name="T0" fmla="*/ 3 w 80"/>
                  <a:gd name="T1" fmla="*/ 41 h 66"/>
                  <a:gd name="T2" fmla="*/ 3 w 80"/>
                  <a:gd name="T3" fmla="*/ 39 h 66"/>
                  <a:gd name="T4" fmla="*/ 2 w 80"/>
                  <a:gd name="T5" fmla="*/ 35 h 66"/>
                  <a:gd name="T6" fmla="*/ 2 w 80"/>
                  <a:gd name="T7" fmla="*/ 31 h 66"/>
                  <a:gd name="T8" fmla="*/ 0 w 80"/>
                  <a:gd name="T9" fmla="*/ 24 h 66"/>
                  <a:gd name="T10" fmla="*/ 2 w 80"/>
                  <a:gd name="T11" fmla="*/ 17 h 66"/>
                  <a:gd name="T12" fmla="*/ 3 w 80"/>
                  <a:gd name="T13" fmla="*/ 12 h 66"/>
                  <a:gd name="T14" fmla="*/ 6 w 80"/>
                  <a:gd name="T15" fmla="*/ 6 h 66"/>
                  <a:gd name="T16" fmla="*/ 11 w 80"/>
                  <a:gd name="T17" fmla="*/ 2 h 66"/>
                  <a:gd name="T18" fmla="*/ 11 w 80"/>
                  <a:gd name="T19" fmla="*/ 2 h 66"/>
                  <a:gd name="T20" fmla="*/ 13 w 80"/>
                  <a:gd name="T21" fmla="*/ 1 h 66"/>
                  <a:gd name="T22" fmla="*/ 15 w 80"/>
                  <a:gd name="T23" fmla="*/ 1 h 66"/>
                  <a:gd name="T24" fmla="*/ 18 w 80"/>
                  <a:gd name="T25" fmla="*/ 0 h 66"/>
                  <a:gd name="T26" fmla="*/ 22 w 80"/>
                  <a:gd name="T27" fmla="*/ 0 h 66"/>
                  <a:gd name="T28" fmla="*/ 28 w 80"/>
                  <a:gd name="T29" fmla="*/ 0 h 66"/>
                  <a:gd name="T30" fmla="*/ 33 w 80"/>
                  <a:gd name="T31" fmla="*/ 1 h 66"/>
                  <a:gd name="T32" fmla="*/ 41 w 80"/>
                  <a:gd name="T33" fmla="*/ 2 h 66"/>
                  <a:gd name="T34" fmla="*/ 50 w 80"/>
                  <a:gd name="T35" fmla="*/ 9 h 66"/>
                  <a:gd name="T36" fmla="*/ 51 w 80"/>
                  <a:gd name="T37" fmla="*/ 9 h 66"/>
                  <a:gd name="T38" fmla="*/ 52 w 80"/>
                  <a:gd name="T39" fmla="*/ 9 h 66"/>
                  <a:gd name="T40" fmla="*/ 55 w 80"/>
                  <a:gd name="T41" fmla="*/ 8 h 66"/>
                  <a:gd name="T42" fmla="*/ 59 w 80"/>
                  <a:gd name="T43" fmla="*/ 8 h 66"/>
                  <a:gd name="T44" fmla="*/ 63 w 80"/>
                  <a:gd name="T45" fmla="*/ 8 h 66"/>
                  <a:gd name="T46" fmla="*/ 66 w 80"/>
                  <a:gd name="T47" fmla="*/ 8 h 66"/>
                  <a:gd name="T48" fmla="*/ 70 w 80"/>
                  <a:gd name="T49" fmla="*/ 8 h 66"/>
                  <a:gd name="T50" fmla="*/ 72 w 80"/>
                  <a:gd name="T51" fmla="*/ 9 h 66"/>
                  <a:gd name="T52" fmla="*/ 74 w 80"/>
                  <a:gd name="T53" fmla="*/ 11 h 66"/>
                  <a:gd name="T54" fmla="*/ 76 w 80"/>
                  <a:gd name="T55" fmla="*/ 11 h 66"/>
                  <a:gd name="T56" fmla="*/ 77 w 80"/>
                  <a:gd name="T57" fmla="*/ 12 h 66"/>
                  <a:gd name="T58" fmla="*/ 79 w 80"/>
                  <a:gd name="T59" fmla="*/ 13 h 66"/>
                  <a:gd name="T60" fmla="*/ 80 w 80"/>
                  <a:gd name="T61" fmla="*/ 15 h 66"/>
                  <a:gd name="T62" fmla="*/ 80 w 80"/>
                  <a:gd name="T63" fmla="*/ 17 h 66"/>
                  <a:gd name="T64" fmla="*/ 80 w 80"/>
                  <a:gd name="T65" fmla="*/ 19 h 66"/>
                  <a:gd name="T66" fmla="*/ 80 w 80"/>
                  <a:gd name="T67" fmla="*/ 20 h 66"/>
                  <a:gd name="T68" fmla="*/ 79 w 80"/>
                  <a:gd name="T69" fmla="*/ 23 h 66"/>
                  <a:gd name="T70" fmla="*/ 79 w 80"/>
                  <a:gd name="T71" fmla="*/ 26 h 66"/>
                  <a:gd name="T72" fmla="*/ 77 w 80"/>
                  <a:gd name="T73" fmla="*/ 28 h 66"/>
                  <a:gd name="T74" fmla="*/ 77 w 80"/>
                  <a:gd name="T75" fmla="*/ 31 h 66"/>
                  <a:gd name="T76" fmla="*/ 77 w 80"/>
                  <a:gd name="T77" fmla="*/ 34 h 66"/>
                  <a:gd name="T78" fmla="*/ 76 w 80"/>
                  <a:gd name="T79" fmla="*/ 37 h 66"/>
                  <a:gd name="T80" fmla="*/ 76 w 80"/>
                  <a:gd name="T81" fmla="*/ 38 h 66"/>
                  <a:gd name="T82" fmla="*/ 76 w 80"/>
                  <a:gd name="T83" fmla="*/ 38 h 66"/>
                  <a:gd name="T84" fmla="*/ 63 w 80"/>
                  <a:gd name="T85" fmla="*/ 44 h 66"/>
                  <a:gd name="T86" fmla="*/ 59 w 80"/>
                  <a:gd name="T87" fmla="*/ 49 h 66"/>
                  <a:gd name="T88" fmla="*/ 54 w 80"/>
                  <a:gd name="T89" fmla="*/ 49 h 66"/>
                  <a:gd name="T90" fmla="*/ 50 w 80"/>
                  <a:gd name="T91" fmla="*/ 60 h 66"/>
                  <a:gd name="T92" fmla="*/ 28 w 80"/>
                  <a:gd name="T93" fmla="*/ 66 h 66"/>
                  <a:gd name="T94" fmla="*/ 3 w 80"/>
                  <a:gd name="T95" fmla="*/ 4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" h="66">
                    <a:moveTo>
                      <a:pt x="3" y="41"/>
                    </a:moveTo>
                    <a:lnTo>
                      <a:pt x="3" y="39"/>
                    </a:lnTo>
                    <a:lnTo>
                      <a:pt x="2" y="35"/>
                    </a:lnTo>
                    <a:lnTo>
                      <a:pt x="2" y="31"/>
                    </a:lnTo>
                    <a:lnTo>
                      <a:pt x="0" y="24"/>
                    </a:lnTo>
                    <a:lnTo>
                      <a:pt x="2" y="17"/>
                    </a:lnTo>
                    <a:lnTo>
                      <a:pt x="3" y="12"/>
                    </a:lnTo>
                    <a:lnTo>
                      <a:pt x="6" y="6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33" y="1"/>
                    </a:lnTo>
                    <a:lnTo>
                      <a:pt x="41" y="2"/>
                    </a:lnTo>
                    <a:lnTo>
                      <a:pt x="50" y="9"/>
                    </a:lnTo>
                    <a:lnTo>
                      <a:pt x="51" y="9"/>
                    </a:lnTo>
                    <a:lnTo>
                      <a:pt x="52" y="9"/>
                    </a:lnTo>
                    <a:lnTo>
                      <a:pt x="55" y="8"/>
                    </a:lnTo>
                    <a:lnTo>
                      <a:pt x="59" y="8"/>
                    </a:lnTo>
                    <a:lnTo>
                      <a:pt x="63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2" y="9"/>
                    </a:lnTo>
                    <a:lnTo>
                      <a:pt x="74" y="11"/>
                    </a:lnTo>
                    <a:lnTo>
                      <a:pt x="76" y="11"/>
                    </a:lnTo>
                    <a:lnTo>
                      <a:pt x="77" y="12"/>
                    </a:lnTo>
                    <a:lnTo>
                      <a:pt x="79" y="13"/>
                    </a:lnTo>
                    <a:lnTo>
                      <a:pt x="80" y="15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20"/>
                    </a:lnTo>
                    <a:lnTo>
                      <a:pt x="79" y="23"/>
                    </a:lnTo>
                    <a:lnTo>
                      <a:pt x="79" y="26"/>
                    </a:lnTo>
                    <a:lnTo>
                      <a:pt x="77" y="28"/>
                    </a:lnTo>
                    <a:lnTo>
                      <a:pt x="77" y="31"/>
                    </a:lnTo>
                    <a:lnTo>
                      <a:pt x="77" y="34"/>
                    </a:lnTo>
                    <a:lnTo>
                      <a:pt x="76" y="37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63" y="44"/>
                    </a:lnTo>
                    <a:lnTo>
                      <a:pt x="59" y="49"/>
                    </a:lnTo>
                    <a:lnTo>
                      <a:pt x="54" y="49"/>
                    </a:lnTo>
                    <a:lnTo>
                      <a:pt x="50" y="60"/>
                    </a:lnTo>
                    <a:lnTo>
                      <a:pt x="28" y="66"/>
                    </a:lnTo>
                    <a:lnTo>
                      <a:pt x="3" y="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8" name="Freeform 840"/>
              <p:cNvSpPr>
                <a:spLocks/>
              </p:cNvSpPr>
              <p:nvPr/>
            </p:nvSpPr>
            <p:spPr bwMode="auto">
              <a:xfrm>
                <a:off x="4252" y="2710"/>
                <a:ext cx="80" cy="66"/>
              </a:xfrm>
              <a:custGeom>
                <a:avLst/>
                <a:gdLst>
                  <a:gd name="T0" fmla="*/ 3 w 80"/>
                  <a:gd name="T1" fmla="*/ 41 h 66"/>
                  <a:gd name="T2" fmla="*/ 3 w 80"/>
                  <a:gd name="T3" fmla="*/ 39 h 66"/>
                  <a:gd name="T4" fmla="*/ 2 w 80"/>
                  <a:gd name="T5" fmla="*/ 35 h 66"/>
                  <a:gd name="T6" fmla="*/ 2 w 80"/>
                  <a:gd name="T7" fmla="*/ 31 h 66"/>
                  <a:gd name="T8" fmla="*/ 0 w 80"/>
                  <a:gd name="T9" fmla="*/ 24 h 66"/>
                  <a:gd name="T10" fmla="*/ 2 w 80"/>
                  <a:gd name="T11" fmla="*/ 17 h 66"/>
                  <a:gd name="T12" fmla="*/ 3 w 80"/>
                  <a:gd name="T13" fmla="*/ 12 h 66"/>
                  <a:gd name="T14" fmla="*/ 6 w 80"/>
                  <a:gd name="T15" fmla="*/ 6 h 66"/>
                  <a:gd name="T16" fmla="*/ 11 w 80"/>
                  <a:gd name="T17" fmla="*/ 2 h 66"/>
                  <a:gd name="T18" fmla="*/ 13 w 80"/>
                  <a:gd name="T19" fmla="*/ 1 h 66"/>
                  <a:gd name="T20" fmla="*/ 15 w 80"/>
                  <a:gd name="T21" fmla="*/ 1 h 66"/>
                  <a:gd name="T22" fmla="*/ 18 w 80"/>
                  <a:gd name="T23" fmla="*/ 0 h 66"/>
                  <a:gd name="T24" fmla="*/ 22 w 80"/>
                  <a:gd name="T25" fmla="*/ 0 h 66"/>
                  <a:gd name="T26" fmla="*/ 28 w 80"/>
                  <a:gd name="T27" fmla="*/ 0 h 66"/>
                  <a:gd name="T28" fmla="*/ 33 w 80"/>
                  <a:gd name="T29" fmla="*/ 1 h 66"/>
                  <a:gd name="T30" fmla="*/ 41 w 80"/>
                  <a:gd name="T31" fmla="*/ 2 h 66"/>
                  <a:gd name="T32" fmla="*/ 50 w 80"/>
                  <a:gd name="T33" fmla="*/ 9 h 66"/>
                  <a:gd name="T34" fmla="*/ 51 w 80"/>
                  <a:gd name="T35" fmla="*/ 9 h 66"/>
                  <a:gd name="T36" fmla="*/ 52 w 80"/>
                  <a:gd name="T37" fmla="*/ 9 h 66"/>
                  <a:gd name="T38" fmla="*/ 55 w 80"/>
                  <a:gd name="T39" fmla="*/ 8 h 66"/>
                  <a:gd name="T40" fmla="*/ 59 w 80"/>
                  <a:gd name="T41" fmla="*/ 8 h 66"/>
                  <a:gd name="T42" fmla="*/ 63 w 80"/>
                  <a:gd name="T43" fmla="*/ 8 h 66"/>
                  <a:gd name="T44" fmla="*/ 66 w 80"/>
                  <a:gd name="T45" fmla="*/ 8 h 66"/>
                  <a:gd name="T46" fmla="*/ 70 w 80"/>
                  <a:gd name="T47" fmla="*/ 8 h 66"/>
                  <a:gd name="T48" fmla="*/ 72 w 80"/>
                  <a:gd name="T49" fmla="*/ 9 h 66"/>
                  <a:gd name="T50" fmla="*/ 74 w 80"/>
                  <a:gd name="T51" fmla="*/ 11 h 66"/>
                  <a:gd name="T52" fmla="*/ 76 w 80"/>
                  <a:gd name="T53" fmla="*/ 11 h 66"/>
                  <a:gd name="T54" fmla="*/ 77 w 80"/>
                  <a:gd name="T55" fmla="*/ 12 h 66"/>
                  <a:gd name="T56" fmla="*/ 79 w 80"/>
                  <a:gd name="T57" fmla="*/ 13 h 66"/>
                  <a:gd name="T58" fmla="*/ 80 w 80"/>
                  <a:gd name="T59" fmla="*/ 15 h 66"/>
                  <a:gd name="T60" fmla="*/ 80 w 80"/>
                  <a:gd name="T61" fmla="*/ 17 h 66"/>
                  <a:gd name="T62" fmla="*/ 80 w 80"/>
                  <a:gd name="T63" fmla="*/ 19 h 66"/>
                  <a:gd name="T64" fmla="*/ 80 w 80"/>
                  <a:gd name="T65" fmla="*/ 20 h 66"/>
                  <a:gd name="T66" fmla="*/ 79 w 80"/>
                  <a:gd name="T67" fmla="*/ 23 h 66"/>
                  <a:gd name="T68" fmla="*/ 79 w 80"/>
                  <a:gd name="T69" fmla="*/ 26 h 66"/>
                  <a:gd name="T70" fmla="*/ 77 w 80"/>
                  <a:gd name="T71" fmla="*/ 28 h 66"/>
                  <a:gd name="T72" fmla="*/ 77 w 80"/>
                  <a:gd name="T73" fmla="*/ 31 h 66"/>
                  <a:gd name="T74" fmla="*/ 77 w 80"/>
                  <a:gd name="T75" fmla="*/ 34 h 66"/>
                  <a:gd name="T76" fmla="*/ 76 w 80"/>
                  <a:gd name="T77" fmla="*/ 37 h 66"/>
                  <a:gd name="T78" fmla="*/ 76 w 80"/>
                  <a:gd name="T79" fmla="*/ 38 h 66"/>
                  <a:gd name="T80" fmla="*/ 63 w 80"/>
                  <a:gd name="T81" fmla="*/ 44 h 66"/>
                  <a:gd name="T82" fmla="*/ 59 w 80"/>
                  <a:gd name="T83" fmla="*/ 49 h 66"/>
                  <a:gd name="T84" fmla="*/ 54 w 80"/>
                  <a:gd name="T85" fmla="*/ 49 h 66"/>
                  <a:gd name="T86" fmla="*/ 50 w 80"/>
                  <a:gd name="T87" fmla="*/ 60 h 66"/>
                  <a:gd name="T88" fmla="*/ 28 w 80"/>
                  <a:gd name="T89" fmla="*/ 66 h 66"/>
                  <a:gd name="T90" fmla="*/ 3 w 80"/>
                  <a:gd name="T91" fmla="*/ 4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0" h="66">
                    <a:moveTo>
                      <a:pt x="3" y="41"/>
                    </a:moveTo>
                    <a:lnTo>
                      <a:pt x="3" y="39"/>
                    </a:lnTo>
                    <a:lnTo>
                      <a:pt x="2" y="35"/>
                    </a:lnTo>
                    <a:lnTo>
                      <a:pt x="2" y="31"/>
                    </a:lnTo>
                    <a:lnTo>
                      <a:pt x="0" y="24"/>
                    </a:lnTo>
                    <a:lnTo>
                      <a:pt x="2" y="17"/>
                    </a:lnTo>
                    <a:lnTo>
                      <a:pt x="3" y="12"/>
                    </a:lnTo>
                    <a:lnTo>
                      <a:pt x="6" y="6"/>
                    </a:lnTo>
                    <a:lnTo>
                      <a:pt x="11" y="2"/>
                    </a:lnTo>
                    <a:lnTo>
                      <a:pt x="13" y="1"/>
                    </a:lnTo>
                    <a:lnTo>
                      <a:pt x="15" y="1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8" y="0"/>
                    </a:lnTo>
                    <a:lnTo>
                      <a:pt x="33" y="1"/>
                    </a:lnTo>
                    <a:lnTo>
                      <a:pt x="41" y="2"/>
                    </a:lnTo>
                    <a:lnTo>
                      <a:pt x="50" y="9"/>
                    </a:lnTo>
                    <a:lnTo>
                      <a:pt x="51" y="9"/>
                    </a:lnTo>
                    <a:lnTo>
                      <a:pt x="52" y="9"/>
                    </a:lnTo>
                    <a:lnTo>
                      <a:pt x="55" y="8"/>
                    </a:lnTo>
                    <a:lnTo>
                      <a:pt x="59" y="8"/>
                    </a:lnTo>
                    <a:lnTo>
                      <a:pt x="63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2" y="9"/>
                    </a:lnTo>
                    <a:lnTo>
                      <a:pt x="74" y="11"/>
                    </a:lnTo>
                    <a:lnTo>
                      <a:pt x="76" y="11"/>
                    </a:lnTo>
                    <a:lnTo>
                      <a:pt x="77" y="12"/>
                    </a:lnTo>
                    <a:lnTo>
                      <a:pt x="79" y="13"/>
                    </a:lnTo>
                    <a:lnTo>
                      <a:pt x="80" y="15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20"/>
                    </a:lnTo>
                    <a:lnTo>
                      <a:pt x="79" y="23"/>
                    </a:lnTo>
                    <a:lnTo>
                      <a:pt x="79" y="26"/>
                    </a:lnTo>
                    <a:lnTo>
                      <a:pt x="77" y="28"/>
                    </a:lnTo>
                    <a:lnTo>
                      <a:pt x="77" y="31"/>
                    </a:lnTo>
                    <a:lnTo>
                      <a:pt x="77" y="34"/>
                    </a:lnTo>
                    <a:lnTo>
                      <a:pt x="76" y="37"/>
                    </a:lnTo>
                    <a:lnTo>
                      <a:pt x="76" y="38"/>
                    </a:lnTo>
                    <a:lnTo>
                      <a:pt x="63" y="44"/>
                    </a:lnTo>
                    <a:lnTo>
                      <a:pt x="59" y="49"/>
                    </a:lnTo>
                    <a:lnTo>
                      <a:pt x="54" y="49"/>
                    </a:lnTo>
                    <a:lnTo>
                      <a:pt x="50" y="60"/>
                    </a:lnTo>
                    <a:lnTo>
                      <a:pt x="28" y="66"/>
                    </a:lnTo>
                    <a:lnTo>
                      <a:pt x="3" y="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09" name="Freeform 841"/>
              <p:cNvSpPr>
                <a:spLocks/>
              </p:cNvSpPr>
              <p:nvPr/>
            </p:nvSpPr>
            <p:spPr bwMode="auto">
              <a:xfrm>
                <a:off x="4673" y="2384"/>
                <a:ext cx="41" cy="51"/>
              </a:xfrm>
              <a:custGeom>
                <a:avLst/>
                <a:gdLst>
                  <a:gd name="T0" fmla="*/ 7 w 41"/>
                  <a:gd name="T1" fmla="*/ 0 h 51"/>
                  <a:gd name="T2" fmla="*/ 7 w 41"/>
                  <a:gd name="T3" fmla="*/ 0 h 51"/>
                  <a:gd name="T4" fmla="*/ 6 w 41"/>
                  <a:gd name="T5" fmla="*/ 1 h 51"/>
                  <a:gd name="T6" fmla="*/ 4 w 41"/>
                  <a:gd name="T7" fmla="*/ 3 h 51"/>
                  <a:gd name="T8" fmla="*/ 1 w 41"/>
                  <a:gd name="T9" fmla="*/ 4 h 51"/>
                  <a:gd name="T10" fmla="*/ 0 w 41"/>
                  <a:gd name="T11" fmla="*/ 7 h 51"/>
                  <a:gd name="T12" fmla="*/ 0 w 41"/>
                  <a:gd name="T13" fmla="*/ 9 h 51"/>
                  <a:gd name="T14" fmla="*/ 0 w 41"/>
                  <a:gd name="T15" fmla="*/ 12 h 51"/>
                  <a:gd name="T16" fmla="*/ 1 w 41"/>
                  <a:gd name="T17" fmla="*/ 15 h 51"/>
                  <a:gd name="T18" fmla="*/ 4 w 41"/>
                  <a:gd name="T19" fmla="*/ 18 h 51"/>
                  <a:gd name="T20" fmla="*/ 7 w 41"/>
                  <a:gd name="T21" fmla="*/ 20 h 51"/>
                  <a:gd name="T22" fmla="*/ 10 w 41"/>
                  <a:gd name="T23" fmla="*/ 25 h 51"/>
                  <a:gd name="T24" fmla="*/ 12 w 41"/>
                  <a:gd name="T25" fmla="*/ 29 h 51"/>
                  <a:gd name="T26" fmla="*/ 15 w 41"/>
                  <a:gd name="T27" fmla="*/ 33 h 51"/>
                  <a:gd name="T28" fmla="*/ 17 w 41"/>
                  <a:gd name="T29" fmla="*/ 36 h 51"/>
                  <a:gd name="T30" fmla="*/ 18 w 41"/>
                  <a:gd name="T31" fmla="*/ 37 h 51"/>
                  <a:gd name="T32" fmla="*/ 19 w 41"/>
                  <a:gd name="T33" fmla="*/ 38 h 51"/>
                  <a:gd name="T34" fmla="*/ 19 w 41"/>
                  <a:gd name="T35" fmla="*/ 38 h 51"/>
                  <a:gd name="T36" fmla="*/ 19 w 41"/>
                  <a:gd name="T37" fmla="*/ 40 h 51"/>
                  <a:gd name="T38" fmla="*/ 19 w 41"/>
                  <a:gd name="T39" fmla="*/ 42 h 51"/>
                  <a:gd name="T40" fmla="*/ 19 w 41"/>
                  <a:gd name="T41" fmla="*/ 45 h 51"/>
                  <a:gd name="T42" fmla="*/ 21 w 41"/>
                  <a:gd name="T43" fmla="*/ 48 h 51"/>
                  <a:gd name="T44" fmla="*/ 23 w 41"/>
                  <a:gd name="T45" fmla="*/ 51 h 51"/>
                  <a:gd name="T46" fmla="*/ 26 w 41"/>
                  <a:gd name="T47" fmla="*/ 51 h 51"/>
                  <a:gd name="T48" fmla="*/ 30 w 41"/>
                  <a:gd name="T49" fmla="*/ 51 h 51"/>
                  <a:gd name="T50" fmla="*/ 34 w 41"/>
                  <a:gd name="T51" fmla="*/ 49 h 51"/>
                  <a:gd name="T52" fmla="*/ 37 w 41"/>
                  <a:gd name="T53" fmla="*/ 48 h 51"/>
                  <a:gd name="T54" fmla="*/ 40 w 41"/>
                  <a:gd name="T55" fmla="*/ 45 h 51"/>
                  <a:gd name="T56" fmla="*/ 41 w 41"/>
                  <a:gd name="T57" fmla="*/ 42 h 51"/>
                  <a:gd name="T58" fmla="*/ 41 w 41"/>
                  <a:gd name="T59" fmla="*/ 40 h 51"/>
                  <a:gd name="T60" fmla="*/ 41 w 41"/>
                  <a:gd name="T61" fmla="*/ 37 h 51"/>
                  <a:gd name="T62" fmla="*/ 41 w 41"/>
                  <a:gd name="T63" fmla="*/ 34 h 51"/>
                  <a:gd name="T64" fmla="*/ 40 w 41"/>
                  <a:gd name="T65" fmla="*/ 31 h 51"/>
                  <a:gd name="T66" fmla="*/ 40 w 41"/>
                  <a:gd name="T67" fmla="*/ 27 h 51"/>
                  <a:gd name="T68" fmla="*/ 40 w 41"/>
                  <a:gd name="T69" fmla="*/ 25 h 51"/>
                  <a:gd name="T70" fmla="*/ 40 w 41"/>
                  <a:gd name="T71" fmla="*/ 23 h 51"/>
                  <a:gd name="T72" fmla="*/ 40 w 41"/>
                  <a:gd name="T73" fmla="*/ 20 h 51"/>
                  <a:gd name="T74" fmla="*/ 41 w 41"/>
                  <a:gd name="T75" fmla="*/ 19 h 51"/>
                  <a:gd name="T76" fmla="*/ 41 w 41"/>
                  <a:gd name="T77" fmla="*/ 18 h 51"/>
                  <a:gd name="T78" fmla="*/ 41 w 41"/>
                  <a:gd name="T79" fmla="*/ 16 h 51"/>
                  <a:gd name="T80" fmla="*/ 41 w 41"/>
                  <a:gd name="T81" fmla="*/ 16 h 51"/>
                  <a:gd name="T82" fmla="*/ 41 w 41"/>
                  <a:gd name="T83" fmla="*/ 16 h 51"/>
                  <a:gd name="T84" fmla="*/ 40 w 41"/>
                  <a:gd name="T85" fmla="*/ 15 h 51"/>
                  <a:gd name="T86" fmla="*/ 37 w 41"/>
                  <a:gd name="T87" fmla="*/ 12 h 51"/>
                  <a:gd name="T88" fmla="*/ 33 w 41"/>
                  <a:gd name="T89" fmla="*/ 9 h 51"/>
                  <a:gd name="T90" fmla="*/ 30 w 41"/>
                  <a:gd name="T91" fmla="*/ 8 h 51"/>
                  <a:gd name="T92" fmla="*/ 26 w 41"/>
                  <a:gd name="T93" fmla="*/ 5 h 51"/>
                  <a:gd name="T94" fmla="*/ 23 w 41"/>
                  <a:gd name="T95" fmla="*/ 4 h 51"/>
                  <a:gd name="T96" fmla="*/ 21 w 41"/>
                  <a:gd name="T97" fmla="*/ 4 h 51"/>
                  <a:gd name="T98" fmla="*/ 18 w 41"/>
                  <a:gd name="T99" fmla="*/ 4 h 51"/>
                  <a:gd name="T100" fmla="*/ 15 w 41"/>
                  <a:gd name="T101" fmla="*/ 3 h 51"/>
                  <a:gd name="T102" fmla="*/ 12 w 41"/>
                  <a:gd name="T103" fmla="*/ 3 h 51"/>
                  <a:gd name="T104" fmla="*/ 11 w 41"/>
                  <a:gd name="T105" fmla="*/ 1 h 51"/>
                  <a:gd name="T106" fmla="*/ 10 w 41"/>
                  <a:gd name="T107" fmla="*/ 1 h 51"/>
                  <a:gd name="T108" fmla="*/ 8 w 41"/>
                  <a:gd name="T109" fmla="*/ 1 h 51"/>
                  <a:gd name="T110" fmla="*/ 8 w 41"/>
                  <a:gd name="T111" fmla="*/ 0 h 51"/>
                  <a:gd name="T112" fmla="*/ 7 w 41"/>
                  <a:gd name="T113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1" h="51">
                    <a:moveTo>
                      <a:pt x="7" y="0"/>
                    </a:moveTo>
                    <a:lnTo>
                      <a:pt x="7" y="0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20"/>
                    </a:lnTo>
                    <a:lnTo>
                      <a:pt x="10" y="25"/>
                    </a:lnTo>
                    <a:lnTo>
                      <a:pt x="12" y="29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8" y="37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5"/>
                    </a:lnTo>
                    <a:lnTo>
                      <a:pt x="21" y="48"/>
                    </a:lnTo>
                    <a:lnTo>
                      <a:pt x="23" y="51"/>
                    </a:lnTo>
                    <a:lnTo>
                      <a:pt x="26" y="51"/>
                    </a:lnTo>
                    <a:lnTo>
                      <a:pt x="30" y="51"/>
                    </a:lnTo>
                    <a:lnTo>
                      <a:pt x="34" y="49"/>
                    </a:lnTo>
                    <a:lnTo>
                      <a:pt x="37" y="48"/>
                    </a:lnTo>
                    <a:lnTo>
                      <a:pt x="40" y="45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0" y="31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0"/>
                    </a:lnTo>
                    <a:lnTo>
                      <a:pt x="41" y="19"/>
                    </a:lnTo>
                    <a:lnTo>
                      <a:pt x="41" y="18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1" y="16"/>
                    </a:lnTo>
                    <a:lnTo>
                      <a:pt x="40" y="15"/>
                    </a:lnTo>
                    <a:lnTo>
                      <a:pt x="37" y="12"/>
                    </a:lnTo>
                    <a:lnTo>
                      <a:pt x="33" y="9"/>
                    </a:lnTo>
                    <a:lnTo>
                      <a:pt x="30" y="8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0" name="Freeform 842"/>
              <p:cNvSpPr>
                <a:spLocks/>
              </p:cNvSpPr>
              <p:nvPr/>
            </p:nvSpPr>
            <p:spPr bwMode="auto">
              <a:xfrm>
                <a:off x="4673" y="2384"/>
                <a:ext cx="41" cy="51"/>
              </a:xfrm>
              <a:custGeom>
                <a:avLst/>
                <a:gdLst>
                  <a:gd name="T0" fmla="*/ 7 w 41"/>
                  <a:gd name="T1" fmla="*/ 0 h 51"/>
                  <a:gd name="T2" fmla="*/ 6 w 41"/>
                  <a:gd name="T3" fmla="*/ 1 h 51"/>
                  <a:gd name="T4" fmla="*/ 4 w 41"/>
                  <a:gd name="T5" fmla="*/ 3 h 51"/>
                  <a:gd name="T6" fmla="*/ 1 w 41"/>
                  <a:gd name="T7" fmla="*/ 4 h 51"/>
                  <a:gd name="T8" fmla="*/ 0 w 41"/>
                  <a:gd name="T9" fmla="*/ 7 h 51"/>
                  <a:gd name="T10" fmla="*/ 0 w 41"/>
                  <a:gd name="T11" fmla="*/ 9 h 51"/>
                  <a:gd name="T12" fmla="*/ 0 w 41"/>
                  <a:gd name="T13" fmla="*/ 12 h 51"/>
                  <a:gd name="T14" fmla="*/ 1 w 41"/>
                  <a:gd name="T15" fmla="*/ 15 h 51"/>
                  <a:gd name="T16" fmla="*/ 4 w 41"/>
                  <a:gd name="T17" fmla="*/ 18 h 51"/>
                  <a:gd name="T18" fmla="*/ 7 w 41"/>
                  <a:gd name="T19" fmla="*/ 20 h 51"/>
                  <a:gd name="T20" fmla="*/ 10 w 41"/>
                  <a:gd name="T21" fmla="*/ 25 h 51"/>
                  <a:gd name="T22" fmla="*/ 12 w 41"/>
                  <a:gd name="T23" fmla="*/ 29 h 51"/>
                  <a:gd name="T24" fmla="*/ 15 w 41"/>
                  <a:gd name="T25" fmla="*/ 33 h 51"/>
                  <a:gd name="T26" fmla="*/ 17 w 41"/>
                  <a:gd name="T27" fmla="*/ 36 h 51"/>
                  <a:gd name="T28" fmla="*/ 18 w 41"/>
                  <a:gd name="T29" fmla="*/ 37 h 51"/>
                  <a:gd name="T30" fmla="*/ 19 w 41"/>
                  <a:gd name="T31" fmla="*/ 38 h 51"/>
                  <a:gd name="T32" fmla="*/ 19 w 41"/>
                  <a:gd name="T33" fmla="*/ 40 h 51"/>
                  <a:gd name="T34" fmla="*/ 19 w 41"/>
                  <a:gd name="T35" fmla="*/ 42 h 51"/>
                  <a:gd name="T36" fmla="*/ 19 w 41"/>
                  <a:gd name="T37" fmla="*/ 45 h 51"/>
                  <a:gd name="T38" fmla="*/ 21 w 41"/>
                  <a:gd name="T39" fmla="*/ 48 h 51"/>
                  <a:gd name="T40" fmla="*/ 23 w 41"/>
                  <a:gd name="T41" fmla="*/ 51 h 51"/>
                  <a:gd name="T42" fmla="*/ 26 w 41"/>
                  <a:gd name="T43" fmla="*/ 51 h 51"/>
                  <a:gd name="T44" fmla="*/ 30 w 41"/>
                  <a:gd name="T45" fmla="*/ 51 h 51"/>
                  <a:gd name="T46" fmla="*/ 34 w 41"/>
                  <a:gd name="T47" fmla="*/ 49 h 51"/>
                  <a:gd name="T48" fmla="*/ 37 w 41"/>
                  <a:gd name="T49" fmla="*/ 48 h 51"/>
                  <a:gd name="T50" fmla="*/ 40 w 41"/>
                  <a:gd name="T51" fmla="*/ 45 h 51"/>
                  <a:gd name="T52" fmla="*/ 41 w 41"/>
                  <a:gd name="T53" fmla="*/ 42 h 51"/>
                  <a:gd name="T54" fmla="*/ 41 w 41"/>
                  <a:gd name="T55" fmla="*/ 40 h 51"/>
                  <a:gd name="T56" fmla="*/ 41 w 41"/>
                  <a:gd name="T57" fmla="*/ 37 h 51"/>
                  <a:gd name="T58" fmla="*/ 41 w 41"/>
                  <a:gd name="T59" fmla="*/ 34 h 51"/>
                  <a:gd name="T60" fmla="*/ 40 w 41"/>
                  <a:gd name="T61" fmla="*/ 31 h 51"/>
                  <a:gd name="T62" fmla="*/ 40 w 41"/>
                  <a:gd name="T63" fmla="*/ 27 h 51"/>
                  <a:gd name="T64" fmla="*/ 40 w 41"/>
                  <a:gd name="T65" fmla="*/ 25 h 51"/>
                  <a:gd name="T66" fmla="*/ 40 w 41"/>
                  <a:gd name="T67" fmla="*/ 23 h 51"/>
                  <a:gd name="T68" fmla="*/ 40 w 41"/>
                  <a:gd name="T69" fmla="*/ 20 h 51"/>
                  <a:gd name="T70" fmla="*/ 41 w 41"/>
                  <a:gd name="T71" fmla="*/ 19 h 51"/>
                  <a:gd name="T72" fmla="*/ 41 w 41"/>
                  <a:gd name="T73" fmla="*/ 18 h 51"/>
                  <a:gd name="T74" fmla="*/ 41 w 41"/>
                  <a:gd name="T75" fmla="*/ 16 h 51"/>
                  <a:gd name="T76" fmla="*/ 40 w 41"/>
                  <a:gd name="T77" fmla="*/ 15 h 51"/>
                  <a:gd name="T78" fmla="*/ 37 w 41"/>
                  <a:gd name="T79" fmla="*/ 12 h 51"/>
                  <a:gd name="T80" fmla="*/ 33 w 41"/>
                  <a:gd name="T81" fmla="*/ 9 h 51"/>
                  <a:gd name="T82" fmla="*/ 30 w 41"/>
                  <a:gd name="T83" fmla="*/ 8 h 51"/>
                  <a:gd name="T84" fmla="*/ 26 w 41"/>
                  <a:gd name="T85" fmla="*/ 5 h 51"/>
                  <a:gd name="T86" fmla="*/ 23 w 41"/>
                  <a:gd name="T87" fmla="*/ 4 h 51"/>
                  <a:gd name="T88" fmla="*/ 21 w 41"/>
                  <a:gd name="T89" fmla="*/ 4 h 51"/>
                  <a:gd name="T90" fmla="*/ 18 w 41"/>
                  <a:gd name="T91" fmla="*/ 4 h 51"/>
                  <a:gd name="T92" fmla="*/ 15 w 41"/>
                  <a:gd name="T93" fmla="*/ 3 h 51"/>
                  <a:gd name="T94" fmla="*/ 12 w 41"/>
                  <a:gd name="T95" fmla="*/ 3 h 51"/>
                  <a:gd name="T96" fmla="*/ 11 w 41"/>
                  <a:gd name="T97" fmla="*/ 1 h 51"/>
                  <a:gd name="T98" fmla="*/ 10 w 41"/>
                  <a:gd name="T99" fmla="*/ 1 h 51"/>
                  <a:gd name="T100" fmla="*/ 8 w 41"/>
                  <a:gd name="T101" fmla="*/ 1 h 51"/>
                  <a:gd name="T102" fmla="*/ 8 w 41"/>
                  <a:gd name="T103" fmla="*/ 0 h 51"/>
                  <a:gd name="T104" fmla="*/ 7 w 41"/>
                  <a:gd name="T105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1" h="51">
                    <a:moveTo>
                      <a:pt x="7" y="0"/>
                    </a:moveTo>
                    <a:lnTo>
                      <a:pt x="6" y="1"/>
                    </a:lnTo>
                    <a:lnTo>
                      <a:pt x="4" y="3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4" y="18"/>
                    </a:lnTo>
                    <a:lnTo>
                      <a:pt x="7" y="20"/>
                    </a:lnTo>
                    <a:lnTo>
                      <a:pt x="10" y="25"/>
                    </a:lnTo>
                    <a:lnTo>
                      <a:pt x="12" y="29"/>
                    </a:lnTo>
                    <a:lnTo>
                      <a:pt x="15" y="33"/>
                    </a:lnTo>
                    <a:lnTo>
                      <a:pt x="17" y="36"/>
                    </a:lnTo>
                    <a:lnTo>
                      <a:pt x="18" y="37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19" y="42"/>
                    </a:lnTo>
                    <a:lnTo>
                      <a:pt x="19" y="45"/>
                    </a:lnTo>
                    <a:lnTo>
                      <a:pt x="21" y="48"/>
                    </a:lnTo>
                    <a:lnTo>
                      <a:pt x="23" y="51"/>
                    </a:lnTo>
                    <a:lnTo>
                      <a:pt x="26" y="51"/>
                    </a:lnTo>
                    <a:lnTo>
                      <a:pt x="30" y="51"/>
                    </a:lnTo>
                    <a:lnTo>
                      <a:pt x="34" y="49"/>
                    </a:lnTo>
                    <a:lnTo>
                      <a:pt x="37" y="48"/>
                    </a:lnTo>
                    <a:lnTo>
                      <a:pt x="40" y="45"/>
                    </a:lnTo>
                    <a:lnTo>
                      <a:pt x="41" y="42"/>
                    </a:lnTo>
                    <a:lnTo>
                      <a:pt x="41" y="40"/>
                    </a:lnTo>
                    <a:lnTo>
                      <a:pt x="41" y="37"/>
                    </a:lnTo>
                    <a:lnTo>
                      <a:pt x="41" y="34"/>
                    </a:lnTo>
                    <a:lnTo>
                      <a:pt x="40" y="31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0"/>
                    </a:lnTo>
                    <a:lnTo>
                      <a:pt x="41" y="19"/>
                    </a:lnTo>
                    <a:lnTo>
                      <a:pt x="41" y="18"/>
                    </a:lnTo>
                    <a:lnTo>
                      <a:pt x="41" y="16"/>
                    </a:lnTo>
                    <a:lnTo>
                      <a:pt x="40" y="15"/>
                    </a:lnTo>
                    <a:lnTo>
                      <a:pt x="37" y="12"/>
                    </a:lnTo>
                    <a:lnTo>
                      <a:pt x="33" y="9"/>
                    </a:lnTo>
                    <a:lnTo>
                      <a:pt x="30" y="8"/>
                    </a:lnTo>
                    <a:lnTo>
                      <a:pt x="26" y="5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8" y="4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1" name="Freeform 843"/>
              <p:cNvSpPr>
                <a:spLocks/>
              </p:cNvSpPr>
              <p:nvPr/>
            </p:nvSpPr>
            <p:spPr bwMode="auto">
              <a:xfrm>
                <a:off x="4687" y="2238"/>
                <a:ext cx="172" cy="144"/>
              </a:xfrm>
              <a:custGeom>
                <a:avLst/>
                <a:gdLst>
                  <a:gd name="T0" fmla="*/ 0 w 172"/>
                  <a:gd name="T1" fmla="*/ 135 h 144"/>
                  <a:gd name="T2" fmla="*/ 26 w 172"/>
                  <a:gd name="T3" fmla="*/ 135 h 144"/>
                  <a:gd name="T4" fmla="*/ 69 w 172"/>
                  <a:gd name="T5" fmla="*/ 127 h 144"/>
                  <a:gd name="T6" fmla="*/ 73 w 172"/>
                  <a:gd name="T7" fmla="*/ 140 h 144"/>
                  <a:gd name="T8" fmla="*/ 76 w 172"/>
                  <a:gd name="T9" fmla="*/ 142 h 144"/>
                  <a:gd name="T10" fmla="*/ 78 w 172"/>
                  <a:gd name="T11" fmla="*/ 144 h 144"/>
                  <a:gd name="T12" fmla="*/ 84 w 172"/>
                  <a:gd name="T13" fmla="*/ 144 h 144"/>
                  <a:gd name="T14" fmla="*/ 91 w 172"/>
                  <a:gd name="T15" fmla="*/ 140 h 144"/>
                  <a:gd name="T16" fmla="*/ 96 w 172"/>
                  <a:gd name="T17" fmla="*/ 136 h 144"/>
                  <a:gd name="T18" fmla="*/ 100 w 172"/>
                  <a:gd name="T19" fmla="*/ 133 h 144"/>
                  <a:gd name="T20" fmla="*/ 102 w 172"/>
                  <a:gd name="T21" fmla="*/ 131 h 144"/>
                  <a:gd name="T22" fmla="*/ 120 w 172"/>
                  <a:gd name="T23" fmla="*/ 125 h 144"/>
                  <a:gd name="T24" fmla="*/ 125 w 172"/>
                  <a:gd name="T25" fmla="*/ 122 h 144"/>
                  <a:gd name="T26" fmla="*/ 135 w 172"/>
                  <a:gd name="T27" fmla="*/ 114 h 144"/>
                  <a:gd name="T28" fmla="*/ 147 w 172"/>
                  <a:gd name="T29" fmla="*/ 105 h 144"/>
                  <a:gd name="T30" fmla="*/ 153 w 172"/>
                  <a:gd name="T31" fmla="*/ 98 h 144"/>
                  <a:gd name="T32" fmla="*/ 155 w 172"/>
                  <a:gd name="T33" fmla="*/ 92 h 144"/>
                  <a:gd name="T34" fmla="*/ 159 w 172"/>
                  <a:gd name="T35" fmla="*/ 85 h 144"/>
                  <a:gd name="T36" fmla="*/ 164 w 172"/>
                  <a:gd name="T37" fmla="*/ 77 h 144"/>
                  <a:gd name="T38" fmla="*/ 165 w 172"/>
                  <a:gd name="T39" fmla="*/ 72 h 144"/>
                  <a:gd name="T40" fmla="*/ 165 w 172"/>
                  <a:gd name="T41" fmla="*/ 66 h 144"/>
                  <a:gd name="T42" fmla="*/ 164 w 172"/>
                  <a:gd name="T43" fmla="*/ 59 h 144"/>
                  <a:gd name="T44" fmla="*/ 162 w 172"/>
                  <a:gd name="T45" fmla="*/ 54 h 144"/>
                  <a:gd name="T46" fmla="*/ 162 w 172"/>
                  <a:gd name="T47" fmla="*/ 51 h 144"/>
                  <a:gd name="T48" fmla="*/ 164 w 172"/>
                  <a:gd name="T49" fmla="*/ 50 h 144"/>
                  <a:gd name="T50" fmla="*/ 166 w 172"/>
                  <a:gd name="T51" fmla="*/ 47 h 144"/>
                  <a:gd name="T52" fmla="*/ 169 w 172"/>
                  <a:gd name="T53" fmla="*/ 41 h 144"/>
                  <a:gd name="T54" fmla="*/ 172 w 172"/>
                  <a:gd name="T55" fmla="*/ 34 h 144"/>
                  <a:gd name="T56" fmla="*/ 172 w 172"/>
                  <a:gd name="T57" fmla="*/ 25 h 144"/>
                  <a:gd name="T58" fmla="*/ 169 w 172"/>
                  <a:gd name="T59" fmla="*/ 14 h 144"/>
                  <a:gd name="T60" fmla="*/ 168 w 172"/>
                  <a:gd name="T61" fmla="*/ 4 h 144"/>
                  <a:gd name="T62" fmla="*/ 166 w 172"/>
                  <a:gd name="T63" fmla="*/ 0 h 144"/>
                  <a:gd name="T64" fmla="*/ 164 w 172"/>
                  <a:gd name="T65" fmla="*/ 0 h 144"/>
                  <a:gd name="T66" fmla="*/ 154 w 172"/>
                  <a:gd name="T67" fmla="*/ 4 h 144"/>
                  <a:gd name="T68" fmla="*/ 144 w 172"/>
                  <a:gd name="T69" fmla="*/ 11 h 144"/>
                  <a:gd name="T70" fmla="*/ 137 w 172"/>
                  <a:gd name="T71" fmla="*/ 21 h 144"/>
                  <a:gd name="T72" fmla="*/ 136 w 172"/>
                  <a:gd name="T73" fmla="*/ 33 h 144"/>
                  <a:gd name="T74" fmla="*/ 135 w 172"/>
                  <a:gd name="T75" fmla="*/ 43 h 144"/>
                  <a:gd name="T76" fmla="*/ 133 w 172"/>
                  <a:gd name="T77" fmla="*/ 50 h 144"/>
                  <a:gd name="T78" fmla="*/ 131 w 172"/>
                  <a:gd name="T79" fmla="*/ 54 h 144"/>
                  <a:gd name="T80" fmla="*/ 128 w 172"/>
                  <a:gd name="T81" fmla="*/ 59 h 144"/>
                  <a:gd name="T82" fmla="*/ 122 w 172"/>
                  <a:gd name="T83" fmla="*/ 67 h 144"/>
                  <a:gd name="T84" fmla="*/ 114 w 172"/>
                  <a:gd name="T85" fmla="*/ 78 h 144"/>
                  <a:gd name="T86" fmla="*/ 106 w 172"/>
                  <a:gd name="T87" fmla="*/ 87 h 144"/>
                  <a:gd name="T88" fmla="*/ 95 w 172"/>
                  <a:gd name="T89" fmla="*/ 94 h 144"/>
                  <a:gd name="T90" fmla="*/ 87 w 172"/>
                  <a:gd name="T91" fmla="*/ 100 h 144"/>
                  <a:gd name="T92" fmla="*/ 80 w 172"/>
                  <a:gd name="T93" fmla="*/ 106 h 144"/>
                  <a:gd name="T94" fmla="*/ 77 w 172"/>
                  <a:gd name="T95" fmla="*/ 107 h 144"/>
                  <a:gd name="T96" fmla="*/ 26 w 172"/>
                  <a:gd name="T97" fmla="*/ 11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2" h="144">
                    <a:moveTo>
                      <a:pt x="7" y="127"/>
                    </a:moveTo>
                    <a:lnTo>
                      <a:pt x="0" y="135"/>
                    </a:lnTo>
                    <a:lnTo>
                      <a:pt x="16" y="142"/>
                    </a:lnTo>
                    <a:lnTo>
                      <a:pt x="26" y="135"/>
                    </a:lnTo>
                    <a:lnTo>
                      <a:pt x="45" y="129"/>
                    </a:lnTo>
                    <a:lnTo>
                      <a:pt x="69" y="127"/>
                    </a:lnTo>
                    <a:lnTo>
                      <a:pt x="73" y="140"/>
                    </a:lnTo>
                    <a:lnTo>
                      <a:pt x="73" y="140"/>
                    </a:lnTo>
                    <a:lnTo>
                      <a:pt x="74" y="140"/>
                    </a:lnTo>
                    <a:lnTo>
                      <a:pt x="76" y="142"/>
                    </a:lnTo>
                    <a:lnTo>
                      <a:pt x="77" y="143"/>
                    </a:lnTo>
                    <a:lnTo>
                      <a:pt x="78" y="144"/>
                    </a:lnTo>
                    <a:lnTo>
                      <a:pt x="81" y="144"/>
                    </a:lnTo>
                    <a:lnTo>
                      <a:pt x="84" y="144"/>
                    </a:lnTo>
                    <a:lnTo>
                      <a:pt x="88" y="143"/>
                    </a:lnTo>
                    <a:lnTo>
                      <a:pt x="91" y="140"/>
                    </a:lnTo>
                    <a:lnTo>
                      <a:pt x="93" y="139"/>
                    </a:lnTo>
                    <a:lnTo>
                      <a:pt x="96" y="136"/>
                    </a:lnTo>
                    <a:lnTo>
                      <a:pt x="98" y="135"/>
                    </a:lnTo>
                    <a:lnTo>
                      <a:pt x="100" y="133"/>
                    </a:lnTo>
                    <a:lnTo>
                      <a:pt x="100" y="132"/>
                    </a:lnTo>
                    <a:lnTo>
                      <a:pt x="102" y="131"/>
                    </a:lnTo>
                    <a:lnTo>
                      <a:pt x="102" y="131"/>
                    </a:lnTo>
                    <a:lnTo>
                      <a:pt x="120" y="125"/>
                    </a:lnTo>
                    <a:lnTo>
                      <a:pt x="121" y="125"/>
                    </a:lnTo>
                    <a:lnTo>
                      <a:pt x="125" y="122"/>
                    </a:lnTo>
                    <a:lnTo>
                      <a:pt x="129" y="118"/>
                    </a:lnTo>
                    <a:lnTo>
                      <a:pt x="135" y="114"/>
                    </a:lnTo>
                    <a:lnTo>
                      <a:pt x="142" y="110"/>
                    </a:lnTo>
                    <a:lnTo>
                      <a:pt x="147" y="105"/>
                    </a:lnTo>
                    <a:lnTo>
                      <a:pt x="150" y="100"/>
                    </a:lnTo>
                    <a:lnTo>
                      <a:pt x="153" y="98"/>
                    </a:lnTo>
                    <a:lnTo>
                      <a:pt x="154" y="95"/>
                    </a:lnTo>
                    <a:lnTo>
                      <a:pt x="155" y="92"/>
                    </a:lnTo>
                    <a:lnTo>
                      <a:pt x="158" y="88"/>
                    </a:lnTo>
                    <a:lnTo>
                      <a:pt x="159" y="85"/>
                    </a:lnTo>
                    <a:lnTo>
                      <a:pt x="162" y="81"/>
                    </a:lnTo>
                    <a:lnTo>
                      <a:pt x="164" y="77"/>
                    </a:lnTo>
                    <a:lnTo>
                      <a:pt x="165" y="74"/>
                    </a:lnTo>
                    <a:lnTo>
                      <a:pt x="165" y="72"/>
                    </a:lnTo>
                    <a:lnTo>
                      <a:pt x="165" y="70"/>
                    </a:lnTo>
                    <a:lnTo>
                      <a:pt x="165" y="66"/>
                    </a:lnTo>
                    <a:lnTo>
                      <a:pt x="164" y="63"/>
                    </a:lnTo>
                    <a:lnTo>
                      <a:pt x="164" y="59"/>
                    </a:lnTo>
                    <a:lnTo>
                      <a:pt x="164" y="56"/>
                    </a:lnTo>
                    <a:lnTo>
                      <a:pt x="162" y="54"/>
                    </a:lnTo>
                    <a:lnTo>
                      <a:pt x="162" y="51"/>
                    </a:lnTo>
                    <a:lnTo>
                      <a:pt x="162" y="51"/>
                    </a:lnTo>
                    <a:lnTo>
                      <a:pt x="162" y="51"/>
                    </a:lnTo>
                    <a:lnTo>
                      <a:pt x="164" y="50"/>
                    </a:lnTo>
                    <a:lnTo>
                      <a:pt x="165" y="48"/>
                    </a:lnTo>
                    <a:lnTo>
                      <a:pt x="166" y="47"/>
                    </a:lnTo>
                    <a:lnTo>
                      <a:pt x="168" y="44"/>
                    </a:lnTo>
                    <a:lnTo>
                      <a:pt x="169" y="41"/>
                    </a:lnTo>
                    <a:lnTo>
                      <a:pt x="170" y="39"/>
                    </a:lnTo>
                    <a:lnTo>
                      <a:pt x="172" y="34"/>
                    </a:lnTo>
                    <a:lnTo>
                      <a:pt x="172" y="30"/>
                    </a:lnTo>
                    <a:lnTo>
                      <a:pt x="172" y="25"/>
                    </a:lnTo>
                    <a:lnTo>
                      <a:pt x="170" y="19"/>
                    </a:lnTo>
                    <a:lnTo>
                      <a:pt x="169" y="14"/>
                    </a:lnTo>
                    <a:lnTo>
                      <a:pt x="169" y="8"/>
                    </a:lnTo>
                    <a:lnTo>
                      <a:pt x="168" y="4"/>
                    </a:lnTo>
                    <a:lnTo>
                      <a:pt x="168" y="0"/>
                    </a:lnTo>
                    <a:lnTo>
                      <a:pt x="166" y="0"/>
                    </a:lnTo>
                    <a:lnTo>
                      <a:pt x="166" y="0"/>
                    </a:lnTo>
                    <a:lnTo>
                      <a:pt x="164" y="0"/>
                    </a:lnTo>
                    <a:lnTo>
                      <a:pt x="159" y="1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4" y="11"/>
                    </a:lnTo>
                    <a:lnTo>
                      <a:pt x="140" y="15"/>
                    </a:lnTo>
                    <a:lnTo>
                      <a:pt x="137" y="21"/>
                    </a:lnTo>
                    <a:lnTo>
                      <a:pt x="137" y="28"/>
                    </a:lnTo>
                    <a:lnTo>
                      <a:pt x="136" y="33"/>
                    </a:lnTo>
                    <a:lnTo>
                      <a:pt x="135" y="39"/>
                    </a:lnTo>
                    <a:lnTo>
                      <a:pt x="135" y="43"/>
                    </a:lnTo>
                    <a:lnTo>
                      <a:pt x="133" y="47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4"/>
                    </a:lnTo>
                    <a:lnTo>
                      <a:pt x="129" y="56"/>
                    </a:lnTo>
                    <a:lnTo>
                      <a:pt x="128" y="59"/>
                    </a:lnTo>
                    <a:lnTo>
                      <a:pt x="125" y="63"/>
                    </a:lnTo>
                    <a:lnTo>
                      <a:pt x="122" y="67"/>
                    </a:lnTo>
                    <a:lnTo>
                      <a:pt x="118" y="73"/>
                    </a:lnTo>
                    <a:lnTo>
                      <a:pt x="114" y="78"/>
                    </a:lnTo>
                    <a:lnTo>
                      <a:pt x="110" y="83"/>
                    </a:lnTo>
                    <a:lnTo>
                      <a:pt x="106" y="87"/>
                    </a:lnTo>
                    <a:lnTo>
                      <a:pt x="100" y="89"/>
                    </a:lnTo>
                    <a:lnTo>
                      <a:pt x="95" y="94"/>
                    </a:lnTo>
                    <a:lnTo>
                      <a:pt x="91" y="98"/>
                    </a:lnTo>
                    <a:lnTo>
                      <a:pt x="87" y="100"/>
                    </a:lnTo>
                    <a:lnTo>
                      <a:pt x="82" y="103"/>
                    </a:lnTo>
                    <a:lnTo>
                      <a:pt x="80" y="106"/>
                    </a:lnTo>
                    <a:lnTo>
                      <a:pt x="77" y="107"/>
                    </a:lnTo>
                    <a:lnTo>
                      <a:pt x="77" y="107"/>
                    </a:lnTo>
                    <a:lnTo>
                      <a:pt x="49" y="107"/>
                    </a:lnTo>
                    <a:lnTo>
                      <a:pt x="26" y="114"/>
                    </a:lnTo>
                    <a:lnTo>
                      <a:pt x="7" y="12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2" name="Freeform 844"/>
              <p:cNvSpPr>
                <a:spLocks/>
              </p:cNvSpPr>
              <p:nvPr/>
            </p:nvSpPr>
            <p:spPr bwMode="auto">
              <a:xfrm>
                <a:off x="4687" y="2238"/>
                <a:ext cx="172" cy="144"/>
              </a:xfrm>
              <a:custGeom>
                <a:avLst/>
                <a:gdLst>
                  <a:gd name="T0" fmla="*/ 0 w 172"/>
                  <a:gd name="T1" fmla="*/ 135 h 144"/>
                  <a:gd name="T2" fmla="*/ 26 w 172"/>
                  <a:gd name="T3" fmla="*/ 135 h 144"/>
                  <a:gd name="T4" fmla="*/ 69 w 172"/>
                  <a:gd name="T5" fmla="*/ 127 h 144"/>
                  <a:gd name="T6" fmla="*/ 74 w 172"/>
                  <a:gd name="T7" fmla="*/ 140 h 144"/>
                  <a:gd name="T8" fmla="*/ 77 w 172"/>
                  <a:gd name="T9" fmla="*/ 143 h 144"/>
                  <a:gd name="T10" fmla="*/ 81 w 172"/>
                  <a:gd name="T11" fmla="*/ 144 h 144"/>
                  <a:gd name="T12" fmla="*/ 88 w 172"/>
                  <a:gd name="T13" fmla="*/ 143 h 144"/>
                  <a:gd name="T14" fmla="*/ 93 w 172"/>
                  <a:gd name="T15" fmla="*/ 139 h 144"/>
                  <a:gd name="T16" fmla="*/ 98 w 172"/>
                  <a:gd name="T17" fmla="*/ 135 h 144"/>
                  <a:gd name="T18" fmla="*/ 100 w 172"/>
                  <a:gd name="T19" fmla="*/ 132 h 144"/>
                  <a:gd name="T20" fmla="*/ 120 w 172"/>
                  <a:gd name="T21" fmla="*/ 125 h 144"/>
                  <a:gd name="T22" fmla="*/ 125 w 172"/>
                  <a:gd name="T23" fmla="*/ 122 h 144"/>
                  <a:gd name="T24" fmla="*/ 135 w 172"/>
                  <a:gd name="T25" fmla="*/ 114 h 144"/>
                  <a:gd name="T26" fmla="*/ 147 w 172"/>
                  <a:gd name="T27" fmla="*/ 105 h 144"/>
                  <a:gd name="T28" fmla="*/ 153 w 172"/>
                  <a:gd name="T29" fmla="*/ 98 h 144"/>
                  <a:gd name="T30" fmla="*/ 155 w 172"/>
                  <a:gd name="T31" fmla="*/ 92 h 144"/>
                  <a:gd name="T32" fmla="*/ 159 w 172"/>
                  <a:gd name="T33" fmla="*/ 85 h 144"/>
                  <a:gd name="T34" fmla="*/ 164 w 172"/>
                  <a:gd name="T35" fmla="*/ 77 h 144"/>
                  <a:gd name="T36" fmla="*/ 165 w 172"/>
                  <a:gd name="T37" fmla="*/ 72 h 144"/>
                  <a:gd name="T38" fmla="*/ 165 w 172"/>
                  <a:gd name="T39" fmla="*/ 66 h 144"/>
                  <a:gd name="T40" fmla="*/ 164 w 172"/>
                  <a:gd name="T41" fmla="*/ 59 h 144"/>
                  <a:gd name="T42" fmla="*/ 162 w 172"/>
                  <a:gd name="T43" fmla="*/ 54 h 144"/>
                  <a:gd name="T44" fmla="*/ 164 w 172"/>
                  <a:gd name="T45" fmla="*/ 50 h 144"/>
                  <a:gd name="T46" fmla="*/ 166 w 172"/>
                  <a:gd name="T47" fmla="*/ 47 h 144"/>
                  <a:gd name="T48" fmla="*/ 169 w 172"/>
                  <a:gd name="T49" fmla="*/ 41 h 144"/>
                  <a:gd name="T50" fmla="*/ 172 w 172"/>
                  <a:gd name="T51" fmla="*/ 34 h 144"/>
                  <a:gd name="T52" fmla="*/ 172 w 172"/>
                  <a:gd name="T53" fmla="*/ 25 h 144"/>
                  <a:gd name="T54" fmla="*/ 169 w 172"/>
                  <a:gd name="T55" fmla="*/ 14 h 144"/>
                  <a:gd name="T56" fmla="*/ 168 w 172"/>
                  <a:gd name="T57" fmla="*/ 4 h 144"/>
                  <a:gd name="T58" fmla="*/ 166 w 172"/>
                  <a:gd name="T59" fmla="*/ 0 h 144"/>
                  <a:gd name="T60" fmla="*/ 159 w 172"/>
                  <a:gd name="T61" fmla="*/ 1 h 144"/>
                  <a:gd name="T62" fmla="*/ 148 w 172"/>
                  <a:gd name="T63" fmla="*/ 7 h 144"/>
                  <a:gd name="T64" fmla="*/ 140 w 172"/>
                  <a:gd name="T65" fmla="*/ 15 h 144"/>
                  <a:gd name="T66" fmla="*/ 137 w 172"/>
                  <a:gd name="T67" fmla="*/ 28 h 144"/>
                  <a:gd name="T68" fmla="*/ 135 w 172"/>
                  <a:gd name="T69" fmla="*/ 39 h 144"/>
                  <a:gd name="T70" fmla="*/ 133 w 172"/>
                  <a:gd name="T71" fmla="*/ 47 h 144"/>
                  <a:gd name="T72" fmla="*/ 132 w 172"/>
                  <a:gd name="T73" fmla="*/ 52 h 144"/>
                  <a:gd name="T74" fmla="*/ 129 w 172"/>
                  <a:gd name="T75" fmla="*/ 56 h 144"/>
                  <a:gd name="T76" fmla="*/ 125 w 172"/>
                  <a:gd name="T77" fmla="*/ 63 h 144"/>
                  <a:gd name="T78" fmla="*/ 118 w 172"/>
                  <a:gd name="T79" fmla="*/ 73 h 144"/>
                  <a:gd name="T80" fmla="*/ 110 w 172"/>
                  <a:gd name="T81" fmla="*/ 83 h 144"/>
                  <a:gd name="T82" fmla="*/ 100 w 172"/>
                  <a:gd name="T83" fmla="*/ 89 h 144"/>
                  <a:gd name="T84" fmla="*/ 91 w 172"/>
                  <a:gd name="T85" fmla="*/ 98 h 144"/>
                  <a:gd name="T86" fmla="*/ 82 w 172"/>
                  <a:gd name="T87" fmla="*/ 103 h 144"/>
                  <a:gd name="T88" fmla="*/ 77 w 172"/>
                  <a:gd name="T89" fmla="*/ 107 h 144"/>
                  <a:gd name="T90" fmla="*/ 26 w 172"/>
                  <a:gd name="T91" fmla="*/ 11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72" h="144">
                    <a:moveTo>
                      <a:pt x="7" y="127"/>
                    </a:moveTo>
                    <a:lnTo>
                      <a:pt x="0" y="135"/>
                    </a:lnTo>
                    <a:lnTo>
                      <a:pt x="16" y="142"/>
                    </a:lnTo>
                    <a:lnTo>
                      <a:pt x="26" y="135"/>
                    </a:lnTo>
                    <a:lnTo>
                      <a:pt x="45" y="129"/>
                    </a:lnTo>
                    <a:lnTo>
                      <a:pt x="69" y="127"/>
                    </a:lnTo>
                    <a:lnTo>
                      <a:pt x="73" y="140"/>
                    </a:lnTo>
                    <a:lnTo>
                      <a:pt x="74" y="140"/>
                    </a:lnTo>
                    <a:lnTo>
                      <a:pt x="76" y="142"/>
                    </a:lnTo>
                    <a:lnTo>
                      <a:pt x="77" y="143"/>
                    </a:lnTo>
                    <a:lnTo>
                      <a:pt x="78" y="144"/>
                    </a:lnTo>
                    <a:lnTo>
                      <a:pt x="81" y="144"/>
                    </a:lnTo>
                    <a:lnTo>
                      <a:pt x="84" y="144"/>
                    </a:lnTo>
                    <a:lnTo>
                      <a:pt x="88" y="143"/>
                    </a:lnTo>
                    <a:lnTo>
                      <a:pt x="91" y="140"/>
                    </a:lnTo>
                    <a:lnTo>
                      <a:pt x="93" y="139"/>
                    </a:lnTo>
                    <a:lnTo>
                      <a:pt x="96" y="136"/>
                    </a:lnTo>
                    <a:lnTo>
                      <a:pt x="98" y="135"/>
                    </a:lnTo>
                    <a:lnTo>
                      <a:pt x="100" y="133"/>
                    </a:lnTo>
                    <a:lnTo>
                      <a:pt x="100" y="132"/>
                    </a:lnTo>
                    <a:lnTo>
                      <a:pt x="102" y="131"/>
                    </a:lnTo>
                    <a:lnTo>
                      <a:pt x="120" y="125"/>
                    </a:lnTo>
                    <a:lnTo>
                      <a:pt x="121" y="125"/>
                    </a:lnTo>
                    <a:lnTo>
                      <a:pt x="125" y="122"/>
                    </a:lnTo>
                    <a:lnTo>
                      <a:pt x="129" y="118"/>
                    </a:lnTo>
                    <a:lnTo>
                      <a:pt x="135" y="114"/>
                    </a:lnTo>
                    <a:lnTo>
                      <a:pt x="142" y="110"/>
                    </a:lnTo>
                    <a:lnTo>
                      <a:pt x="147" y="105"/>
                    </a:lnTo>
                    <a:lnTo>
                      <a:pt x="150" y="100"/>
                    </a:lnTo>
                    <a:lnTo>
                      <a:pt x="153" y="98"/>
                    </a:lnTo>
                    <a:lnTo>
                      <a:pt x="154" y="95"/>
                    </a:lnTo>
                    <a:lnTo>
                      <a:pt x="155" y="92"/>
                    </a:lnTo>
                    <a:lnTo>
                      <a:pt x="158" y="88"/>
                    </a:lnTo>
                    <a:lnTo>
                      <a:pt x="159" y="85"/>
                    </a:lnTo>
                    <a:lnTo>
                      <a:pt x="162" y="81"/>
                    </a:lnTo>
                    <a:lnTo>
                      <a:pt x="164" y="77"/>
                    </a:lnTo>
                    <a:lnTo>
                      <a:pt x="165" y="74"/>
                    </a:lnTo>
                    <a:lnTo>
                      <a:pt x="165" y="72"/>
                    </a:lnTo>
                    <a:lnTo>
                      <a:pt x="165" y="70"/>
                    </a:lnTo>
                    <a:lnTo>
                      <a:pt x="165" y="66"/>
                    </a:lnTo>
                    <a:lnTo>
                      <a:pt x="164" y="63"/>
                    </a:lnTo>
                    <a:lnTo>
                      <a:pt x="164" y="59"/>
                    </a:lnTo>
                    <a:lnTo>
                      <a:pt x="164" y="56"/>
                    </a:lnTo>
                    <a:lnTo>
                      <a:pt x="162" y="54"/>
                    </a:lnTo>
                    <a:lnTo>
                      <a:pt x="162" y="51"/>
                    </a:lnTo>
                    <a:lnTo>
                      <a:pt x="164" y="50"/>
                    </a:lnTo>
                    <a:lnTo>
                      <a:pt x="165" y="48"/>
                    </a:lnTo>
                    <a:lnTo>
                      <a:pt x="166" y="47"/>
                    </a:lnTo>
                    <a:lnTo>
                      <a:pt x="168" y="44"/>
                    </a:lnTo>
                    <a:lnTo>
                      <a:pt x="169" y="41"/>
                    </a:lnTo>
                    <a:lnTo>
                      <a:pt x="170" y="39"/>
                    </a:lnTo>
                    <a:lnTo>
                      <a:pt x="172" y="34"/>
                    </a:lnTo>
                    <a:lnTo>
                      <a:pt x="172" y="30"/>
                    </a:lnTo>
                    <a:lnTo>
                      <a:pt x="172" y="25"/>
                    </a:lnTo>
                    <a:lnTo>
                      <a:pt x="170" y="19"/>
                    </a:lnTo>
                    <a:lnTo>
                      <a:pt x="169" y="14"/>
                    </a:lnTo>
                    <a:lnTo>
                      <a:pt x="169" y="8"/>
                    </a:lnTo>
                    <a:lnTo>
                      <a:pt x="168" y="4"/>
                    </a:lnTo>
                    <a:lnTo>
                      <a:pt x="168" y="0"/>
                    </a:lnTo>
                    <a:lnTo>
                      <a:pt x="166" y="0"/>
                    </a:lnTo>
                    <a:lnTo>
                      <a:pt x="164" y="0"/>
                    </a:lnTo>
                    <a:lnTo>
                      <a:pt x="159" y="1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4" y="11"/>
                    </a:lnTo>
                    <a:lnTo>
                      <a:pt x="140" y="15"/>
                    </a:lnTo>
                    <a:lnTo>
                      <a:pt x="137" y="21"/>
                    </a:lnTo>
                    <a:lnTo>
                      <a:pt x="137" y="28"/>
                    </a:lnTo>
                    <a:lnTo>
                      <a:pt x="136" y="33"/>
                    </a:lnTo>
                    <a:lnTo>
                      <a:pt x="135" y="39"/>
                    </a:lnTo>
                    <a:lnTo>
                      <a:pt x="135" y="43"/>
                    </a:lnTo>
                    <a:lnTo>
                      <a:pt x="133" y="47"/>
                    </a:lnTo>
                    <a:lnTo>
                      <a:pt x="133" y="50"/>
                    </a:lnTo>
                    <a:lnTo>
                      <a:pt x="132" y="52"/>
                    </a:lnTo>
                    <a:lnTo>
                      <a:pt x="131" y="54"/>
                    </a:lnTo>
                    <a:lnTo>
                      <a:pt x="129" y="56"/>
                    </a:lnTo>
                    <a:lnTo>
                      <a:pt x="128" y="59"/>
                    </a:lnTo>
                    <a:lnTo>
                      <a:pt x="125" y="63"/>
                    </a:lnTo>
                    <a:lnTo>
                      <a:pt x="122" y="67"/>
                    </a:lnTo>
                    <a:lnTo>
                      <a:pt x="118" y="73"/>
                    </a:lnTo>
                    <a:lnTo>
                      <a:pt x="114" y="78"/>
                    </a:lnTo>
                    <a:lnTo>
                      <a:pt x="110" y="83"/>
                    </a:lnTo>
                    <a:lnTo>
                      <a:pt x="106" y="87"/>
                    </a:lnTo>
                    <a:lnTo>
                      <a:pt x="100" y="89"/>
                    </a:lnTo>
                    <a:lnTo>
                      <a:pt x="95" y="94"/>
                    </a:lnTo>
                    <a:lnTo>
                      <a:pt x="91" y="98"/>
                    </a:lnTo>
                    <a:lnTo>
                      <a:pt x="87" y="100"/>
                    </a:lnTo>
                    <a:lnTo>
                      <a:pt x="82" y="103"/>
                    </a:lnTo>
                    <a:lnTo>
                      <a:pt x="80" y="106"/>
                    </a:lnTo>
                    <a:lnTo>
                      <a:pt x="77" y="107"/>
                    </a:lnTo>
                    <a:lnTo>
                      <a:pt x="49" y="107"/>
                    </a:lnTo>
                    <a:lnTo>
                      <a:pt x="26" y="114"/>
                    </a:lnTo>
                    <a:lnTo>
                      <a:pt x="7" y="12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3" name="Freeform 845"/>
              <p:cNvSpPr>
                <a:spLocks/>
              </p:cNvSpPr>
              <p:nvPr/>
            </p:nvSpPr>
            <p:spPr bwMode="auto">
              <a:xfrm>
                <a:off x="4710" y="2377"/>
                <a:ext cx="31" cy="18"/>
              </a:xfrm>
              <a:custGeom>
                <a:avLst/>
                <a:gdLst>
                  <a:gd name="T0" fmla="*/ 11 w 31"/>
                  <a:gd name="T1" fmla="*/ 0 h 18"/>
                  <a:gd name="T2" fmla="*/ 0 w 31"/>
                  <a:gd name="T3" fmla="*/ 12 h 18"/>
                  <a:gd name="T4" fmla="*/ 11 w 31"/>
                  <a:gd name="T5" fmla="*/ 18 h 18"/>
                  <a:gd name="T6" fmla="*/ 22 w 31"/>
                  <a:gd name="T7" fmla="*/ 10 h 18"/>
                  <a:gd name="T8" fmla="*/ 31 w 31"/>
                  <a:gd name="T9" fmla="*/ 3 h 18"/>
                  <a:gd name="T10" fmla="*/ 11 w 31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8">
                    <a:moveTo>
                      <a:pt x="11" y="0"/>
                    </a:moveTo>
                    <a:lnTo>
                      <a:pt x="0" y="12"/>
                    </a:lnTo>
                    <a:lnTo>
                      <a:pt x="11" y="18"/>
                    </a:lnTo>
                    <a:lnTo>
                      <a:pt x="22" y="10"/>
                    </a:lnTo>
                    <a:lnTo>
                      <a:pt x="31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4" name="Freeform 846"/>
              <p:cNvSpPr>
                <a:spLocks/>
              </p:cNvSpPr>
              <p:nvPr/>
            </p:nvSpPr>
            <p:spPr bwMode="auto">
              <a:xfrm>
                <a:off x="4710" y="2377"/>
                <a:ext cx="31" cy="18"/>
              </a:xfrm>
              <a:custGeom>
                <a:avLst/>
                <a:gdLst>
                  <a:gd name="T0" fmla="*/ 11 w 31"/>
                  <a:gd name="T1" fmla="*/ 0 h 18"/>
                  <a:gd name="T2" fmla="*/ 0 w 31"/>
                  <a:gd name="T3" fmla="*/ 12 h 18"/>
                  <a:gd name="T4" fmla="*/ 11 w 31"/>
                  <a:gd name="T5" fmla="*/ 18 h 18"/>
                  <a:gd name="T6" fmla="*/ 22 w 31"/>
                  <a:gd name="T7" fmla="*/ 10 h 18"/>
                  <a:gd name="T8" fmla="*/ 31 w 31"/>
                  <a:gd name="T9" fmla="*/ 3 h 18"/>
                  <a:gd name="T10" fmla="*/ 11 w 31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18">
                    <a:moveTo>
                      <a:pt x="11" y="0"/>
                    </a:moveTo>
                    <a:lnTo>
                      <a:pt x="0" y="12"/>
                    </a:lnTo>
                    <a:lnTo>
                      <a:pt x="11" y="18"/>
                    </a:lnTo>
                    <a:lnTo>
                      <a:pt x="22" y="10"/>
                    </a:lnTo>
                    <a:lnTo>
                      <a:pt x="31" y="3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5" name="Freeform 847"/>
              <p:cNvSpPr>
                <a:spLocks/>
              </p:cNvSpPr>
              <p:nvPr/>
            </p:nvSpPr>
            <p:spPr bwMode="auto">
              <a:xfrm>
                <a:off x="4827" y="2150"/>
                <a:ext cx="92" cy="72"/>
              </a:xfrm>
              <a:custGeom>
                <a:avLst/>
                <a:gdLst>
                  <a:gd name="T0" fmla="*/ 43 w 92"/>
                  <a:gd name="T1" fmla="*/ 7 h 72"/>
                  <a:gd name="T2" fmla="*/ 40 w 92"/>
                  <a:gd name="T3" fmla="*/ 4 h 72"/>
                  <a:gd name="T4" fmla="*/ 36 w 92"/>
                  <a:gd name="T5" fmla="*/ 0 h 72"/>
                  <a:gd name="T6" fmla="*/ 32 w 92"/>
                  <a:gd name="T7" fmla="*/ 2 h 72"/>
                  <a:gd name="T8" fmla="*/ 28 w 92"/>
                  <a:gd name="T9" fmla="*/ 10 h 72"/>
                  <a:gd name="T10" fmla="*/ 26 w 92"/>
                  <a:gd name="T11" fmla="*/ 18 h 72"/>
                  <a:gd name="T12" fmla="*/ 25 w 92"/>
                  <a:gd name="T13" fmla="*/ 23 h 72"/>
                  <a:gd name="T14" fmla="*/ 24 w 92"/>
                  <a:gd name="T15" fmla="*/ 29 h 72"/>
                  <a:gd name="T16" fmla="*/ 22 w 92"/>
                  <a:gd name="T17" fmla="*/ 33 h 72"/>
                  <a:gd name="T18" fmla="*/ 17 w 92"/>
                  <a:gd name="T19" fmla="*/ 41 h 72"/>
                  <a:gd name="T20" fmla="*/ 11 w 92"/>
                  <a:gd name="T21" fmla="*/ 51 h 72"/>
                  <a:gd name="T22" fmla="*/ 4 w 92"/>
                  <a:gd name="T23" fmla="*/ 58 h 72"/>
                  <a:gd name="T24" fmla="*/ 2 w 92"/>
                  <a:gd name="T25" fmla="*/ 61 h 72"/>
                  <a:gd name="T26" fmla="*/ 0 w 92"/>
                  <a:gd name="T27" fmla="*/ 63 h 72"/>
                  <a:gd name="T28" fmla="*/ 0 w 92"/>
                  <a:gd name="T29" fmla="*/ 65 h 72"/>
                  <a:gd name="T30" fmla="*/ 3 w 92"/>
                  <a:gd name="T31" fmla="*/ 67 h 72"/>
                  <a:gd name="T32" fmla="*/ 10 w 92"/>
                  <a:gd name="T33" fmla="*/ 67 h 72"/>
                  <a:gd name="T34" fmla="*/ 19 w 92"/>
                  <a:gd name="T35" fmla="*/ 69 h 72"/>
                  <a:gd name="T36" fmla="*/ 30 w 92"/>
                  <a:gd name="T37" fmla="*/ 67 h 72"/>
                  <a:gd name="T38" fmla="*/ 39 w 92"/>
                  <a:gd name="T39" fmla="*/ 67 h 72"/>
                  <a:gd name="T40" fmla="*/ 46 w 92"/>
                  <a:gd name="T41" fmla="*/ 72 h 72"/>
                  <a:gd name="T42" fmla="*/ 58 w 92"/>
                  <a:gd name="T43" fmla="*/ 69 h 72"/>
                  <a:gd name="T44" fmla="*/ 61 w 92"/>
                  <a:gd name="T45" fmla="*/ 63 h 72"/>
                  <a:gd name="T46" fmla="*/ 66 w 92"/>
                  <a:gd name="T47" fmla="*/ 56 h 72"/>
                  <a:gd name="T48" fmla="*/ 72 w 92"/>
                  <a:gd name="T49" fmla="*/ 52 h 72"/>
                  <a:gd name="T50" fmla="*/ 76 w 92"/>
                  <a:gd name="T51" fmla="*/ 52 h 72"/>
                  <a:gd name="T52" fmla="*/ 81 w 92"/>
                  <a:gd name="T53" fmla="*/ 48 h 72"/>
                  <a:gd name="T54" fmla="*/ 88 w 92"/>
                  <a:gd name="T55" fmla="*/ 43 h 72"/>
                  <a:gd name="T56" fmla="*/ 92 w 92"/>
                  <a:gd name="T57" fmla="*/ 40 h 72"/>
                  <a:gd name="T58" fmla="*/ 92 w 92"/>
                  <a:gd name="T59" fmla="*/ 39 h 72"/>
                  <a:gd name="T60" fmla="*/ 92 w 92"/>
                  <a:gd name="T61" fmla="*/ 34 h 72"/>
                  <a:gd name="T62" fmla="*/ 92 w 92"/>
                  <a:gd name="T63" fmla="*/ 29 h 72"/>
                  <a:gd name="T64" fmla="*/ 91 w 92"/>
                  <a:gd name="T65" fmla="*/ 25 h 72"/>
                  <a:gd name="T66" fmla="*/ 88 w 92"/>
                  <a:gd name="T67" fmla="*/ 25 h 72"/>
                  <a:gd name="T68" fmla="*/ 84 w 92"/>
                  <a:gd name="T69" fmla="*/ 28 h 72"/>
                  <a:gd name="T70" fmla="*/ 81 w 92"/>
                  <a:gd name="T71" fmla="*/ 30 h 72"/>
                  <a:gd name="T72" fmla="*/ 79 w 92"/>
                  <a:gd name="T73" fmla="*/ 32 h 72"/>
                  <a:gd name="T74" fmla="*/ 74 w 92"/>
                  <a:gd name="T75" fmla="*/ 32 h 72"/>
                  <a:gd name="T76" fmla="*/ 65 w 92"/>
                  <a:gd name="T77" fmla="*/ 28 h 72"/>
                  <a:gd name="T78" fmla="*/ 54 w 92"/>
                  <a:gd name="T79" fmla="*/ 22 h 72"/>
                  <a:gd name="T80" fmla="*/ 46 w 92"/>
                  <a:gd name="T81" fmla="*/ 1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92" h="72">
                    <a:moveTo>
                      <a:pt x="43" y="8"/>
                    </a:moveTo>
                    <a:lnTo>
                      <a:pt x="43" y="7"/>
                    </a:lnTo>
                    <a:lnTo>
                      <a:pt x="41" y="6"/>
                    </a:lnTo>
                    <a:lnTo>
                      <a:pt x="40" y="4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2" y="2"/>
                    </a:lnTo>
                    <a:lnTo>
                      <a:pt x="29" y="6"/>
                    </a:lnTo>
                    <a:lnTo>
                      <a:pt x="28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5" y="26"/>
                    </a:lnTo>
                    <a:lnTo>
                      <a:pt x="24" y="29"/>
                    </a:lnTo>
                    <a:lnTo>
                      <a:pt x="24" y="30"/>
                    </a:lnTo>
                    <a:lnTo>
                      <a:pt x="22" y="33"/>
                    </a:lnTo>
                    <a:lnTo>
                      <a:pt x="21" y="37"/>
                    </a:lnTo>
                    <a:lnTo>
                      <a:pt x="17" y="41"/>
                    </a:lnTo>
                    <a:lnTo>
                      <a:pt x="14" y="47"/>
                    </a:lnTo>
                    <a:lnTo>
                      <a:pt x="11" y="51"/>
                    </a:lnTo>
                    <a:lnTo>
                      <a:pt x="7" y="55"/>
                    </a:lnTo>
                    <a:lnTo>
                      <a:pt x="4" y="58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2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10" y="67"/>
                    </a:lnTo>
                    <a:lnTo>
                      <a:pt x="14" y="69"/>
                    </a:lnTo>
                    <a:lnTo>
                      <a:pt x="19" y="69"/>
                    </a:lnTo>
                    <a:lnTo>
                      <a:pt x="25" y="67"/>
                    </a:lnTo>
                    <a:lnTo>
                      <a:pt x="30" y="67"/>
                    </a:lnTo>
                    <a:lnTo>
                      <a:pt x="35" y="67"/>
                    </a:lnTo>
                    <a:lnTo>
                      <a:pt x="39" y="67"/>
                    </a:lnTo>
                    <a:lnTo>
                      <a:pt x="39" y="67"/>
                    </a:lnTo>
                    <a:lnTo>
                      <a:pt x="46" y="72"/>
                    </a:lnTo>
                    <a:lnTo>
                      <a:pt x="57" y="70"/>
                    </a:lnTo>
                    <a:lnTo>
                      <a:pt x="58" y="69"/>
                    </a:lnTo>
                    <a:lnTo>
                      <a:pt x="59" y="66"/>
                    </a:lnTo>
                    <a:lnTo>
                      <a:pt x="61" y="63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9" y="54"/>
                    </a:lnTo>
                    <a:lnTo>
                      <a:pt x="72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1"/>
                    </a:lnTo>
                    <a:lnTo>
                      <a:pt x="81" y="48"/>
                    </a:lnTo>
                    <a:lnTo>
                      <a:pt x="85" y="45"/>
                    </a:lnTo>
                    <a:lnTo>
                      <a:pt x="88" y="43"/>
                    </a:lnTo>
                    <a:lnTo>
                      <a:pt x="90" y="41"/>
                    </a:lnTo>
                    <a:lnTo>
                      <a:pt x="92" y="40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29"/>
                    </a:lnTo>
                    <a:lnTo>
                      <a:pt x="92" y="26"/>
                    </a:lnTo>
                    <a:lnTo>
                      <a:pt x="91" y="25"/>
                    </a:lnTo>
                    <a:lnTo>
                      <a:pt x="90" y="25"/>
                    </a:lnTo>
                    <a:lnTo>
                      <a:pt x="88" y="25"/>
                    </a:lnTo>
                    <a:lnTo>
                      <a:pt x="87" y="26"/>
                    </a:lnTo>
                    <a:lnTo>
                      <a:pt x="84" y="28"/>
                    </a:lnTo>
                    <a:lnTo>
                      <a:pt x="83" y="29"/>
                    </a:lnTo>
                    <a:lnTo>
                      <a:pt x="81" y="30"/>
                    </a:lnTo>
                    <a:lnTo>
                      <a:pt x="80" y="32"/>
                    </a:lnTo>
                    <a:lnTo>
                      <a:pt x="79" y="32"/>
                    </a:lnTo>
                    <a:lnTo>
                      <a:pt x="77" y="32"/>
                    </a:lnTo>
                    <a:lnTo>
                      <a:pt x="74" y="32"/>
                    </a:lnTo>
                    <a:lnTo>
                      <a:pt x="70" y="30"/>
                    </a:lnTo>
                    <a:lnTo>
                      <a:pt x="65" y="28"/>
                    </a:lnTo>
                    <a:lnTo>
                      <a:pt x="59" y="25"/>
                    </a:lnTo>
                    <a:lnTo>
                      <a:pt x="54" y="22"/>
                    </a:lnTo>
                    <a:lnTo>
                      <a:pt x="48" y="18"/>
                    </a:lnTo>
                    <a:lnTo>
                      <a:pt x="46" y="14"/>
                    </a:lnTo>
                    <a:lnTo>
                      <a:pt x="43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6" name="Freeform 848"/>
              <p:cNvSpPr>
                <a:spLocks/>
              </p:cNvSpPr>
              <p:nvPr/>
            </p:nvSpPr>
            <p:spPr bwMode="auto">
              <a:xfrm>
                <a:off x="4827" y="2150"/>
                <a:ext cx="92" cy="72"/>
              </a:xfrm>
              <a:custGeom>
                <a:avLst/>
                <a:gdLst>
                  <a:gd name="T0" fmla="*/ 43 w 92"/>
                  <a:gd name="T1" fmla="*/ 7 h 72"/>
                  <a:gd name="T2" fmla="*/ 40 w 92"/>
                  <a:gd name="T3" fmla="*/ 4 h 72"/>
                  <a:gd name="T4" fmla="*/ 36 w 92"/>
                  <a:gd name="T5" fmla="*/ 0 h 72"/>
                  <a:gd name="T6" fmla="*/ 32 w 92"/>
                  <a:gd name="T7" fmla="*/ 2 h 72"/>
                  <a:gd name="T8" fmla="*/ 28 w 92"/>
                  <a:gd name="T9" fmla="*/ 10 h 72"/>
                  <a:gd name="T10" fmla="*/ 26 w 92"/>
                  <a:gd name="T11" fmla="*/ 18 h 72"/>
                  <a:gd name="T12" fmla="*/ 25 w 92"/>
                  <a:gd name="T13" fmla="*/ 23 h 72"/>
                  <a:gd name="T14" fmla="*/ 24 w 92"/>
                  <a:gd name="T15" fmla="*/ 29 h 72"/>
                  <a:gd name="T16" fmla="*/ 22 w 92"/>
                  <a:gd name="T17" fmla="*/ 33 h 72"/>
                  <a:gd name="T18" fmla="*/ 17 w 92"/>
                  <a:gd name="T19" fmla="*/ 41 h 72"/>
                  <a:gd name="T20" fmla="*/ 11 w 92"/>
                  <a:gd name="T21" fmla="*/ 51 h 72"/>
                  <a:gd name="T22" fmla="*/ 4 w 92"/>
                  <a:gd name="T23" fmla="*/ 58 h 72"/>
                  <a:gd name="T24" fmla="*/ 2 w 92"/>
                  <a:gd name="T25" fmla="*/ 61 h 72"/>
                  <a:gd name="T26" fmla="*/ 0 w 92"/>
                  <a:gd name="T27" fmla="*/ 63 h 72"/>
                  <a:gd name="T28" fmla="*/ 2 w 92"/>
                  <a:gd name="T29" fmla="*/ 66 h 72"/>
                  <a:gd name="T30" fmla="*/ 6 w 92"/>
                  <a:gd name="T31" fmla="*/ 67 h 72"/>
                  <a:gd name="T32" fmla="*/ 14 w 92"/>
                  <a:gd name="T33" fmla="*/ 69 h 72"/>
                  <a:gd name="T34" fmla="*/ 25 w 92"/>
                  <a:gd name="T35" fmla="*/ 67 h 72"/>
                  <a:gd name="T36" fmla="*/ 35 w 92"/>
                  <a:gd name="T37" fmla="*/ 67 h 72"/>
                  <a:gd name="T38" fmla="*/ 46 w 92"/>
                  <a:gd name="T39" fmla="*/ 72 h 72"/>
                  <a:gd name="T40" fmla="*/ 58 w 92"/>
                  <a:gd name="T41" fmla="*/ 69 h 72"/>
                  <a:gd name="T42" fmla="*/ 61 w 92"/>
                  <a:gd name="T43" fmla="*/ 63 h 72"/>
                  <a:gd name="T44" fmla="*/ 66 w 92"/>
                  <a:gd name="T45" fmla="*/ 56 h 72"/>
                  <a:gd name="T46" fmla="*/ 72 w 92"/>
                  <a:gd name="T47" fmla="*/ 52 h 72"/>
                  <a:gd name="T48" fmla="*/ 76 w 92"/>
                  <a:gd name="T49" fmla="*/ 52 h 72"/>
                  <a:gd name="T50" fmla="*/ 81 w 92"/>
                  <a:gd name="T51" fmla="*/ 48 h 72"/>
                  <a:gd name="T52" fmla="*/ 88 w 92"/>
                  <a:gd name="T53" fmla="*/ 43 h 72"/>
                  <a:gd name="T54" fmla="*/ 92 w 92"/>
                  <a:gd name="T55" fmla="*/ 40 h 72"/>
                  <a:gd name="T56" fmla="*/ 92 w 92"/>
                  <a:gd name="T57" fmla="*/ 36 h 72"/>
                  <a:gd name="T58" fmla="*/ 92 w 92"/>
                  <a:gd name="T59" fmla="*/ 32 h 72"/>
                  <a:gd name="T60" fmla="*/ 92 w 92"/>
                  <a:gd name="T61" fmla="*/ 26 h 72"/>
                  <a:gd name="T62" fmla="*/ 90 w 92"/>
                  <a:gd name="T63" fmla="*/ 25 h 72"/>
                  <a:gd name="T64" fmla="*/ 87 w 92"/>
                  <a:gd name="T65" fmla="*/ 26 h 72"/>
                  <a:gd name="T66" fmla="*/ 83 w 92"/>
                  <a:gd name="T67" fmla="*/ 29 h 72"/>
                  <a:gd name="T68" fmla="*/ 80 w 92"/>
                  <a:gd name="T69" fmla="*/ 32 h 72"/>
                  <a:gd name="T70" fmla="*/ 77 w 92"/>
                  <a:gd name="T71" fmla="*/ 32 h 72"/>
                  <a:gd name="T72" fmla="*/ 70 w 92"/>
                  <a:gd name="T73" fmla="*/ 30 h 72"/>
                  <a:gd name="T74" fmla="*/ 59 w 92"/>
                  <a:gd name="T75" fmla="*/ 25 h 72"/>
                  <a:gd name="T76" fmla="*/ 48 w 92"/>
                  <a:gd name="T77" fmla="*/ 18 h 72"/>
                  <a:gd name="T78" fmla="*/ 43 w 92"/>
                  <a:gd name="T79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2" h="72">
                    <a:moveTo>
                      <a:pt x="43" y="8"/>
                    </a:moveTo>
                    <a:lnTo>
                      <a:pt x="43" y="7"/>
                    </a:lnTo>
                    <a:lnTo>
                      <a:pt x="41" y="6"/>
                    </a:lnTo>
                    <a:lnTo>
                      <a:pt x="40" y="4"/>
                    </a:lnTo>
                    <a:lnTo>
                      <a:pt x="39" y="2"/>
                    </a:lnTo>
                    <a:lnTo>
                      <a:pt x="36" y="0"/>
                    </a:lnTo>
                    <a:lnTo>
                      <a:pt x="33" y="0"/>
                    </a:lnTo>
                    <a:lnTo>
                      <a:pt x="32" y="2"/>
                    </a:lnTo>
                    <a:lnTo>
                      <a:pt x="29" y="6"/>
                    </a:lnTo>
                    <a:lnTo>
                      <a:pt x="28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5" y="26"/>
                    </a:lnTo>
                    <a:lnTo>
                      <a:pt x="24" y="29"/>
                    </a:lnTo>
                    <a:lnTo>
                      <a:pt x="24" y="30"/>
                    </a:lnTo>
                    <a:lnTo>
                      <a:pt x="22" y="33"/>
                    </a:lnTo>
                    <a:lnTo>
                      <a:pt x="21" y="37"/>
                    </a:lnTo>
                    <a:lnTo>
                      <a:pt x="17" y="41"/>
                    </a:lnTo>
                    <a:lnTo>
                      <a:pt x="14" y="47"/>
                    </a:lnTo>
                    <a:lnTo>
                      <a:pt x="11" y="51"/>
                    </a:lnTo>
                    <a:lnTo>
                      <a:pt x="7" y="55"/>
                    </a:lnTo>
                    <a:lnTo>
                      <a:pt x="4" y="58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5"/>
                    </a:lnTo>
                    <a:lnTo>
                      <a:pt x="2" y="66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10" y="67"/>
                    </a:lnTo>
                    <a:lnTo>
                      <a:pt x="14" y="69"/>
                    </a:lnTo>
                    <a:lnTo>
                      <a:pt x="19" y="69"/>
                    </a:lnTo>
                    <a:lnTo>
                      <a:pt x="25" y="67"/>
                    </a:lnTo>
                    <a:lnTo>
                      <a:pt x="30" y="67"/>
                    </a:lnTo>
                    <a:lnTo>
                      <a:pt x="35" y="67"/>
                    </a:lnTo>
                    <a:lnTo>
                      <a:pt x="39" y="67"/>
                    </a:lnTo>
                    <a:lnTo>
                      <a:pt x="46" y="72"/>
                    </a:lnTo>
                    <a:lnTo>
                      <a:pt x="57" y="70"/>
                    </a:lnTo>
                    <a:lnTo>
                      <a:pt x="58" y="69"/>
                    </a:lnTo>
                    <a:lnTo>
                      <a:pt x="59" y="66"/>
                    </a:lnTo>
                    <a:lnTo>
                      <a:pt x="61" y="63"/>
                    </a:lnTo>
                    <a:lnTo>
                      <a:pt x="63" y="61"/>
                    </a:lnTo>
                    <a:lnTo>
                      <a:pt x="66" y="56"/>
                    </a:lnTo>
                    <a:lnTo>
                      <a:pt x="69" y="54"/>
                    </a:lnTo>
                    <a:lnTo>
                      <a:pt x="72" y="52"/>
                    </a:lnTo>
                    <a:lnTo>
                      <a:pt x="73" y="52"/>
                    </a:lnTo>
                    <a:lnTo>
                      <a:pt x="76" y="52"/>
                    </a:lnTo>
                    <a:lnTo>
                      <a:pt x="79" y="51"/>
                    </a:lnTo>
                    <a:lnTo>
                      <a:pt x="81" y="48"/>
                    </a:lnTo>
                    <a:lnTo>
                      <a:pt x="85" y="45"/>
                    </a:lnTo>
                    <a:lnTo>
                      <a:pt x="88" y="43"/>
                    </a:lnTo>
                    <a:lnTo>
                      <a:pt x="90" y="41"/>
                    </a:lnTo>
                    <a:lnTo>
                      <a:pt x="92" y="40"/>
                    </a:lnTo>
                    <a:lnTo>
                      <a:pt x="92" y="39"/>
                    </a:lnTo>
                    <a:lnTo>
                      <a:pt x="92" y="36"/>
                    </a:lnTo>
                    <a:lnTo>
                      <a:pt x="92" y="34"/>
                    </a:lnTo>
                    <a:lnTo>
                      <a:pt x="92" y="32"/>
                    </a:lnTo>
                    <a:lnTo>
                      <a:pt x="92" y="29"/>
                    </a:lnTo>
                    <a:lnTo>
                      <a:pt x="92" y="26"/>
                    </a:lnTo>
                    <a:lnTo>
                      <a:pt x="91" y="25"/>
                    </a:lnTo>
                    <a:lnTo>
                      <a:pt x="90" y="25"/>
                    </a:lnTo>
                    <a:lnTo>
                      <a:pt x="88" y="25"/>
                    </a:lnTo>
                    <a:lnTo>
                      <a:pt x="87" y="26"/>
                    </a:lnTo>
                    <a:lnTo>
                      <a:pt x="84" y="28"/>
                    </a:lnTo>
                    <a:lnTo>
                      <a:pt x="83" y="29"/>
                    </a:lnTo>
                    <a:lnTo>
                      <a:pt x="81" y="30"/>
                    </a:lnTo>
                    <a:lnTo>
                      <a:pt x="80" y="32"/>
                    </a:lnTo>
                    <a:lnTo>
                      <a:pt x="79" y="32"/>
                    </a:lnTo>
                    <a:lnTo>
                      <a:pt x="77" y="32"/>
                    </a:lnTo>
                    <a:lnTo>
                      <a:pt x="74" y="32"/>
                    </a:lnTo>
                    <a:lnTo>
                      <a:pt x="70" y="30"/>
                    </a:lnTo>
                    <a:lnTo>
                      <a:pt x="65" y="28"/>
                    </a:lnTo>
                    <a:lnTo>
                      <a:pt x="59" y="25"/>
                    </a:lnTo>
                    <a:lnTo>
                      <a:pt x="54" y="22"/>
                    </a:lnTo>
                    <a:lnTo>
                      <a:pt x="48" y="18"/>
                    </a:lnTo>
                    <a:lnTo>
                      <a:pt x="46" y="14"/>
                    </a:lnTo>
                    <a:lnTo>
                      <a:pt x="43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7" name="Freeform 849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8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3 h 38"/>
                  <a:gd name="T24" fmla="*/ 0 w 95"/>
                  <a:gd name="T25" fmla="*/ 24 h 38"/>
                  <a:gd name="T26" fmla="*/ 0 w 95"/>
                  <a:gd name="T27" fmla="*/ 26 h 38"/>
                  <a:gd name="T28" fmla="*/ 2 w 95"/>
                  <a:gd name="T29" fmla="*/ 27 h 38"/>
                  <a:gd name="T30" fmla="*/ 3 w 95"/>
                  <a:gd name="T31" fmla="*/ 30 h 38"/>
                  <a:gd name="T32" fmla="*/ 3 w 95"/>
                  <a:gd name="T33" fmla="*/ 31 h 38"/>
                  <a:gd name="T34" fmla="*/ 5 w 95"/>
                  <a:gd name="T35" fmla="*/ 34 h 38"/>
                  <a:gd name="T36" fmla="*/ 6 w 95"/>
                  <a:gd name="T37" fmla="*/ 35 h 38"/>
                  <a:gd name="T38" fmla="*/ 7 w 95"/>
                  <a:gd name="T39" fmla="*/ 34 h 38"/>
                  <a:gd name="T40" fmla="*/ 9 w 95"/>
                  <a:gd name="T41" fmla="*/ 34 h 38"/>
                  <a:gd name="T42" fmla="*/ 11 w 95"/>
                  <a:gd name="T43" fmla="*/ 33 h 38"/>
                  <a:gd name="T44" fmla="*/ 14 w 95"/>
                  <a:gd name="T45" fmla="*/ 31 h 38"/>
                  <a:gd name="T46" fmla="*/ 18 w 95"/>
                  <a:gd name="T47" fmla="*/ 31 h 38"/>
                  <a:gd name="T48" fmla="*/ 22 w 95"/>
                  <a:gd name="T49" fmla="*/ 33 h 38"/>
                  <a:gd name="T50" fmla="*/ 27 w 95"/>
                  <a:gd name="T51" fmla="*/ 34 h 38"/>
                  <a:gd name="T52" fmla="*/ 31 w 95"/>
                  <a:gd name="T53" fmla="*/ 38 h 38"/>
                  <a:gd name="T54" fmla="*/ 31 w 95"/>
                  <a:gd name="T55" fmla="*/ 38 h 38"/>
                  <a:gd name="T56" fmla="*/ 31 w 95"/>
                  <a:gd name="T57" fmla="*/ 37 h 38"/>
                  <a:gd name="T58" fmla="*/ 33 w 95"/>
                  <a:gd name="T59" fmla="*/ 34 h 38"/>
                  <a:gd name="T60" fmla="*/ 36 w 95"/>
                  <a:gd name="T61" fmla="*/ 33 h 38"/>
                  <a:gd name="T62" fmla="*/ 42 w 95"/>
                  <a:gd name="T63" fmla="*/ 30 h 38"/>
                  <a:gd name="T64" fmla="*/ 49 w 95"/>
                  <a:gd name="T65" fmla="*/ 28 h 38"/>
                  <a:gd name="T66" fmla="*/ 57 w 95"/>
                  <a:gd name="T67" fmla="*/ 27 h 38"/>
                  <a:gd name="T68" fmla="*/ 68 w 95"/>
                  <a:gd name="T69" fmla="*/ 27 h 38"/>
                  <a:gd name="T70" fmla="*/ 68 w 95"/>
                  <a:gd name="T71" fmla="*/ 26 h 38"/>
                  <a:gd name="T72" fmla="*/ 69 w 95"/>
                  <a:gd name="T73" fmla="*/ 24 h 38"/>
                  <a:gd name="T74" fmla="*/ 69 w 95"/>
                  <a:gd name="T75" fmla="*/ 22 h 38"/>
                  <a:gd name="T76" fmla="*/ 72 w 95"/>
                  <a:gd name="T77" fmla="*/ 17 h 38"/>
                  <a:gd name="T78" fmla="*/ 75 w 95"/>
                  <a:gd name="T79" fmla="*/ 15 h 38"/>
                  <a:gd name="T80" fmla="*/ 80 w 95"/>
                  <a:gd name="T81" fmla="*/ 12 h 38"/>
                  <a:gd name="T82" fmla="*/ 87 w 95"/>
                  <a:gd name="T83" fmla="*/ 9 h 38"/>
                  <a:gd name="T84" fmla="*/ 95 w 95"/>
                  <a:gd name="T85" fmla="*/ 9 h 38"/>
                  <a:gd name="T86" fmla="*/ 95 w 95"/>
                  <a:gd name="T87" fmla="*/ 9 h 38"/>
                  <a:gd name="T88" fmla="*/ 93 w 95"/>
                  <a:gd name="T89" fmla="*/ 8 h 38"/>
                  <a:gd name="T90" fmla="*/ 89 w 95"/>
                  <a:gd name="T91" fmla="*/ 8 h 38"/>
                  <a:gd name="T92" fmla="*/ 84 w 95"/>
                  <a:gd name="T93" fmla="*/ 6 h 38"/>
                  <a:gd name="T94" fmla="*/ 79 w 95"/>
                  <a:gd name="T95" fmla="*/ 5 h 38"/>
                  <a:gd name="T96" fmla="*/ 75 w 95"/>
                  <a:gd name="T97" fmla="*/ 4 h 38"/>
                  <a:gd name="T98" fmla="*/ 71 w 95"/>
                  <a:gd name="T99" fmla="*/ 2 h 38"/>
                  <a:gd name="T100" fmla="*/ 68 w 95"/>
                  <a:gd name="T10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8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4" y="6"/>
                    </a:lnTo>
                    <a:lnTo>
                      <a:pt x="79" y="5"/>
                    </a:lnTo>
                    <a:lnTo>
                      <a:pt x="75" y="4"/>
                    </a:lnTo>
                    <a:lnTo>
                      <a:pt x="71" y="2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8" name="Freeform 850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8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4 h 38"/>
                  <a:gd name="T24" fmla="*/ 0 w 95"/>
                  <a:gd name="T25" fmla="*/ 26 h 38"/>
                  <a:gd name="T26" fmla="*/ 2 w 95"/>
                  <a:gd name="T27" fmla="*/ 27 h 38"/>
                  <a:gd name="T28" fmla="*/ 3 w 95"/>
                  <a:gd name="T29" fmla="*/ 30 h 38"/>
                  <a:gd name="T30" fmla="*/ 3 w 95"/>
                  <a:gd name="T31" fmla="*/ 31 h 38"/>
                  <a:gd name="T32" fmla="*/ 5 w 95"/>
                  <a:gd name="T33" fmla="*/ 34 h 38"/>
                  <a:gd name="T34" fmla="*/ 6 w 95"/>
                  <a:gd name="T35" fmla="*/ 35 h 38"/>
                  <a:gd name="T36" fmla="*/ 7 w 95"/>
                  <a:gd name="T37" fmla="*/ 34 h 38"/>
                  <a:gd name="T38" fmla="*/ 9 w 95"/>
                  <a:gd name="T39" fmla="*/ 34 h 38"/>
                  <a:gd name="T40" fmla="*/ 11 w 95"/>
                  <a:gd name="T41" fmla="*/ 33 h 38"/>
                  <a:gd name="T42" fmla="*/ 14 w 95"/>
                  <a:gd name="T43" fmla="*/ 31 h 38"/>
                  <a:gd name="T44" fmla="*/ 18 w 95"/>
                  <a:gd name="T45" fmla="*/ 31 h 38"/>
                  <a:gd name="T46" fmla="*/ 22 w 95"/>
                  <a:gd name="T47" fmla="*/ 33 h 38"/>
                  <a:gd name="T48" fmla="*/ 27 w 95"/>
                  <a:gd name="T49" fmla="*/ 34 h 38"/>
                  <a:gd name="T50" fmla="*/ 31 w 95"/>
                  <a:gd name="T51" fmla="*/ 38 h 38"/>
                  <a:gd name="T52" fmla="*/ 31 w 95"/>
                  <a:gd name="T53" fmla="*/ 37 h 38"/>
                  <a:gd name="T54" fmla="*/ 33 w 95"/>
                  <a:gd name="T55" fmla="*/ 34 h 38"/>
                  <a:gd name="T56" fmla="*/ 36 w 95"/>
                  <a:gd name="T57" fmla="*/ 33 h 38"/>
                  <a:gd name="T58" fmla="*/ 42 w 95"/>
                  <a:gd name="T59" fmla="*/ 30 h 38"/>
                  <a:gd name="T60" fmla="*/ 49 w 95"/>
                  <a:gd name="T61" fmla="*/ 28 h 38"/>
                  <a:gd name="T62" fmla="*/ 57 w 95"/>
                  <a:gd name="T63" fmla="*/ 27 h 38"/>
                  <a:gd name="T64" fmla="*/ 68 w 95"/>
                  <a:gd name="T65" fmla="*/ 27 h 38"/>
                  <a:gd name="T66" fmla="*/ 68 w 95"/>
                  <a:gd name="T67" fmla="*/ 26 h 38"/>
                  <a:gd name="T68" fmla="*/ 69 w 95"/>
                  <a:gd name="T69" fmla="*/ 24 h 38"/>
                  <a:gd name="T70" fmla="*/ 69 w 95"/>
                  <a:gd name="T71" fmla="*/ 22 h 38"/>
                  <a:gd name="T72" fmla="*/ 72 w 95"/>
                  <a:gd name="T73" fmla="*/ 17 h 38"/>
                  <a:gd name="T74" fmla="*/ 75 w 95"/>
                  <a:gd name="T75" fmla="*/ 15 h 38"/>
                  <a:gd name="T76" fmla="*/ 80 w 95"/>
                  <a:gd name="T77" fmla="*/ 12 h 38"/>
                  <a:gd name="T78" fmla="*/ 87 w 95"/>
                  <a:gd name="T79" fmla="*/ 9 h 38"/>
                  <a:gd name="T80" fmla="*/ 95 w 95"/>
                  <a:gd name="T81" fmla="*/ 9 h 38"/>
                  <a:gd name="T82" fmla="*/ 93 w 95"/>
                  <a:gd name="T83" fmla="*/ 8 h 38"/>
                  <a:gd name="T84" fmla="*/ 89 w 95"/>
                  <a:gd name="T85" fmla="*/ 8 h 38"/>
                  <a:gd name="T86" fmla="*/ 84 w 95"/>
                  <a:gd name="T87" fmla="*/ 6 h 38"/>
                  <a:gd name="T88" fmla="*/ 79 w 95"/>
                  <a:gd name="T89" fmla="*/ 5 h 38"/>
                  <a:gd name="T90" fmla="*/ 75 w 95"/>
                  <a:gd name="T91" fmla="*/ 4 h 38"/>
                  <a:gd name="T92" fmla="*/ 71 w 95"/>
                  <a:gd name="T93" fmla="*/ 2 h 38"/>
                  <a:gd name="T94" fmla="*/ 68 w 95"/>
                  <a:gd name="T9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8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4" y="6"/>
                    </a:lnTo>
                    <a:lnTo>
                      <a:pt x="79" y="5"/>
                    </a:lnTo>
                    <a:lnTo>
                      <a:pt x="75" y="4"/>
                    </a:lnTo>
                    <a:lnTo>
                      <a:pt x="71" y="2"/>
                    </a:lnTo>
                    <a:lnTo>
                      <a:pt x="6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19" name="Freeform 851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6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3 h 38"/>
                  <a:gd name="T24" fmla="*/ 0 w 95"/>
                  <a:gd name="T25" fmla="*/ 24 h 38"/>
                  <a:gd name="T26" fmla="*/ 0 w 95"/>
                  <a:gd name="T27" fmla="*/ 26 h 38"/>
                  <a:gd name="T28" fmla="*/ 2 w 95"/>
                  <a:gd name="T29" fmla="*/ 27 h 38"/>
                  <a:gd name="T30" fmla="*/ 3 w 95"/>
                  <a:gd name="T31" fmla="*/ 30 h 38"/>
                  <a:gd name="T32" fmla="*/ 3 w 95"/>
                  <a:gd name="T33" fmla="*/ 31 h 38"/>
                  <a:gd name="T34" fmla="*/ 5 w 95"/>
                  <a:gd name="T35" fmla="*/ 34 h 38"/>
                  <a:gd name="T36" fmla="*/ 6 w 95"/>
                  <a:gd name="T37" fmla="*/ 35 h 38"/>
                  <a:gd name="T38" fmla="*/ 7 w 95"/>
                  <a:gd name="T39" fmla="*/ 34 h 38"/>
                  <a:gd name="T40" fmla="*/ 9 w 95"/>
                  <a:gd name="T41" fmla="*/ 34 h 38"/>
                  <a:gd name="T42" fmla="*/ 11 w 95"/>
                  <a:gd name="T43" fmla="*/ 33 h 38"/>
                  <a:gd name="T44" fmla="*/ 14 w 95"/>
                  <a:gd name="T45" fmla="*/ 31 h 38"/>
                  <a:gd name="T46" fmla="*/ 18 w 95"/>
                  <a:gd name="T47" fmla="*/ 31 h 38"/>
                  <a:gd name="T48" fmla="*/ 22 w 95"/>
                  <a:gd name="T49" fmla="*/ 33 h 38"/>
                  <a:gd name="T50" fmla="*/ 27 w 95"/>
                  <a:gd name="T51" fmla="*/ 34 h 38"/>
                  <a:gd name="T52" fmla="*/ 31 w 95"/>
                  <a:gd name="T53" fmla="*/ 38 h 38"/>
                  <a:gd name="T54" fmla="*/ 31 w 95"/>
                  <a:gd name="T55" fmla="*/ 38 h 38"/>
                  <a:gd name="T56" fmla="*/ 31 w 95"/>
                  <a:gd name="T57" fmla="*/ 37 h 38"/>
                  <a:gd name="T58" fmla="*/ 33 w 95"/>
                  <a:gd name="T59" fmla="*/ 34 h 38"/>
                  <a:gd name="T60" fmla="*/ 36 w 95"/>
                  <a:gd name="T61" fmla="*/ 33 h 38"/>
                  <a:gd name="T62" fmla="*/ 42 w 95"/>
                  <a:gd name="T63" fmla="*/ 30 h 38"/>
                  <a:gd name="T64" fmla="*/ 49 w 95"/>
                  <a:gd name="T65" fmla="*/ 28 h 38"/>
                  <a:gd name="T66" fmla="*/ 57 w 95"/>
                  <a:gd name="T67" fmla="*/ 27 h 38"/>
                  <a:gd name="T68" fmla="*/ 68 w 95"/>
                  <a:gd name="T69" fmla="*/ 27 h 38"/>
                  <a:gd name="T70" fmla="*/ 68 w 95"/>
                  <a:gd name="T71" fmla="*/ 26 h 38"/>
                  <a:gd name="T72" fmla="*/ 69 w 95"/>
                  <a:gd name="T73" fmla="*/ 24 h 38"/>
                  <a:gd name="T74" fmla="*/ 69 w 95"/>
                  <a:gd name="T75" fmla="*/ 22 h 38"/>
                  <a:gd name="T76" fmla="*/ 72 w 95"/>
                  <a:gd name="T77" fmla="*/ 17 h 38"/>
                  <a:gd name="T78" fmla="*/ 75 w 95"/>
                  <a:gd name="T79" fmla="*/ 15 h 38"/>
                  <a:gd name="T80" fmla="*/ 80 w 95"/>
                  <a:gd name="T81" fmla="*/ 12 h 38"/>
                  <a:gd name="T82" fmla="*/ 87 w 95"/>
                  <a:gd name="T83" fmla="*/ 9 h 38"/>
                  <a:gd name="T84" fmla="*/ 95 w 95"/>
                  <a:gd name="T85" fmla="*/ 9 h 38"/>
                  <a:gd name="T86" fmla="*/ 95 w 95"/>
                  <a:gd name="T87" fmla="*/ 9 h 38"/>
                  <a:gd name="T88" fmla="*/ 93 w 95"/>
                  <a:gd name="T89" fmla="*/ 8 h 38"/>
                  <a:gd name="T90" fmla="*/ 89 w 95"/>
                  <a:gd name="T91" fmla="*/ 8 h 38"/>
                  <a:gd name="T92" fmla="*/ 83 w 95"/>
                  <a:gd name="T93" fmla="*/ 6 h 38"/>
                  <a:gd name="T94" fmla="*/ 79 w 95"/>
                  <a:gd name="T95" fmla="*/ 5 h 38"/>
                  <a:gd name="T96" fmla="*/ 73 w 95"/>
                  <a:gd name="T97" fmla="*/ 4 h 38"/>
                  <a:gd name="T98" fmla="*/ 71 w 95"/>
                  <a:gd name="T99" fmla="*/ 2 h 38"/>
                  <a:gd name="T100" fmla="*/ 68 w 95"/>
                  <a:gd name="T10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3" y="6"/>
                    </a:lnTo>
                    <a:lnTo>
                      <a:pt x="79" y="5"/>
                    </a:lnTo>
                    <a:lnTo>
                      <a:pt x="73" y="4"/>
                    </a:lnTo>
                    <a:lnTo>
                      <a:pt x="71" y="2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0" name="Freeform 852"/>
              <p:cNvSpPr>
                <a:spLocks/>
              </p:cNvSpPr>
              <p:nvPr/>
            </p:nvSpPr>
            <p:spPr bwMode="auto">
              <a:xfrm>
                <a:off x="3828" y="2354"/>
                <a:ext cx="95" cy="38"/>
              </a:xfrm>
              <a:custGeom>
                <a:avLst/>
                <a:gdLst>
                  <a:gd name="T0" fmla="*/ 68 w 95"/>
                  <a:gd name="T1" fmla="*/ 0 h 38"/>
                  <a:gd name="T2" fmla="*/ 67 w 95"/>
                  <a:gd name="T3" fmla="*/ 0 h 38"/>
                  <a:gd name="T4" fmla="*/ 61 w 95"/>
                  <a:gd name="T5" fmla="*/ 0 h 38"/>
                  <a:gd name="T6" fmla="*/ 54 w 95"/>
                  <a:gd name="T7" fmla="*/ 0 h 38"/>
                  <a:gd name="T8" fmla="*/ 46 w 95"/>
                  <a:gd name="T9" fmla="*/ 0 h 38"/>
                  <a:gd name="T10" fmla="*/ 36 w 95"/>
                  <a:gd name="T11" fmla="*/ 1 h 38"/>
                  <a:gd name="T12" fmla="*/ 29 w 95"/>
                  <a:gd name="T13" fmla="*/ 1 h 38"/>
                  <a:gd name="T14" fmla="*/ 22 w 95"/>
                  <a:gd name="T15" fmla="*/ 1 h 38"/>
                  <a:gd name="T16" fmla="*/ 20 w 95"/>
                  <a:gd name="T17" fmla="*/ 1 h 38"/>
                  <a:gd name="T18" fmla="*/ 2 w 95"/>
                  <a:gd name="T19" fmla="*/ 16 h 38"/>
                  <a:gd name="T20" fmla="*/ 0 w 95"/>
                  <a:gd name="T21" fmla="*/ 23 h 38"/>
                  <a:gd name="T22" fmla="*/ 0 w 95"/>
                  <a:gd name="T23" fmla="*/ 24 h 38"/>
                  <a:gd name="T24" fmla="*/ 0 w 95"/>
                  <a:gd name="T25" fmla="*/ 26 h 38"/>
                  <a:gd name="T26" fmla="*/ 2 w 95"/>
                  <a:gd name="T27" fmla="*/ 27 h 38"/>
                  <a:gd name="T28" fmla="*/ 3 w 95"/>
                  <a:gd name="T29" fmla="*/ 30 h 38"/>
                  <a:gd name="T30" fmla="*/ 3 w 95"/>
                  <a:gd name="T31" fmla="*/ 31 h 38"/>
                  <a:gd name="T32" fmla="*/ 5 w 95"/>
                  <a:gd name="T33" fmla="*/ 34 h 38"/>
                  <a:gd name="T34" fmla="*/ 6 w 95"/>
                  <a:gd name="T35" fmla="*/ 35 h 38"/>
                  <a:gd name="T36" fmla="*/ 7 w 95"/>
                  <a:gd name="T37" fmla="*/ 34 h 38"/>
                  <a:gd name="T38" fmla="*/ 9 w 95"/>
                  <a:gd name="T39" fmla="*/ 34 h 38"/>
                  <a:gd name="T40" fmla="*/ 11 w 95"/>
                  <a:gd name="T41" fmla="*/ 33 h 38"/>
                  <a:gd name="T42" fmla="*/ 14 w 95"/>
                  <a:gd name="T43" fmla="*/ 31 h 38"/>
                  <a:gd name="T44" fmla="*/ 18 w 95"/>
                  <a:gd name="T45" fmla="*/ 31 h 38"/>
                  <a:gd name="T46" fmla="*/ 22 w 95"/>
                  <a:gd name="T47" fmla="*/ 33 h 38"/>
                  <a:gd name="T48" fmla="*/ 27 w 95"/>
                  <a:gd name="T49" fmla="*/ 34 h 38"/>
                  <a:gd name="T50" fmla="*/ 31 w 95"/>
                  <a:gd name="T51" fmla="*/ 38 h 38"/>
                  <a:gd name="T52" fmla="*/ 31 w 95"/>
                  <a:gd name="T53" fmla="*/ 37 h 38"/>
                  <a:gd name="T54" fmla="*/ 33 w 95"/>
                  <a:gd name="T55" fmla="*/ 34 h 38"/>
                  <a:gd name="T56" fmla="*/ 36 w 95"/>
                  <a:gd name="T57" fmla="*/ 33 h 38"/>
                  <a:gd name="T58" fmla="*/ 42 w 95"/>
                  <a:gd name="T59" fmla="*/ 30 h 38"/>
                  <a:gd name="T60" fmla="*/ 49 w 95"/>
                  <a:gd name="T61" fmla="*/ 28 h 38"/>
                  <a:gd name="T62" fmla="*/ 57 w 95"/>
                  <a:gd name="T63" fmla="*/ 27 h 38"/>
                  <a:gd name="T64" fmla="*/ 68 w 95"/>
                  <a:gd name="T65" fmla="*/ 27 h 38"/>
                  <a:gd name="T66" fmla="*/ 68 w 95"/>
                  <a:gd name="T67" fmla="*/ 26 h 38"/>
                  <a:gd name="T68" fmla="*/ 69 w 95"/>
                  <a:gd name="T69" fmla="*/ 24 h 38"/>
                  <a:gd name="T70" fmla="*/ 69 w 95"/>
                  <a:gd name="T71" fmla="*/ 22 h 38"/>
                  <a:gd name="T72" fmla="*/ 72 w 95"/>
                  <a:gd name="T73" fmla="*/ 17 h 38"/>
                  <a:gd name="T74" fmla="*/ 75 w 95"/>
                  <a:gd name="T75" fmla="*/ 15 h 38"/>
                  <a:gd name="T76" fmla="*/ 80 w 95"/>
                  <a:gd name="T77" fmla="*/ 12 h 38"/>
                  <a:gd name="T78" fmla="*/ 87 w 95"/>
                  <a:gd name="T79" fmla="*/ 9 h 38"/>
                  <a:gd name="T80" fmla="*/ 95 w 95"/>
                  <a:gd name="T81" fmla="*/ 9 h 38"/>
                  <a:gd name="T82" fmla="*/ 93 w 95"/>
                  <a:gd name="T83" fmla="*/ 8 h 38"/>
                  <a:gd name="T84" fmla="*/ 89 w 95"/>
                  <a:gd name="T85" fmla="*/ 8 h 38"/>
                  <a:gd name="T86" fmla="*/ 83 w 95"/>
                  <a:gd name="T87" fmla="*/ 6 h 38"/>
                  <a:gd name="T88" fmla="*/ 79 w 95"/>
                  <a:gd name="T89" fmla="*/ 5 h 38"/>
                  <a:gd name="T90" fmla="*/ 73 w 95"/>
                  <a:gd name="T91" fmla="*/ 4 h 38"/>
                  <a:gd name="T92" fmla="*/ 71 w 95"/>
                  <a:gd name="T93" fmla="*/ 2 h 38"/>
                  <a:gd name="T94" fmla="*/ 68 w 95"/>
                  <a:gd name="T95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5" h="38">
                    <a:moveTo>
                      <a:pt x="68" y="0"/>
                    </a:moveTo>
                    <a:lnTo>
                      <a:pt x="67" y="0"/>
                    </a:lnTo>
                    <a:lnTo>
                      <a:pt x="61" y="0"/>
                    </a:lnTo>
                    <a:lnTo>
                      <a:pt x="54" y="0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9" y="1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2" y="16"/>
                    </a:lnTo>
                    <a:lnTo>
                      <a:pt x="0" y="23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3" y="30"/>
                    </a:lnTo>
                    <a:lnTo>
                      <a:pt x="3" y="31"/>
                    </a:lnTo>
                    <a:lnTo>
                      <a:pt x="5" y="34"/>
                    </a:lnTo>
                    <a:lnTo>
                      <a:pt x="6" y="35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3"/>
                    </a:lnTo>
                    <a:lnTo>
                      <a:pt x="14" y="31"/>
                    </a:lnTo>
                    <a:lnTo>
                      <a:pt x="18" y="31"/>
                    </a:lnTo>
                    <a:lnTo>
                      <a:pt x="22" y="33"/>
                    </a:lnTo>
                    <a:lnTo>
                      <a:pt x="27" y="34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3" y="34"/>
                    </a:lnTo>
                    <a:lnTo>
                      <a:pt x="36" y="33"/>
                    </a:lnTo>
                    <a:lnTo>
                      <a:pt x="42" y="30"/>
                    </a:lnTo>
                    <a:lnTo>
                      <a:pt x="49" y="28"/>
                    </a:lnTo>
                    <a:lnTo>
                      <a:pt x="57" y="27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9" y="24"/>
                    </a:lnTo>
                    <a:lnTo>
                      <a:pt x="69" y="22"/>
                    </a:lnTo>
                    <a:lnTo>
                      <a:pt x="72" y="17"/>
                    </a:lnTo>
                    <a:lnTo>
                      <a:pt x="75" y="15"/>
                    </a:lnTo>
                    <a:lnTo>
                      <a:pt x="80" y="12"/>
                    </a:lnTo>
                    <a:lnTo>
                      <a:pt x="87" y="9"/>
                    </a:lnTo>
                    <a:lnTo>
                      <a:pt x="95" y="9"/>
                    </a:lnTo>
                    <a:lnTo>
                      <a:pt x="93" y="8"/>
                    </a:lnTo>
                    <a:lnTo>
                      <a:pt x="89" y="8"/>
                    </a:lnTo>
                    <a:lnTo>
                      <a:pt x="83" y="6"/>
                    </a:lnTo>
                    <a:lnTo>
                      <a:pt x="79" y="5"/>
                    </a:lnTo>
                    <a:lnTo>
                      <a:pt x="73" y="4"/>
                    </a:lnTo>
                    <a:lnTo>
                      <a:pt x="71" y="2"/>
                    </a:lnTo>
                    <a:lnTo>
                      <a:pt x="6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1" name="Freeform 853"/>
              <p:cNvSpPr>
                <a:spLocks/>
              </p:cNvSpPr>
              <p:nvPr/>
            </p:nvSpPr>
            <p:spPr bwMode="auto">
              <a:xfrm>
                <a:off x="2816" y="1349"/>
                <a:ext cx="399" cy="489"/>
              </a:xfrm>
              <a:custGeom>
                <a:avLst/>
                <a:gdLst>
                  <a:gd name="T0" fmla="*/ 362 w 399"/>
                  <a:gd name="T1" fmla="*/ 53 h 489"/>
                  <a:gd name="T2" fmla="*/ 354 w 399"/>
                  <a:gd name="T3" fmla="*/ 52 h 489"/>
                  <a:gd name="T4" fmla="*/ 370 w 399"/>
                  <a:gd name="T5" fmla="*/ 51 h 489"/>
                  <a:gd name="T6" fmla="*/ 382 w 399"/>
                  <a:gd name="T7" fmla="*/ 48 h 489"/>
                  <a:gd name="T8" fmla="*/ 391 w 399"/>
                  <a:gd name="T9" fmla="*/ 29 h 489"/>
                  <a:gd name="T10" fmla="*/ 358 w 399"/>
                  <a:gd name="T11" fmla="*/ 4 h 489"/>
                  <a:gd name="T12" fmla="*/ 293 w 399"/>
                  <a:gd name="T13" fmla="*/ 12 h 489"/>
                  <a:gd name="T14" fmla="*/ 271 w 399"/>
                  <a:gd name="T15" fmla="*/ 18 h 489"/>
                  <a:gd name="T16" fmla="*/ 257 w 399"/>
                  <a:gd name="T17" fmla="*/ 23 h 489"/>
                  <a:gd name="T18" fmla="*/ 255 w 399"/>
                  <a:gd name="T19" fmla="*/ 29 h 489"/>
                  <a:gd name="T20" fmla="*/ 246 w 399"/>
                  <a:gd name="T21" fmla="*/ 42 h 489"/>
                  <a:gd name="T22" fmla="*/ 231 w 399"/>
                  <a:gd name="T23" fmla="*/ 41 h 489"/>
                  <a:gd name="T24" fmla="*/ 224 w 399"/>
                  <a:gd name="T25" fmla="*/ 37 h 489"/>
                  <a:gd name="T26" fmla="*/ 209 w 399"/>
                  <a:gd name="T27" fmla="*/ 55 h 489"/>
                  <a:gd name="T28" fmla="*/ 191 w 399"/>
                  <a:gd name="T29" fmla="*/ 66 h 489"/>
                  <a:gd name="T30" fmla="*/ 176 w 399"/>
                  <a:gd name="T31" fmla="*/ 88 h 489"/>
                  <a:gd name="T32" fmla="*/ 138 w 399"/>
                  <a:gd name="T33" fmla="*/ 177 h 489"/>
                  <a:gd name="T34" fmla="*/ 124 w 399"/>
                  <a:gd name="T35" fmla="*/ 205 h 489"/>
                  <a:gd name="T36" fmla="*/ 114 w 399"/>
                  <a:gd name="T37" fmla="*/ 229 h 489"/>
                  <a:gd name="T38" fmla="*/ 98 w 399"/>
                  <a:gd name="T39" fmla="*/ 264 h 489"/>
                  <a:gd name="T40" fmla="*/ 34 w 399"/>
                  <a:gd name="T41" fmla="*/ 324 h 489"/>
                  <a:gd name="T42" fmla="*/ 21 w 399"/>
                  <a:gd name="T43" fmla="*/ 337 h 489"/>
                  <a:gd name="T44" fmla="*/ 14 w 399"/>
                  <a:gd name="T45" fmla="*/ 349 h 489"/>
                  <a:gd name="T46" fmla="*/ 7 w 399"/>
                  <a:gd name="T47" fmla="*/ 357 h 489"/>
                  <a:gd name="T48" fmla="*/ 1 w 399"/>
                  <a:gd name="T49" fmla="*/ 390 h 489"/>
                  <a:gd name="T50" fmla="*/ 10 w 399"/>
                  <a:gd name="T51" fmla="*/ 403 h 489"/>
                  <a:gd name="T52" fmla="*/ 10 w 399"/>
                  <a:gd name="T53" fmla="*/ 408 h 489"/>
                  <a:gd name="T54" fmla="*/ 6 w 399"/>
                  <a:gd name="T55" fmla="*/ 418 h 489"/>
                  <a:gd name="T56" fmla="*/ 3 w 399"/>
                  <a:gd name="T57" fmla="*/ 431 h 489"/>
                  <a:gd name="T58" fmla="*/ 3 w 399"/>
                  <a:gd name="T59" fmla="*/ 458 h 489"/>
                  <a:gd name="T60" fmla="*/ 15 w 399"/>
                  <a:gd name="T61" fmla="*/ 480 h 489"/>
                  <a:gd name="T62" fmla="*/ 33 w 399"/>
                  <a:gd name="T63" fmla="*/ 489 h 489"/>
                  <a:gd name="T64" fmla="*/ 59 w 399"/>
                  <a:gd name="T65" fmla="*/ 471 h 489"/>
                  <a:gd name="T66" fmla="*/ 63 w 399"/>
                  <a:gd name="T67" fmla="*/ 455 h 489"/>
                  <a:gd name="T68" fmla="*/ 67 w 399"/>
                  <a:gd name="T69" fmla="*/ 445 h 489"/>
                  <a:gd name="T70" fmla="*/ 78 w 399"/>
                  <a:gd name="T71" fmla="*/ 440 h 489"/>
                  <a:gd name="T72" fmla="*/ 88 w 399"/>
                  <a:gd name="T73" fmla="*/ 426 h 489"/>
                  <a:gd name="T74" fmla="*/ 94 w 399"/>
                  <a:gd name="T75" fmla="*/ 407 h 489"/>
                  <a:gd name="T76" fmla="*/ 105 w 399"/>
                  <a:gd name="T77" fmla="*/ 423 h 489"/>
                  <a:gd name="T78" fmla="*/ 118 w 399"/>
                  <a:gd name="T79" fmla="*/ 397 h 489"/>
                  <a:gd name="T80" fmla="*/ 120 w 399"/>
                  <a:gd name="T81" fmla="*/ 354 h 489"/>
                  <a:gd name="T82" fmla="*/ 116 w 399"/>
                  <a:gd name="T83" fmla="*/ 302 h 489"/>
                  <a:gd name="T84" fmla="*/ 161 w 399"/>
                  <a:gd name="T85" fmla="*/ 216 h 489"/>
                  <a:gd name="T86" fmla="*/ 176 w 399"/>
                  <a:gd name="T87" fmla="*/ 200 h 489"/>
                  <a:gd name="T88" fmla="*/ 188 w 399"/>
                  <a:gd name="T89" fmla="*/ 161 h 489"/>
                  <a:gd name="T90" fmla="*/ 193 w 399"/>
                  <a:gd name="T91" fmla="*/ 155 h 489"/>
                  <a:gd name="T92" fmla="*/ 199 w 399"/>
                  <a:gd name="T93" fmla="*/ 135 h 489"/>
                  <a:gd name="T94" fmla="*/ 264 w 399"/>
                  <a:gd name="T95" fmla="*/ 75 h 489"/>
                  <a:gd name="T96" fmla="*/ 275 w 399"/>
                  <a:gd name="T97" fmla="*/ 75 h 489"/>
                  <a:gd name="T98" fmla="*/ 310 w 399"/>
                  <a:gd name="T99" fmla="*/ 85 h 489"/>
                  <a:gd name="T100" fmla="*/ 325 w 399"/>
                  <a:gd name="T101" fmla="*/ 78 h 489"/>
                  <a:gd name="T102" fmla="*/ 329 w 399"/>
                  <a:gd name="T103" fmla="*/ 66 h 489"/>
                  <a:gd name="T104" fmla="*/ 348 w 399"/>
                  <a:gd name="T105" fmla="*/ 59 h 489"/>
                  <a:gd name="T106" fmla="*/ 388 w 399"/>
                  <a:gd name="T107" fmla="*/ 78 h 489"/>
                  <a:gd name="T108" fmla="*/ 399 w 399"/>
                  <a:gd name="T109" fmla="*/ 66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9" h="489">
                    <a:moveTo>
                      <a:pt x="385" y="62"/>
                    </a:moveTo>
                    <a:lnTo>
                      <a:pt x="373" y="58"/>
                    </a:lnTo>
                    <a:lnTo>
                      <a:pt x="369" y="56"/>
                    </a:lnTo>
                    <a:lnTo>
                      <a:pt x="365" y="55"/>
                    </a:lnTo>
                    <a:lnTo>
                      <a:pt x="362" y="53"/>
                    </a:lnTo>
                    <a:lnTo>
                      <a:pt x="359" y="52"/>
                    </a:lnTo>
                    <a:lnTo>
                      <a:pt x="356" y="52"/>
                    </a:lnTo>
                    <a:lnTo>
                      <a:pt x="355" y="52"/>
                    </a:lnTo>
                    <a:lnTo>
                      <a:pt x="354" y="52"/>
                    </a:lnTo>
                    <a:lnTo>
                      <a:pt x="354" y="52"/>
                    </a:lnTo>
                    <a:lnTo>
                      <a:pt x="373" y="49"/>
                    </a:lnTo>
                    <a:lnTo>
                      <a:pt x="373" y="49"/>
                    </a:lnTo>
                    <a:lnTo>
                      <a:pt x="371" y="49"/>
                    </a:lnTo>
                    <a:lnTo>
                      <a:pt x="371" y="51"/>
                    </a:lnTo>
                    <a:lnTo>
                      <a:pt x="370" y="51"/>
                    </a:lnTo>
                    <a:lnTo>
                      <a:pt x="370" y="51"/>
                    </a:lnTo>
                    <a:lnTo>
                      <a:pt x="370" y="51"/>
                    </a:lnTo>
                    <a:lnTo>
                      <a:pt x="373" y="51"/>
                    </a:lnTo>
                    <a:lnTo>
                      <a:pt x="377" y="49"/>
                    </a:lnTo>
                    <a:lnTo>
                      <a:pt x="382" y="48"/>
                    </a:lnTo>
                    <a:lnTo>
                      <a:pt x="385" y="45"/>
                    </a:lnTo>
                    <a:lnTo>
                      <a:pt x="388" y="41"/>
                    </a:lnTo>
                    <a:lnTo>
                      <a:pt x="389" y="37"/>
                    </a:lnTo>
                    <a:lnTo>
                      <a:pt x="389" y="33"/>
                    </a:lnTo>
                    <a:lnTo>
                      <a:pt x="391" y="29"/>
                    </a:lnTo>
                    <a:lnTo>
                      <a:pt x="391" y="26"/>
                    </a:lnTo>
                    <a:lnTo>
                      <a:pt x="391" y="26"/>
                    </a:lnTo>
                    <a:lnTo>
                      <a:pt x="373" y="23"/>
                    </a:lnTo>
                    <a:lnTo>
                      <a:pt x="369" y="12"/>
                    </a:lnTo>
                    <a:lnTo>
                      <a:pt x="358" y="4"/>
                    </a:lnTo>
                    <a:lnTo>
                      <a:pt x="334" y="7"/>
                    </a:lnTo>
                    <a:lnTo>
                      <a:pt x="307" y="0"/>
                    </a:lnTo>
                    <a:lnTo>
                      <a:pt x="304" y="5"/>
                    </a:lnTo>
                    <a:lnTo>
                      <a:pt x="299" y="8"/>
                    </a:lnTo>
                    <a:lnTo>
                      <a:pt x="293" y="12"/>
                    </a:lnTo>
                    <a:lnTo>
                      <a:pt x="286" y="14"/>
                    </a:lnTo>
                    <a:lnTo>
                      <a:pt x="281" y="15"/>
                    </a:lnTo>
                    <a:lnTo>
                      <a:pt x="277" y="16"/>
                    </a:lnTo>
                    <a:lnTo>
                      <a:pt x="272" y="18"/>
                    </a:lnTo>
                    <a:lnTo>
                      <a:pt x="271" y="18"/>
                    </a:lnTo>
                    <a:lnTo>
                      <a:pt x="267" y="18"/>
                    </a:lnTo>
                    <a:lnTo>
                      <a:pt x="264" y="19"/>
                    </a:lnTo>
                    <a:lnTo>
                      <a:pt x="261" y="20"/>
                    </a:lnTo>
                    <a:lnTo>
                      <a:pt x="259" y="22"/>
                    </a:lnTo>
                    <a:lnTo>
                      <a:pt x="257" y="23"/>
                    </a:lnTo>
                    <a:lnTo>
                      <a:pt x="256" y="25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6" y="26"/>
                    </a:lnTo>
                    <a:lnTo>
                      <a:pt x="255" y="29"/>
                    </a:lnTo>
                    <a:lnTo>
                      <a:pt x="255" y="31"/>
                    </a:lnTo>
                    <a:lnTo>
                      <a:pt x="253" y="34"/>
                    </a:lnTo>
                    <a:lnTo>
                      <a:pt x="252" y="37"/>
                    </a:lnTo>
                    <a:lnTo>
                      <a:pt x="249" y="40"/>
                    </a:lnTo>
                    <a:lnTo>
                      <a:pt x="246" y="42"/>
                    </a:lnTo>
                    <a:lnTo>
                      <a:pt x="242" y="44"/>
                    </a:lnTo>
                    <a:lnTo>
                      <a:pt x="238" y="44"/>
                    </a:lnTo>
                    <a:lnTo>
                      <a:pt x="235" y="42"/>
                    </a:lnTo>
                    <a:lnTo>
                      <a:pt x="233" y="42"/>
                    </a:lnTo>
                    <a:lnTo>
                      <a:pt x="231" y="41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7"/>
                    </a:lnTo>
                    <a:lnTo>
                      <a:pt x="230" y="37"/>
                    </a:lnTo>
                    <a:lnTo>
                      <a:pt x="224" y="37"/>
                    </a:lnTo>
                    <a:lnTo>
                      <a:pt x="220" y="40"/>
                    </a:lnTo>
                    <a:lnTo>
                      <a:pt x="216" y="42"/>
                    </a:lnTo>
                    <a:lnTo>
                      <a:pt x="213" y="47"/>
                    </a:lnTo>
                    <a:lnTo>
                      <a:pt x="211" y="51"/>
                    </a:lnTo>
                    <a:lnTo>
                      <a:pt x="209" y="55"/>
                    </a:lnTo>
                    <a:lnTo>
                      <a:pt x="208" y="56"/>
                    </a:lnTo>
                    <a:lnTo>
                      <a:pt x="206" y="58"/>
                    </a:lnTo>
                    <a:lnTo>
                      <a:pt x="198" y="64"/>
                    </a:lnTo>
                    <a:lnTo>
                      <a:pt x="194" y="64"/>
                    </a:lnTo>
                    <a:lnTo>
                      <a:pt x="191" y="66"/>
                    </a:lnTo>
                    <a:lnTo>
                      <a:pt x="188" y="67"/>
                    </a:lnTo>
                    <a:lnTo>
                      <a:pt x="186" y="70"/>
                    </a:lnTo>
                    <a:lnTo>
                      <a:pt x="180" y="74"/>
                    </a:lnTo>
                    <a:lnTo>
                      <a:pt x="177" y="81"/>
                    </a:lnTo>
                    <a:lnTo>
                      <a:pt x="176" y="88"/>
                    </a:lnTo>
                    <a:lnTo>
                      <a:pt x="175" y="93"/>
                    </a:lnTo>
                    <a:lnTo>
                      <a:pt x="175" y="96"/>
                    </a:lnTo>
                    <a:lnTo>
                      <a:pt x="173" y="99"/>
                    </a:lnTo>
                    <a:lnTo>
                      <a:pt x="161" y="135"/>
                    </a:lnTo>
                    <a:lnTo>
                      <a:pt x="138" y="177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31" y="189"/>
                    </a:lnTo>
                    <a:lnTo>
                      <a:pt x="128" y="196"/>
                    </a:lnTo>
                    <a:lnTo>
                      <a:pt x="124" y="205"/>
                    </a:lnTo>
                    <a:lnTo>
                      <a:pt x="121" y="211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7" y="222"/>
                    </a:lnTo>
                    <a:lnTo>
                      <a:pt x="114" y="229"/>
                    </a:lnTo>
                    <a:lnTo>
                      <a:pt x="110" y="236"/>
                    </a:lnTo>
                    <a:lnTo>
                      <a:pt x="106" y="244"/>
                    </a:lnTo>
                    <a:lnTo>
                      <a:pt x="103" y="253"/>
                    </a:lnTo>
                    <a:lnTo>
                      <a:pt x="99" y="260"/>
                    </a:lnTo>
                    <a:lnTo>
                      <a:pt x="98" y="264"/>
                    </a:lnTo>
                    <a:lnTo>
                      <a:pt x="96" y="266"/>
                    </a:lnTo>
                    <a:lnTo>
                      <a:pt x="84" y="275"/>
                    </a:lnTo>
                    <a:lnTo>
                      <a:pt x="63" y="302"/>
                    </a:lnTo>
                    <a:lnTo>
                      <a:pt x="37" y="320"/>
                    </a:lnTo>
                    <a:lnTo>
                      <a:pt x="34" y="324"/>
                    </a:lnTo>
                    <a:lnTo>
                      <a:pt x="32" y="328"/>
                    </a:lnTo>
                    <a:lnTo>
                      <a:pt x="29" y="331"/>
                    </a:lnTo>
                    <a:lnTo>
                      <a:pt x="26" y="334"/>
                    </a:lnTo>
                    <a:lnTo>
                      <a:pt x="22" y="335"/>
                    </a:lnTo>
                    <a:lnTo>
                      <a:pt x="21" y="337"/>
                    </a:lnTo>
                    <a:lnTo>
                      <a:pt x="18" y="338"/>
                    </a:lnTo>
                    <a:lnTo>
                      <a:pt x="18" y="338"/>
                    </a:lnTo>
                    <a:lnTo>
                      <a:pt x="17" y="342"/>
                    </a:lnTo>
                    <a:lnTo>
                      <a:pt x="15" y="346"/>
                    </a:lnTo>
                    <a:lnTo>
                      <a:pt x="14" y="349"/>
                    </a:lnTo>
                    <a:lnTo>
                      <a:pt x="12" y="352"/>
                    </a:lnTo>
                    <a:lnTo>
                      <a:pt x="10" y="354"/>
                    </a:lnTo>
                    <a:lnTo>
                      <a:pt x="8" y="356"/>
                    </a:lnTo>
                    <a:lnTo>
                      <a:pt x="8" y="357"/>
                    </a:lnTo>
                    <a:lnTo>
                      <a:pt x="7" y="357"/>
                    </a:lnTo>
                    <a:lnTo>
                      <a:pt x="3" y="364"/>
                    </a:lnTo>
                    <a:lnTo>
                      <a:pt x="0" y="371"/>
                    </a:lnTo>
                    <a:lnTo>
                      <a:pt x="0" y="378"/>
                    </a:lnTo>
                    <a:lnTo>
                      <a:pt x="0" y="385"/>
                    </a:lnTo>
                    <a:lnTo>
                      <a:pt x="1" y="390"/>
                    </a:lnTo>
                    <a:lnTo>
                      <a:pt x="3" y="396"/>
                    </a:lnTo>
                    <a:lnTo>
                      <a:pt x="6" y="400"/>
                    </a:lnTo>
                    <a:lnTo>
                      <a:pt x="7" y="401"/>
                    </a:lnTo>
                    <a:lnTo>
                      <a:pt x="10" y="403"/>
                    </a:lnTo>
                    <a:lnTo>
                      <a:pt x="10" y="403"/>
                    </a:lnTo>
                    <a:lnTo>
                      <a:pt x="11" y="404"/>
                    </a:lnTo>
                    <a:lnTo>
                      <a:pt x="11" y="405"/>
                    </a:lnTo>
                    <a:lnTo>
                      <a:pt x="10" y="407"/>
                    </a:lnTo>
                    <a:lnTo>
                      <a:pt x="10" y="408"/>
                    </a:lnTo>
                    <a:lnTo>
                      <a:pt x="10" y="408"/>
                    </a:lnTo>
                    <a:lnTo>
                      <a:pt x="10" y="408"/>
                    </a:lnTo>
                    <a:lnTo>
                      <a:pt x="8" y="409"/>
                    </a:lnTo>
                    <a:lnTo>
                      <a:pt x="7" y="412"/>
                    </a:lnTo>
                    <a:lnTo>
                      <a:pt x="7" y="415"/>
                    </a:lnTo>
                    <a:lnTo>
                      <a:pt x="6" y="418"/>
                    </a:lnTo>
                    <a:lnTo>
                      <a:pt x="6" y="420"/>
                    </a:lnTo>
                    <a:lnTo>
                      <a:pt x="6" y="423"/>
                    </a:lnTo>
                    <a:lnTo>
                      <a:pt x="6" y="426"/>
                    </a:lnTo>
                    <a:lnTo>
                      <a:pt x="6" y="426"/>
                    </a:lnTo>
                    <a:lnTo>
                      <a:pt x="3" y="431"/>
                    </a:lnTo>
                    <a:lnTo>
                      <a:pt x="1" y="438"/>
                    </a:lnTo>
                    <a:lnTo>
                      <a:pt x="0" y="444"/>
                    </a:lnTo>
                    <a:lnTo>
                      <a:pt x="1" y="449"/>
                    </a:lnTo>
                    <a:lnTo>
                      <a:pt x="1" y="453"/>
                    </a:lnTo>
                    <a:lnTo>
                      <a:pt x="3" y="458"/>
                    </a:lnTo>
                    <a:lnTo>
                      <a:pt x="4" y="459"/>
                    </a:lnTo>
                    <a:lnTo>
                      <a:pt x="4" y="460"/>
                    </a:lnTo>
                    <a:lnTo>
                      <a:pt x="7" y="469"/>
                    </a:lnTo>
                    <a:lnTo>
                      <a:pt x="10" y="474"/>
                    </a:lnTo>
                    <a:lnTo>
                      <a:pt x="15" y="480"/>
                    </a:lnTo>
                    <a:lnTo>
                      <a:pt x="21" y="484"/>
                    </a:lnTo>
                    <a:lnTo>
                      <a:pt x="25" y="486"/>
                    </a:lnTo>
                    <a:lnTo>
                      <a:pt x="29" y="488"/>
                    </a:lnTo>
                    <a:lnTo>
                      <a:pt x="32" y="489"/>
                    </a:lnTo>
                    <a:lnTo>
                      <a:pt x="33" y="489"/>
                    </a:lnTo>
                    <a:lnTo>
                      <a:pt x="40" y="488"/>
                    </a:lnTo>
                    <a:lnTo>
                      <a:pt x="47" y="484"/>
                    </a:lnTo>
                    <a:lnTo>
                      <a:pt x="51" y="480"/>
                    </a:lnTo>
                    <a:lnTo>
                      <a:pt x="55" y="475"/>
                    </a:lnTo>
                    <a:lnTo>
                      <a:pt x="59" y="471"/>
                    </a:lnTo>
                    <a:lnTo>
                      <a:pt x="61" y="467"/>
                    </a:lnTo>
                    <a:lnTo>
                      <a:pt x="62" y="464"/>
                    </a:lnTo>
                    <a:lnTo>
                      <a:pt x="63" y="464"/>
                    </a:lnTo>
                    <a:lnTo>
                      <a:pt x="63" y="459"/>
                    </a:lnTo>
                    <a:lnTo>
                      <a:pt x="63" y="455"/>
                    </a:lnTo>
                    <a:lnTo>
                      <a:pt x="65" y="452"/>
                    </a:lnTo>
                    <a:lnTo>
                      <a:pt x="65" y="449"/>
                    </a:lnTo>
                    <a:lnTo>
                      <a:pt x="66" y="448"/>
                    </a:lnTo>
                    <a:lnTo>
                      <a:pt x="67" y="447"/>
                    </a:lnTo>
                    <a:lnTo>
                      <a:pt x="67" y="445"/>
                    </a:lnTo>
                    <a:lnTo>
                      <a:pt x="67" y="445"/>
                    </a:lnTo>
                    <a:lnTo>
                      <a:pt x="70" y="445"/>
                    </a:lnTo>
                    <a:lnTo>
                      <a:pt x="74" y="444"/>
                    </a:lnTo>
                    <a:lnTo>
                      <a:pt x="76" y="441"/>
                    </a:lnTo>
                    <a:lnTo>
                      <a:pt x="78" y="440"/>
                    </a:lnTo>
                    <a:lnTo>
                      <a:pt x="81" y="437"/>
                    </a:lnTo>
                    <a:lnTo>
                      <a:pt x="83" y="436"/>
                    </a:lnTo>
                    <a:lnTo>
                      <a:pt x="83" y="434"/>
                    </a:lnTo>
                    <a:lnTo>
                      <a:pt x="84" y="433"/>
                    </a:lnTo>
                    <a:lnTo>
                      <a:pt x="88" y="426"/>
                    </a:lnTo>
                    <a:lnTo>
                      <a:pt x="91" y="420"/>
                    </a:lnTo>
                    <a:lnTo>
                      <a:pt x="94" y="416"/>
                    </a:lnTo>
                    <a:lnTo>
                      <a:pt x="94" y="412"/>
                    </a:lnTo>
                    <a:lnTo>
                      <a:pt x="95" y="409"/>
                    </a:lnTo>
                    <a:lnTo>
                      <a:pt x="94" y="407"/>
                    </a:lnTo>
                    <a:lnTo>
                      <a:pt x="94" y="405"/>
                    </a:lnTo>
                    <a:lnTo>
                      <a:pt x="94" y="405"/>
                    </a:lnTo>
                    <a:lnTo>
                      <a:pt x="102" y="423"/>
                    </a:lnTo>
                    <a:lnTo>
                      <a:pt x="102" y="423"/>
                    </a:lnTo>
                    <a:lnTo>
                      <a:pt x="105" y="423"/>
                    </a:lnTo>
                    <a:lnTo>
                      <a:pt x="107" y="422"/>
                    </a:lnTo>
                    <a:lnTo>
                      <a:pt x="111" y="419"/>
                    </a:lnTo>
                    <a:lnTo>
                      <a:pt x="114" y="415"/>
                    </a:lnTo>
                    <a:lnTo>
                      <a:pt x="117" y="408"/>
                    </a:lnTo>
                    <a:lnTo>
                      <a:pt x="118" y="397"/>
                    </a:lnTo>
                    <a:lnTo>
                      <a:pt x="118" y="385"/>
                    </a:lnTo>
                    <a:lnTo>
                      <a:pt x="118" y="382"/>
                    </a:lnTo>
                    <a:lnTo>
                      <a:pt x="118" y="375"/>
                    </a:lnTo>
                    <a:lnTo>
                      <a:pt x="118" y="365"/>
                    </a:lnTo>
                    <a:lnTo>
                      <a:pt x="120" y="354"/>
                    </a:lnTo>
                    <a:lnTo>
                      <a:pt x="120" y="342"/>
                    </a:lnTo>
                    <a:lnTo>
                      <a:pt x="120" y="330"/>
                    </a:lnTo>
                    <a:lnTo>
                      <a:pt x="120" y="319"/>
                    </a:lnTo>
                    <a:lnTo>
                      <a:pt x="120" y="310"/>
                    </a:lnTo>
                    <a:lnTo>
                      <a:pt x="116" y="302"/>
                    </a:lnTo>
                    <a:lnTo>
                      <a:pt x="142" y="286"/>
                    </a:lnTo>
                    <a:lnTo>
                      <a:pt x="143" y="257"/>
                    </a:lnTo>
                    <a:lnTo>
                      <a:pt x="155" y="236"/>
                    </a:lnTo>
                    <a:lnTo>
                      <a:pt x="158" y="217"/>
                    </a:lnTo>
                    <a:lnTo>
                      <a:pt x="161" y="216"/>
                    </a:lnTo>
                    <a:lnTo>
                      <a:pt x="162" y="216"/>
                    </a:lnTo>
                    <a:lnTo>
                      <a:pt x="165" y="213"/>
                    </a:lnTo>
                    <a:lnTo>
                      <a:pt x="168" y="209"/>
                    </a:lnTo>
                    <a:lnTo>
                      <a:pt x="172" y="205"/>
                    </a:lnTo>
                    <a:lnTo>
                      <a:pt x="176" y="200"/>
                    </a:lnTo>
                    <a:lnTo>
                      <a:pt x="180" y="195"/>
                    </a:lnTo>
                    <a:lnTo>
                      <a:pt x="183" y="191"/>
                    </a:lnTo>
                    <a:lnTo>
                      <a:pt x="186" y="187"/>
                    </a:lnTo>
                    <a:lnTo>
                      <a:pt x="187" y="161"/>
                    </a:lnTo>
                    <a:lnTo>
                      <a:pt x="188" y="161"/>
                    </a:lnTo>
                    <a:lnTo>
                      <a:pt x="188" y="161"/>
                    </a:lnTo>
                    <a:lnTo>
                      <a:pt x="190" y="159"/>
                    </a:lnTo>
                    <a:lnTo>
                      <a:pt x="190" y="158"/>
                    </a:lnTo>
                    <a:lnTo>
                      <a:pt x="191" y="157"/>
                    </a:lnTo>
                    <a:lnTo>
                      <a:pt x="193" y="155"/>
                    </a:lnTo>
                    <a:lnTo>
                      <a:pt x="194" y="151"/>
                    </a:lnTo>
                    <a:lnTo>
                      <a:pt x="195" y="147"/>
                    </a:lnTo>
                    <a:lnTo>
                      <a:pt x="195" y="146"/>
                    </a:lnTo>
                    <a:lnTo>
                      <a:pt x="197" y="141"/>
                    </a:lnTo>
                    <a:lnTo>
                      <a:pt x="199" y="135"/>
                    </a:lnTo>
                    <a:lnTo>
                      <a:pt x="205" y="125"/>
                    </a:lnTo>
                    <a:lnTo>
                      <a:pt x="213" y="114"/>
                    </a:lnTo>
                    <a:lnTo>
                      <a:pt x="226" y="102"/>
                    </a:lnTo>
                    <a:lnTo>
                      <a:pt x="242" y="89"/>
                    </a:lnTo>
                    <a:lnTo>
                      <a:pt x="264" y="75"/>
                    </a:lnTo>
                    <a:lnTo>
                      <a:pt x="266" y="75"/>
                    </a:lnTo>
                    <a:lnTo>
                      <a:pt x="267" y="75"/>
                    </a:lnTo>
                    <a:lnTo>
                      <a:pt x="268" y="74"/>
                    </a:lnTo>
                    <a:lnTo>
                      <a:pt x="272" y="74"/>
                    </a:lnTo>
                    <a:lnTo>
                      <a:pt x="275" y="75"/>
                    </a:lnTo>
                    <a:lnTo>
                      <a:pt x="279" y="77"/>
                    </a:lnTo>
                    <a:lnTo>
                      <a:pt x="282" y="80"/>
                    </a:lnTo>
                    <a:lnTo>
                      <a:pt x="286" y="84"/>
                    </a:lnTo>
                    <a:lnTo>
                      <a:pt x="308" y="85"/>
                    </a:lnTo>
                    <a:lnTo>
                      <a:pt x="310" y="85"/>
                    </a:lnTo>
                    <a:lnTo>
                      <a:pt x="311" y="84"/>
                    </a:lnTo>
                    <a:lnTo>
                      <a:pt x="314" y="84"/>
                    </a:lnTo>
                    <a:lnTo>
                      <a:pt x="318" y="82"/>
                    </a:lnTo>
                    <a:lnTo>
                      <a:pt x="321" y="81"/>
                    </a:lnTo>
                    <a:lnTo>
                      <a:pt x="325" y="78"/>
                    </a:lnTo>
                    <a:lnTo>
                      <a:pt x="326" y="75"/>
                    </a:lnTo>
                    <a:lnTo>
                      <a:pt x="327" y="71"/>
                    </a:lnTo>
                    <a:lnTo>
                      <a:pt x="327" y="70"/>
                    </a:lnTo>
                    <a:lnTo>
                      <a:pt x="327" y="69"/>
                    </a:lnTo>
                    <a:lnTo>
                      <a:pt x="329" y="66"/>
                    </a:lnTo>
                    <a:lnTo>
                      <a:pt x="330" y="63"/>
                    </a:lnTo>
                    <a:lnTo>
                      <a:pt x="333" y="62"/>
                    </a:lnTo>
                    <a:lnTo>
                      <a:pt x="337" y="59"/>
                    </a:lnTo>
                    <a:lnTo>
                      <a:pt x="343" y="58"/>
                    </a:lnTo>
                    <a:lnTo>
                      <a:pt x="348" y="59"/>
                    </a:lnTo>
                    <a:lnTo>
                      <a:pt x="385" y="80"/>
                    </a:lnTo>
                    <a:lnTo>
                      <a:pt x="385" y="80"/>
                    </a:lnTo>
                    <a:lnTo>
                      <a:pt x="387" y="78"/>
                    </a:lnTo>
                    <a:lnTo>
                      <a:pt x="387" y="78"/>
                    </a:lnTo>
                    <a:lnTo>
                      <a:pt x="388" y="78"/>
                    </a:lnTo>
                    <a:lnTo>
                      <a:pt x="388" y="77"/>
                    </a:lnTo>
                    <a:lnTo>
                      <a:pt x="388" y="74"/>
                    </a:lnTo>
                    <a:lnTo>
                      <a:pt x="389" y="71"/>
                    </a:lnTo>
                    <a:lnTo>
                      <a:pt x="389" y="67"/>
                    </a:lnTo>
                    <a:lnTo>
                      <a:pt x="399" y="66"/>
                    </a:lnTo>
                    <a:lnTo>
                      <a:pt x="385" y="6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2" name="Freeform 854"/>
              <p:cNvSpPr>
                <a:spLocks/>
              </p:cNvSpPr>
              <p:nvPr/>
            </p:nvSpPr>
            <p:spPr bwMode="auto">
              <a:xfrm>
                <a:off x="2816" y="1349"/>
                <a:ext cx="399" cy="489"/>
              </a:xfrm>
              <a:custGeom>
                <a:avLst/>
                <a:gdLst>
                  <a:gd name="T0" fmla="*/ 362 w 399"/>
                  <a:gd name="T1" fmla="*/ 53 h 489"/>
                  <a:gd name="T2" fmla="*/ 373 w 399"/>
                  <a:gd name="T3" fmla="*/ 49 h 489"/>
                  <a:gd name="T4" fmla="*/ 377 w 399"/>
                  <a:gd name="T5" fmla="*/ 49 h 489"/>
                  <a:gd name="T6" fmla="*/ 389 w 399"/>
                  <a:gd name="T7" fmla="*/ 33 h 489"/>
                  <a:gd name="T8" fmla="*/ 358 w 399"/>
                  <a:gd name="T9" fmla="*/ 4 h 489"/>
                  <a:gd name="T10" fmla="*/ 293 w 399"/>
                  <a:gd name="T11" fmla="*/ 12 h 489"/>
                  <a:gd name="T12" fmla="*/ 271 w 399"/>
                  <a:gd name="T13" fmla="*/ 18 h 489"/>
                  <a:gd name="T14" fmla="*/ 257 w 399"/>
                  <a:gd name="T15" fmla="*/ 23 h 489"/>
                  <a:gd name="T16" fmla="*/ 253 w 399"/>
                  <a:gd name="T17" fmla="*/ 34 h 489"/>
                  <a:gd name="T18" fmla="*/ 238 w 399"/>
                  <a:gd name="T19" fmla="*/ 44 h 489"/>
                  <a:gd name="T20" fmla="*/ 230 w 399"/>
                  <a:gd name="T21" fmla="*/ 38 h 489"/>
                  <a:gd name="T22" fmla="*/ 213 w 399"/>
                  <a:gd name="T23" fmla="*/ 47 h 489"/>
                  <a:gd name="T24" fmla="*/ 198 w 399"/>
                  <a:gd name="T25" fmla="*/ 64 h 489"/>
                  <a:gd name="T26" fmla="*/ 180 w 399"/>
                  <a:gd name="T27" fmla="*/ 74 h 489"/>
                  <a:gd name="T28" fmla="*/ 173 w 399"/>
                  <a:gd name="T29" fmla="*/ 99 h 489"/>
                  <a:gd name="T30" fmla="*/ 131 w 399"/>
                  <a:gd name="T31" fmla="*/ 189 h 489"/>
                  <a:gd name="T32" fmla="*/ 118 w 399"/>
                  <a:gd name="T33" fmla="*/ 220 h 489"/>
                  <a:gd name="T34" fmla="*/ 103 w 399"/>
                  <a:gd name="T35" fmla="*/ 253 h 489"/>
                  <a:gd name="T36" fmla="*/ 63 w 399"/>
                  <a:gd name="T37" fmla="*/ 302 h 489"/>
                  <a:gd name="T38" fmla="*/ 26 w 399"/>
                  <a:gd name="T39" fmla="*/ 334 h 489"/>
                  <a:gd name="T40" fmla="*/ 15 w 399"/>
                  <a:gd name="T41" fmla="*/ 346 h 489"/>
                  <a:gd name="T42" fmla="*/ 8 w 399"/>
                  <a:gd name="T43" fmla="*/ 357 h 489"/>
                  <a:gd name="T44" fmla="*/ 0 w 399"/>
                  <a:gd name="T45" fmla="*/ 385 h 489"/>
                  <a:gd name="T46" fmla="*/ 10 w 399"/>
                  <a:gd name="T47" fmla="*/ 403 h 489"/>
                  <a:gd name="T48" fmla="*/ 8 w 399"/>
                  <a:gd name="T49" fmla="*/ 409 h 489"/>
                  <a:gd name="T50" fmla="*/ 6 w 399"/>
                  <a:gd name="T51" fmla="*/ 423 h 489"/>
                  <a:gd name="T52" fmla="*/ 1 w 399"/>
                  <a:gd name="T53" fmla="*/ 449 h 489"/>
                  <a:gd name="T54" fmla="*/ 7 w 399"/>
                  <a:gd name="T55" fmla="*/ 469 h 489"/>
                  <a:gd name="T56" fmla="*/ 29 w 399"/>
                  <a:gd name="T57" fmla="*/ 488 h 489"/>
                  <a:gd name="T58" fmla="*/ 51 w 399"/>
                  <a:gd name="T59" fmla="*/ 480 h 489"/>
                  <a:gd name="T60" fmla="*/ 63 w 399"/>
                  <a:gd name="T61" fmla="*/ 464 h 489"/>
                  <a:gd name="T62" fmla="*/ 66 w 399"/>
                  <a:gd name="T63" fmla="*/ 448 h 489"/>
                  <a:gd name="T64" fmla="*/ 76 w 399"/>
                  <a:gd name="T65" fmla="*/ 441 h 489"/>
                  <a:gd name="T66" fmla="*/ 84 w 399"/>
                  <a:gd name="T67" fmla="*/ 433 h 489"/>
                  <a:gd name="T68" fmla="*/ 95 w 399"/>
                  <a:gd name="T69" fmla="*/ 409 h 489"/>
                  <a:gd name="T70" fmla="*/ 107 w 399"/>
                  <a:gd name="T71" fmla="*/ 422 h 489"/>
                  <a:gd name="T72" fmla="*/ 118 w 399"/>
                  <a:gd name="T73" fmla="*/ 385 h 489"/>
                  <a:gd name="T74" fmla="*/ 120 w 399"/>
                  <a:gd name="T75" fmla="*/ 342 h 489"/>
                  <a:gd name="T76" fmla="*/ 142 w 399"/>
                  <a:gd name="T77" fmla="*/ 286 h 489"/>
                  <a:gd name="T78" fmla="*/ 162 w 399"/>
                  <a:gd name="T79" fmla="*/ 216 h 489"/>
                  <a:gd name="T80" fmla="*/ 180 w 399"/>
                  <a:gd name="T81" fmla="*/ 195 h 489"/>
                  <a:gd name="T82" fmla="*/ 190 w 399"/>
                  <a:gd name="T83" fmla="*/ 159 h 489"/>
                  <a:gd name="T84" fmla="*/ 195 w 399"/>
                  <a:gd name="T85" fmla="*/ 147 h 489"/>
                  <a:gd name="T86" fmla="*/ 213 w 399"/>
                  <a:gd name="T87" fmla="*/ 114 h 489"/>
                  <a:gd name="T88" fmla="*/ 267 w 399"/>
                  <a:gd name="T89" fmla="*/ 75 h 489"/>
                  <a:gd name="T90" fmla="*/ 282 w 399"/>
                  <a:gd name="T91" fmla="*/ 80 h 489"/>
                  <a:gd name="T92" fmla="*/ 314 w 399"/>
                  <a:gd name="T93" fmla="*/ 84 h 489"/>
                  <a:gd name="T94" fmla="*/ 327 w 399"/>
                  <a:gd name="T95" fmla="*/ 71 h 489"/>
                  <a:gd name="T96" fmla="*/ 333 w 399"/>
                  <a:gd name="T97" fmla="*/ 62 h 489"/>
                  <a:gd name="T98" fmla="*/ 387 w 399"/>
                  <a:gd name="T99" fmla="*/ 78 h 489"/>
                  <a:gd name="T100" fmla="*/ 389 w 399"/>
                  <a:gd name="T101" fmla="*/ 67 h 4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99" h="489">
                    <a:moveTo>
                      <a:pt x="385" y="62"/>
                    </a:moveTo>
                    <a:lnTo>
                      <a:pt x="373" y="58"/>
                    </a:lnTo>
                    <a:lnTo>
                      <a:pt x="369" y="56"/>
                    </a:lnTo>
                    <a:lnTo>
                      <a:pt x="365" y="55"/>
                    </a:lnTo>
                    <a:lnTo>
                      <a:pt x="362" y="53"/>
                    </a:lnTo>
                    <a:lnTo>
                      <a:pt x="359" y="52"/>
                    </a:lnTo>
                    <a:lnTo>
                      <a:pt x="356" y="52"/>
                    </a:lnTo>
                    <a:lnTo>
                      <a:pt x="355" y="52"/>
                    </a:lnTo>
                    <a:lnTo>
                      <a:pt x="354" y="52"/>
                    </a:lnTo>
                    <a:lnTo>
                      <a:pt x="373" y="49"/>
                    </a:lnTo>
                    <a:lnTo>
                      <a:pt x="371" y="49"/>
                    </a:lnTo>
                    <a:lnTo>
                      <a:pt x="371" y="51"/>
                    </a:lnTo>
                    <a:lnTo>
                      <a:pt x="370" y="51"/>
                    </a:lnTo>
                    <a:lnTo>
                      <a:pt x="373" y="51"/>
                    </a:lnTo>
                    <a:lnTo>
                      <a:pt x="377" y="49"/>
                    </a:lnTo>
                    <a:lnTo>
                      <a:pt x="382" y="48"/>
                    </a:lnTo>
                    <a:lnTo>
                      <a:pt x="385" y="45"/>
                    </a:lnTo>
                    <a:lnTo>
                      <a:pt x="388" y="41"/>
                    </a:lnTo>
                    <a:lnTo>
                      <a:pt x="389" y="37"/>
                    </a:lnTo>
                    <a:lnTo>
                      <a:pt x="389" y="33"/>
                    </a:lnTo>
                    <a:lnTo>
                      <a:pt x="391" y="29"/>
                    </a:lnTo>
                    <a:lnTo>
                      <a:pt x="391" y="26"/>
                    </a:lnTo>
                    <a:lnTo>
                      <a:pt x="373" y="23"/>
                    </a:lnTo>
                    <a:lnTo>
                      <a:pt x="369" y="12"/>
                    </a:lnTo>
                    <a:lnTo>
                      <a:pt x="358" y="4"/>
                    </a:lnTo>
                    <a:lnTo>
                      <a:pt x="334" y="7"/>
                    </a:lnTo>
                    <a:lnTo>
                      <a:pt x="307" y="0"/>
                    </a:lnTo>
                    <a:lnTo>
                      <a:pt x="304" y="5"/>
                    </a:lnTo>
                    <a:lnTo>
                      <a:pt x="299" y="8"/>
                    </a:lnTo>
                    <a:lnTo>
                      <a:pt x="293" y="12"/>
                    </a:lnTo>
                    <a:lnTo>
                      <a:pt x="286" y="14"/>
                    </a:lnTo>
                    <a:lnTo>
                      <a:pt x="281" y="15"/>
                    </a:lnTo>
                    <a:lnTo>
                      <a:pt x="277" y="16"/>
                    </a:lnTo>
                    <a:lnTo>
                      <a:pt x="272" y="18"/>
                    </a:lnTo>
                    <a:lnTo>
                      <a:pt x="271" y="18"/>
                    </a:lnTo>
                    <a:lnTo>
                      <a:pt x="267" y="18"/>
                    </a:lnTo>
                    <a:lnTo>
                      <a:pt x="264" y="19"/>
                    </a:lnTo>
                    <a:lnTo>
                      <a:pt x="261" y="20"/>
                    </a:lnTo>
                    <a:lnTo>
                      <a:pt x="259" y="22"/>
                    </a:lnTo>
                    <a:lnTo>
                      <a:pt x="257" y="23"/>
                    </a:lnTo>
                    <a:lnTo>
                      <a:pt x="256" y="25"/>
                    </a:lnTo>
                    <a:lnTo>
                      <a:pt x="256" y="26"/>
                    </a:lnTo>
                    <a:lnTo>
                      <a:pt x="255" y="29"/>
                    </a:lnTo>
                    <a:lnTo>
                      <a:pt x="255" y="31"/>
                    </a:lnTo>
                    <a:lnTo>
                      <a:pt x="253" y="34"/>
                    </a:lnTo>
                    <a:lnTo>
                      <a:pt x="252" y="37"/>
                    </a:lnTo>
                    <a:lnTo>
                      <a:pt x="249" y="40"/>
                    </a:lnTo>
                    <a:lnTo>
                      <a:pt x="246" y="42"/>
                    </a:lnTo>
                    <a:lnTo>
                      <a:pt x="242" y="44"/>
                    </a:lnTo>
                    <a:lnTo>
                      <a:pt x="238" y="44"/>
                    </a:lnTo>
                    <a:lnTo>
                      <a:pt x="235" y="42"/>
                    </a:lnTo>
                    <a:lnTo>
                      <a:pt x="233" y="42"/>
                    </a:lnTo>
                    <a:lnTo>
                      <a:pt x="231" y="41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7"/>
                    </a:lnTo>
                    <a:lnTo>
                      <a:pt x="224" y="37"/>
                    </a:lnTo>
                    <a:lnTo>
                      <a:pt x="220" y="40"/>
                    </a:lnTo>
                    <a:lnTo>
                      <a:pt x="216" y="42"/>
                    </a:lnTo>
                    <a:lnTo>
                      <a:pt x="213" y="47"/>
                    </a:lnTo>
                    <a:lnTo>
                      <a:pt x="211" y="51"/>
                    </a:lnTo>
                    <a:lnTo>
                      <a:pt x="209" y="55"/>
                    </a:lnTo>
                    <a:lnTo>
                      <a:pt x="208" y="56"/>
                    </a:lnTo>
                    <a:lnTo>
                      <a:pt x="206" y="58"/>
                    </a:lnTo>
                    <a:lnTo>
                      <a:pt x="198" y="64"/>
                    </a:lnTo>
                    <a:lnTo>
                      <a:pt x="194" y="64"/>
                    </a:lnTo>
                    <a:lnTo>
                      <a:pt x="191" y="66"/>
                    </a:lnTo>
                    <a:lnTo>
                      <a:pt x="188" y="67"/>
                    </a:lnTo>
                    <a:lnTo>
                      <a:pt x="186" y="70"/>
                    </a:lnTo>
                    <a:lnTo>
                      <a:pt x="180" y="74"/>
                    </a:lnTo>
                    <a:lnTo>
                      <a:pt x="177" y="81"/>
                    </a:lnTo>
                    <a:lnTo>
                      <a:pt x="176" y="88"/>
                    </a:lnTo>
                    <a:lnTo>
                      <a:pt x="175" y="93"/>
                    </a:lnTo>
                    <a:lnTo>
                      <a:pt x="175" y="96"/>
                    </a:lnTo>
                    <a:lnTo>
                      <a:pt x="173" y="99"/>
                    </a:lnTo>
                    <a:lnTo>
                      <a:pt x="161" y="135"/>
                    </a:lnTo>
                    <a:lnTo>
                      <a:pt x="138" y="177"/>
                    </a:lnTo>
                    <a:lnTo>
                      <a:pt x="136" y="180"/>
                    </a:lnTo>
                    <a:lnTo>
                      <a:pt x="133" y="184"/>
                    </a:lnTo>
                    <a:lnTo>
                      <a:pt x="131" y="189"/>
                    </a:lnTo>
                    <a:lnTo>
                      <a:pt x="128" y="196"/>
                    </a:lnTo>
                    <a:lnTo>
                      <a:pt x="124" y="205"/>
                    </a:lnTo>
                    <a:lnTo>
                      <a:pt x="121" y="211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7" y="222"/>
                    </a:lnTo>
                    <a:lnTo>
                      <a:pt x="114" y="229"/>
                    </a:lnTo>
                    <a:lnTo>
                      <a:pt x="110" y="236"/>
                    </a:lnTo>
                    <a:lnTo>
                      <a:pt x="106" y="244"/>
                    </a:lnTo>
                    <a:lnTo>
                      <a:pt x="103" y="253"/>
                    </a:lnTo>
                    <a:lnTo>
                      <a:pt x="99" y="260"/>
                    </a:lnTo>
                    <a:lnTo>
                      <a:pt x="98" y="264"/>
                    </a:lnTo>
                    <a:lnTo>
                      <a:pt x="96" y="266"/>
                    </a:lnTo>
                    <a:lnTo>
                      <a:pt x="84" y="275"/>
                    </a:lnTo>
                    <a:lnTo>
                      <a:pt x="63" y="302"/>
                    </a:lnTo>
                    <a:lnTo>
                      <a:pt x="37" y="320"/>
                    </a:lnTo>
                    <a:lnTo>
                      <a:pt x="34" y="324"/>
                    </a:lnTo>
                    <a:lnTo>
                      <a:pt x="32" y="328"/>
                    </a:lnTo>
                    <a:lnTo>
                      <a:pt x="29" y="331"/>
                    </a:lnTo>
                    <a:lnTo>
                      <a:pt x="26" y="334"/>
                    </a:lnTo>
                    <a:lnTo>
                      <a:pt x="22" y="335"/>
                    </a:lnTo>
                    <a:lnTo>
                      <a:pt x="21" y="337"/>
                    </a:lnTo>
                    <a:lnTo>
                      <a:pt x="18" y="338"/>
                    </a:lnTo>
                    <a:lnTo>
                      <a:pt x="17" y="342"/>
                    </a:lnTo>
                    <a:lnTo>
                      <a:pt x="15" y="346"/>
                    </a:lnTo>
                    <a:lnTo>
                      <a:pt x="14" y="349"/>
                    </a:lnTo>
                    <a:lnTo>
                      <a:pt x="12" y="352"/>
                    </a:lnTo>
                    <a:lnTo>
                      <a:pt x="10" y="354"/>
                    </a:lnTo>
                    <a:lnTo>
                      <a:pt x="8" y="356"/>
                    </a:lnTo>
                    <a:lnTo>
                      <a:pt x="8" y="357"/>
                    </a:lnTo>
                    <a:lnTo>
                      <a:pt x="7" y="357"/>
                    </a:lnTo>
                    <a:lnTo>
                      <a:pt x="3" y="364"/>
                    </a:lnTo>
                    <a:lnTo>
                      <a:pt x="0" y="371"/>
                    </a:lnTo>
                    <a:lnTo>
                      <a:pt x="0" y="378"/>
                    </a:lnTo>
                    <a:lnTo>
                      <a:pt x="0" y="385"/>
                    </a:lnTo>
                    <a:lnTo>
                      <a:pt x="1" y="390"/>
                    </a:lnTo>
                    <a:lnTo>
                      <a:pt x="3" y="396"/>
                    </a:lnTo>
                    <a:lnTo>
                      <a:pt x="6" y="400"/>
                    </a:lnTo>
                    <a:lnTo>
                      <a:pt x="7" y="401"/>
                    </a:lnTo>
                    <a:lnTo>
                      <a:pt x="10" y="403"/>
                    </a:lnTo>
                    <a:lnTo>
                      <a:pt x="11" y="404"/>
                    </a:lnTo>
                    <a:lnTo>
                      <a:pt x="11" y="405"/>
                    </a:lnTo>
                    <a:lnTo>
                      <a:pt x="10" y="407"/>
                    </a:lnTo>
                    <a:lnTo>
                      <a:pt x="10" y="408"/>
                    </a:lnTo>
                    <a:lnTo>
                      <a:pt x="8" y="409"/>
                    </a:lnTo>
                    <a:lnTo>
                      <a:pt x="7" y="412"/>
                    </a:lnTo>
                    <a:lnTo>
                      <a:pt x="7" y="415"/>
                    </a:lnTo>
                    <a:lnTo>
                      <a:pt x="6" y="418"/>
                    </a:lnTo>
                    <a:lnTo>
                      <a:pt x="6" y="420"/>
                    </a:lnTo>
                    <a:lnTo>
                      <a:pt x="6" y="423"/>
                    </a:lnTo>
                    <a:lnTo>
                      <a:pt x="6" y="426"/>
                    </a:lnTo>
                    <a:lnTo>
                      <a:pt x="3" y="431"/>
                    </a:lnTo>
                    <a:lnTo>
                      <a:pt x="1" y="438"/>
                    </a:lnTo>
                    <a:lnTo>
                      <a:pt x="0" y="444"/>
                    </a:lnTo>
                    <a:lnTo>
                      <a:pt x="1" y="449"/>
                    </a:lnTo>
                    <a:lnTo>
                      <a:pt x="1" y="453"/>
                    </a:lnTo>
                    <a:lnTo>
                      <a:pt x="3" y="458"/>
                    </a:lnTo>
                    <a:lnTo>
                      <a:pt x="4" y="459"/>
                    </a:lnTo>
                    <a:lnTo>
                      <a:pt x="4" y="460"/>
                    </a:lnTo>
                    <a:lnTo>
                      <a:pt x="7" y="469"/>
                    </a:lnTo>
                    <a:lnTo>
                      <a:pt x="10" y="474"/>
                    </a:lnTo>
                    <a:lnTo>
                      <a:pt x="15" y="480"/>
                    </a:lnTo>
                    <a:lnTo>
                      <a:pt x="21" y="484"/>
                    </a:lnTo>
                    <a:lnTo>
                      <a:pt x="25" y="486"/>
                    </a:lnTo>
                    <a:lnTo>
                      <a:pt x="29" y="488"/>
                    </a:lnTo>
                    <a:lnTo>
                      <a:pt x="32" y="489"/>
                    </a:lnTo>
                    <a:lnTo>
                      <a:pt x="33" y="489"/>
                    </a:lnTo>
                    <a:lnTo>
                      <a:pt x="40" y="488"/>
                    </a:lnTo>
                    <a:lnTo>
                      <a:pt x="47" y="484"/>
                    </a:lnTo>
                    <a:lnTo>
                      <a:pt x="51" y="480"/>
                    </a:lnTo>
                    <a:lnTo>
                      <a:pt x="55" y="475"/>
                    </a:lnTo>
                    <a:lnTo>
                      <a:pt x="59" y="471"/>
                    </a:lnTo>
                    <a:lnTo>
                      <a:pt x="61" y="467"/>
                    </a:lnTo>
                    <a:lnTo>
                      <a:pt x="62" y="464"/>
                    </a:lnTo>
                    <a:lnTo>
                      <a:pt x="63" y="464"/>
                    </a:lnTo>
                    <a:lnTo>
                      <a:pt x="63" y="459"/>
                    </a:lnTo>
                    <a:lnTo>
                      <a:pt x="63" y="455"/>
                    </a:lnTo>
                    <a:lnTo>
                      <a:pt x="65" y="452"/>
                    </a:lnTo>
                    <a:lnTo>
                      <a:pt x="65" y="449"/>
                    </a:lnTo>
                    <a:lnTo>
                      <a:pt x="66" y="448"/>
                    </a:lnTo>
                    <a:lnTo>
                      <a:pt x="67" y="447"/>
                    </a:lnTo>
                    <a:lnTo>
                      <a:pt x="67" y="445"/>
                    </a:lnTo>
                    <a:lnTo>
                      <a:pt x="70" y="445"/>
                    </a:lnTo>
                    <a:lnTo>
                      <a:pt x="74" y="444"/>
                    </a:lnTo>
                    <a:lnTo>
                      <a:pt x="76" y="441"/>
                    </a:lnTo>
                    <a:lnTo>
                      <a:pt x="78" y="440"/>
                    </a:lnTo>
                    <a:lnTo>
                      <a:pt x="81" y="437"/>
                    </a:lnTo>
                    <a:lnTo>
                      <a:pt x="83" y="436"/>
                    </a:lnTo>
                    <a:lnTo>
                      <a:pt x="83" y="434"/>
                    </a:lnTo>
                    <a:lnTo>
                      <a:pt x="84" y="433"/>
                    </a:lnTo>
                    <a:lnTo>
                      <a:pt x="88" y="426"/>
                    </a:lnTo>
                    <a:lnTo>
                      <a:pt x="91" y="420"/>
                    </a:lnTo>
                    <a:lnTo>
                      <a:pt x="94" y="416"/>
                    </a:lnTo>
                    <a:lnTo>
                      <a:pt x="94" y="412"/>
                    </a:lnTo>
                    <a:lnTo>
                      <a:pt x="95" y="409"/>
                    </a:lnTo>
                    <a:lnTo>
                      <a:pt x="94" y="407"/>
                    </a:lnTo>
                    <a:lnTo>
                      <a:pt x="94" y="405"/>
                    </a:lnTo>
                    <a:lnTo>
                      <a:pt x="102" y="423"/>
                    </a:lnTo>
                    <a:lnTo>
                      <a:pt x="105" y="423"/>
                    </a:lnTo>
                    <a:lnTo>
                      <a:pt x="107" y="422"/>
                    </a:lnTo>
                    <a:lnTo>
                      <a:pt x="111" y="419"/>
                    </a:lnTo>
                    <a:lnTo>
                      <a:pt x="114" y="415"/>
                    </a:lnTo>
                    <a:lnTo>
                      <a:pt x="117" y="408"/>
                    </a:lnTo>
                    <a:lnTo>
                      <a:pt x="118" y="397"/>
                    </a:lnTo>
                    <a:lnTo>
                      <a:pt x="118" y="385"/>
                    </a:lnTo>
                    <a:lnTo>
                      <a:pt x="118" y="382"/>
                    </a:lnTo>
                    <a:lnTo>
                      <a:pt x="118" y="375"/>
                    </a:lnTo>
                    <a:lnTo>
                      <a:pt x="118" y="365"/>
                    </a:lnTo>
                    <a:lnTo>
                      <a:pt x="120" y="354"/>
                    </a:lnTo>
                    <a:lnTo>
                      <a:pt x="120" y="342"/>
                    </a:lnTo>
                    <a:lnTo>
                      <a:pt x="120" y="330"/>
                    </a:lnTo>
                    <a:lnTo>
                      <a:pt x="120" y="319"/>
                    </a:lnTo>
                    <a:lnTo>
                      <a:pt x="120" y="310"/>
                    </a:lnTo>
                    <a:lnTo>
                      <a:pt x="116" y="302"/>
                    </a:lnTo>
                    <a:lnTo>
                      <a:pt x="142" y="286"/>
                    </a:lnTo>
                    <a:lnTo>
                      <a:pt x="143" y="257"/>
                    </a:lnTo>
                    <a:lnTo>
                      <a:pt x="155" y="236"/>
                    </a:lnTo>
                    <a:lnTo>
                      <a:pt x="158" y="217"/>
                    </a:lnTo>
                    <a:lnTo>
                      <a:pt x="161" y="216"/>
                    </a:lnTo>
                    <a:lnTo>
                      <a:pt x="162" y="216"/>
                    </a:lnTo>
                    <a:lnTo>
                      <a:pt x="165" y="213"/>
                    </a:lnTo>
                    <a:lnTo>
                      <a:pt x="168" y="209"/>
                    </a:lnTo>
                    <a:lnTo>
                      <a:pt x="172" y="205"/>
                    </a:lnTo>
                    <a:lnTo>
                      <a:pt x="176" y="200"/>
                    </a:lnTo>
                    <a:lnTo>
                      <a:pt x="180" y="195"/>
                    </a:lnTo>
                    <a:lnTo>
                      <a:pt x="183" y="191"/>
                    </a:lnTo>
                    <a:lnTo>
                      <a:pt x="186" y="187"/>
                    </a:lnTo>
                    <a:lnTo>
                      <a:pt x="187" y="161"/>
                    </a:lnTo>
                    <a:lnTo>
                      <a:pt x="188" y="161"/>
                    </a:lnTo>
                    <a:lnTo>
                      <a:pt x="190" y="159"/>
                    </a:lnTo>
                    <a:lnTo>
                      <a:pt x="190" y="158"/>
                    </a:lnTo>
                    <a:lnTo>
                      <a:pt x="191" y="157"/>
                    </a:lnTo>
                    <a:lnTo>
                      <a:pt x="193" y="155"/>
                    </a:lnTo>
                    <a:lnTo>
                      <a:pt x="194" y="151"/>
                    </a:lnTo>
                    <a:lnTo>
                      <a:pt x="195" y="147"/>
                    </a:lnTo>
                    <a:lnTo>
                      <a:pt x="195" y="146"/>
                    </a:lnTo>
                    <a:lnTo>
                      <a:pt x="197" y="141"/>
                    </a:lnTo>
                    <a:lnTo>
                      <a:pt x="199" y="135"/>
                    </a:lnTo>
                    <a:lnTo>
                      <a:pt x="205" y="125"/>
                    </a:lnTo>
                    <a:lnTo>
                      <a:pt x="213" y="114"/>
                    </a:lnTo>
                    <a:lnTo>
                      <a:pt x="226" y="102"/>
                    </a:lnTo>
                    <a:lnTo>
                      <a:pt x="242" y="89"/>
                    </a:lnTo>
                    <a:lnTo>
                      <a:pt x="264" y="75"/>
                    </a:lnTo>
                    <a:lnTo>
                      <a:pt x="266" y="75"/>
                    </a:lnTo>
                    <a:lnTo>
                      <a:pt x="267" y="75"/>
                    </a:lnTo>
                    <a:lnTo>
                      <a:pt x="268" y="74"/>
                    </a:lnTo>
                    <a:lnTo>
                      <a:pt x="272" y="74"/>
                    </a:lnTo>
                    <a:lnTo>
                      <a:pt x="275" y="75"/>
                    </a:lnTo>
                    <a:lnTo>
                      <a:pt x="279" y="77"/>
                    </a:lnTo>
                    <a:lnTo>
                      <a:pt x="282" y="80"/>
                    </a:lnTo>
                    <a:lnTo>
                      <a:pt x="286" y="84"/>
                    </a:lnTo>
                    <a:lnTo>
                      <a:pt x="308" y="85"/>
                    </a:lnTo>
                    <a:lnTo>
                      <a:pt x="310" y="85"/>
                    </a:lnTo>
                    <a:lnTo>
                      <a:pt x="311" y="84"/>
                    </a:lnTo>
                    <a:lnTo>
                      <a:pt x="314" y="84"/>
                    </a:lnTo>
                    <a:lnTo>
                      <a:pt x="318" y="82"/>
                    </a:lnTo>
                    <a:lnTo>
                      <a:pt x="321" y="81"/>
                    </a:lnTo>
                    <a:lnTo>
                      <a:pt x="325" y="78"/>
                    </a:lnTo>
                    <a:lnTo>
                      <a:pt x="326" y="75"/>
                    </a:lnTo>
                    <a:lnTo>
                      <a:pt x="327" y="71"/>
                    </a:lnTo>
                    <a:lnTo>
                      <a:pt x="327" y="70"/>
                    </a:lnTo>
                    <a:lnTo>
                      <a:pt x="327" y="69"/>
                    </a:lnTo>
                    <a:lnTo>
                      <a:pt x="329" y="66"/>
                    </a:lnTo>
                    <a:lnTo>
                      <a:pt x="330" y="63"/>
                    </a:lnTo>
                    <a:lnTo>
                      <a:pt x="333" y="62"/>
                    </a:lnTo>
                    <a:lnTo>
                      <a:pt x="337" y="59"/>
                    </a:lnTo>
                    <a:lnTo>
                      <a:pt x="343" y="58"/>
                    </a:lnTo>
                    <a:lnTo>
                      <a:pt x="348" y="59"/>
                    </a:lnTo>
                    <a:lnTo>
                      <a:pt x="385" y="80"/>
                    </a:lnTo>
                    <a:lnTo>
                      <a:pt x="387" y="78"/>
                    </a:lnTo>
                    <a:lnTo>
                      <a:pt x="388" y="78"/>
                    </a:lnTo>
                    <a:lnTo>
                      <a:pt x="388" y="77"/>
                    </a:lnTo>
                    <a:lnTo>
                      <a:pt x="388" y="74"/>
                    </a:lnTo>
                    <a:lnTo>
                      <a:pt x="389" y="71"/>
                    </a:lnTo>
                    <a:lnTo>
                      <a:pt x="389" y="67"/>
                    </a:lnTo>
                    <a:lnTo>
                      <a:pt x="399" y="66"/>
                    </a:lnTo>
                    <a:lnTo>
                      <a:pt x="385" y="6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3" name="Freeform 855"/>
              <p:cNvSpPr>
                <a:spLocks/>
              </p:cNvSpPr>
              <p:nvPr/>
            </p:nvSpPr>
            <p:spPr bwMode="auto">
              <a:xfrm>
                <a:off x="2595" y="2179"/>
                <a:ext cx="185" cy="157"/>
              </a:xfrm>
              <a:custGeom>
                <a:avLst/>
                <a:gdLst>
                  <a:gd name="T0" fmla="*/ 177 w 185"/>
                  <a:gd name="T1" fmla="*/ 54 h 157"/>
                  <a:gd name="T2" fmla="*/ 161 w 185"/>
                  <a:gd name="T3" fmla="*/ 58 h 157"/>
                  <a:gd name="T4" fmla="*/ 148 w 185"/>
                  <a:gd name="T5" fmla="*/ 67 h 157"/>
                  <a:gd name="T6" fmla="*/ 140 w 185"/>
                  <a:gd name="T7" fmla="*/ 87 h 157"/>
                  <a:gd name="T8" fmla="*/ 138 w 185"/>
                  <a:gd name="T9" fmla="*/ 96 h 157"/>
                  <a:gd name="T10" fmla="*/ 127 w 185"/>
                  <a:gd name="T11" fmla="*/ 110 h 157"/>
                  <a:gd name="T12" fmla="*/ 110 w 185"/>
                  <a:gd name="T13" fmla="*/ 139 h 157"/>
                  <a:gd name="T14" fmla="*/ 93 w 185"/>
                  <a:gd name="T15" fmla="*/ 139 h 157"/>
                  <a:gd name="T16" fmla="*/ 78 w 185"/>
                  <a:gd name="T17" fmla="*/ 137 h 157"/>
                  <a:gd name="T18" fmla="*/ 63 w 185"/>
                  <a:gd name="T19" fmla="*/ 142 h 157"/>
                  <a:gd name="T20" fmla="*/ 55 w 185"/>
                  <a:gd name="T21" fmla="*/ 143 h 157"/>
                  <a:gd name="T22" fmla="*/ 39 w 185"/>
                  <a:gd name="T23" fmla="*/ 144 h 157"/>
                  <a:gd name="T24" fmla="*/ 33 w 185"/>
                  <a:gd name="T25" fmla="*/ 157 h 157"/>
                  <a:gd name="T26" fmla="*/ 23 w 185"/>
                  <a:gd name="T27" fmla="*/ 153 h 157"/>
                  <a:gd name="T28" fmla="*/ 19 w 185"/>
                  <a:gd name="T29" fmla="*/ 146 h 157"/>
                  <a:gd name="T30" fmla="*/ 19 w 185"/>
                  <a:gd name="T31" fmla="*/ 142 h 157"/>
                  <a:gd name="T32" fmla="*/ 17 w 185"/>
                  <a:gd name="T33" fmla="*/ 139 h 157"/>
                  <a:gd name="T34" fmla="*/ 17 w 185"/>
                  <a:gd name="T35" fmla="*/ 139 h 157"/>
                  <a:gd name="T36" fmla="*/ 17 w 185"/>
                  <a:gd name="T37" fmla="*/ 139 h 157"/>
                  <a:gd name="T38" fmla="*/ 19 w 185"/>
                  <a:gd name="T39" fmla="*/ 135 h 157"/>
                  <a:gd name="T40" fmla="*/ 22 w 185"/>
                  <a:gd name="T41" fmla="*/ 125 h 157"/>
                  <a:gd name="T42" fmla="*/ 27 w 185"/>
                  <a:gd name="T43" fmla="*/ 121 h 157"/>
                  <a:gd name="T44" fmla="*/ 33 w 185"/>
                  <a:gd name="T45" fmla="*/ 115 h 157"/>
                  <a:gd name="T46" fmla="*/ 34 w 185"/>
                  <a:gd name="T47" fmla="*/ 84 h 157"/>
                  <a:gd name="T48" fmla="*/ 37 w 185"/>
                  <a:gd name="T49" fmla="*/ 49 h 157"/>
                  <a:gd name="T50" fmla="*/ 42 w 185"/>
                  <a:gd name="T51" fmla="*/ 47 h 157"/>
                  <a:gd name="T52" fmla="*/ 44 w 185"/>
                  <a:gd name="T53" fmla="*/ 41 h 157"/>
                  <a:gd name="T54" fmla="*/ 44 w 185"/>
                  <a:gd name="T55" fmla="*/ 40 h 157"/>
                  <a:gd name="T56" fmla="*/ 31 w 185"/>
                  <a:gd name="T57" fmla="*/ 33 h 157"/>
                  <a:gd name="T58" fmla="*/ 30 w 185"/>
                  <a:gd name="T59" fmla="*/ 32 h 157"/>
                  <a:gd name="T60" fmla="*/ 28 w 185"/>
                  <a:gd name="T61" fmla="*/ 33 h 157"/>
                  <a:gd name="T62" fmla="*/ 28 w 185"/>
                  <a:gd name="T63" fmla="*/ 33 h 157"/>
                  <a:gd name="T64" fmla="*/ 28 w 185"/>
                  <a:gd name="T65" fmla="*/ 33 h 157"/>
                  <a:gd name="T66" fmla="*/ 2 w 185"/>
                  <a:gd name="T67" fmla="*/ 27 h 157"/>
                  <a:gd name="T68" fmla="*/ 2 w 185"/>
                  <a:gd name="T69" fmla="*/ 21 h 157"/>
                  <a:gd name="T70" fmla="*/ 0 w 185"/>
                  <a:gd name="T71" fmla="*/ 15 h 157"/>
                  <a:gd name="T72" fmla="*/ 2 w 185"/>
                  <a:gd name="T73" fmla="*/ 11 h 157"/>
                  <a:gd name="T74" fmla="*/ 20 w 185"/>
                  <a:gd name="T75" fmla="*/ 0 h 157"/>
                  <a:gd name="T76" fmla="*/ 24 w 185"/>
                  <a:gd name="T77" fmla="*/ 0 h 157"/>
                  <a:gd name="T78" fmla="*/ 30 w 185"/>
                  <a:gd name="T79" fmla="*/ 3 h 157"/>
                  <a:gd name="T80" fmla="*/ 99 w 185"/>
                  <a:gd name="T81" fmla="*/ 8 h 157"/>
                  <a:gd name="T82" fmla="*/ 116 w 185"/>
                  <a:gd name="T83" fmla="*/ 7 h 157"/>
                  <a:gd name="T84" fmla="*/ 121 w 185"/>
                  <a:gd name="T85" fmla="*/ 11 h 157"/>
                  <a:gd name="T86" fmla="*/ 123 w 185"/>
                  <a:gd name="T87" fmla="*/ 15 h 157"/>
                  <a:gd name="T88" fmla="*/ 132 w 185"/>
                  <a:gd name="T89" fmla="*/ 21 h 157"/>
                  <a:gd name="T90" fmla="*/ 136 w 185"/>
                  <a:gd name="T91" fmla="*/ 22 h 157"/>
                  <a:gd name="T92" fmla="*/ 143 w 185"/>
                  <a:gd name="T93" fmla="*/ 26 h 157"/>
                  <a:gd name="T94" fmla="*/ 158 w 185"/>
                  <a:gd name="T95" fmla="*/ 41 h 157"/>
                  <a:gd name="T96" fmla="*/ 183 w 185"/>
                  <a:gd name="T97" fmla="*/ 55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5" h="157">
                    <a:moveTo>
                      <a:pt x="183" y="55"/>
                    </a:moveTo>
                    <a:lnTo>
                      <a:pt x="181" y="54"/>
                    </a:lnTo>
                    <a:lnTo>
                      <a:pt x="180" y="54"/>
                    </a:lnTo>
                    <a:lnTo>
                      <a:pt x="177" y="54"/>
                    </a:lnTo>
                    <a:lnTo>
                      <a:pt x="173" y="54"/>
                    </a:lnTo>
                    <a:lnTo>
                      <a:pt x="169" y="55"/>
                    </a:lnTo>
                    <a:lnTo>
                      <a:pt x="165" y="56"/>
                    </a:lnTo>
                    <a:lnTo>
                      <a:pt x="161" y="58"/>
                    </a:lnTo>
                    <a:lnTo>
                      <a:pt x="156" y="62"/>
                    </a:lnTo>
                    <a:lnTo>
                      <a:pt x="155" y="63"/>
                    </a:lnTo>
                    <a:lnTo>
                      <a:pt x="152" y="65"/>
                    </a:lnTo>
                    <a:lnTo>
                      <a:pt x="148" y="67"/>
                    </a:lnTo>
                    <a:lnTo>
                      <a:pt x="145" y="71"/>
                    </a:lnTo>
                    <a:lnTo>
                      <a:pt x="141" y="77"/>
                    </a:lnTo>
                    <a:lnTo>
                      <a:pt x="140" y="82"/>
                    </a:lnTo>
                    <a:lnTo>
                      <a:pt x="140" y="87"/>
                    </a:lnTo>
                    <a:lnTo>
                      <a:pt x="144" y="92"/>
                    </a:lnTo>
                    <a:lnTo>
                      <a:pt x="143" y="92"/>
                    </a:lnTo>
                    <a:lnTo>
                      <a:pt x="141" y="93"/>
                    </a:lnTo>
                    <a:lnTo>
                      <a:pt x="138" y="96"/>
                    </a:lnTo>
                    <a:lnTo>
                      <a:pt x="136" y="99"/>
                    </a:lnTo>
                    <a:lnTo>
                      <a:pt x="133" y="102"/>
                    </a:lnTo>
                    <a:lnTo>
                      <a:pt x="130" y="106"/>
                    </a:lnTo>
                    <a:lnTo>
                      <a:pt x="127" y="110"/>
                    </a:lnTo>
                    <a:lnTo>
                      <a:pt x="126" y="113"/>
                    </a:lnTo>
                    <a:lnTo>
                      <a:pt x="112" y="139"/>
                    </a:lnTo>
                    <a:lnTo>
                      <a:pt x="112" y="139"/>
                    </a:lnTo>
                    <a:lnTo>
                      <a:pt x="110" y="139"/>
                    </a:lnTo>
                    <a:lnTo>
                      <a:pt x="107" y="139"/>
                    </a:lnTo>
                    <a:lnTo>
                      <a:pt x="104" y="139"/>
                    </a:lnTo>
                    <a:lnTo>
                      <a:pt x="99" y="139"/>
                    </a:lnTo>
                    <a:lnTo>
                      <a:pt x="93" y="139"/>
                    </a:lnTo>
                    <a:lnTo>
                      <a:pt x="88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4" y="137"/>
                    </a:lnTo>
                    <a:lnTo>
                      <a:pt x="71" y="139"/>
                    </a:lnTo>
                    <a:lnTo>
                      <a:pt x="67" y="140"/>
                    </a:lnTo>
                    <a:lnTo>
                      <a:pt x="63" y="142"/>
                    </a:lnTo>
                    <a:lnTo>
                      <a:pt x="60" y="143"/>
                    </a:lnTo>
                    <a:lnTo>
                      <a:pt x="57" y="144"/>
                    </a:lnTo>
                    <a:lnTo>
                      <a:pt x="57" y="144"/>
                    </a:lnTo>
                    <a:lnTo>
                      <a:pt x="55" y="143"/>
                    </a:lnTo>
                    <a:lnTo>
                      <a:pt x="50" y="143"/>
                    </a:lnTo>
                    <a:lnTo>
                      <a:pt x="46" y="142"/>
                    </a:lnTo>
                    <a:lnTo>
                      <a:pt x="42" y="143"/>
                    </a:lnTo>
                    <a:lnTo>
                      <a:pt x="39" y="144"/>
                    </a:lnTo>
                    <a:lnTo>
                      <a:pt x="37" y="147"/>
                    </a:lnTo>
                    <a:lnTo>
                      <a:pt x="34" y="151"/>
                    </a:lnTo>
                    <a:lnTo>
                      <a:pt x="33" y="157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28" y="155"/>
                    </a:lnTo>
                    <a:lnTo>
                      <a:pt x="26" y="154"/>
                    </a:lnTo>
                    <a:lnTo>
                      <a:pt x="23" y="153"/>
                    </a:lnTo>
                    <a:lnTo>
                      <a:pt x="22" y="151"/>
                    </a:lnTo>
                    <a:lnTo>
                      <a:pt x="19" y="148"/>
                    </a:lnTo>
                    <a:lnTo>
                      <a:pt x="19" y="146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19" y="144"/>
                    </a:lnTo>
                    <a:lnTo>
                      <a:pt x="19" y="143"/>
                    </a:lnTo>
                    <a:lnTo>
                      <a:pt x="19" y="142"/>
                    </a:lnTo>
                    <a:lnTo>
                      <a:pt x="19" y="142"/>
                    </a:lnTo>
                    <a:lnTo>
                      <a:pt x="17" y="140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6"/>
                    </a:lnTo>
                    <a:lnTo>
                      <a:pt x="19" y="135"/>
                    </a:lnTo>
                    <a:lnTo>
                      <a:pt x="19" y="132"/>
                    </a:lnTo>
                    <a:lnTo>
                      <a:pt x="20" y="131"/>
                    </a:lnTo>
                    <a:lnTo>
                      <a:pt x="20" y="128"/>
                    </a:lnTo>
                    <a:lnTo>
                      <a:pt x="22" y="125"/>
                    </a:lnTo>
                    <a:lnTo>
                      <a:pt x="23" y="124"/>
                    </a:lnTo>
                    <a:lnTo>
                      <a:pt x="24" y="122"/>
                    </a:lnTo>
                    <a:lnTo>
                      <a:pt x="26" y="121"/>
                    </a:lnTo>
                    <a:lnTo>
                      <a:pt x="27" y="121"/>
                    </a:lnTo>
                    <a:lnTo>
                      <a:pt x="27" y="121"/>
                    </a:lnTo>
                    <a:lnTo>
                      <a:pt x="28" y="121"/>
                    </a:lnTo>
                    <a:lnTo>
                      <a:pt x="28" y="121"/>
                    </a:lnTo>
                    <a:lnTo>
                      <a:pt x="33" y="115"/>
                    </a:lnTo>
                    <a:lnTo>
                      <a:pt x="27" y="110"/>
                    </a:lnTo>
                    <a:lnTo>
                      <a:pt x="31" y="104"/>
                    </a:lnTo>
                    <a:lnTo>
                      <a:pt x="34" y="93"/>
                    </a:lnTo>
                    <a:lnTo>
                      <a:pt x="34" y="84"/>
                    </a:lnTo>
                    <a:lnTo>
                      <a:pt x="30" y="70"/>
                    </a:lnTo>
                    <a:lnTo>
                      <a:pt x="33" y="59"/>
                    </a:lnTo>
                    <a:lnTo>
                      <a:pt x="37" y="51"/>
                    </a:lnTo>
                    <a:lnTo>
                      <a:pt x="37" y="49"/>
                    </a:lnTo>
                    <a:lnTo>
                      <a:pt x="38" y="49"/>
                    </a:lnTo>
                    <a:lnTo>
                      <a:pt x="39" y="48"/>
                    </a:lnTo>
                    <a:lnTo>
                      <a:pt x="41" y="48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4" y="41"/>
                    </a:lnTo>
                    <a:lnTo>
                      <a:pt x="44" y="41"/>
                    </a:lnTo>
                    <a:lnTo>
                      <a:pt x="45" y="41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2" y="38"/>
                    </a:lnTo>
                    <a:lnTo>
                      <a:pt x="41" y="37"/>
                    </a:lnTo>
                    <a:lnTo>
                      <a:pt x="31" y="33"/>
                    </a:lnTo>
                    <a:lnTo>
                      <a:pt x="31" y="33"/>
                    </a:lnTo>
                    <a:lnTo>
                      <a:pt x="31" y="32"/>
                    </a:lnTo>
                    <a:lnTo>
                      <a:pt x="31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11" y="36"/>
                    </a:lnTo>
                    <a:lnTo>
                      <a:pt x="2" y="34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61" y="8"/>
                    </a:lnTo>
                    <a:lnTo>
                      <a:pt x="67" y="7"/>
                    </a:lnTo>
                    <a:lnTo>
                      <a:pt x="83" y="8"/>
                    </a:lnTo>
                    <a:lnTo>
                      <a:pt x="99" y="8"/>
                    </a:lnTo>
                    <a:lnTo>
                      <a:pt x="114" y="5"/>
                    </a:lnTo>
                    <a:lnTo>
                      <a:pt x="114" y="5"/>
                    </a:lnTo>
                    <a:lnTo>
                      <a:pt x="115" y="5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9" y="8"/>
                    </a:lnTo>
                    <a:lnTo>
                      <a:pt x="121" y="10"/>
                    </a:lnTo>
                    <a:lnTo>
                      <a:pt x="121" y="11"/>
                    </a:lnTo>
                    <a:lnTo>
                      <a:pt x="121" y="14"/>
                    </a:lnTo>
                    <a:lnTo>
                      <a:pt x="121" y="14"/>
                    </a:lnTo>
                    <a:lnTo>
                      <a:pt x="122" y="14"/>
                    </a:lnTo>
                    <a:lnTo>
                      <a:pt x="123" y="15"/>
                    </a:lnTo>
                    <a:lnTo>
                      <a:pt x="126" y="16"/>
                    </a:lnTo>
                    <a:lnTo>
                      <a:pt x="127" y="18"/>
                    </a:lnTo>
                    <a:lnTo>
                      <a:pt x="130" y="19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3" y="22"/>
                    </a:lnTo>
                    <a:lnTo>
                      <a:pt x="134" y="22"/>
                    </a:lnTo>
                    <a:lnTo>
                      <a:pt x="136" y="22"/>
                    </a:lnTo>
                    <a:lnTo>
                      <a:pt x="137" y="23"/>
                    </a:lnTo>
                    <a:lnTo>
                      <a:pt x="138" y="23"/>
                    </a:lnTo>
                    <a:lnTo>
                      <a:pt x="141" y="25"/>
                    </a:lnTo>
                    <a:lnTo>
                      <a:pt x="143" y="26"/>
                    </a:lnTo>
                    <a:lnTo>
                      <a:pt x="143" y="27"/>
                    </a:lnTo>
                    <a:lnTo>
                      <a:pt x="148" y="32"/>
                    </a:lnTo>
                    <a:lnTo>
                      <a:pt x="150" y="30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78" y="49"/>
                    </a:lnTo>
                    <a:lnTo>
                      <a:pt x="185" y="51"/>
                    </a:lnTo>
                    <a:lnTo>
                      <a:pt x="183" y="5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4" name="Freeform 856"/>
              <p:cNvSpPr>
                <a:spLocks/>
              </p:cNvSpPr>
              <p:nvPr/>
            </p:nvSpPr>
            <p:spPr bwMode="auto">
              <a:xfrm>
                <a:off x="2595" y="2179"/>
                <a:ext cx="185" cy="157"/>
              </a:xfrm>
              <a:custGeom>
                <a:avLst/>
                <a:gdLst>
                  <a:gd name="T0" fmla="*/ 180 w 185"/>
                  <a:gd name="T1" fmla="*/ 54 h 157"/>
                  <a:gd name="T2" fmla="*/ 169 w 185"/>
                  <a:gd name="T3" fmla="*/ 55 h 157"/>
                  <a:gd name="T4" fmla="*/ 156 w 185"/>
                  <a:gd name="T5" fmla="*/ 62 h 157"/>
                  <a:gd name="T6" fmla="*/ 148 w 185"/>
                  <a:gd name="T7" fmla="*/ 67 h 157"/>
                  <a:gd name="T8" fmla="*/ 140 w 185"/>
                  <a:gd name="T9" fmla="*/ 82 h 157"/>
                  <a:gd name="T10" fmla="*/ 143 w 185"/>
                  <a:gd name="T11" fmla="*/ 92 h 157"/>
                  <a:gd name="T12" fmla="*/ 136 w 185"/>
                  <a:gd name="T13" fmla="*/ 99 h 157"/>
                  <a:gd name="T14" fmla="*/ 127 w 185"/>
                  <a:gd name="T15" fmla="*/ 110 h 157"/>
                  <a:gd name="T16" fmla="*/ 110 w 185"/>
                  <a:gd name="T17" fmla="*/ 139 h 157"/>
                  <a:gd name="T18" fmla="*/ 99 w 185"/>
                  <a:gd name="T19" fmla="*/ 139 h 157"/>
                  <a:gd name="T20" fmla="*/ 81 w 185"/>
                  <a:gd name="T21" fmla="*/ 137 h 157"/>
                  <a:gd name="T22" fmla="*/ 74 w 185"/>
                  <a:gd name="T23" fmla="*/ 137 h 157"/>
                  <a:gd name="T24" fmla="*/ 63 w 185"/>
                  <a:gd name="T25" fmla="*/ 142 h 157"/>
                  <a:gd name="T26" fmla="*/ 55 w 185"/>
                  <a:gd name="T27" fmla="*/ 143 h 157"/>
                  <a:gd name="T28" fmla="*/ 42 w 185"/>
                  <a:gd name="T29" fmla="*/ 143 h 157"/>
                  <a:gd name="T30" fmla="*/ 34 w 185"/>
                  <a:gd name="T31" fmla="*/ 151 h 157"/>
                  <a:gd name="T32" fmla="*/ 28 w 185"/>
                  <a:gd name="T33" fmla="*/ 155 h 157"/>
                  <a:gd name="T34" fmla="*/ 22 w 185"/>
                  <a:gd name="T35" fmla="*/ 151 h 157"/>
                  <a:gd name="T36" fmla="*/ 19 w 185"/>
                  <a:gd name="T37" fmla="*/ 144 h 157"/>
                  <a:gd name="T38" fmla="*/ 17 w 185"/>
                  <a:gd name="T39" fmla="*/ 140 h 157"/>
                  <a:gd name="T40" fmla="*/ 17 w 185"/>
                  <a:gd name="T41" fmla="*/ 136 h 157"/>
                  <a:gd name="T42" fmla="*/ 20 w 185"/>
                  <a:gd name="T43" fmla="*/ 131 h 157"/>
                  <a:gd name="T44" fmla="*/ 23 w 185"/>
                  <a:gd name="T45" fmla="*/ 124 h 157"/>
                  <a:gd name="T46" fmla="*/ 27 w 185"/>
                  <a:gd name="T47" fmla="*/ 121 h 157"/>
                  <a:gd name="T48" fmla="*/ 27 w 185"/>
                  <a:gd name="T49" fmla="*/ 110 h 157"/>
                  <a:gd name="T50" fmla="*/ 34 w 185"/>
                  <a:gd name="T51" fmla="*/ 84 h 157"/>
                  <a:gd name="T52" fmla="*/ 37 w 185"/>
                  <a:gd name="T53" fmla="*/ 51 h 157"/>
                  <a:gd name="T54" fmla="*/ 39 w 185"/>
                  <a:gd name="T55" fmla="*/ 48 h 157"/>
                  <a:gd name="T56" fmla="*/ 44 w 185"/>
                  <a:gd name="T57" fmla="*/ 45 h 157"/>
                  <a:gd name="T58" fmla="*/ 45 w 185"/>
                  <a:gd name="T59" fmla="*/ 41 h 157"/>
                  <a:gd name="T60" fmla="*/ 42 w 185"/>
                  <a:gd name="T61" fmla="*/ 38 h 157"/>
                  <a:gd name="T62" fmla="*/ 31 w 185"/>
                  <a:gd name="T63" fmla="*/ 32 h 157"/>
                  <a:gd name="T64" fmla="*/ 28 w 185"/>
                  <a:gd name="T65" fmla="*/ 33 h 157"/>
                  <a:gd name="T66" fmla="*/ 2 w 185"/>
                  <a:gd name="T67" fmla="*/ 27 h 157"/>
                  <a:gd name="T68" fmla="*/ 2 w 185"/>
                  <a:gd name="T69" fmla="*/ 23 h 157"/>
                  <a:gd name="T70" fmla="*/ 1 w 185"/>
                  <a:gd name="T71" fmla="*/ 18 h 157"/>
                  <a:gd name="T72" fmla="*/ 1 w 185"/>
                  <a:gd name="T73" fmla="*/ 14 h 157"/>
                  <a:gd name="T74" fmla="*/ 4 w 185"/>
                  <a:gd name="T75" fmla="*/ 11 h 157"/>
                  <a:gd name="T76" fmla="*/ 20 w 185"/>
                  <a:gd name="T77" fmla="*/ 0 h 157"/>
                  <a:gd name="T78" fmla="*/ 24 w 185"/>
                  <a:gd name="T79" fmla="*/ 0 h 157"/>
                  <a:gd name="T80" fmla="*/ 28 w 185"/>
                  <a:gd name="T81" fmla="*/ 1 h 157"/>
                  <a:gd name="T82" fmla="*/ 67 w 185"/>
                  <a:gd name="T83" fmla="*/ 7 h 157"/>
                  <a:gd name="T84" fmla="*/ 114 w 185"/>
                  <a:gd name="T85" fmla="*/ 5 h 157"/>
                  <a:gd name="T86" fmla="*/ 118 w 185"/>
                  <a:gd name="T87" fmla="*/ 7 h 157"/>
                  <a:gd name="T88" fmla="*/ 121 w 185"/>
                  <a:gd name="T89" fmla="*/ 11 h 157"/>
                  <a:gd name="T90" fmla="*/ 123 w 185"/>
                  <a:gd name="T91" fmla="*/ 15 h 157"/>
                  <a:gd name="T92" fmla="*/ 130 w 185"/>
                  <a:gd name="T93" fmla="*/ 19 h 157"/>
                  <a:gd name="T94" fmla="*/ 134 w 185"/>
                  <a:gd name="T95" fmla="*/ 22 h 157"/>
                  <a:gd name="T96" fmla="*/ 138 w 185"/>
                  <a:gd name="T97" fmla="*/ 23 h 157"/>
                  <a:gd name="T98" fmla="*/ 143 w 185"/>
                  <a:gd name="T99" fmla="*/ 27 h 157"/>
                  <a:gd name="T100" fmla="*/ 158 w 185"/>
                  <a:gd name="T101" fmla="*/ 41 h 157"/>
                  <a:gd name="T102" fmla="*/ 185 w 185"/>
                  <a:gd name="T103" fmla="*/ 51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5" h="157">
                    <a:moveTo>
                      <a:pt x="183" y="55"/>
                    </a:moveTo>
                    <a:lnTo>
                      <a:pt x="181" y="54"/>
                    </a:lnTo>
                    <a:lnTo>
                      <a:pt x="180" y="54"/>
                    </a:lnTo>
                    <a:lnTo>
                      <a:pt x="177" y="54"/>
                    </a:lnTo>
                    <a:lnTo>
                      <a:pt x="173" y="54"/>
                    </a:lnTo>
                    <a:lnTo>
                      <a:pt x="169" y="55"/>
                    </a:lnTo>
                    <a:lnTo>
                      <a:pt x="165" y="56"/>
                    </a:lnTo>
                    <a:lnTo>
                      <a:pt x="161" y="58"/>
                    </a:lnTo>
                    <a:lnTo>
                      <a:pt x="156" y="62"/>
                    </a:lnTo>
                    <a:lnTo>
                      <a:pt x="155" y="63"/>
                    </a:lnTo>
                    <a:lnTo>
                      <a:pt x="152" y="65"/>
                    </a:lnTo>
                    <a:lnTo>
                      <a:pt x="148" y="67"/>
                    </a:lnTo>
                    <a:lnTo>
                      <a:pt x="145" y="71"/>
                    </a:lnTo>
                    <a:lnTo>
                      <a:pt x="141" y="77"/>
                    </a:lnTo>
                    <a:lnTo>
                      <a:pt x="140" y="82"/>
                    </a:lnTo>
                    <a:lnTo>
                      <a:pt x="140" y="87"/>
                    </a:lnTo>
                    <a:lnTo>
                      <a:pt x="144" y="92"/>
                    </a:lnTo>
                    <a:lnTo>
                      <a:pt x="143" y="92"/>
                    </a:lnTo>
                    <a:lnTo>
                      <a:pt x="141" y="93"/>
                    </a:lnTo>
                    <a:lnTo>
                      <a:pt x="138" y="96"/>
                    </a:lnTo>
                    <a:lnTo>
                      <a:pt x="136" y="99"/>
                    </a:lnTo>
                    <a:lnTo>
                      <a:pt x="133" y="102"/>
                    </a:lnTo>
                    <a:lnTo>
                      <a:pt x="130" y="106"/>
                    </a:lnTo>
                    <a:lnTo>
                      <a:pt x="127" y="110"/>
                    </a:lnTo>
                    <a:lnTo>
                      <a:pt x="126" y="113"/>
                    </a:lnTo>
                    <a:lnTo>
                      <a:pt x="112" y="139"/>
                    </a:lnTo>
                    <a:lnTo>
                      <a:pt x="110" y="139"/>
                    </a:lnTo>
                    <a:lnTo>
                      <a:pt x="107" y="139"/>
                    </a:lnTo>
                    <a:lnTo>
                      <a:pt x="104" y="139"/>
                    </a:lnTo>
                    <a:lnTo>
                      <a:pt x="99" y="139"/>
                    </a:lnTo>
                    <a:lnTo>
                      <a:pt x="93" y="139"/>
                    </a:lnTo>
                    <a:lnTo>
                      <a:pt x="88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4" y="137"/>
                    </a:lnTo>
                    <a:lnTo>
                      <a:pt x="71" y="139"/>
                    </a:lnTo>
                    <a:lnTo>
                      <a:pt x="67" y="140"/>
                    </a:lnTo>
                    <a:lnTo>
                      <a:pt x="63" y="142"/>
                    </a:lnTo>
                    <a:lnTo>
                      <a:pt x="60" y="143"/>
                    </a:lnTo>
                    <a:lnTo>
                      <a:pt x="57" y="144"/>
                    </a:lnTo>
                    <a:lnTo>
                      <a:pt x="55" y="143"/>
                    </a:lnTo>
                    <a:lnTo>
                      <a:pt x="50" y="143"/>
                    </a:lnTo>
                    <a:lnTo>
                      <a:pt x="46" y="142"/>
                    </a:lnTo>
                    <a:lnTo>
                      <a:pt x="42" y="143"/>
                    </a:lnTo>
                    <a:lnTo>
                      <a:pt x="39" y="144"/>
                    </a:lnTo>
                    <a:lnTo>
                      <a:pt x="37" y="147"/>
                    </a:lnTo>
                    <a:lnTo>
                      <a:pt x="34" y="151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28" y="155"/>
                    </a:lnTo>
                    <a:lnTo>
                      <a:pt x="26" y="154"/>
                    </a:lnTo>
                    <a:lnTo>
                      <a:pt x="23" y="153"/>
                    </a:lnTo>
                    <a:lnTo>
                      <a:pt x="22" y="151"/>
                    </a:lnTo>
                    <a:lnTo>
                      <a:pt x="19" y="148"/>
                    </a:lnTo>
                    <a:lnTo>
                      <a:pt x="19" y="146"/>
                    </a:lnTo>
                    <a:lnTo>
                      <a:pt x="19" y="144"/>
                    </a:lnTo>
                    <a:lnTo>
                      <a:pt x="19" y="143"/>
                    </a:lnTo>
                    <a:lnTo>
                      <a:pt x="19" y="142"/>
                    </a:lnTo>
                    <a:lnTo>
                      <a:pt x="17" y="140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6"/>
                    </a:lnTo>
                    <a:lnTo>
                      <a:pt x="19" y="135"/>
                    </a:lnTo>
                    <a:lnTo>
                      <a:pt x="19" y="132"/>
                    </a:lnTo>
                    <a:lnTo>
                      <a:pt x="20" y="131"/>
                    </a:lnTo>
                    <a:lnTo>
                      <a:pt x="20" y="128"/>
                    </a:lnTo>
                    <a:lnTo>
                      <a:pt x="22" y="125"/>
                    </a:lnTo>
                    <a:lnTo>
                      <a:pt x="23" y="124"/>
                    </a:lnTo>
                    <a:lnTo>
                      <a:pt x="24" y="122"/>
                    </a:lnTo>
                    <a:lnTo>
                      <a:pt x="26" y="121"/>
                    </a:lnTo>
                    <a:lnTo>
                      <a:pt x="27" y="121"/>
                    </a:lnTo>
                    <a:lnTo>
                      <a:pt x="28" y="121"/>
                    </a:lnTo>
                    <a:lnTo>
                      <a:pt x="33" y="115"/>
                    </a:lnTo>
                    <a:lnTo>
                      <a:pt x="27" y="110"/>
                    </a:lnTo>
                    <a:lnTo>
                      <a:pt x="31" y="104"/>
                    </a:lnTo>
                    <a:lnTo>
                      <a:pt x="34" y="93"/>
                    </a:lnTo>
                    <a:lnTo>
                      <a:pt x="34" y="84"/>
                    </a:lnTo>
                    <a:lnTo>
                      <a:pt x="30" y="70"/>
                    </a:lnTo>
                    <a:lnTo>
                      <a:pt x="33" y="59"/>
                    </a:lnTo>
                    <a:lnTo>
                      <a:pt x="37" y="51"/>
                    </a:lnTo>
                    <a:lnTo>
                      <a:pt x="37" y="49"/>
                    </a:lnTo>
                    <a:lnTo>
                      <a:pt x="38" y="49"/>
                    </a:lnTo>
                    <a:lnTo>
                      <a:pt x="39" y="48"/>
                    </a:lnTo>
                    <a:lnTo>
                      <a:pt x="41" y="48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5" y="41"/>
                    </a:lnTo>
                    <a:lnTo>
                      <a:pt x="44" y="40"/>
                    </a:lnTo>
                    <a:lnTo>
                      <a:pt x="44" y="38"/>
                    </a:lnTo>
                    <a:lnTo>
                      <a:pt x="42" y="38"/>
                    </a:lnTo>
                    <a:lnTo>
                      <a:pt x="41" y="37"/>
                    </a:lnTo>
                    <a:lnTo>
                      <a:pt x="31" y="33"/>
                    </a:lnTo>
                    <a:lnTo>
                      <a:pt x="31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8" y="33"/>
                    </a:lnTo>
                    <a:lnTo>
                      <a:pt x="11" y="36"/>
                    </a:lnTo>
                    <a:lnTo>
                      <a:pt x="2" y="34"/>
                    </a:lnTo>
                    <a:lnTo>
                      <a:pt x="2" y="27"/>
                    </a:lnTo>
                    <a:lnTo>
                      <a:pt x="2" y="26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28" y="1"/>
                    </a:lnTo>
                    <a:lnTo>
                      <a:pt x="30" y="3"/>
                    </a:lnTo>
                    <a:lnTo>
                      <a:pt x="61" y="8"/>
                    </a:lnTo>
                    <a:lnTo>
                      <a:pt x="67" y="7"/>
                    </a:lnTo>
                    <a:lnTo>
                      <a:pt x="83" y="8"/>
                    </a:lnTo>
                    <a:lnTo>
                      <a:pt x="99" y="8"/>
                    </a:lnTo>
                    <a:lnTo>
                      <a:pt x="114" y="5"/>
                    </a:lnTo>
                    <a:lnTo>
                      <a:pt x="115" y="5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9" y="8"/>
                    </a:lnTo>
                    <a:lnTo>
                      <a:pt x="121" y="10"/>
                    </a:lnTo>
                    <a:lnTo>
                      <a:pt x="121" y="11"/>
                    </a:lnTo>
                    <a:lnTo>
                      <a:pt x="121" y="14"/>
                    </a:lnTo>
                    <a:lnTo>
                      <a:pt x="122" y="14"/>
                    </a:lnTo>
                    <a:lnTo>
                      <a:pt x="123" y="15"/>
                    </a:lnTo>
                    <a:lnTo>
                      <a:pt x="126" y="16"/>
                    </a:lnTo>
                    <a:lnTo>
                      <a:pt x="127" y="18"/>
                    </a:lnTo>
                    <a:lnTo>
                      <a:pt x="130" y="19"/>
                    </a:lnTo>
                    <a:lnTo>
                      <a:pt x="132" y="21"/>
                    </a:lnTo>
                    <a:lnTo>
                      <a:pt x="133" y="22"/>
                    </a:lnTo>
                    <a:lnTo>
                      <a:pt x="134" y="22"/>
                    </a:lnTo>
                    <a:lnTo>
                      <a:pt x="136" y="22"/>
                    </a:lnTo>
                    <a:lnTo>
                      <a:pt x="137" y="23"/>
                    </a:lnTo>
                    <a:lnTo>
                      <a:pt x="138" y="23"/>
                    </a:lnTo>
                    <a:lnTo>
                      <a:pt x="141" y="25"/>
                    </a:lnTo>
                    <a:lnTo>
                      <a:pt x="143" y="26"/>
                    </a:lnTo>
                    <a:lnTo>
                      <a:pt x="143" y="27"/>
                    </a:lnTo>
                    <a:lnTo>
                      <a:pt x="148" y="32"/>
                    </a:lnTo>
                    <a:lnTo>
                      <a:pt x="150" y="30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78" y="49"/>
                    </a:lnTo>
                    <a:lnTo>
                      <a:pt x="185" y="51"/>
                    </a:lnTo>
                    <a:lnTo>
                      <a:pt x="183" y="5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5" name="Freeform 857"/>
              <p:cNvSpPr>
                <a:spLocks/>
              </p:cNvSpPr>
              <p:nvPr/>
            </p:nvSpPr>
            <p:spPr bwMode="auto">
              <a:xfrm>
                <a:off x="2771" y="2267"/>
                <a:ext cx="12" cy="10"/>
              </a:xfrm>
              <a:custGeom>
                <a:avLst/>
                <a:gdLst>
                  <a:gd name="T0" fmla="*/ 11 w 12"/>
                  <a:gd name="T1" fmla="*/ 0 h 10"/>
                  <a:gd name="T2" fmla="*/ 11 w 12"/>
                  <a:gd name="T3" fmla="*/ 0 h 10"/>
                  <a:gd name="T4" fmla="*/ 9 w 12"/>
                  <a:gd name="T5" fmla="*/ 0 h 10"/>
                  <a:gd name="T6" fmla="*/ 8 w 12"/>
                  <a:gd name="T7" fmla="*/ 0 h 10"/>
                  <a:gd name="T8" fmla="*/ 7 w 12"/>
                  <a:gd name="T9" fmla="*/ 0 h 10"/>
                  <a:gd name="T10" fmla="*/ 4 w 12"/>
                  <a:gd name="T11" fmla="*/ 0 h 10"/>
                  <a:gd name="T12" fmla="*/ 2 w 12"/>
                  <a:gd name="T13" fmla="*/ 0 h 10"/>
                  <a:gd name="T14" fmla="*/ 1 w 12"/>
                  <a:gd name="T15" fmla="*/ 0 h 10"/>
                  <a:gd name="T16" fmla="*/ 1 w 12"/>
                  <a:gd name="T17" fmla="*/ 0 h 10"/>
                  <a:gd name="T18" fmla="*/ 1 w 12"/>
                  <a:gd name="T19" fmla="*/ 1 h 10"/>
                  <a:gd name="T20" fmla="*/ 1 w 12"/>
                  <a:gd name="T21" fmla="*/ 3 h 10"/>
                  <a:gd name="T22" fmla="*/ 0 w 12"/>
                  <a:gd name="T23" fmla="*/ 4 h 10"/>
                  <a:gd name="T24" fmla="*/ 0 w 12"/>
                  <a:gd name="T25" fmla="*/ 5 h 10"/>
                  <a:gd name="T26" fmla="*/ 0 w 12"/>
                  <a:gd name="T27" fmla="*/ 7 h 10"/>
                  <a:gd name="T28" fmla="*/ 0 w 12"/>
                  <a:gd name="T29" fmla="*/ 8 h 10"/>
                  <a:gd name="T30" fmla="*/ 1 w 12"/>
                  <a:gd name="T31" fmla="*/ 10 h 10"/>
                  <a:gd name="T32" fmla="*/ 4 w 12"/>
                  <a:gd name="T33" fmla="*/ 10 h 10"/>
                  <a:gd name="T34" fmla="*/ 5 w 12"/>
                  <a:gd name="T35" fmla="*/ 10 h 10"/>
                  <a:gd name="T36" fmla="*/ 7 w 12"/>
                  <a:gd name="T37" fmla="*/ 10 h 10"/>
                  <a:gd name="T38" fmla="*/ 8 w 12"/>
                  <a:gd name="T39" fmla="*/ 10 h 10"/>
                  <a:gd name="T40" fmla="*/ 9 w 12"/>
                  <a:gd name="T41" fmla="*/ 8 h 10"/>
                  <a:gd name="T42" fmla="*/ 11 w 12"/>
                  <a:gd name="T43" fmla="*/ 8 h 10"/>
                  <a:gd name="T44" fmla="*/ 12 w 12"/>
                  <a:gd name="T45" fmla="*/ 7 h 10"/>
                  <a:gd name="T46" fmla="*/ 12 w 12"/>
                  <a:gd name="T47" fmla="*/ 7 h 10"/>
                  <a:gd name="T48" fmla="*/ 12 w 12"/>
                  <a:gd name="T49" fmla="*/ 7 h 10"/>
                  <a:gd name="T50" fmla="*/ 11 w 12"/>
                  <a:gd name="T5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10">
                    <a:moveTo>
                      <a:pt x="11" y="0"/>
                    </a:move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6" name="Freeform 858"/>
              <p:cNvSpPr>
                <a:spLocks/>
              </p:cNvSpPr>
              <p:nvPr/>
            </p:nvSpPr>
            <p:spPr bwMode="auto">
              <a:xfrm>
                <a:off x="2771" y="2267"/>
                <a:ext cx="12" cy="10"/>
              </a:xfrm>
              <a:custGeom>
                <a:avLst/>
                <a:gdLst>
                  <a:gd name="T0" fmla="*/ 11 w 12"/>
                  <a:gd name="T1" fmla="*/ 0 h 10"/>
                  <a:gd name="T2" fmla="*/ 9 w 12"/>
                  <a:gd name="T3" fmla="*/ 0 h 10"/>
                  <a:gd name="T4" fmla="*/ 8 w 12"/>
                  <a:gd name="T5" fmla="*/ 0 h 10"/>
                  <a:gd name="T6" fmla="*/ 7 w 12"/>
                  <a:gd name="T7" fmla="*/ 0 h 10"/>
                  <a:gd name="T8" fmla="*/ 4 w 12"/>
                  <a:gd name="T9" fmla="*/ 0 h 10"/>
                  <a:gd name="T10" fmla="*/ 2 w 12"/>
                  <a:gd name="T11" fmla="*/ 0 h 10"/>
                  <a:gd name="T12" fmla="*/ 1 w 12"/>
                  <a:gd name="T13" fmla="*/ 0 h 10"/>
                  <a:gd name="T14" fmla="*/ 1 w 12"/>
                  <a:gd name="T15" fmla="*/ 1 h 10"/>
                  <a:gd name="T16" fmla="*/ 1 w 12"/>
                  <a:gd name="T17" fmla="*/ 3 h 10"/>
                  <a:gd name="T18" fmla="*/ 0 w 12"/>
                  <a:gd name="T19" fmla="*/ 4 h 10"/>
                  <a:gd name="T20" fmla="*/ 0 w 12"/>
                  <a:gd name="T21" fmla="*/ 5 h 10"/>
                  <a:gd name="T22" fmla="*/ 0 w 12"/>
                  <a:gd name="T23" fmla="*/ 7 h 10"/>
                  <a:gd name="T24" fmla="*/ 0 w 12"/>
                  <a:gd name="T25" fmla="*/ 8 h 10"/>
                  <a:gd name="T26" fmla="*/ 1 w 12"/>
                  <a:gd name="T27" fmla="*/ 10 h 10"/>
                  <a:gd name="T28" fmla="*/ 4 w 12"/>
                  <a:gd name="T29" fmla="*/ 10 h 10"/>
                  <a:gd name="T30" fmla="*/ 5 w 12"/>
                  <a:gd name="T31" fmla="*/ 10 h 10"/>
                  <a:gd name="T32" fmla="*/ 7 w 12"/>
                  <a:gd name="T33" fmla="*/ 10 h 10"/>
                  <a:gd name="T34" fmla="*/ 8 w 12"/>
                  <a:gd name="T35" fmla="*/ 10 h 10"/>
                  <a:gd name="T36" fmla="*/ 9 w 12"/>
                  <a:gd name="T37" fmla="*/ 8 h 10"/>
                  <a:gd name="T38" fmla="*/ 11 w 12"/>
                  <a:gd name="T39" fmla="*/ 8 h 10"/>
                  <a:gd name="T40" fmla="*/ 12 w 12"/>
                  <a:gd name="T41" fmla="*/ 7 h 10"/>
                  <a:gd name="T42" fmla="*/ 11 w 12"/>
                  <a:gd name="T4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" h="10">
                    <a:moveTo>
                      <a:pt x="11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8" y="10"/>
                    </a:lnTo>
                    <a:lnTo>
                      <a:pt x="9" y="8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7" name="Freeform 859"/>
              <p:cNvSpPr>
                <a:spLocks/>
              </p:cNvSpPr>
              <p:nvPr/>
            </p:nvSpPr>
            <p:spPr bwMode="auto">
              <a:xfrm>
                <a:off x="2831" y="2132"/>
                <a:ext cx="186" cy="176"/>
              </a:xfrm>
              <a:custGeom>
                <a:avLst/>
                <a:gdLst>
                  <a:gd name="T0" fmla="*/ 113 w 186"/>
                  <a:gd name="T1" fmla="*/ 18 h 176"/>
                  <a:gd name="T2" fmla="*/ 110 w 186"/>
                  <a:gd name="T3" fmla="*/ 20 h 176"/>
                  <a:gd name="T4" fmla="*/ 110 w 186"/>
                  <a:gd name="T5" fmla="*/ 21 h 176"/>
                  <a:gd name="T6" fmla="*/ 110 w 186"/>
                  <a:gd name="T7" fmla="*/ 21 h 176"/>
                  <a:gd name="T8" fmla="*/ 113 w 186"/>
                  <a:gd name="T9" fmla="*/ 22 h 176"/>
                  <a:gd name="T10" fmla="*/ 113 w 186"/>
                  <a:gd name="T11" fmla="*/ 26 h 176"/>
                  <a:gd name="T12" fmla="*/ 92 w 186"/>
                  <a:gd name="T13" fmla="*/ 36 h 176"/>
                  <a:gd name="T14" fmla="*/ 102 w 186"/>
                  <a:gd name="T15" fmla="*/ 47 h 176"/>
                  <a:gd name="T16" fmla="*/ 117 w 186"/>
                  <a:gd name="T17" fmla="*/ 61 h 176"/>
                  <a:gd name="T18" fmla="*/ 123 w 186"/>
                  <a:gd name="T19" fmla="*/ 65 h 176"/>
                  <a:gd name="T20" fmla="*/ 123 w 186"/>
                  <a:gd name="T21" fmla="*/ 70 h 176"/>
                  <a:gd name="T22" fmla="*/ 128 w 186"/>
                  <a:gd name="T23" fmla="*/ 79 h 176"/>
                  <a:gd name="T24" fmla="*/ 186 w 186"/>
                  <a:gd name="T25" fmla="*/ 143 h 176"/>
                  <a:gd name="T26" fmla="*/ 164 w 186"/>
                  <a:gd name="T27" fmla="*/ 140 h 176"/>
                  <a:gd name="T28" fmla="*/ 154 w 186"/>
                  <a:gd name="T29" fmla="*/ 161 h 176"/>
                  <a:gd name="T30" fmla="*/ 142 w 186"/>
                  <a:gd name="T31" fmla="*/ 171 h 176"/>
                  <a:gd name="T32" fmla="*/ 142 w 186"/>
                  <a:gd name="T33" fmla="*/ 158 h 176"/>
                  <a:gd name="T34" fmla="*/ 139 w 186"/>
                  <a:gd name="T35" fmla="*/ 156 h 176"/>
                  <a:gd name="T36" fmla="*/ 146 w 186"/>
                  <a:gd name="T37" fmla="*/ 153 h 176"/>
                  <a:gd name="T38" fmla="*/ 132 w 186"/>
                  <a:gd name="T39" fmla="*/ 128 h 176"/>
                  <a:gd name="T40" fmla="*/ 88 w 186"/>
                  <a:gd name="T41" fmla="*/ 91 h 176"/>
                  <a:gd name="T42" fmla="*/ 61 w 186"/>
                  <a:gd name="T43" fmla="*/ 62 h 176"/>
                  <a:gd name="T44" fmla="*/ 57 w 186"/>
                  <a:gd name="T45" fmla="*/ 52 h 176"/>
                  <a:gd name="T46" fmla="*/ 47 w 186"/>
                  <a:gd name="T47" fmla="*/ 47 h 176"/>
                  <a:gd name="T48" fmla="*/ 14 w 186"/>
                  <a:gd name="T49" fmla="*/ 59 h 176"/>
                  <a:gd name="T50" fmla="*/ 6 w 186"/>
                  <a:gd name="T51" fmla="*/ 41 h 176"/>
                  <a:gd name="T52" fmla="*/ 3 w 186"/>
                  <a:gd name="T53" fmla="*/ 39 h 176"/>
                  <a:gd name="T54" fmla="*/ 0 w 186"/>
                  <a:gd name="T55" fmla="*/ 32 h 176"/>
                  <a:gd name="T56" fmla="*/ 13 w 186"/>
                  <a:gd name="T57" fmla="*/ 28 h 176"/>
                  <a:gd name="T58" fmla="*/ 15 w 186"/>
                  <a:gd name="T59" fmla="*/ 29 h 176"/>
                  <a:gd name="T60" fmla="*/ 19 w 186"/>
                  <a:gd name="T61" fmla="*/ 29 h 176"/>
                  <a:gd name="T62" fmla="*/ 30 w 186"/>
                  <a:gd name="T63" fmla="*/ 15 h 176"/>
                  <a:gd name="T64" fmla="*/ 36 w 186"/>
                  <a:gd name="T65" fmla="*/ 14 h 176"/>
                  <a:gd name="T66" fmla="*/ 36 w 186"/>
                  <a:gd name="T67" fmla="*/ 17 h 176"/>
                  <a:gd name="T68" fmla="*/ 39 w 186"/>
                  <a:gd name="T69" fmla="*/ 20 h 176"/>
                  <a:gd name="T70" fmla="*/ 43 w 186"/>
                  <a:gd name="T71" fmla="*/ 18 h 176"/>
                  <a:gd name="T72" fmla="*/ 46 w 186"/>
                  <a:gd name="T73" fmla="*/ 17 h 176"/>
                  <a:gd name="T74" fmla="*/ 47 w 186"/>
                  <a:gd name="T75" fmla="*/ 17 h 176"/>
                  <a:gd name="T76" fmla="*/ 48 w 186"/>
                  <a:gd name="T77" fmla="*/ 15 h 176"/>
                  <a:gd name="T78" fmla="*/ 50 w 186"/>
                  <a:gd name="T79" fmla="*/ 13 h 176"/>
                  <a:gd name="T80" fmla="*/ 54 w 186"/>
                  <a:gd name="T81" fmla="*/ 10 h 176"/>
                  <a:gd name="T82" fmla="*/ 54 w 186"/>
                  <a:gd name="T83" fmla="*/ 13 h 176"/>
                  <a:gd name="T84" fmla="*/ 55 w 186"/>
                  <a:gd name="T85" fmla="*/ 15 h 176"/>
                  <a:gd name="T86" fmla="*/ 58 w 186"/>
                  <a:gd name="T87" fmla="*/ 14 h 176"/>
                  <a:gd name="T88" fmla="*/ 58 w 186"/>
                  <a:gd name="T89" fmla="*/ 13 h 176"/>
                  <a:gd name="T90" fmla="*/ 58 w 186"/>
                  <a:gd name="T91" fmla="*/ 11 h 176"/>
                  <a:gd name="T92" fmla="*/ 57 w 186"/>
                  <a:gd name="T93" fmla="*/ 10 h 176"/>
                  <a:gd name="T94" fmla="*/ 57 w 186"/>
                  <a:gd name="T95" fmla="*/ 7 h 176"/>
                  <a:gd name="T96" fmla="*/ 58 w 186"/>
                  <a:gd name="T97" fmla="*/ 6 h 176"/>
                  <a:gd name="T98" fmla="*/ 59 w 186"/>
                  <a:gd name="T99" fmla="*/ 4 h 176"/>
                  <a:gd name="T100" fmla="*/ 62 w 186"/>
                  <a:gd name="T101" fmla="*/ 3 h 176"/>
                  <a:gd name="T102" fmla="*/ 63 w 186"/>
                  <a:gd name="T103" fmla="*/ 0 h 176"/>
                  <a:gd name="T104" fmla="*/ 66 w 186"/>
                  <a:gd name="T105" fmla="*/ 0 h 176"/>
                  <a:gd name="T106" fmla="*/ 72 w 186"/>
                  <a:gd name="T107" fmla="*/ 0 h 176"/>
                  <a:gd name="T108" fmla="*/ 76 w 186"/>
                  <a:gd name="T109" fmla="*/ 0 h 176"/>
                  <a:gd name="T110" fmla="*/ 83 w 186"/>
                  <a:gd name="T111" fmla="*/ 0 h 176"/>
                  <a:gd name="T112" fmla="*/ 88 w 186"/>
                  <a:gd name="T113" fmla="*/ 6 h 176"/>
                  <a:gd name="T114" fmla="*/ 94 w 186"/>
                  <a:gd name="T115" fmla="*/ 9 h 176"/>
                  <a:gd name="T116" fmla="*/ 106 w 186"/>
                  <a:gd name="T117" fmla="*/ 1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6" h="176">
                    <a:moveTo>
                      <a:pt x="113" y="17"/>
                    </a:moveTo>
                    <a:lnTo>
                      <a:pt x="113" y="17"/>
                    </a:lnTo>
                    <a:lnTo>
                      <a:pt x="113" y="18"/>
                    </a:lnTo>
                    <a:lnTo>
                      <a:pt x="112" y="18"/>
                    </a:lnTo>
                    <a:lnTo>
                      <a:pt x="110" y="20"/>
                    </a:lnTo>
                    <a:lnTo>
                      <a:pt x="110" y="20"/>
                    </a:lnTo>
                    <a:lnTo>
                      <a:pt x="110" y="21"/>
                    </a:lnTo>
                    <a:lnTo>
                      <a:pt x="109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2"/>
                    </a:lnTo>
                    <a:lnTo>
                      <a:pt x="113" y="24"/>
                    </a:lnTo>
                    <a:lnTo>
                      <a:pt x="113" y="24"/>
                    </a:lnTo>
                    <a:lnTo>
                      <a:pt x="113" y="26"/>
                    </a:lnTo>
                    <a:lnTo>
                      <a:pt x="102" y="29"/>
                    </a:lnTo>
                    <a:lnTo>
                      <a:pt x="91" y="35"/>
                    </a:lnTo>
                    <a:lnTo>
                      <a:pt x="92" y="36"/>
                    </a:lnTo>
                    <a:lnTo>
                      <a:pt x="94" y="39"/>
                    </a:lnTo>
                    <a:lnTo>
                      <a:pt x="96" y="43"/>
                    </a:lnTo>
                    <a:lnTo>
                      <a:pt x="102" y="47"/>
                    </a:lnTo>
                    <a:lnTo>
                      <a:pt x="106" y="52"/>
                    </a:lnTo>
                    <a:lnTo>
                      <a:pt x="112" y="57"/>
                    </a:lnTo>
                    <a:lnTo>
                      <a:pt x="117" y="61"/>
                    </a:lnTo>
                    <a:lnTo>
                      <a:pt x="124" y="63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6"/>
                    </a:lnTo>
                    <a:lnTo>
                      <a:pt x="123" y="69"/>
                    </a:lnTo>
                    <a:lnTo>
                      <a:pt x="123" y="70"/>
                    </a:lnTo>
                    <a:lnTo>
                      <a:pt x="124" y="73"/>
                    </a:lnTo>
                    <a:lnTo>
                      <a:pt x="125" y="76"/>
                    </a:lnTo>
                    <a:lnTo>
                      <a:pt x="128" y="79"/>
                    </a:lnTo>
                    <a:lnTo>
                      <a:pt x="165" y="109"/>
                    </a:lnTo>
                    <a:lnTo>
                      <a:pt x="175" y="123"/>
                    </a:lnTo>
                    <a:lnTo>
                      <a:pt x="186" y="143"/>
                    </a:lnTo>
                    <a:lnTo>
                      <a:pt x="180" y="150"/>
                    </a:lnTo>
                    <a:lnTo>
                      <a:pt x="172" y="140"/>
                    </a:lnTo>
                    <a:lnTo>
                      <a:pt x="164" y="140"/>
                    </a:lnTo>
                    <a:lnTo>
                      <a:pt x="160" y="147"/>
                    </a:lnTo>
                    <a:lnTo>
                      <a:pt x="164" y="158"/>
                    </a:lnTo>
                    <a:lnTo>
                      <a:pt x="154" y="161"/>
                    </a:lnTo>
                    <a:lnTo>
                      <a:pt x="154" y="169"/>
                    </a:lnTo>
                    <a:lnTo>
                      <a:pt x="147" y="176"/>
                    </a:lnTo>
                    <a:lnTo>
                      <a:pt x="142" y="171"/>
                    </a:lnTo>
                    <a:lnTo>
                      <a:pt x="143" y="160"/>
                    </a:lnTo>
                    <a:lnTo>
                      <a:pt x="143" y="160"/>
                    </a:lnTo>
                    <a:lnTo>
                      <a:pt x="142" y="158"/>
                    </a:lnTo>
                    <a:lnTo>
                      <a:pt x="140" y="158"/>
                    </a:lnTo>
                    <a:lnTo>
                      <a:pt x="139" y="157"/>
                    </a:lnTo>
                    <a:lnTo>
                      <a:pt x="139" y="156"/>
                    </a:lnTo>
                    <a:lnTo>
                      <a:pt x="139" y="154"/>
                    </a:lnTo>
                    <a:lnTo>
                      <a:pt x="142" y="153"/>
                    </a:lnTo>
                    <a:lnTo>
                      <a:pt x="146" y="153"/>
                    </a:lnTo>
                    <a:lnTo>
                      <a:pt x="146" y="135"/>
                    </a:lnTo>
                    <a:lnTo>
                      <a:pt x="136" y="132"/>
                    </a:lnTo>
                    <a:lnTo>
                      <a:pt x="132" y="128"/>
                    </a:lnTo>
                    <a:lnTo>
                      <a:pt x="106" y="112"/>
                    </a:lnTo>
                    <a:lnTo>
                      <a:pt x="96" y="101"/>
                    </a:lnTo>
                    <a:lnTo>
                      <a:pt x="88" y="91"/>
                    </a:lnTo>
                    <a:lnTo>
                      <a:pt x="61" y="65"/>
                    </a:lnTo>
                    <a:lnTo>
                      <a:pt x="61" y="63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8" y="55"/>
                    </a:lnTo>
                    <a:lnTo>
                      <a:pt x="57" y="52"/>
                    </a:lnTo>
                    <a:lnTo>
                      <a:pt x="54" y="50"/>
                    </a:lnTo>
                    <a:lnTo>
                      <a:pt x="51" y="48"/>
                    </a:lnTo>
                    <a:lnTo>
                      <a:pt x="47" y="47"/>
                    </a:lnTo>
                    <a:lnTo>
                      <a:pt x="22" y="58"/>
                    </a:lnTo>
                    <a:lnTo>
                      <a:pt x="15" y="58"/>
                    </a:lnTo>
                    <a:lnTo>
                      <a:pt x="14" y="59"/>
                    </a:lnTo>
                    <a:lnTo>
                      <a:pt x="15" y="52"/>
                    </a:lnTo>
                    <a:lnTo>
                      <a:pt x="6" y="41"/>
                    </a:lnTo>
                    <a:lnTo>
                      <a:pt x="6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2" y="36"/>
                    </a:lnTo>
                    <a:lnTo>
                      <a:pt x="0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3" y="28"/>
                    </a:lnTo>
                    <a:lnTo>
                      <a:pt x="14" y="28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19" y="29"/>
                    </a:lnTo>
                    <a:lnTo>
                      <a:pt x="33" y="20"/>
                    </a:lnTo>
                    <a:lnTo>
                      <a:pt x="30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5" y="15"/>
                    </a:lnTo>
                    <a:lnTo>
                      <a:pt x="36" y="17"/>
                    </a:lnTo>
                    <a:lnTo>
                      <a:pt x="36" y="17"/>
                    </a:lnTo>
                    <a:lnTo>
                      <a:pt x="36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40" y="20"/>
                    </a:lnTo>
                    <a:lnTo>
                      <a:pt x="41" y="20"/>
                    </a:lnTo>
                    <a:lnTo>
                      <a:pt x="43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6" y="17"/>
                    </a:lnTo>
                    <a:lnTo>
                      <a:pt x="47" y="17"/>
                    </a:lnTo>
                    <a:lnTo>
                      <a:pt x="47" y="17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3"/>
                    </a:lnTo>
                    <a:lnTo>
                      <a:pt x="50" y="13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3"/>
                    </a:lnTo>
                    <a:lnTo>
                      <a:pt x="58" y="13"/>
                    </a:lnTo>
                    <a:lnTo>
                      <a:pt x="58" y="11"/>
                    </a:lnTo>
                    <a:lnTo>
                      <a:pt x="58" y="11"/>
                    </a:lnTo>
                    <a:lnTo>
                      <a:pt x="58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7" y="6"/>
                    </a:lnTo>
                    <a:lnTo>
                      <a:pt x="57" y="6"/>
                    </a:lnTo>
                    <a:lnTo>
                      <a:pt x="58" y="6"/>
                    </a:lnTo>
                    <a:lnTo>
                      <a:pt x="58" y="6"/>
                    </a:lnTo>
                    <a:lnTo>
                      <a:pt x="59" y="6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2" y="4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6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4" y="2"/>
                    </a:lnTo>
                    <a:lnTo>
                      <a:pt x="87" y="3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1" y="7"/>
                    </a:lnTo>
                    <a:lnTo>
                      <a:pt x="94" y="9"/>
                    </a:lnTo>
                    <a:lnTo>
                      <a:pt x="98" y="11"/>
                    </a:lnTo>
                    <a:lnTo>
                      <a:pt x="102" y="14"/>
                    </a:lnTo>
                    <a:lnTo>
                      <a:pt x="106" y="15"/>
                    </a:lnTo>
                    <a:lnTo>
                      <a:pt x="110" y="17"/>
                    </a:lnTo>
                    <a:lnTo>
                      <a:pt x="113" y="1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8" name="Freeform 860"/>
              <p:cNvSpPr>
                <a:spLocks/>
              </p:cNvSpPr>
              <p:nvPr/>
            </p:nvSpPr>
            <p:spPr bwMode="auto">
              <a:xfrm>
                <a:off x="2831" y="2132"/>
                <a:ext cx="186" cy="176"/>
              </a:xfrm>
              <a:custGeom>
                <a:avLst/>
                <a:gdLst>
                  <a:gd name="T0" fmla="*/ 112 w 186"/>
                  <a:gd name="T1" fmla="*/ 18 h 176"/>
                  <a:gd name="T2" fmla="*/ 109 w 186"/>
                  <a:gd name="T3" fmla="*/ 21 h 176"/>
                  <a:gd name="T4" fmla="*/ 112 w 186"/>
                  <a:gd name="T5" fmla="*/ 22 h 176"/>
                  <a:gd name="T6" fmla="*/ 113 w 186"/>
                  <a:gd name="T7" fmla="*/ 26 h 176"/>
                  <a:gd name="T8" fmla="*/ 92 w 186"/>
                  <a:gd name="T9" fmla="*/ 36 h 176"/>
                  <a:gd name="T10" fmla="*/ 102 w 186"/>
                  <a:gd name="T11" fmla="*/ 47 h 176"/>
                  <a:gd name="T12" fmla="*/ 117 w 186"/>
                  <a:gd name="T13" fmla="*/ 61 h 176"/>
                  <a:gd name="T14" fmla="*/ 123 w 186"/>
                  <a:gd name="T15" fmla="*/ 65 h 176"/>
                  <a:gd name="T16" fmla="*/ 123 w 186"/>
                  <a:gd name="T17" fmla="*/ 70 h 176"/>
                  <a:gd name="T18" fmla="*/ 128 w 186"/>
                  <a:gd name="T19" fmla="*/ 79 h 176"/>
                  <a:gd name="T20" fmla="*/ 186 w 186"/>
                  <a:gd name="T21" fmla="*/ 143 h 176"/>
                  <a:gd name="T22" fmla="*/ 164 w 186"/>
                  <a:gd name="T23" fmla="*/ 140 h 176"/>
                  <a:gd name="T24" fmla="*/ 154 w 186"/>
                  <a:gd name="T25" fmla="*/ 161 h 176"/>
                  <a:gd name="T26" fmla="*/ 142 w 186"/>
                  <a:gd name="T27" fmla="*/ 171 h 176"/>
                  <a:gd name="T28" fmla="*/ 140 w 186"/>
                  <a:gd name="T29" fmla="*/ 158 h 176"/>
                  <a:gd name="T30" fmla="*/ 139 w 186"/>
                  <a:gd name="T31" fmla="*/ 154 h 176"/>
                  <a:gd name="T32" fmla="*/ 146 w 186"/>
                  <a:gd name="T33" fmla="*/ 135 h 176"/>
                  <a:gd name="T34" fmla="*/ 106 w 186"/>
                  <a:gd name="T35" fmla="*/ 112 h 176"/>
                  <a:gd name="T36" fmla="*/ 61 w 186"/>
                  <a:gd name="T37" fmla="*/ 65 h 176"/>
                  <a:gd name="T38" fmla="*/ 59 w 186"/>
                  <a:gd name="T39" fmla="*/ 59 h 176"/>
                  <a:gd name="T40" fmla="*/ 54 w 186"/>
                  <a:gd name="T41" fmla="*/ 50 h 176"/>
                  <a:gd name="T42" fmla="*/ 22 w 186"/>
                  <a:gd name="T43" fmla="*/ 58 h 176"/>
                  <a:gd name="T44" fmla="*/ 15 w 186"/>
                  <a:gd name="T45" fmla="*/ 52 h 176"/>
                  <a:gd name="T46" fmla="*/ 3 w 186"/>
                  <a:gd name="T47" fmla="*/ 40 h 176"/>
                  <a:gd name="T48" fmla="*/ 0 w 186"/>
                  <a:gd name="T49" fmla="*/ 35 h 176"/>
                  <a:gd name="T50" fmla="*/ 13 w 186"/>
                  <a:gd name="T51" fmla="*/ 28 h 176"/>
                  <a:gd name="T52" fmla="*/ 17 w 186"/>
                  <a:gd name="T53" fmla="*/ 29 h 176"/>
                  <a:gd name="T54" fmla="*/ 33 w 186"/>
                  <a:gd name="T55" fmla="*/ 20 h 176"/>
                  <a:gd name="T56" fmla="*/ 35 w 186"/>
                  <a:gd name="T57" fmla="*/ 15 h 176"/>
                  <a:gd name="T58" fmla="*/ 37 w 186"/>
                  <a:gd name="T59" fmla="*/ 20 h 176"/>
                  <a:gd name="T60" fmla="*/ 41 w 186"/>
                  <a:gd name="T61" fmla="*/ 20 h 176"/>
                  <a:gd name="T62" fmla="*/ 46 w 186"/>
                  <a:gd name="T63" fmla="*/ 17 h 176"/>
                  <a:gd name="T64" fmla="*/ 48 w 186"/>
                  <a:gd name="T65" fmla="*/ 14 h 176"/>
                  <a:gd name="T66" fmla="*/ 54 w 186"/>
                  <a:gd name="T67" fmla="*/ 10 h 176"/>
                  <a:gd name="T68" fmla="*/ 54 w 186"/>
                  <a:gd name="T69" fmla="*/ 14 h 176"/>
                  <a:gd name="T70" fmla="*/ 58 w 186"/>
                  <a:gd name="T71" fmla="*/ 14 h 176"/>
                  <a:gd name="T72" fmla="*/ 58 w 186"/>
                  <a:gd name="T73" fmla="*/ 10 h 176"/>
                  <a:gd name="T74" fmla="*/ 57 w 186"/>
                  <a:gd name="T75" fmla="*/ 7 h 176"/>
                  <a:gd name="T76" fmla="*/ 59 w 186"/>
                  <a:gd name="T77" fmla="*/ 6 h 176"/>
                  <a:gd name="T78" fmla="*/ 62 w 186"/>
                  <a:gd name="T79" fmla="*/ 4 h 176"/>
                  <a:gd name="T80" fmla="*/ 63 w 186"/>
                  <a:gd name="T81" fmla="*/ 0 h 176"/>
                  <a:gd name="T82" fmla="*/ 68 w 186"/>
                  <a:gd name="T83" fmla="*/ 0 h 176"/>
                  <a:gd name="T84" fmla="*/ 74 w 186"/>
                  <a:gd name="T85" fmla="*/ 2 h 176"/>
                  <a:gd name="T86" fmla="*/ 80 w 186"/>
                  <a:gd name="T87" fmla="*/ 0 h 176"/>
                  <a:gd name="T88" fmla="*/ 87 w 186"/>
                  <a:gd name="T89" fmla="*/ 3 h 176"/>
                  <a:gd name="T90" fmla="*/ 91 w 186"/>
                  <a:gd name="T91" fmla="*/ 7 h 176"/>
                  <a:gd name="T92" fmla="*/ 102 w 186"/>
                  <a:gd name="T93" fmla="*/ 14 h 176"/>
                  <a:gd name="T94" fmla="*/ 113 w 186"/>
                  <a:gd name="T95" fmla="*/ 17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86" h="176">
                    <a:moveTo>
                      <a:pt x="113" y="17"/>
                    </a:moveTo>
                    <a:lnTo>
                      <a:pt x="113" y="18"/>
                    </a:lnTo>
                    <a:lnTo>
                      <a:pt x="112" y="18"/>
                    </a:lnTo>
                    <a:lnTo>
                      <a:pt x="110" y="20"/>
                    </a:lnTo>
                    <a:lnTo>
                      <a:pt x="110" y="21"/>
                    </a:lnTo>
                    <a:lnTo>
                      <a:pt x="109" y="21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2"/>
                    </a:lnTo>
                    <a:lnTo>
                      <a:pt x="113" y="24"/>
                    </a:lnTo>
                    <a:lnTo>
                      <a:pt x="113" y="26"/>
                    </a:lnTo>
                    <a:lnTo>
                      <a:pt x="102" y="29"/>
                    </a:lnTo>
                    <a:lnTo>
                      <a:pt x="91" y="35"/>
                    </a:lnTo>
                    <a:lnTo>
                      <a:pt x="92" y="36"/>
                    </a:lnTo>
                    <a:lnTo>
                      <a:pt x="94" y="39"/>
                    </a:lnTo>
                    <a:lnTo>
                      <a:pt x="96" y="43"/>
                    </a:lnTo>
                    <a:lnTo>
                      <a:pt x="102" y="47"/>
                    </a:lnTo>
                    <a:lnTo>
                      <a:pt x="106" y="52"/>
                    </a:lnTo>
                    <a:lnTo>
                      <a:pt x="112" y="57"/>
                    </a:lnTo>
                    <a:lnTo>
                      <a:pt x="117" y="61"/>
                    </a:lnTo>
                    <a:lnTo>
                      <a:pt x="124" y="63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6"/>
                    </a:lnTo>
                    <a:lnTo>
                      <a:pt x="123" y="69"/>
                    </a:lnTo>
                    <a:lnTo>
                      <a:pt x="123" y="70"/>
                    </a:lnTo>
                    <a:lnTo>
                      <a:pt x="124" y="73"/>
                    </a:lnTo>
                    <a:lnTo>
                      <a:pt x="125" y="76"/>
                    </a:lnTo>
                    <a:lnTo>
                      <a:pt x="128" y="79"/>
                    </a:lnTo>
                    <a:lnTo>
                      <a:pt x="165" y="109"/>
                    </a:lnTo>
                    <a:lnTo>
                      <a:pt x="175" y="123"/>
                    </a:lnTo>
                    <a:lnTo>
                      <a:pt x="186" y="143"/>
                    </a:lnTo>
                    <a:lnTo>
                      <a:pt x="180" y="150"/>
                    </a:lnTo>
                    <a:lnTo>
                      <a:pt x="172" y="140"/>
                    </a:lnTo>
                    <a:lnTo>
                      <a:pt x="164" y="140"/>
                    </a:lnTo>
                    <a:lnTo>
                      <a:pt x="160" y="147"/>
                    </a:lnTo>
                    <a:lnTo>
                      <a:pt x="164" y="158"/>
                    </a:lnTo>
                    <a:lnTo>
                      <a:pt x="154" y="161"/>
                    </a:lnTo>
                    <a:lnTo>
                      <a:pt x="154" y="169"/>
                    </a:lnTo>
                    <a:lnTo>
                      <a:pt x="147" y="176"/>
                    </a:lnTo>
                    <a:lnTo>
                      <a:pt x="142" y="171"/>
                    </a:lnTo>
                    <a:lnTo>
                      <a:pt x="143" y="160"/>
                    </a:lnTo>
                    <a:lnTo>
                      <a:pt x="142" y="158"/>
                    </a:lnTo>
                    <a:lnTo>
                      <a:pt x="140" y="158"/>
                    </a:lnTo>
                    <a:lnTo>
                      <a:pt x="139" y="157"/>
                    </a:lnTo>
                    <a:lnTo>
                      <a:pt x="139" y="156"/>
                    </a:lnTo>
                    <a:lnTo>
                      <a:pt x="139" y="154"/>
                    </a:lnTo>
                    <a:lnTo>
                      <a:pt x="142" y="153"/>
                    </a:lnTo>
                    <a:lnTo>
                      <a:pt x="146" y="153"/>
                    </a:lnTo>
                    <a:lnTo>
                      <a:pt x="146" y="135"/>
                    </a:lnTo>
                    <a:lnTo>
                      <a:pt x="136" y="132"/>
                    </a:lnTo>
                    <a:lnTo>
                      <a:pt x="132" y="128"/>
                    </a:lnTo>
                    <a:lnTo>
                      <a:pt x="106" y="112"/>
                    </a:lnTo>
                    <a:lnTo>
                      <a:pt x="96" y="101"/>
                    </a:lnTo>
                    <a:lnTo>
                      <a:pt x="88" y="91"/>
                    </a:lnTo>
                    <a:lnTo>
                      <a:pt x="61" y="65"/>
                    </a:lnTo>
                    <a:lnTo>
                      <a:pt x="61" y="63"/>
                    </a:lnTo>
                    <a:lnTo>
                      <a:pt x="61" y="62"/>
                    </a:lnTo>
                    <a:lnTo>
                      <a:pt x="59" y="59"/>
                    </a:lnTo>
                    <a:lnTo>
                      <a:pt x="58" y="55"/>
                    </a:lnTo>
                    <a:lnTo>
                      <a:pt x="57" y="52"/>
                    </a:lnTo>
                    <a:lnTo>
                      <a:pt x="54" y="50"/>
                    </a:lnTo>
                    <a:lnTo>
                      <a:pt x="51" y="48"/>
                    </a:lnTo>
                    <a:lnTo>
                      <a:pt x="47" y="47"/>
                    </a:lnTo>
                    <a:lnTo>
                      <a:pt x="22" y="58"/>
                    </a:lnTo>
                    <a:lnTo>
                      <a:pt x="15" y="58"/>
                    </a:lnTo>
                    <a:lnTo>
                      <a:pt x="14" y="59"/>
                    </a:lnTo>
                    <a:lnTo>
                      <a:pt x="15" y="52"/>
                    </a:lnTo>
                    <a:lnTo>
                      <a:pt x="6" y="41"/>
                    </a:lnTo>
                    <a:lnTo>
                      <a:pt x="4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2" y="36"/>
                    </a:lnTo>
                    <a:lnTo>
                      <a:pt x="0" y="35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13" y="28"/>
                    </a:lnTo>
                    <a:lnTo>
                      <a:pt x="14" y="28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33" y="20"/>
                    </a:lnTo>
                    <a:lnTo>
                      <a:pt x="30" y="15"/>
                    </a:lnTo>
                    <a:lnTo>
                      <a:pt x="36" y="14"/>
                    </a:lnTo>
                    <a:lnTo>
                      <a:pt x="35" y="15"/>
                    </a:lnTo>
                    <a:lnTo>
                      <a:pt x="36" y="17"/>
                    </a:lnTo>
                    <a:lnTo>
                      <a:pt x="36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40" y="20"/>
                    </a:lnTo>
                    <a:lnTo>
                      <a:pt x="41" y="20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6" y="17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3"/>
                    </a:lnTo>
                    <a:lnTo>
                      <a:pt x="54" y="10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8" y="14"/>
                    </a:lnTo>
                    <a:lnTo>
                      <a:pt x="58" y="13"/>
                    </a:lnTo>
                    <a:lnTo>
                      <a:pt x="58" y="11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7" y="6"/>
                    </a:lnTo>
                    <a:lnTo>
                      <a:pt x="58" y="6"/>
                    </a:lnTo>
                    <a:lnTo>
                      <a:pt x="59" y="6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2" y="4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68" y="0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74" y="2"/>
                    </a:lnTo>
                    <a:lnTo>
                      <a:pt x="76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4" y="2"/>
                    </a:lnTo>
                    <a:lnTo>
                      <a:pt x="87" y="3"/>
                    </a:lnTo>
                    <a:lnTo>
                      <a:pt x="88" y="6"/>
                    </a:lnTo>
                    <a:lnTo>
                      <a:pt x="90" y="6"/>
                    </a:lnTo>
                    <a:lnTo>
                      <a:pt x="91" y="7"/>
                    </a:lnTo>
                    <a:lnTo>
                      <a:pt x="94" y="9"/>
                    </a:lnTo>
                    <a:lnTo>
                      <a:pt x="98" y="11"/>
                    </a:lnTo>
                    <a:lnTo>
                      <a:pt x="102" y="14"/>
                    </a:lnTo>
                    <a:lnTo>
                      <a:pt x="106" y="15"/>
                    </a:lnTo>
                    <a:lnTo>
                      <a:pt x="110" y="17"/>
                    </a:lnTo>
                    <a:lnTo>
                      <a:pt x="113" y="1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29" name="Freeform 861"/>
              <p:cNvSpPr>
                <a:spLocks/>
              </p:cNvSpPr>
              <p:nvPr/>
            </p:nvSpPr>
            <p:spPr bwMode="auto">
              <a:xfrm>
                <a:off x="2919" y="2296"/>
                <a:ext cx="50" cy="26"/>
              </a:xfrm>
              <a:custGeom>
                <a:avLst/>
                <a:gdLst>
                  <a:gd name="T0" fmla="*/ 8 w 50"/>
                  <a:gd name="T1" fmla="*/ 4 h 26"/>
                  <a:gd name="T2" fmla="*/ 2 w 50"/>
                  <a:gd name="T3" fmla="*/ 5 h 26"/>
                  <a:gd name="T4" fmla="*/ 0 w 50"/>
                  <a:gd name="T5" fmla="*/ 5 h 26"/>
                  <a:gd name="T6" fmla="*/ 0 w 50"/>
                  <a:gd name="T7" fmla="*/ 5 h 26"/>
                  <a:gd name="T8" fmla="*/ 0 w 50"/>
                  <a:gd name="T9" fmla="*/ 7 h 26"/>
                  <a:gd name="T10" fmla="*/ 0 w 50"/>
                  <a:gd name="T11" fmla="*/ 7 h 26"/>
                  <a:gd name="T12" fmla="*/ 0 w 50"/>
                  <a:gd name="T13" fmla="*/ 8 h 26"/>
                  <a:gd name="T14" fmla="*/ 0 w 50"/>
                  <a:gd name="T15" fmla="*/ 9 h 26"/>
                  <a:gd name="T16" fmla="*/ 0 w 50"/>
                  <a:gd name="T17" fmla="*/ 11 h 26"/>
                  <a:gd name="T18" fmla="*/ 3 w 50"/>
                  <a:gd name="T19" fmla="*/ 11 h 26"/>
                  <a:gd name="T20" fmla="*/ 26 w 50"/>
                  <a:gd name="T21" fmla="*/ 18 h 26"/>
                  <a:gd name="T22" fmla="*/ 26 w 50"/>
                  <a:gd name="T23" fmla="*/ 18 h 26"/>
                  <a:gd name="T24" fmla="*/ 26 w 50"/>
                  <a:gd name="T25" fmla="*/ 19 h 26"/>
                  <a:gd name="T26" fmla="*/ 26 w 50"/>
                  <a:gd name="T27" fmla="*/ 20 h 26"/>
                  <a:gd name="T28" fmla="*/ 28 w 50"/>
                  <a:gd name="T29" fmla="*/ 22 h 26"/>
                  <a:gd name="T30" fmla="*/ 29 w 50"/>
                  <a:gd name="T31" fmla="*/ 23 h 26"/>
                  <a:gd name="T32" fmla="*/ 30 w 50"/>
                  <a:gd name="T33" fmla="*/ 25 h 26"/>
                  <a:gd name="T34" fmla="*/ 32 w 50"/>
                  <a:gd name="T35" fmla="*/ 26 h 26"/>
                  <a:gd name="T36" fmla="*/ 33 w 50"/>
                  <a:gd name="T37" fmla="*/ 26 h 26"/>
                  <a:gd name="T38" fmla="*/ 35 w 50"/>
                  <a:gd name="T39" fmla="*/ 26 h 26"/>
                  <a:gd name="T40" fmla="*/ 37 w 50"/>
                  <a:gd name="T41" fmla="*/ 26 h 26"/>
                  <a:gd name="T42" fmla="*/ 39 w 50"/>
                  <a:gd name="T43" fmla="*/ 25 h 26"/>
                  <a:gd name="T44" fmla="*/ 41 w 50"/>
                  <a:gd name="T45" fmla="*/ 23 h 26"/>
                  <a:gd name="T46" fmla="*/ 43 w 50"/>
                  <a:gd name="T47" fmla="*/ 23 h 26"/>
                  <a:gd name="T48" fmla="*/ 44 w 50"/>
                  <a:gd name="T49" fmla="*/ 22 h 26"/>
                  <a:gd name="T50" fmla="*/ 46 w 50"/>
                  <a:gd name="T51" fmla="*/ 20 h 26"/>
                  <a:gd name="T52" fmla="*/ 46 w 50"/>
                  <a:gd name="T53" fmla="*/ 19 h 26"/>
                  <a:gd name="T54" fmla="*/ 47 w 50"/>
                  <a:gd name="T55" fmla="*/ 19 h 26"/>
                  <a:gd name="T56" fmla="*/ 46 w 50"/>
                  <a:gd name="T57" fmla="*/ 18 h 26"/>
                  <a:gd name="T58" fmla="*/ 46 w 50"/>
                  <a:gd name="T59" fmla="*/ 16 h 26"/>
                  <a:gd name="T60" fmla="*/ 46 w 50"/>
                  <a:gd name="T61" fmla="*/ 15 h 26"/>
                  <a:gd name="T62" fmla="*/ 46 w 50"/>
                  <a:gd name="T63" fmla="*/ 15 h 26"/>
                  <a:gd name="T64" fmla="*/ 44 w 50"/>
                  <a:gd name="T65" fmla="*/ 14 h 26"/>
                  <a:gd name="T66" fmla="*/ 44 w 50"/>
                  <a:gd name="T67" fmla="*/ 14 h 26"/>
                  <a:gd name="T68" fmla="*/ 44 w 50"/>
                  <a:gd name="T69" fmla="*/ 12 h 26"/>
                  <a:gd name="T70" fmla="*/ 48 w 50"/>
                  <a:gd name="T71" fmla="*/ 4 h 26"/>
                  <a:gd name="T72" fmla="*/ 50 w 50"/>
                  <a:gd name="T73" fmla="*/ 4 h 26"/>
                  <a:gd name="T74" fmla="*/ 50 w 50"/>
                  <a:gd name="T75" fmla="*/ 4 h 26"/>
                  <a:gd name="T76" fmla="*/ 50 w 50"/>
                  <a:gd name="T77" fmla="*/ 3 h 26"/>
                  <a:gd name="T78" fmla="*/ 50 w 50"/>
                  <a:gd name="T79" fmla="*/ 1 h 26"/>
                  <a:gd name="T80" fmla="*/ 50 w 50"/>
                  <a:gd name="T81" fmla="*/ 1 h 26"/>
                  <a:gd name="T82" fmla="*/ 48 w 50"/>
                  <a:gd name="T83" fmla="*/ 0 h 26"/>
                  <a:gd name="T84" fmla="*/ 47 w 50"/>
                  <a:gd name="T85" fmla="*/ 0 h 26"/>
                  <a:gd name="T86" fmla="*/ 44 w 50"/>
                  <a:gd name="T87" fmla="*/ 0 h 26"/>
                  <a:gd name="T88" fmla="*/ 44 w 50"/>
                  <a:gd name="T89" fmla="*/ 0 h 26"/>
                  <a:gd name="T90" fmla="*/ 43 w 50"/>
                  <a:gd name="T91" fmla="*/ 0 h 26"/>
                  <a:gd name="T92" fmla="*/ 41 w 50"/>
                  <a:gd name="T93" fmla="*/ 1 h 26"/>
                  <a:gd name="T94" fmla="*/ 39 w 50"/>
                  <a:gd name="T95" fmla="*/ 1 h 26"/>
                  <a:gd name="T96" fmla="*/ 37 w 50"/>
                  <a:gd name="T97" fmla="*/ 3 h 26"/>
                  <a:gd name="T98" fmla="*/ 35 w 50"/>
                  <a:gd name="T99" fmla="*/ 3 h 26"/>
                  <a:gd name="T100" fmla="*/ 32 w 50"/>
                  <a:gd name="T101" fmla="*/ 4 h 26"/>
                  <a:gd name="T102" fmla="*/ 30 w 50"/>
                  <a:gd name="T103" fmla="*/ 4 h 26"/>
                  <a:gd name="T104" fmla="*/ 28 w 50"/>
                  <a:gd name="T105" fmla="*/ 4 h 26"/>
                  <a:gd name="T106" fmla="*/ 25 w 50"/>
                  <a:gd name="T107" fmla="*/ 4 h 26"/>
                  <a:gd name="T108" fmla="*/ 22 w 50"/>
                  <a:gd name="T109" fmla="*/ 4 h 26"/>
                  <a:gd name="T110" fmla="*/ 18 w 50"/>
                  <a:gd name="T111" fmla="*/ 4 h 26"/>
                  <a:gd name="T112" fmla="*/ 14 w 50"/>
                  <a:gd name="T113" fmla="*/ 4 h 26"/>
                  <a:gd name="T114" fmla="*/ 11 w 50"/>
                  <a:gd name="T115" fmla="*/ 4 h 26"/>
                  <a:gd name="T116" fmla="*/ 10 w 50"/>
                  <a:gd name="T117" fmla="*/ 4 h 26"/>
                  <a:gd name="T118" fmla="*/ 8 w 50"/>
                  <a:gd name="T119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0" h="26">
                    <a:moveTo>
                      <a:pt x="8" y="4"/>
                    </a:moveTo>
                    <a:lnTo>
                      <a:pt x="2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9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0" y="25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5" y="26"/>
                    </a:lnTo>
                    <a:lnTo>
                      <a:pt x="37" y="26"/>
                    </a:lnTo>
                    <a:lnTo>
                      <a:pt x="39" y="25"/>
                    </a:lnTo>
                    <a:lnTo>
                      <a:pt x="41" y="23"/>
                    </a:lnTo>
                    <a:lnTo>
                      <a:pt x="43" y="23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3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48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7" y="3"/>
                    </a:lnTo>
                    <a:lnTo>
                      <a:pt x="35" y="3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5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0" name="Freeform 862"/>
              <p:cNvSpPr>
                <a:spLocks/>
              </p:cNvSpPr>
              <p:nvPr/>
            </p:nvSpPr>
            <p:spPr bwMode="auto">
              <a:xfrm>
                <a:off x="2919" y="2296"/>
                <a:ext cx="50" cy="26"/>
              </a:xfrm>
              <a:custGeom>
                <a:avLst/>
                <a:gdLst>
                  <a:gd name="T0" fmla="*/ 8 w 50"/>
                  <a:gd name="T1" fmla="*/ 4 h 26"/>
                  <a:gd name="T2" fmla="*/ 2 w 50"/>
                  <a:gd name="T3" fmla="*/ 5 h 26"/>
                  <a:gd name="T4" fmla="*/ 0 w 50"/>
                  <a:gd name="T5" fmla="*/ 5 h 26"/>
                  <a:gd name="T6" fmla="*/ 0 w 50"/>
                  <a:gd name="T7" fmla="*/ 7 h 26"/>
                  <a:gd name="T8" fmla="*/ 0 w 50"/>
                  <a:gd name="T9" fmla="*/ 8 h 26"/>
                  <a:gd name="T10" fmla="*/ 0 w 50"/>
                  <a:gd name="T11" fmla="*/ 9 h 26"/>
                  <a:gd name="T12" fmla="*/ 0 w 50"/>
                  <a:gd name="T13" fmla="*/ 11 h 26"/>
                  <a:gd name="T14" fmla="*/ 3 w 50"/>
                  <a:gd name="T15" fmla="*/ 11 h 26"/>
                  <a:gd name="T16" fmla="*/ 26 w 50"/>
                  <a:gd name="T17" fmla="*/ 18 h 26"/>
                  <a:gd name="T18" fmla="*/ 26 w 50"/>
                  <a:gd name="T19" fmla="*/ 19 h 26"/>
                  <a:gd name="T20" fmla="*/ 26 w 50"/>
                  <a:gd name="T21" fmla="*/ 20 h 26"/>
                  <a:gd name="T22" fmla="*/ 28 w 50"/>
                  <a:gd name="T23" fmla="*/ 22 h 26"/>
                  <a:gd name="T24" fmla="*/ 29 w 50"/>
                  <a:gd name="T25" fmla="*/ 23 h 26"/>
                  <a:gd name="T26" fmla="*/ 30 w 50"/>
                  <a:gd name="T27" fmla="*/ 25 h 26"/>
                  <a:gd name="T28" fmla="*/ 32 w 50"/>
                  <a:gd name="T29" fmla="*/ 26 h 26"/>
                  <a:gd name="T30" fmla="*/ 33 w 50"/>
                  <a:gd name="T31" fmla="*/ 26 h 26"/>
                  <a:gd name="T32" fmla="*/ 35 w 50"/>
                  <a:gd name="T33" fmla="*/ 26 h 26"/>
                  <a:gd name="T34" fmla="*/ 37 w 50"/>
                  <a:gd name="T35" fmla="*/ 26 h 26"/>
                  <a:gd name="T36" fmla="*/ 39 w 50"/>
                  <a:gd name="T37" fmla="*/ 25 h 26"/>
                  <a:gd name="T38" fmla="*/ 41 w 50"/>
                  <a:gd name="T39" fmla="*/ 23 h 26"/>
                  <a:gd name="T40" fmla="*/ 43 w 50"/>
                  <a:gd name="T41" fmla="*/ 23 h 26"/>
                  <a:gd name="T42" fmla="*/ 44 w 50"/>
                  <a:gd name="T43" fmla="*/ 22 h 26"/>
                  <a:gd name="T44" fmla="*/ 46 w 50"/>
                  <a:gd name="T45" fmla="*/ 20 h 26"/>
                  <a:gd name="T46" fmla="*/ 46 w 50"/>
                  <a:gd name="T47" fmla="*/ 19 h 26"/>
                  <a:gd name="T48" fmla="*/ 47 w 50"/>
                  <a:gd name="T49" fmla="*/ 19 h 26"/>
                  <a:gd name="T50" fmla="*/ 46 w 50"/>
                  <a:gd name="T51" fmla="*/ 18 h 26"/>
                  <a:gd name="T52" fmla="*/ 46 w 50"/>
                  <a:gd name="T53" fmla="*/ 16 h 26"/>
                  <a:gd name="T54" fmla="*/ 46 w 50"/>
                  <a:gd name="T55" fmla="*/ 15 h 26"/>
                  <a:gd name="T56" fmla="*/ 44 w 50"/>
                  <a:gd name="T57" fmla="*/ 14 h 26"/>
                  <a:gd name="T58" fmla="*/ 44 w 50"/>
                  <a:gd name="T59" fmla="*/ 12 h 26"/>
                  <a:gd name="T60" fmla="*/ 48 w 50"/>
                  <a:gd name="T61" fmla="*/ 4 h 26"/>
                  <a:gd name="T62" fmla="*/ 50 w 50"/>
                  <a:gd name="T63" fmla="*/ 4 h 26"/>
                  <a:gd name="T64" fmla="*/ 50 w 50"/>
                  <a:gd name="T65" fmla="*/ 3 h 26"/>
                  <a:gd name="T66" fmla="*/ 50 w 50"/>
                  <a:gd name="T67" fmla="*/ 1 h 26"/>
                  <a:gd name="T68" fmla="*/ 48 w 50"/>
                  <a:gd name="T69" fmla="*/ 0 h 26"/>
                  <a:gd name="T70" fmla="*/ 47 w 50"/>
                  <a:gd name="T71" fmla="*/ 0 h 26"/>
                  <a:gd name="T72" fmla="*/ 44 w 50"/>
                  <a:gd name="T73" fmla="*/ 0 h 26"/>
                  <a:gd name="T74" fmla="*/ 43 w 50"/>
                  <a:gd name="T75" fmla="*/ 0 h 26"/>
                  <a:gd name="T76" fmla="*/ 41 w 50"/>
                  <a:gd name="T77" fmla="*/ 1 h 26"/>
                  <a:gd name="T78" fmla="*/ 39 w 50"/>
                  <a:gd name="T79" fmla="*/ 1 h 26"/>
                  <a:gd name="T80" fmla="*/ 37 w 50"/>
                  <a:gd name="T81" fmla="*/ 3 h 26"/>
                  <a:gd name="T82" fmla="*/ 35 w 50"/>
                  <a:gd name="T83" fmla="*/ 3 h 26"/>
                  <a:gd name="T84" fmla="*/ 32 w 50"/>
                  <a:gd name="T85" fmla="*/ 4 h 26"/>
                  <a:gd name="T86" fmla="*/ 30 w 50"/>
                  <a:gd name="T87" fmla="*/ 4 h 26"/>
                  <a:gd name="T88" fmla="*/ 28 w 50"/>
                  <a:gd name="T89" fmla="*/ 4 h 26"/>
                  <a:gd name="T90" fmla="*/ 25 w 50"/>
                  <a:gd name="T91" fmla="*/ 4 h 26"/>
                  <a:gd name="T92" fmla="*/ 22 w 50"/>
                  <a:gd name="T93" fmla="*/ 4 h 26"/>
                  <a:gd name="T94" fmla="*/ 18 w 50"/>
                  <a:gd name="T95" fmla="*/ 4 h 26"/>
                  <a:gd name="T96" fmla="*/ 14 w 50"/>
                  <a:gd name="T97" fmla="*/ 4 h 26"/>
                  <a:gd name="T98" fmla="*/ 11 w 50"/>
                  <a:gd name="T99" fmla="*/ 4 h 26"/>
                  <a:gd name="T100" fmla="*/ 10 w 50"/>
                  <a:gd name="T101" fmla="*/ 4 h 26"/>
                  <a:gd name="T102" fmla="*/ 8 w 50"/>
                  <a:gd name="T103" fmla="*/ 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" h="26">
                    <a:moveTo>
                      <a:pt x="8" y="4"/>
                    </a:moveTo>
                    <a:lnTo>
                      <a:pt x="2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26" y="18"/>
                    </a:lnTo>
                    <a:lnTo>
                      <a:pt x="26" y="19"/>
                    </a:lnTo>
                    <a:lnTo>
                      <a:pt x="26" y="20"/>
                    </a:lnTo>
                    <a:lnTo>
                      <a:pt x="28" y="22"/>
                    </a:lnTo>
                    <a:lnTo>
                      <a:pt x="29" y="23"/>
                    </a:lnTo>
                    <a:lnTo>
                      <a:pt x="30" y="25"/>
                    </a:lnTo>
                    <a:lnTo>
                      <a:pt x="32" y="26"/>
                    </a:lnTo>
                    <a:lnTo>
                      <a:pt x="33" y="26"/>
                    </a:lnTo>
                    <a:lnTo>
                      <a:pt x="35" y="26"/>
                    </a:lnTo>
                    <a:lnTo>
                      <a:pt x="37" y="26"/>
                    </a:lnTo>
                    <a:lnTo>
                      <a:pt x="39" y="25"/>
                    </a:lnTo>
                    <a:lnTo>
                      <a:pt x="41" y="23"/>
                    </a:lnTo>
                    <a:lnTo>
                      <a:pt x="43" y="23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6" y="18"/>
                    </a:lnTo>
                    <a:lnTo>
                      <a:pt x="46" y="16"/>
                    </a:lnTo>
                    <a:lnTo>
                      <a:pt x="46" y="15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3"/>
                    </a:lnTo>
                    <a:lnTo>
                      <a:pt x="50" y="1"/>
                    </a:lnTo>
                    <a:lnTo>
                      <a:pt x="48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1" y="1"/>
                    </a:lnTo>
                    <a:lnTo>
                      <a:pt x="39" y="1"/>
                    </a:lnTo>
                    <a:lnTo>
                      <a:pt x="37" y="3"/>
                    </a:lnTo>
                    <a:lnTo>
                      <a:pt x="35" y="3"/>
                    </a:lnTo>
                    <a:lnTo>
                      <a:pt x="32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5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1" name="Freeform 863"/>
              <p:cNvSpPr>
                <a:spLocks/>
              </p:cNvSpPr>
              <p:nvPr/>
            </p:nvSpPr>
            <p:spPr bwMode="auto">
              <a:xfrm>
                <a:off x="2860" y="2234"/>
                <a:ext cx="23" cy="48"/>
              </a:xfrm>
              <a:custGeom>
                <a:avLst/>
                <a:gdLst>
                  <a:gd name="T0" fmla="*/ 18 w 23"/>
                  <a:gd name="T1" fmla="*/ 0 h 48"/>
                  <a:gd name="T2" fmla="*/ 18 w 23"/>
                  <a:gd name="T3" fmla="*/ 0 h 48"/>
                  <a:gd name="T4" fmla="*/ 17 w 23"/>
                  <a:gd name="T5" fmla="*/ 1 h 48"/>
                  <a:gd name="T6" fmla="*/ 15 w 23"/>
                  <a:gd name="T7" fmla="*/ 3 h 48"/>
                  <a:gd name="T8" fmla="*/ 14 w 23"/>
                  <a:gd name="T9" fmla="*/ 4 h 48"/>
                  <a:gd name="T10" fmla="*/ 12 w 23"/>
                  <a:gd name="T11" fmla="*/ 5 h 48"/>
                  <a:gd name="T12" fmla="*/ 10 w 23"/>
                  <a:gd name="T13" fmla="*/ 5 h 48"/>
                  <a:gd name="T14" fmla="*/ 7 w 23"/>
                  <a:gd name="T15" fmla="*/ 7 h 48"/>
                  <a:gd name="T16" fmla="*/ 4 w 23"/>
                  <a:gd name="T17" fmla="*/ 7 h 48"/>
                  <a:gd name="T18" fmla="*/ 4 w 23"/>
                  <a:gd name="T19" fmla="*/ 5 h 48"/>
                  <a:gd name="T20" fmla="*/ 3 w 23"/>
                  <a:gd name="T21" fmla="*/ 5 h 48"/>
                  <a:gd name="T22" fmla="*/ 3 w 23"/>
                  <a:gd name="T23" fmla="*/ 5 h 48"/>
                  <a:gd name="T24" fmla="*/ 3 w 23"/>
                  <a:gd name="T25" fmla="*/ 5 h 48"/>
                  <a:gd name="T26" fmla="*/ 1 w 23"/>
                  <a:gd name="T27" fmla="*/ 5 h 48"/>
                  <a:gd name="T28" fmla="*/ 1 w 23"/>
                  <a:gd name="T29" fmla="*/ 4 h 48"/>
                  <a:gd name="T30" fmla="*/ 1 w 23"/>
                  <a:gd name="T31" fmla="*/ 4 h 48"/>
                  <a:gd name="T32" fmla="*/ 0 w 23"/>
                  <a:gd name="T33" fmla="*/ 4 h 48"/>
                  <a:gd name="T34" fmla="*/ 0 w 23"/>
                  <a:gd name="T35" fmla="*/ 4 h 48"/>
                  <a:gd name="T36" fmla="*/ 1 w 23"/>
                  <a:gd name="T37" fmla="*/ 5 h 48"/>
                  <a:gd name="T38" fmla="*/ 1 w 23"/>
                  <a:gd name="T39" fmla="*/ 7 h 48"/>
                  <a:gd name="T40" fmla="*/ 1 w 23"/>
                  <a:gd name="T41" fmla="*/ 10 h 48"/>
                  <a:gd name="T42" fmla="*/ 1 w 23"/>
                  <a:gd name="T43" fmla="*/ 14 h 48"/>
                  <a:gd name="T44" fmla="*/ 1 w 23"/>
                  <a:gd name="T45" fmla="*/ 16 h 48"/>
                  <a:gd name="T46" fmla="*/ 1 w 23"/>
                  <a:gd name="T47" fmla="*/ 19 h 48"/>
                  <a:gd name="T48" fmla="*/ 1 w 23"/>
                  <a:gd name="T49" fmla="*/ 22 h 48"/>
                  <a:gd name="T50" fmla="*/ 0 w 23"/>
                  <a:gd name="T51" fmla="*/ 44 h 48"/>
                  <a:gd name="T52" fmla="*/ 0 w 23"/>
                  <a:gd name="T53" fmla="*/ 45 h 48"/>
                  <a:gd name="T54" fmla="*/ 1 w 23"/>
                  <a:gd name="T55" fmla="*/ 45 h 48"/>
                  <a:gd name="T56" fmla="*/ 3 w 23"/>
                  <a:gd name="T57" fmla="*/ 45 h 48"/>
                  <a:gd name="T58" fmla="*/ 4 w 23"/>
                  <a:gd name="T59" fmla="*/ 47 h 48"/>
                  <a:gd name="T60" fmla="*/ 7 w 23"/>
                  <a:gd name="T61" fmla="*/ 47 h 48"/>
                  <a:gd name="T62" fmla="*/ 10 w 23"/>
                  <a:gd name="T63" fmla="*/ 48 h 48"/>
                  <a:gd name="T64" fmla="*/ 11 w 23"/>
                  <a:gd name="T65" fmla="*/ 48 h 48"/>
                  <a:gd name="T66" fmla="*/ 14 w 23"/>
                  <a:gd name="T67" fmla="*/ 48 h 48"/>
                  <a:gd name="T68" fmla="*/ 15 w 23"/>
                  <a:gd name="T69" fmla="*/ 44 h 48"/>
                  <a:gd name="T70" fmla="*/ 15 w 23"/>
                  <a:gd name="T71" fmla="*/ 44 h 48"/>
                  <a:gd name="T72" fmla="*/ 15 w 23"/>
                  <a:gd name="T73" fmla="*/ 43 h 48"/>
                  <a:gd name="T74" fmla="*/ 17 w 23"/>
                  <a:gd name="T75" fmla="*/ 43 h 48"/>
                  <a:gd name="T76" fmla="*/ 17 w 23"/>
                  <a:gd name="T77" fmla="*/ 41 h 48"/>
                  <a:gd name="T78" fmla="*/ 18 w 23"/>
                  <a:gd name="T79" fmla="*/ 41 h 48"/>
                  <a:gd name="T80" fmla="*/ 19 w 23"/>
                  <a:gd name="T81" fmla="*/ 40 h 48"/>
                  <a:gd name="T82" fmla="*/ 21 w 23"/>
                  <a:gd name="T83" fmla="*/ 40 h 48"/>
                  <a:gd name="T84" fmla="*/ 22 w 23"/>
                  <a:gd name="T85" fmla="*/ 40 h 48"/>
                  <a:gd name="T86" fmla="*/ 22 w 23"/>
                  <a:gd name="T87" fmla="*/ 23 h 48"/>
                  <a:gd name="T88" fmla="*/ 21 w 23"/>
                  <a:gd name="T89" fmla="*/ 21 h 48"/>
                  <a:gd name="T90" fmla="*/ 23 w 23"/>
                  <a:gd name="T91" fmla="*/ 19 h 48"/>
                  <a:gd name="T92" fmla="*/ 23 w 23"/>
                  <a:gd name="T93" fmla="*/ 19 h 48"/>
                  <a:gd name="T94" fmla="*/ 23 w 23"/>
                  <a:gd name="T95" fmla="*/ 16 h 48"/>
                  <a:gd name="T96" fmla="*/ 23 w 23"/>
                  <a:gd name="T97" fmla="*/ 14 h 48"/>
                  <a:gd name="T98" fmla="*/ 23 w 23"/>
                  <a:gd name="T99" fmla="*/ 11 h 48"/>
                  <a:gd name="T100" fmla="*/ 23 w 23"/>
                  <a:gd name="T101" fmla="*/ 8 h 48"/>
                  <a:gd name="T102" fmla="*/ 22 w 23"/>
                  <a:gd name="T103" fmla="*/ 5 h 48"/>
                  <a:gd name="T104" fmla="*/ 21 w 23"/>
                  <a:gd name="T105" fmla="*/ 3 h 48"/>
                  <a:gd name="T106" fmla="*/ 18 w 23"/>
                  <a:gd name="T107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3" h="48">
                    <a:moveTo>
                      <a:pt x="18" y="0"/>
                    </a:moveTo>
                    <a:lnTo>
                      <a:pt x="18" y="0"/>
                    </a:lnTo>
                    <a:lnTo>
                      <a:pt x="17" y="1"/>
                    </a:lnTo>
                    <a:lnTo>
                      <a:pt x="15" y="3"/>
                    </a:lnTo>
                    <a:lnTo>
                      <a:pt x="14" y="4"/>
                    </a:lnTo>
                    <a:lnTo>
                      <a:pt x="12" y="5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5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8"/>
                    </a:lnTo>
                    <a:lnTo>
                      <a:pt x="11" y="48"/>
                    </a:lnTo>
                    <a:lnTo>
                      <a:pt x="14" y="48"/>
                    </a:lnTo>
                    <a:lnTo>
                      <a:pt x="15" y="44"/>
                    </a:lnTo>
                    <a:lnTo>
                      <a:pt x="15" y="44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2" y="40"/>
                    </a:lnTo>
                    <a:lnTo>
                      <a:pt x="22" y="23"/>
                    </a:lnTo>
                    <a:lnTo>
                      <a:pt x="21" y="21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8"/>
                    </a:lnTo>
                    <a:lnTo>
                      <a:pt x="22" y="5"/>
                    </a:lnTo>
                    <a:lnTo>
                      <a:pt x="21" y="3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2" name="Freeform 864"/>
              <p:cNvSpPr>
                <a:spLocks/>
              </p:cNvSpPr>
              <p:nvPr/>
            </p:nvSpPr>
            <p:spPr bwMode="auto">
              <a:xfrm>
                <a:off x="2860" y="2234"/>
                <a:ext cx="23" cy="48"/>
              </a:xfrm>
              <a:custGeom>
                <a:avLst/>
                <a:gdLst>
                  <a:gd name="T0" fmla="*/ 18 w 23"/>
                  <a:gd name="T1" fmla="*/ 0 h 48"/>
                  <a:gd name="T2" fmla="*/ 17 w 23"/>
                  <a:gd name="T3" fmla="*/ 1 h 48"/>
                  <a:gd name="T4" fmla="*/ 15 w 23"/>
                  <a:gd name="T5" fmla="*/ 3 h 48"/>
                  <a:gd name="T6" fmla="*/ 14 w 23"/>
                  <a:gd name="T7" fmla="*/ 4 h 48"/>
                  <a:gd name="T8" fmla="*/ 12 w 23"/>
                  <a:gd name="T9" fmla="*/ 5 h 48"/>
                  <a:gd name="T10" fmla="*/ 10 w 23"/>
                  <a:gd name="T11" fmla="*/ 5 h 48"/>
                  <a:gd name="T12" fmla="*/ 7 w 23"/>
                  <a:gd name="T13" fmla="*/ 7 h 48"/>
                  <a:gd name="T14" fmla="*/ 4 w 23"/>
                  <a:gd name="T15" fmla="*/ 7 h 48"/>
                  <a:gd name="T16" fmla="*/ 4 w 23"/>
                  <a:gd name="T17" fmla="*/ 5 h 48"/>
                  <a:gd name="T18" fmla="*/ 3 w 23"/>
                  <a:gd name="T19" fmla="*/ 5 h 48"/>
                  <a:gd name="T20" fmla="*/ 1 w 23"/>
                  <a:gd name="T21" fmla="*/ 5 h 48"/>
                  <a:gd name="T22" fmla="*/ 1 w 23"/>
                  <a:gd name="T23" fmla="*/ 4 h 48"/>
                  <a:gd name="T24" fmla="*/ 0 w 23"/>
                  <a:gd name="T25" fmla="*/ 4 h 48"/>
                  <a:gd name="T26" fmla="*/ 1 w 23"/>
                  <a:gd name="T27" fmla="*/ 5 h 48"/>
                  <a:gd name="T28" fmla="*/ 1 w 23"/>
                  <a:gd name="T29" fmla="*/ 7 h 48"/>
                  <a:gd name="T30" fmla="*/ 1 w 23"/>
                  <a:gd name="T31" fmla="*/ 10 h 48"/>
                  <a:gd name="T32" fmla="*/ 1 w 23"/>
                  <a:gd name="T33" fmla="*/ 14 h 48"/>
                  <a:gd name="T34" fmla="*/ 1 w 23"/>
                  <a:gd name="T35" fmla="*/ 16 h 48"/>
                  <a:gd name="T36" fmla="*/ 1 w 23"/>
                  <a:gd name="T37" fmla="*/ 19 h 48"/>
                  <a:gd name="T38" fmla="*/ 1 w 23"/>
                  <a:gd name="T39" fmla="*/ 22 h 48"/>
                  <a:gd name="T40" fmla="*/ 0 w 23"/>
                  <a:gd name="T41" fmla="*/ 44 h 48"/>
                  <a:gd name="T42" fmla="*/ 0 w 23"/>
                  <a:gd name="T43" fmla="*/ 45 h 48"/>
                  <a:gd name="T44" fmla="*/ 1 w 23"/>
                  <a:gd name="T45" fmla="*/ 45 h 48"/>
                  <a:gd name="T46" fmla="*/ 3 w 23"/>
                  <a:gd name="T47" fmla="*/ 45 h 48"/>
                  <a:gd name="T48" fmla="*/ 4 w 23"/>
                  <a:gd name="T49" fmla="*/ 47 h 48"/>
                  <a:gd name="T50" fmla="*/ 7 w 23"/>
                  <a:gd name="T51" fmla="*/ 47 h 48"/>
                  <a:gd name="T52" fmla="*/ 10 w 23"/>
                  <a:gd name="T53" fmla="*/ 48 h 48"/>
                  <a:gd name="T54" fmla="*/ 11 w 23"/>
                  <a:gd name="T55" fmla="*/ 48 h 48"/>
                  <a:gd name="T56" fmla="*/ 14 w 23"/>
                  <a:gd name="T57" fmla="*/ 48 h 48"/>
                  <a:gd name="T58" fmla="*/ 15 w 23"/>
                  <a:gd name="T59" fmla="*/ 44 h 48"/>
                  <a:gd name="T60" fmla="*/ 15 w 23"/>
                  <a:gd name="T61" fmla="*/ 43 h 48"/>
                  <a:gd name="T62" fmla="*/ 17 w 23"/>
                  <a:gd name="T63" fmla="*/ 43 h 48"/>
                  <a:gd name="T64" fmla="*/ 17 w 23"/>
                  <a:gd name="T65" fmla="*/ 41 h 48"/>
                  <a:gd name="T66" fmla="*/ 18 w 23"/>
                  <a:gd name="T67" fmla="*/ 41 h 48"/>
                  <a:gd name="T68" fmla="*/ 19 w 23"/>
                  <a:gd name="T69" fmla="*/ 40 h 48"/>
                  <a:gd name="T70" fmla="*/ 21 w 23"/>
                  <a:gd name="T71" fmla="*/ 40 h 48"/>
                  <a:gd name="T72" fmla="*/ 22 w 23"/>
                  <a:gd name="T73" fmla="*/ 40 h 48"/>
                  <a:gd name="T74" fmla="*/ 22 w 23"/>
                  <a:gd name="T75" fmla="*/ 23 h 48"/>
                  <a:gd name="T76" fmla="*/ 21 w 23"/>
                  <a:gd name="T77" fmla="*/ 21 h 48"/>
                  <a:gd name="T78" fmla="*/ 23 w 23"/>
                  <a:gd name="T79" fmla="*/ 19 h 48"/>
                  <a:gd name="T80" fmla="*/ 23 w 23"/>
                  <a:gd name="T81" fmla="*/ 16 h 48"/>
                  <a:gd name="T82" fmla="*/ 23 w 23"/>
                  <a:gd name="T83" fmla="*/ 14 h 48"/>
                  <a:gd name="T84" fmla="*/ 23 w 23"/>
                  <a:gd name="T85" fmla="*/ 11 h 48"/>
                  <a:gd name="T86" fmla="*/ 23 w 23"/>
                  <a:gd name="T87" fmla="*/ 8 h 48"/>
                  <a:gd name="T88" fmla="*/ 22 w 23"/>
                  <a:gd name="T89" fmla="*/ 5 h 48"/>
                  <a:gd name="T90" fmla="*/ 21 w 23"/>
                  <a:gd name="T91" fmla="*/ 3 h 48"/>
                  <a:gd name="T92" fmla="*/ 18 w 23"/>
                  <a:gd name="T93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3" h="48">
                    <a:moveTo>
                      <a:pt x="18" y="0"/>
                    </a:moveTo>
                    <a:lnTo>
                      <a:pt x="17" y="1"/>
                    </a:lnTo>
                    <a:lnTo>
                      <a:pt x="15" y="3"/>
                    </a:lnTo>
                    <a:lnTo>
                      <a:pt x="14" y="4"/>
                    </a:lnTo>
                    <a:lnTo>
                      <a:pt x="12" y="5"/>
                    </a:lnTo>
                    <a:lnTo>
                      <a:pt x="10" y="5"/>
                    </a:lnTo>
                    <a:lnTo>
                      <a:pt x="7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1" y="7"/>
                    </a:lnTo>
                    <a:lnTo>
                      <a:pt x="1" y="10"/>
                    </a:lnTo>
                    <a:lnTo>
                      <a:pt x="1" y="14"/>
                    </a:lnTo>
                    <a:lnTo>
                      <a:pt x="1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5"/>
                    </a:lnTo>
                    <a:lnTo>
                      <a:pt x="3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10" y="48"/>
                    </a:lnTo>
                    <a:lnTo>
                      <a:pt x="11" y="48"/>
                    </a:lnTo>
                    <a:lnTo>
                      <a:pt x="14" y="48"/>
                    </a:lnTo>
                    <a:lnTo>
                      <a:pt x="15" y="44"/>
                    </a:lnTo>
                    <a:lnTo>
                      <a:pt x="15" y="43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2" y="40"/>
                    </a:lnTo>
                    <a:lnTo>
                      <a:pt x="22" y="23"/>
                    </a:lnTo>
                    <a:lnTo>
                      <a:pt x="21" y="21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1"/>
                    </a:lnTo>
                    <a:lnTo>
                      <a:pt x="23" y="8"/>
                    </a:lnTo>
                    <a:lnTo>
                      <a:pt x="22" y="5"/>
                    </a:lnTo>
                    <a:lnTo>
                      <a:pt x="21" y="3"/>
                    </a:lnTo>
                    <a:lnTo>
                      <a:pt x="1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3" name="Freeform 865"/>
              <p:cNvSpPr>
                <a:spLocks/>
              </p:cNvSpPr>
              <p:nvPr/>
            </p:nvSpPr>
            <p:spPr bwMode="auto">
              <a:xfrm>
                <a:off x="2866" y="2194"/>
                <a:ext cx="20" cy="34"/>
              </a:xfrm>
              <a:custGeom>
                <a:avLst/>
                <a:gdLst>
                  <a:gd name="T0" fmla="*/ 8 w 20"/>
                  <a:gd name="T1" fmla="*/ 6 h 34"/>
                  <a:gd name="T2" fmla="*/ 8 w 20"/>
                  <a:gd name="T3" fmla="*/ 6 h 34"/>
                  <a:gd name="T4" fmla="*/ 6 w 20"/>
                  <a:gd name="T5" fmla="*/ 4 h 34"/>
                  <a:gd name="T6" fmla="*/ 5 w 20"/>
                  <a:gd name="T7" fmla="*/ 4 h 34"/>
                  <a:gd name="T8" fmla="*/ 4 w 20"/>
                  <a:gd name="T9" fmla="*/ 6 h 34"/>
                  <a:gd name="T10" fmla="*/ 2 w 20"/>
                  <a:gd name="T11" fmla="*/ 6 h 34"/>
                  <a:gd name="T12" fmla="*/ 1 w 20"/>
                  <a:gd name="T13" fmla="*/ 7 h 34"/>
                  <a:gd name="T14" fmla="*/ 1 w 20"/>
                  <a:gd name="T15" fmla="*/ 8 h 34"/>
                  <a:gd name="T16" fmla="*/ 0 w 20"/>
                  <a:gd name="T17" fmla="*/ 11 h 34"/>
                  <a:gd name="T18" fmla="*/ 0 w 20"/>
                  <a:gd name="T19" fmla="*/ 11 h 34"/>
                  <a:gd name="T20" fmla="*/ 0 w 20"/>
                  <a:gd name="T21" fmla="*/ 12 h 34"/>
                  <a:gd name="T22" fmla="*/ 1 w 20"/>
                  <a:gd name="T23" fmla="*/ 15 h 34"/>
                  <a:gd name="T24" fmla="*/ 1 w 20"/>
                  <a:gd name="T25" fmla="*/ 18 h 34"/>
                  <a:gd name="T26" fmla="*/ 2 w 20"/>
                  <a:gd name="T27" fmla="*/ 21 h 34"/>
                  <a:gd name="T28" fmla="*/ 4 w 20"/>
                  <a:gd name="T29" fmla="*/ 23 h 34"/>
                  <a:gd name="T30" fmla="*/ 5 w 20"/>
                  <a:gd name="T31" fmla="*/ 26 h 34"/>
                  <a:gd name="T32" fmla="*/ 6 w 20"/>
                  <a:gd name="T33" fmla="*/ 28 h 34"/>
                  <a:gd name="T34" fmla="*/ 13 w 20"/>
                  <a:gd name="T35" fmla="*/ 34 h 34"/>
                  <a:gd name="T36" fmla="*/ 13 w 20"/>
                  <a:gd name="T37" fmla="*/ 34 h 34"/>
                  <a:gd name="T38" fmla="*/ 13 w 20"/>
                  <a:gd name="T39" fmla="*/ 33 h 34"/>
                  <a:gd name="T40" fmla="*/ 15 w 20"/>
                  <a:gd name="T41" fmla="*/ 30 h 34"/>
                  <a:gd name="T42" fmla="*/ 15 w 20"/>
                  <a:gd name="T43" fmla="*/ 29 h 34"/>
                  <a:gd name="T44" fmla="*/ 16 w 20"/>
                  <a:gd name="T45" fmla="*/ 26 h 34"/>
                  <a:gd name="T46" fmla="*/ 17 w 20"/>
                  <a:gd name="T47" fmla="*/ 23 h 34"/>
                  <a:gd name="T48" fmla="*/ 19 w 20"/>
                  <a:gd name="T49" fmla="*/ 22 h 34"/>
                  <a:gd name="T50" fmla="*/ 20 w 20"/>
                  <a:gd name="T51" fmla="*/ 22 h 34"/>
                  <a:gd name="T52" fmla="*/ 20 w 20"/>
                  <a:gd name="T53" fmla="*/ 22 h 34"/>
                  <a:gd name="T54" fmla="*/ 20 w 20"/>
                  <a:gd name="T55" fmla="*/ 19 h 34"/>
                  <a:gd name="T56" fmla="*/ 19 w 20"/>
                  <a:gd name="T57" fmla="*/ 18 h 34"/>
                  <a:gd name="T58" fmla="*/ 19 w 20"/>
                  <a:gd name="T59" fmla="*/ 15 h 34"/>
                  <a:gd name="T60" fmla="*/ 19 w 20"/>
                  <a:gd name="T61" fmla="*/ 12 h 34"/>
                  <a:gd name="T62" fmla="*/ 17 w 20"/>
                  <a:gd name="T63" fmla="*/ 10 h 34"/>
                  <a:gd name="T64" fmla="*/ 16 w 20"/>
                  <a:gd name="T65" fmla="*/ 7 h 34"/>
                  <a:gd name="T66" fmla="*/ 15 w 20"/>
                  <a:gd name="T67" fmla="*/ 6 h 34"/>
                  <a:gd name="T68" fmla="*/ 12 w 20"/>
                  <a:gd name="T69" fmla="*/ 0 h 34"/>
                  <a:gd name="T70" fmla="*/ 8 w 20"/>
                  <a:gd name="T71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" h="34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5" y="26"/>
                    </a:lnTo>
                    <a:lnTo>
                      <a:pt x="6" y="28"/>
                    </a:lnTo>
                    <a:lnTo>
                      <a:pt x="13" y="34"/>
                    </a:lnTo>
                    <a:lnTo>
                      <a:pt x="13" y="34"/>
                    </a:lnTo>
                    <a:lnTo>
                      <a:pt x="13" y="33"/>
                    </a:lnTo>
                    <a:lnTo>
                      <a:pt x="15" y="30"/>
                    </a:lnTo>
                    <a:lnTo>
                      <a:pt x="15" y="29"/>
                    </a:lnTo>
                    <a:lnTo>
                      <a:pt x="16" y="26"/>
                    </a:lnTo>
                    <a:lnTo>
                      <a:pt x="17" y="23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9" y="18"/>
                    </a:lnTo>
                    <a:lnTo>
                      <a:pt x="19" y="15"/>
                    </a:lnTo>
                    <a:lnTo>
                      <a:pt x="19" y="12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5" y="6"/>
                    </a:lnTo>
                    <a:lnTo>
                      <a:pt x="1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4" name="Freeform 866"/>
              <p:cNvSpPr>
                <a:spLocks/>
              </p:cNvSpPr>
              <p:nvPr/>
            </p:nvSpPr>
            <p:spPr bwMode="auto">
              <a:xfrm>
                <a:off x="2866" y="2194"/>
                <a:ext cx="20" cy="34"/>
              </a:xfrm>
              <a:custGeom>
                <a:avLst/>
                <a:gdLst>
                  <a:gd name="T0" fmla="*/ 8 w 20"/>
                  <a:gd name="T1" fmla="*/ 6 h 34"/>
                  <a:gd name="T2" fmla="*/ 6 w 20"/>
                  <a:gd name="T3" fmla="*/ 4 h 34"/>
                  <a:gd name="T4" fmla="*/ 5 w 20"/>
                  <a:gd name="T5" fmla="*/ 4 h 34"/>
                  <a:gd name="T6" fmla="*/ 4 w 20"/>
                  <a:gd name="T7" fmla="*/ 6 h 34"/>
                  <a:gd name="T8" fmla="*/ 2 w 20"/>
                  <a:gd name="T9" fmla="*/ 6 h 34"/>
                  <a:gd name="T10" fmla="*/ 1 w 20"/>
                  <a:gd name="T11" fmla="*/ 7 h 34"/>
                  <a:gd name="T12" fmla="*/ 1 w 20"/>
                  <a:gd name="T13" fmla="*/ 8 h 34"/>
                  <a:gd name="T14" fmla="*/ 0 w 20"/>
                  <a:gd name="T15" fmla="*/ 11 h 34"/>
                  <a:gd name="T16" fmla="*/ 0 w 20"/>
                  <a:gd name="T17" fmla="*/ 12 h 34"/>
                  <a:gd name="T18" fmla="*/ 1 w 20"/>
                  <a:gd name="T19" fmla="*/ 15 h 34"/>
                  <a:gd name="T20" fmla="*/ 1 w 20"/>
                  <a:gd name="T21" fmla="*/ 18 h 34"/>
                  <a:gd name="T22" fmla="*/ 2 w 20"/>
                  <a:gd name="T23" fmla="*/ 21 h 34"/>
                  <a:gd name="T24" fmla="*/ 4 w 20"/>
                  <a:gd name="T25" fmla="*/ 23 h 34"/>
                  <a:gd name="T26" fmla="*/ 5 w 20"/>
                  <a:gd name="T27" fmla="*/ 26 h 34"/>
                  <a:gd name="T28" fmla="*/ 6 w 20"/>
                  <a:gd name="T29" fmla="*/ 28 h 34"/>
                  <a:gd name="T30" fmla="*/ 13 w 20"/>
                  <a:gd name="T31" fmla="*/ 34 h 34"/>
                  <a:gd name="T32" fmla="*/ 13 w 20"/>
                  <a:gd name="T33" fmla="*/ 33 h 34"/>
                  <a:gd name="T34" fmla="*/ 15 w 20"/>
                  <a:gd name="T35" fmla="*/ 30 h 34"/>
                  <a:gd name="T36" fmla="*/ 15 w 20"/>
                  <a:gd name="T37" fmla="*/ 29 h 34"/>
                  <a:gd name="T38" fmla="*/ 16 w 20"/>
                  <a:gd name="T39" fmla="*/ 26 h 34"/>
                  <a:gd name="T40" fmla="*/ 17 w 20"/>
                  <a:gd name="T41" fmla="*/ 23 h 34"/>
                  <a:gd name="T42" fmla="*/ 19 w 20"/>
                  <a:gd name="T43" fmla="*/ 22 h 34"/>
                  <a:gd name="T44" fmla="*/ 20 w 20"/>
                  <a:gd name="T45" fmla="*/ 22 h 34"/>
                  <a:gd name="T46" fmla="*/ 20 w 20"/>
                  <a:gd name="T47" fmla="*/ 19 h 34"/>
                  <a:gd name="T48" fmla="*/ 19 w 20"/>
                  <a:gd name="T49" fmla="*/ 18 h 34"/>
                  <a:gd name="T50" fmla="*/ 19 w 20"/>
                  <a:gd name="T51" fmla="*/ 15 h 34"/>
                  <a:gd name="T52" fmla="*/ 19 w 20"/>
                  <a:gd name="T53" fmla="*/ 12 h 34"/>
                  <a:gd name="T54" fmla="*/ 17 w 20"/>
                  <a:gd name="T55" fmla="*/ 10 h 34"/>
                  <a:gd name="T56" fmla="*/ 16 w 20"/>
                  <a:gd name="T57" fmla="*/ 7 h 34"/>
                  <a:gd name="T58" fmla="*/ 15 w 20"/>
                  <a:gd name="T59" fmla="*/ 6 h 34"/>
                  <a:gd name="T60" fmla="*/ 12 w 20"/>
                  <a:gd name="T61" fmla="*/ 0 h 34"/>
                  <a:gd name="T62" fmla="*/ 8 w 20"/>
                  <a:gd name="T63" fmla="*/ 6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0" h="34">
                    <a:moveTo>
                      <a:pt x="8" y="6"/>
                    </a:moveTo>
                    <a:lnTo>
                      <a:pt x="6" y="4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1" y="18"/>
                    </a:lnTo>
                    <a:lnTo>
                      <a:pt x="2" y="21"/>
                    </a:lnTo>
                    <a:lnTo>
                      <a:pt x="4" y="23"/>
                    </a:lnTo>
                    <a:lnTo>
                      <a:pt x="5" y="26"/>
                    </a:lnTo>
                    <a:lnTo>
                      <a:pt x="6" y="28"/>
                    </a:lnTo>
                    <a:lnTo>
                      <a:pt x="13" y="34"/>
                    </a:lnTo>
                    <a:lnTo>
                      <a:pt x="13" y="33"/>
                    </a:lnTo>
                    <a:lnTo>
                      <a:pt x="15" y="30"/>
                    </a:lnTo>
                    <a:lnTo>
                      <a:pt x="15" y="29"/>
                    </a:lnTo>
                    <a:lnTo>
                      <a:pt x="16" y="26"/>
                    </a:lnTo>
                    <a:lnTo>
                      <a:pt x="17" y="23"/>
                    </a:lnTo>
                    <a:lnTo>
                      <a:pt x="19" y="22"/>
                    </a:lnTo>
                    <a:lnTo>
                      <a:pt x="20" y="22"/>
                    </a:lnTo>
                    <a:lnTo>
                      <a:pt x="20" y="19"/>
                    </a:lnTo>
                    <a:lnTo>
                      <a:pt x="19" y="18"/>
                    </a:lnTo>
                    <a:lnTo>
                      <a:pt x="19" y="15"/>
                    </a:lnTo>
                    <a:lnTo>
                      <a:pt x="19" y="12"/>
                    </a:lnTo>
                    <a:lnTo>
                      <a:pt x="17" y="10"/>
                    </a:lnTo>
                    <a:lnTo>
                      <a:pt x="16" y="7"/>
                    </a:lnTo>
                    <a:lnTo>
                      <a:pt x="15" y="6"/>
                    </a:lnTo>
                    <a:lnTo>
                      <a:pt x="12" y="0"/>
                    </a:lnTo>
                    <a:lnTo>
                      <a:pt x="8" y="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5" name="Freeform 867"/>
              <p:cNvSpPr>
                <a:spLocks/>
              </p:cNvSpPr>
              <p:nvPr/>
            </p:nvSpPr>
            <p:spPr bwMode="auto">
              <a:xfrm>
                <a:off x="2875" y="2065"/>
                <a:ext cx="123" cy="73"/>
              </a:xfrm>
              <a:custGeom>
                <a:avLst/>
                <a:gdLst>
                  <a:gd name="T0" fmla="*/ 44 w 123"/>
                  <a:gd name="T1" fmla="*/ 71 h 73"/>
                  <a:gd name="T2" fmla="*/ 41 w 123"/>
                  <a:gd name="T3" fmla="*/ 69 h 73"/>
                  <a:gd name="T4" fmla="*/ 40 w 123"/>
                  <a:gd name="T5" fmla="*/ 69 h 73"/>
                  <a:gd name="T6" fmla="*/ 39 w 123"/>
                  <a:gd name="T7" fmla="*/ 69 h 73"/>
                  <a:gd name="T8" fmla="*/ 37 w 123"/>
                  <a:gd name="T9" fmla="*/ 69 h 73"/>
                  <a:gd name="T10" fmla="*/ 30 w 123"/>
                  <a:gd name="T11" fmla="*/ 67 h 73"/>
                  <a:gd name="T12" fmla="*/ 25 w 123"/>
                  <a:gd name="T13" fmla="*/ 67 h 73"/>
                  <a:gd name="T14" fmla="*/ 21 w 123"/>
                  <a:gd name="T15" fmla="*/ 67 h 73"/>
                  <a:gd name="T16" fmla="*/ 19 w 123"/>
                  <a:gd name="T17" fmla="*/ 69 h 73"/>
                  <a:gd name="T18" fmla="*/ 18 w 123"/>
                  <a:gd name="T19" fmla="*/ 71 h 73"/>
                  <a:gd name="T20" fmla="*/ 15 w 123"/>
                  <a:gd name="T21" fmla="*/ 71 h 73"/>
                  <a:gd name="T22" fmla="*/ 14 w 123"/>
                  <a:gd name="T23" fmla="*/ 73 h 73"/>
                  <a:gd name="T24" fmla="*/ 14 w 123"/>
                  <a:gd name="T25" fmla="*/ 71 h 73"/>
                  <a:gd name="T26" fmla="*/ 14 w 123"/>
                  <a:gd name="T27" fmla="*/ 69 h 73"/>
                  <a:gd name="T28" fmla="*/ 11 w 123"/>
                  <a:gd name="T29" fmla="*/ 69 h 73"/>
                  <a:gd name="T30" fmla="*/ 10 w 123"/>
                  <a:gd name="T31" fmla="*/ 69 h 73"/>
                  <a:gd name="T32" fmla="*/ 11 w 123"/>
                  <a:gd name="T33" fmla="*/ 65 h 73"/>
                  <a:gd name="T34" fmla="*/ 13 w 123"/>
                  <a:gd name="T35" fmla="*/ 47 h 73"/>
                  <a:gd name="T36" fmla="*/ 35 w 123"/>
                  <a:gd name="T37" fmla="*/ 41 h 73"/>
                  <a:gd name="T38" fmla="*/ 36 w 123"/>
                  <a:gd name="T39" fmla="*/ 32 h 73"/>
                  <a:gd name="T40" fmla="*/ 44 w 123"/>
                  <a:gd name="T41" fmla="*/ 16 h 73"/>
                  <a:gd name="T42" fmla="*/ 57 w 123"/>
                  <a:gd name="T43" fmla="*/ 10 h 73"/>
                  <a:gd name="T44" fmla="*/ 62 w 123"/>
                  <a:gd name="T45" fmla="*/ 4 h 73"/>
                  <a:gd name="T46" fmla="*/ 65 w 123"/>
                  <a:gd name="T47" fmla="*/ 1 h 73"/>
                  <a:gd name="T48" fmla="*/ 65 w 123"/>
                  <a:gd name="T49" fmla="*/ 1 h 73"/>
                  <a:gd name="T50" fmla="*/ 66 w 123"/>
                  <a:gd name="T51" fmla="*/ 1 h 73"/>
                  <a:gd name="T52" fmla="*/ 68 w 123"/>
                  <a:gd name="T53" fmla="*/ 3 h 73"/>
                  <a:gd name="T54" fmla="*/ 69 w 123"/>
                  <a:gd name="T55" fmla="*/ 4 h 73"/>
                  <a:gd name="T56" fmla="*/ 70 w 123"/>
                  <a:gd name="T57" fmla="*/ 7 h 73"/>
                  <a:gd name="T58" fmla="*/ 74 w 123"/>
                  <a:gd name="T59" fmla="*/ 7 h 73"/>
                  <a:gd name="T60" fmla="*/ 81 w 123"/>
                  <a:gd name="T61" fmla="*/ 7 h 73"/>
                  <a:gd name="T62" fmla="*/ 85 w 123"/>
                  <a:gd name="T63" fmla="*/ 5 h 73"/>
                  <a:gd name="T64" fmla="*/ 96 w 123"/>
                  <a:gd name="T65" fmla="*/ 3 h 73"/>
                  <a:gd name="T66" fmla="*/ 96 w 123"/>
                  <a:gd name="T67" fmla="*/ 4 h 73"/>
                  <a:gd name="T68" fmla="*/ 96 w 123"/>
                  <a:gd name="T69" fmla="*/ 5 h 73"/>
                  <a:gd name="T70" fmla="*/ 96 w 123"/>
                  <a:gd name="T71" fmla="*/ 8 h 73"/>
                  <a:gd name="T72" fmla="*/ 99 w 123"/>
                  <a:gd name="T73" fmla="*/ 10 h 73"/>
                  <a:gd name="T74" fmla="*/ 103 w 123"/>
                  <a:gd name="T75" fmla="*/ 11 h 73"/>
                  <a:gd name="T76" fmla="*/ 110 w 123"/>
                  <a:gd name="T77" fmla="*/ 12 h 73"/>
                  <a:gd name="T78" fmla="*/ 114 w 123"/>
                  <a:gd name="T79" fmla="*/ 12 h 73"/>
                  <a:gd name="T80" fmla="*/ 117 w 123"/>
                  <a:gd name="T81" fmla="*/ 12 h 73"/>
                  <a:gd name="T82" fmla="*/ 123 w 123"/>
                  <a:gd name="T83" fmla="*/ 22 h 73"/>
                  <a:gd name="T84" fmla="*/ 120 w 123"/>
                  <a:gd name="T85" fmla="*/ 25 h 73"/>
                  <a:gd name="T86" fmla="*/ 116 w 123"/>
                  <a:gd name="T87" fmla="*/ 29 h 73"/>
                  <a:gd name="T88" fmla="*/ 116 w 123"/>
                  <a:gd name="T89" fmla="*/ 36 h 73"/>
                  <a:gd name="T90" fmla="*/ 116 w 123"/>
                  <a:gd name="T91" fmla="*/ 41 h 73"/>
                  <a:gd name="T92" fmla="*/ 113 w 123"/>
                  <a:gd name="T93" fmla="*/ 43 h 73"/>
                  <a:gd name="T94" fmla="*/ 110 w 123"/>
                  <a:gd name="T95" fmla="*/ 47 h 73"/>
                  <a:gd name="T96" fmla="*/ 110 w 123"/>
                  <a:gd name="T97" fmla="*/ 52 h 73"/>
                  <a:gd name="T98" fmla="*/ 83 w 123"/>
                  <a:gd name="T99" fmla="*/ 58 h 73"/>
                  <a:gd name="T100" fmla="*/ 50 w 123"/>
                  <a:gd name="T101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23" h="73">
                    <a:moveTo>
                      <a:pt x="44" y="73"/>
                    </a:moveTo>
                    <a:lnTo>
                      <a:pt x="44" y="71"/>
                    </a:lnTo>
                    <a:lnTo>
                      <a:pt x="43" y="70"/>
                    </a:lnTo>
                    <a:lnTo>
                      <a:pt x="41" y="69"/>
                    </a:lnTo>
                    <a:lnTo>
                      <a:pt x="41" y="69"/>
                    </a:lnTo>
                    <a:lnTo>
                      <a:pt x="40" y="69"/>
                    </a:lnTo>
                    <a:lnTo>
                      <a:pt x="40" y="69"/>
                    </a:lnTo>
                    <a:lnTo>
                      <a:pt x="39" y="69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3" y="69"/>
                    </a:lnTo>
                    <a:lnTo>
                      <a:pt x="30" y="67"/>
                    </a:lnTo>
                    <a:lnTo>
                      <a:pt x="28" y="67"/>
                    </a:lnTo>
                    <a:lnTo>
                      <a:pt x="25" y="67"/>
                    </a:lnTo>
                    <a:lnTo>
                      <a:pt x="22" y="67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8" y="70"/>
                    </a:lnTo>
                    <a:lnTo>
                      <a:pt x="18" y="71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73"/>
                    </a:lnTo>
                    <a:lnTo>
                      <a:pt x="14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4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0" y="69"/>
                    </a:lnTo>
                    <a:lnTo>
                      <a:pt x="11" y="65"/>
                    </a:lnTo>
                    <a:lnTo>
                      <a:pt x="0" y="48"/>
                    </a:lnTo>
                    <a:lnTo>
                      <a:pt x="13" y="47"/>
                    </a:lnTo>
                    <a:lnTo>
                      <a:pt x="26" y="38"/>
                    </a:lnTo>
                    <a:lnTo>
                      <a:pt x="35" y="41"/>
                    </a:lnTo>
                    <a:lnTo>
                      <a:pt x="37" y="37"/>
                    </a:lnTo>
                    <a:lnTo>
                      <a:pt x="36" y="32"/>
                    </a:lnTo>
                    <a:lnTo>
                      <a:pt x="36" y="21"/>
                    </a:lnTo>
                    <a:lnTo>
                      <a:pt x="44" y="16"/>
                    </a:lnTo>
                    <a:lnTo>
                      <a:pt x="51" y="14"/>
                    </a:lnTo>
                    <a:lnTo>
                      <a:pt x="57" y="10"/>
                    </a:lnTo>
                    <a:lnTo>
                      <a:pt x="61" y="7"/>
                    </a:lnTo>
                    <a:lnTo>
                      <a:pt x="62" y="4"/>
                    </a:lnTo>
                    <a:lnTo>
                      <a:pt x="63" y="3"/>
                    </a:lnTo>
                    <a:lnTo>
                      <a:pt x="65" y="1"/>
                    </a:lnTo>
                    <a:lnTo>
                      <a:pt x="65" y="0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8" y="3"/>
                    </a:lnTo>
                    <a:lnTo>
                      <a:pt x="69" y="4"/>
                    </a:lnTo>
                    <a:lnTo>
                      <a:pt x="69" y="4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4" y="7"/>
                    </a:lnTo>
                    <a:lnTo>
                      <a:pt x="77" y="7"/>
                    </a:lnTo>
                    <a:lnTo>
                      <a:pt x="81" y="7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8" y="3"/>
                    </a:lnTo>
                    <a:lnTo>
                      <a:pt x="96" y="3"/>
                    </a:lnTo>
                    <a:lnTo>
                      <a:pt x="96" y="3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6" y="7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9" y="10"/>
                    </a:lnTo>
                    <a:lnTo>
                      <a:pt x="102" y="11"/>
                    </a:lnTo>
                    <a:lnTo>
                      <a:pt x="103" y="11"/>
                    </a:lnTo>
                    <a:lnTo>
                      <a:pt x="107" y="11"/>
                    </a:lnTo>
                    <a:lnTo>
                      <a:pt x="110" y="12"/>
                    </a:lnTo>
                    <a:lnTo>
                      <a:pt x="113" y="12"/>
                    </a:lnTo>
                    <a:lnTo>
                      <a:pt x="114" y="12"/>
                    </a:lnTo>
                    <a:lnTo>
                      <a:pt x="117" y="12"/>
                    </a:lnTo>
                    <a:lnTo>
                      <a:pt x="117" y="12"/>
                    </a:lnTo>
                    <a:lnTo>
                      <a:pt x="123" y="22"/>
                    </a:lnTo>
                    <a:lnTo>
                      <a:pt x="123" y="22"/>
                    </a:lnTo>
                    <a:lnTo>
                      <a:pt x="121" y="23"/>
                    </a:lnTo>
                    <a:lnTo>
                      <a:pt x="120" y="25"/>
                    </a:lnTo>
                    <a:lnTo>
                      <a:pt x="118" y="26"/>
                    </a:lnTo>
                    <a:lnTo>
                      <a:pt x="116" y="29"/>
                    </a:lnTo>
                    <a:lnTo>
                      <a:pt x="116" y="32"/>
                    </a:lnTo>
                    <a:lnTo>
                      <a:pt x="116" y="36"/>
                    </a:lnTo>
                    <a:lnTo>
                      <a:pt x="116" y="40"/>
                    </a:lnTo>
                    <a:lnTo>
                      <a:pt x="116" y="41"/>
                    </a:lnTo>
                    <a:lnTo>
                      <a:pt x="114" y="41"/>
                    </a:lnTo>
                    <a:lnTo>
                      <a:pt x="113" y="43"/>
                    </a:lnTo>
                    <a:lnTo>
                      <a:pt x="112" y="45"/>
                    </a:lnTo>
                    <a:lnTo>
                      <a:pt x="110" y="47"/>
                    </a:lnTo>
                    <a:lnTo>
                      <a:pt x="110" y="49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83" y="58"/>
                    </a:lnTo>
                    <a:lnTo>
                      <a:pt x="54" y="69"/>
                    </a:lnTo>
                    <a:lnTo>
                      <a:pt x="50" y="70"/>
                    </a:lnTo>
                    <a:lnTo>
                      <a:pt x="44" y="7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6" name="Freeform 868"/>
              <p:cNvSpPr>
                <a:spLocks/>
              </p:cNvSpPr>
              <p:nvPr/>
            </p:nvSpPr>
            <p:spPr bwMode="auto">
              <a:xfrm>
                <a:off x="2875" y="2065"/>
                <a:ext cx="123" cy="73"/>
              </a:xfrm>
              <a:custGeom>
                <a:avLst/>
                <a:gdLst>
                  <a:gd name="T0" fmla="*/ 44 w 123"/>
                  <a:gd name="T1" fmla="*/ 71 h 73"/>
                  <a:gd name="T2" fmla="*/ 41 w 123"/>
                  <a:gd name="T3" fmla="*/ 69 h 73"/>
                  <a:gd name="T4" fmla="*/ 39 w 123"/>
                  <a:gd name="T5" fmla="*/ 69 h 73"/>
                  <a:gd name="T6" fmla="*/ 33 w 123"/>
                  <a:gd name="T7" fmla="*/ 69 h 73"/>
                  <a:gd name="T8" fmla="*/ 28 w 123"/>
                  <a:gd name="T9" fmla="*/ 67 h 73"/>
                  <a:gd name="T10" fmla="*/ 22 w 123"/>
                  <a:gd name="T11" fmla="*/ 67 h 73"/>
                  <a:gd name="T12" fmla="*/ 19 w 123"/>
                  <a:gd name="T13" fmla="*/ 67 h 73"/>
                  <a:gd name="T14" fmla="*/ 18 w 123"/>
                  <a:gd name="T15" fmla="*/ 70 h 73"/>
                  <a:gd name="T16" fmla="*/ 17 w 123"/>
                  <a:gd name="T17" fmla="*/ 71 h 73"/>
                  <a:gd name="T18" fmla="*/ 15 w 123"/>
                  <a:gd name="T19" fmla="*/ 73 h 73"/>
                  <a:gd name="T20" fmla="*/ 14 w 123"/>
                  <a:gd name="T21" fmla="*/ 71 h 73"/>
                  <a:gd name="T22" fmla="*/ 14 w 123"/>
                  <a:gd name="T23" fmla="*/ 69 h 73"/>
                  <a:gd name="T24" fmla="*/ 11 w 123"/>
                  <a:gd name="T25" fmla="*/ 69 h 73"/>
                  <a:gd name="T26" fmla="*/ 11 w 123"/>
                  <a:gd name="T27" fmla="*/ 65 h 73"/>
                  <a:gd name="T28" fmla="*/ 13 w 123"/>
                  <a:gd name="T29" fmla="*/ 47 h 73"/>
                  <a:gd name="T30" fmla="*/ 35 w 123"/>
                  <a:gd name="T31" fmla="*/ 41 h 73"/>
                  <a:gd name="T32" fmla="*/ 36 w 123"/>
                  <a:gd name="T33" fmla="*/ 32 h 73"/>
                  <a:gd name="T34" fmla="*/ 44 w 123"/>
                  <a:gd name="T35" fmla="*/ 16 h 73"/>
                  <a:gd name="T36" fmla="*/ 57 w 123"/>
                  <a:gd name="T37" fmla="*/ 10 h 73"/>
                  <a:gd name="T38" fmla="*/ 62 w 123"/>
                  <a:gd name="T39" fmla="*/ 4 h 73"/>
                  <a:gd name="T40" fmla="*/ 65 w 123"/>
                  <a:gd name="T41" fmla="*/ 1 h 73"/>
                  <a:gd name="T42" fmla="*/ 65 w 123"/>
                  <a:gd name="T43" fmla="*/ 1 h 73"/>
                  <a:gd name="T44" fmla="*/ 68 w 123"/>
                  <a:gd name="T45" fmla="*/ 1 h 73"/>
                  <a:gd name="T46" fmla="*/ 69 w 123"/>
                  <a:gd name="T47" fmla="*/ 4 h 73"/>
                  <a:gd name="T48" fmla="*/ 70 w 123"/>
                  <a:gd name="T49" fmla="*/ 7 h 73"/>
                  <a:gd name="T50" fmla="*/ 74 w 123"/>
                  <a:gd name="T51" fmla="*/ 7 h 73"/>
                  <a:gd name="T52" fmla="*/ 81 w 123"/>
                  <a:gd name="T53" fmla="*/ 7 h 73"/>
                  <a:gd name="T54" fmla="*/ 85 w 123"/>
                  <a:gd name="T55" fmla="*/ 5 h 73"/>
                  <a:gd name="T56" fmla="*/ 96 w 123"/>
                  <a:gd name="T57" fmla="*/ 3 h 73"/>
                  <a:gd name="T58" fmla="*/ 96 w 123"/>
                  <a:gd name="T59" fmla="*/ 5 h 73"/>
                  <a:gd name="T60" fmla="*/ 96 w 123"/>
                  <a:gd name="T61" fmla="*/ 8 h 73"/>
                  <a:gd name="T62" fmla="*/ 99 w 123"/>
                  <a:gd name="T63" fmla="*/ 10 h 73"/>
                  <a:gd name="T64" fmla="*/ 103 w 123"/>
                  <a:gd name="T65" fmla="*/ 11 h 73"/>
                  <a:gd name="T66" fmla="*/ 110 w 123"/>
                  <a:gd name="T67" fmla="*/ 12 h 73"/>
                  <a:gd name="T68" fmla="*/ 114 w 123"/>
                  <a:gd name="T69" fmla="*/ 12 h 73"/>
                  <a:gd name="T70" fmla="*/ 123 w 123"/>
                  <a:gd name="T71" fmla="*/ 22 h 73"/>
                  <a:gd name="T72" fmla="*/ 120 w 123"/>
                  <a:gd name="T73" fmla="*/ 25 h 73"/>
                  <a:gd name="T74" fmla="*/ 116 w 123"/>
                  <a:gd name="T75" fmla="*/ 29 h 73"/>
                  <a:gd name="T76" fmla="*/ 116 w 123"/>
                  <a:gd name="T77" fmla="*/ 36 h 73"/>
                  <a:gd name="T78" fmla="*/ 116 w 123"/>
                  <a:gd name="T79" fmla="*/ 41 h 73"/>
                  <a:gd name="T80" fmla="*/ 113 w 123"/>
                  <a:gd name="T81" fmla="*/ 43 h 73"/>
                  <a:gd name="T82" fmla="*/ 110 w 123"/>
                  <a:gd name="T83" fmla="*/ 47 h 73"/>
                  <a:gd name="T84" fmla="*/ 110 w 123"/>
                  <a:gd name="T85" fmla="*/ 52 h 73"/>
                  <a:gd name="T86" fmla="*/ 83 w 123"/>
                  <a:gd name="T87" fmla="*/ 58 h 73"/>
                  <a:gd name="T88" fmla="*/ 50 w 123"/>
                  <a:gd name="T89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3" h="73">
                    <a:moveTo>
                      <a:pt x="44" y="73"/>
                    </a:moveTo>
                    <a:lnTo>
                      <a:pt x="44" y="71"/>
                    </a:lnTo>
                    <a:lnTo>
                      <a:pt x="43" y="70"/>
                    </a:lnTo>
                    <a:lnTo>
                      <a:pt x="41" y="69"/>
                    </a:lnTo>
                    <a:lnTo>
                      <a:pt x="40" y="69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3" y="69"/>
                    </a:lnTo>
                    <a:lnTo>
                      <a:pt x="30" y="67"/>
                    </a:lnTo>
                    <a:lnTo>
                      <a:pt x="28" y="67"/>
                    </a:lnTo>
                    <a:lnTo>
                      <a:pt x="25" y="67"/>
                    </a:lnTo>
                    <a:lnTo>
                      <a:pt x="22" y="67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9"/>
                    </a:lnTo>
                    <a:lnTo>
                      <a:pt x="18" y="70"/>
                    </a:lnTo>
                    <a:lnTo>
                      <a:pt x="18" y="71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4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10" y="69"/>
                    </a:lnTo>
                    <a:lnTo>
                      <a:pt x="11" y="65"/>
                    </a:lnTo>
                    <a:lnTo>
                      <a:pt x="0" y="48"/>
                    </a:lnTo>
                    <a:lnTo>
                      <a:pt x="13" y="47"/>
                    </a:lnTo>
                    <a:lnTo>
                      <a:pt x="26" y="38"/>
                    </a:lnTo>
                    <a:lnTo>
                      <a:pt x="35" y="41"/>
                    </a:lnTo>
                    <a:lnTo>
                      <a:pt x="37" y="37"/>
                    </a:lnTo>
                    <a:lnTo>
                      <a:pt x="36" y="32"/>
                    </a:lnTo>
                    <a:lnTo>
                      <a:pt x="36" y="21"/>
                    </a:lnTo>
                    <a:lnTo>
                      <a:pt x="44" y="16"/>
                    </a:lnTo>
                    <a:lnTo>
                      <a:pt x="51" y="14"/>
                    </a:lnTo>
                    <a:lnTo>
                      <a:pt x="57" y="10"/>
                    </a:lnTo>
                    <a:lnTo>
                      <a:pt x="61" y="7"/>
                    </a:lnTo>
                    <a:lnTo>
                      <a:pt x="62" y="4"/>
                    </a:lnTo>
                    <a:lnTo>
                      <a:pt x="63" y="3"/>
                    </a:lnTo>
                    <a:lnTo>
                      <a:pt x="65" y="1"/>
                    </a:lnTo>
                    <a:lnTo>
                      <a:pt x="65" y="0"/>
                    </a:lnTo>
                    <a:lnTo>
                      <a:pt x="65" y="1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8" y="3"/>
                    </a:lnTo>
                    <a:lnTo>
                      <a:pt x="69" y="4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2" y="7"/>
                    </a:lnTo>
                    <a:lnTo>
                      <a:pt x="74" y="7"/>
                    </a:lnTo>
                    <a:lnTo>
                      <a:pt x="77" y="7"/>
                    </a:lnTo>
                    <a:lnTo>
                      <a:pt x="81" y="7"/>
                    </a:lnTo>
                    <a:lnTo>
                      <a:pt x="84" y="7"/>
                    </a:lnTo>
                    <a:lnTo>
                      <a:pt x="85" y="5"/>
                    </a:lnTo>
                    <a:lnTo>
                      <a:pt x="88" y="3"/>
                    </a:lnTo>
                    <a:lnTo>
                      <a:pt x="96" y="3"/>
                    </a:lnTo>
                    <a:lnTo>
                      <a:pt x="96" y="4"/>
                    </a:lnTo>
                    <a:lnTo>
                      <a:pt x="96" y="5"/>
                    </a:lnTo>
                    <a:lnTo>
                      <a:pt x="96" y="7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9" y="10"/>
                    </a:lnTo>
                    <a:lnTo>
                      <a:pt x="102" y="11"/>
                    </a:lnTo>
                    <a:lnTo>
                      <a:pt x="103" y="11"/>
                    </a:lnTo>
                    <a:lnTo>
                      <a:pt x="107" y="11"/>
                    </a:lnTo>
                    <a:lnTo>
                      <a:pt x="110" y="12"/>
                    </a:lnTo>
                    <a:lnTo>
                      <a:pt x="113" y="12"/>
                    </a:lnTo>
                    <a:lnTo>
                      <a:pt x="114" y="12"/>
                    </a:lnTo>
                    <a:lnTo>
                      <a:pt x="117" y="12"/>
                    </a:lnTo>
                    <a:lnTo>
                      <a:pt x="123" y="22"/>
                    </a:lnTo>
                    <a:lnTo>
                      <a:pt x="121" y="23"/>
                    </a:lnTo>
                    <a:lnTo>
                      <a:pt x="120" y="25"/>
                    </a:lnTo>
                    <a:lnTo>
                      <a:pt x="118" y="26"/>
                    </a:lnTo>
                    <a:lnTo>
                      <a:pt x="116" y="29"/>
                    </a:lnTo>
                    <a:lnTo>
                      <a:pt x="116" y="32"/>
                    </a:lnTo>
                    <a:lnTo>
                      <a:pt x="116" y="36"/>
                    </a:lnTo>
                    <a:lnTo>
                      <a:pt x="116" y="40"/>
                    </a:lnTo>
                    <a:lnTo>
                      <a:pt x="116" y="41"/>
                    </a:lnTo>
                    <a:lnTo>
                      <a:pt x="114" y="41"/>
                    </a:lnTo>
                    <a:lnTo>
                      <a:pt x="113" y="43"/>
                    </a:lnTo>
                    <a:lnTo>
                      <a:pt x="112" y="45"/>
                    </a:lnTo>
                    <a:lnTo>
                      <a:pt x="110" y="47"/>
                    </a:lnTo>
                    <a:lnTo>
                      <a:pt x="110" y="49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83" y="58"/>
                    </a:lnTo>
                    <a:lnTo>
                      <a:pt x="54" y="69"/>
                    </a:lnTo>
                    <a:lnTo>
                      <a:pt x="50" y="70"/>
                    </a:lnTo>
                    <a:lnTo>
                      <a:pt x="44" y="7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7" name="Freeform 869"/>
              <p:cNvSpPr>
                <a:spLocks/>
              </p:cNvSpPr>
              <p:nvPr/>
            </p:nvSpPr>
            <p:spPr bwMode="auto">
              <a:xfrm>
                <a:off x="2826" y="2113"/>
                <a:ext cx="63" cy="48"/>
              </a:xfrm>
              <a:custGeom>
                <a:avLst/>
                <a:gdLst>
                  <a:gd name="T0" fmla="*/ 22 w 63"/>
                  <a:gd name="T1" fmla="*/ 8 h 48"/>
                  <a:gd name="T2" fmla="*/ 0 w 63"/>
                  <a:gd name="T3" fmla="*/ 34 h 48"/>
                  <a:gd name="T4" fmla="*/ 1 w 63"/>
                  <a:gd name="T5" fmla="*/ 33 h 48"/>
                  <a:gd name="T6" fmla="*/ 4 w 63"/>
                  <a:gd name="T7" fmla="*/ 32 h 48"/>
                  <a:gd name="T8" fmla="*/ 7 w 63"/>
                  <a:gd name="T9" fmla="*/ 33 h 48"/>
                  <a:gd name="T10" fmla="*/ 7 w 63"/>
                  <a:gd name="T11" fmla="*/ 39 h 48"/>
                  <a:gd name="T12" fmla="*/ 7 w 63"/>
                  <a:gd name="T13" fmla="*/ 47 h 48"/>
                  <a:gd name="T14" fmla="*/ 11 w 63"/>
                  <a:gd name="T15" fmla="*/ 47 h 48"/>
                  <a:gd name="T16" fmla="*/ 18 w 63"/>
                  <a:gd name="T17" fmla="*/ 47 h 48"/>
                  <a:gd name="T18" fmla="*/ 23 w 63"/>
                  <a:gd name="T19" fmla="*/ 48 h 48"/>
                  <a:gd name="T20" fmla="*/ 38 w 63"/>
                  <a:gd name="T21" fmla="*/ 39 h 48"/>
                  <a:gd name="T22" fmla="*/ 41 w 63"/>
                  <a:gd name="T23" fmla="*/ 33 h 48"/>
                  <a:gd name="T24" fmla="*/ 41 w 63"/>
                  <a:gd name="T25" fmla="*/ 33 h 48"/>
                  <a:gd name="T26" fmla="*/ 41 w 63"/>
                  <a:gd name="T27" fmla="*/ 36 h 48"/>
                  <a:gd name="T28" fmla="*/ 41 w 63"/>
                  <a:gd name="T29" fmla="*/ 37 h 48"/>
                  <a:gd name="T30" fmla="*/ 44 w 63"/>
                  <a:gd name="T31" fmla="*/ 39 h 48"/>
                  <a:gd name="T32" fmla="*/ 45 w 63"/>
                  <a:gd name="T33" fmla="*/ 37 h 48"/>
                  <a:gd name="T34" fmla="*/ 49 w 63"/>
                  <a:gd name="T35" fmla="*/ 37 h 48"/>
                  <a:gd name="T36" fmla="*/ 53 w 63"/>
                  <a:gd name="T37" fmla="*/ 34 h 48"/>
                  <a:gd name="T38" fmla="*/ 55 w 63"/>
                  <a:gd name="T39" fmla="*/ 32 h 48"/>
                  <a:gd name="T40" fmla="*/ 59 w 63"/>
                  <a:gd name="T41" fmla="*/ 29 h 48"/>
                  <a:gd name="T42" fmla="*/ 59 w 63"/>
                  <a:gd name="T43" fmla="*/ 30 h 48"/>
                  <a:gd name="T44" fmla="*/ 59 w 63"/>
                  <a:gd name="T45" fmla="*/ 33 h 48"/>
                  <a:gd name="T46" fmla="*/ 60 w 63"/>
                  <a:gd name="T47" fmla="*/ 34 h 48"/>
                  <a:gd name="T48" fmla="*/ 63 w 63"/>
                  <a:gd name="T49" fmla="*/ 33 h 48"/>
                  <a:gd name="T50" fmla="*/ 63 w 63"/>
                  <a:gd name="T51" fmla="*/ 30 h 48"/>
                  <a:gd name="T52" fmla="*/ 62 w 63"/>
                  <a:gd name="T53" fmla="*/ 29 h 48"/>
                  <a:gd name="T54" fmla="*/ 62 w 63"/>
                  <a:gd name="T55" fmla="*/ 26 h 48"/>
                  <a:gd name="T56" fmla="*/ 62 w 63"/>
                  <a:gd name="T57" fmla="*/ 25 h 48"/>
                  <a:gd name="T58" fmla="*/ 63 w 63"/>
                  <a:gd name="T59" fmla="*/ 25 h 48"/>
                  <a:gd name="T60" fmla="*/ 63 w 63"/>
                  <a:gd name="T61" fmla="*/ 22 h 48"/>
                  <a:gd name="T62" fmla="*/ 63 w 63"/>
                  <a:gd name="T63" fmla="*/ 21 h 48"/>
                  <a:gd name="T64" fmla="*/ 60 w 63"/>
                  <a:gd name="T65" fmla="*/ 21 h 48"/>
                  <a:gd name="T66" fmla="*/ 59 w 63"/>
                  <a:gd name="T67" fmla="*/ 21 h 48"/>
                  <a:gd name="T68" fmla="*/ 59 w 63"/>
                  <a:gd name="T69" fmla="*/ 22 h 48"/>
                  <a:gd name="T70" fmla="*/ 59 w 63"/>
                  <a:gd name="T71" fmla="*/ 21 h 48"/>
                  <a:gd name="T72" fmla="*/ 59 w 63"/>
                  <a:gd name="T73" fmla="*/ 18 h 48"/>
                  <a:gd name="T74" fmla="*/ 49 w 63"/>
                  <a:gd name="T75" fmla="*/ 0 h 48"/>
                  <a:gd name="T76" fmla="*/ 34 w 63"/>
                  <a:gd name="T77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63" h="48">
                    <a:moveTo>
                      <a:pt x="34" y="7"/>
                    </a:moveTo>
                    <a:lnTo>
                      <a:pt x="22" y="8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5" y="47"/>
                    </a:lnTo>
                    <a:lnTo>
                      <a:pt x="7" y="47"/>
                    </a:lnTo>
                    <a:lnTo>
                      <a:pt x="8" y="47"/>
                    </a:lnTo>
                    <a:lnTo>
                      <a:pt x="11" y="47"/>
                    </a:lnTo>
                    <a:lnTo>
                      <a:pt x="15" y="47"/>
                    </a:lnTo>
                    <a:lnTo>
                      <a:pt x="18" y="47"/>
                    </a:lnTo>
                    <a:lnTo>
                      <a:pt x="20" y="48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38" y="39"/>
                    </a:lnTo>
                    <a:lnTo>
                      <a:pt x="35" y="34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1" y="33"/>
                    </a:lnTo>
                    <a:lnTo>
                      <a:pt x="40" y="34"/>
                    </a:lnTo>
                    <a:lnTo>
                      <a:pt x="41" y="36"/>
                    </a:lnTo>
                    <a:lnTo>
                      <a:pt x="41" y="36"/>
                    </a:lnTo>
                    <a:lnTo>
                      <a:pt x="41" y="37"/>
                    </a:lnTo>
                    <a:lnTo>
                      <a:pt x="42" y="39"/>
                    </a:lnTo>
                    <a:lnTo>
                      <a:pt x="44" y="39"/>
                    </a:lnTo>
                    <a:lnTo>
                      <a:pt x="45" y="39"/>
                    </a:lnTo>
                    <a:lnTo>
                      <a:pt x="45" y="37"/>
                    </a:lnTo>
                    <a:lnTo>
                      <a:pt x="48" y="37"/>
                    </a:lnTo>
                    <a:lnTo>
                      <a:pt x="49" y="37"/>
                    </a:lnTo>
                    <a:lnTo>
                      <a:pt x="52" y="36"/>
                    </a:lnTo>
                    <a:lnTo>
                      <a:pt x="53" y="34"/>
                    </a:lnTo>
                    <a:lnTo>
                      <a:pt x="55" y="33"/>
                    </a:lnTo>
                    <a:lnTo>
                      <a:pt x="55" y="32"/>
                    </a:lnTo>
                    <a:lnTo>
                      <a:pt x="59" y="29"/>
                    </a:lnTo>
                    <a:lnTo>
                      <a:pt x="59" y="29"/>
                    </a:lnTo>
                    <a:lnTo>
                      <a:pt x="59" y="29"/>
                    </a:lnTo>
                    <a:lnTo>
                      <a:pt x="59" y="30"/>
                    </a:lnTo>
                    <a:lnTo>
                      <a:pt x="59" y="32"/>
                    </a:lnTo>
                    <a:lnTo>
                      <a:pt x="59" y="33"/>
                    </a:lnTo>
                    <a:lnTo>
                      <a:pt x="59" y="33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3" y="33"/>
                    </a:lnTo>
                    <a:lnTo>
                      <a:pt x="63" y="30"/>
                    </a:lnTo>
                    <a:lnTo>
                      <a:pt x="63" y="30"/>
                    </a:lnTo>
                    <a:lnTo>
                      <a:pt x="63" y="30"/>
                    </a:lnTo>
                    <a:lnTo>
                      <a:pt x="62" y="29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5"/>
                    </a:lnTo>
                    <a:lnTo>
                      <a:pt x="62" y="25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1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22"/>
                    </a:lnTo>
                    <a:lnTo>
                      <a:pt x="59" y="21"/>
                    </a:lnTo>
                    <a:lnTo>
                      <a:pt x="59" y="21"/>
                    </a:lnTo>
                    <a:lnTo>
                      <a:pt x="59" y="19"/>
                    </a:lnTo>
                    <a:lnTo>
                      <a:pt x="59" y="18"/>
                    </a:lnTo>
                    <a:lnTo>
                      <a:pt x="60" y="17"/>
                    </a:lnTo>
                    <a:lnTo>
                      <a:pt x="49" y="0"/>
                    </a:lnTo>
                    <a:lnTo>
                      <a:pt x="42" y="3"/>
                    </a:lnTo>
                    <a:lnTo>
                      <a:pt x="34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8" name="Freeform 870"/>
              <p:cNvSpPr>
                <a:spLocks/>
              </p:cNvSpPr>
              <p:nvPr/>
            </p:nvSpPr>
            <p:spPr bwMode="auto">
              <a:xfrm>
                <a:off x="2826" y="2113"/>
                <a:ext cx="63" cy="48"/>
              </a:xfrm>
              <a:custGeom>
                <a:avLst/>
                <a:gdLst>
                  <a:gd name="T0" fmla="*/ 34 w 63"/>
                  <a:gd name="T1" fmla="*/ 7 h 48"/>
                  <a:gd name="T2" fmla="*/ 22 w 63"/>
                  <a:gd name="T3" fmla="*/ 8 h 48"/>
                  <a:gd name="T4" fmla="*/ 7 w 63"/>
                  <a:gd name="T5" fmla="*/ 19 h 48"/>
                  <a:gd name="T6" fmla="*/ 0 w 63"/>
                  <a:gd name="T7" fmla="*/ 34 h 48"/>
                  <a:gd name="T8" fmla="*/ 1 w 63"/>
                  <a:gd name="T9" fmla="*/ 33 h 48"/>
                  <a:gd name="T10" fmla="*/ 2 w 63"/>
                  <a:gd name="T11" fmla="*/ 32 h 48"/>
                  <a:gd name="T12" fmla="*/ 4 w 63"/>
                  <a:gd name="T13" fmla="*/ 32 h 48"/>
                  <a:gd name="T14" fmla="*/ 5 w 63"/>
                  <a:gd name="T15" fmla="*/ 32 h 48"/>
                  <a:gd name="T16" fmla="*/ 7 w 63"/>
                  <a:gd name="T17" fmla="*/ 33 h 48"/>
                  <a:gd name="T18" fmla="*/ 7 w 63"/>
                  <a:gd name="T19" fmla="*/ 34 h 48"/>
                  <a:gd name="T20" fmla="*/ 7 w 63"/>
                  <a:gd name="T21" fmla="*/ 39 h 48"/>
                  <a:gd name="T22" fmla="*/ 5 w 63"/>
                  <a:gd name="T23" fmla="*/ 47 h 48"/>
                  <a:gd name="T24" fmla="*/ 7 w 63"/>
                  <a:gd name="T25" fmla="*/ 47 h 48"/>
                  <a:gd name="T26" fmla="*/ 8 w 63"/>
                  <a:gd name="T27" fmla="*/ 47 h 48"/>
                  <a:gd name="T28" fmla="*/ 11 w 63"/>
                  <a:gd name="T29" fmla="*/ 47 h 48"/>
                  <a:gd name="T30" fmla="*/ 15 w 63"/>
                  <a:gd name="T31" fmla="*/ 47 h 48"/>
                  <a:gd name="T32" fmla="*/ 18 w 63"/>
                  <a:gd name="T33" fmla="*/ 47 h 48"/>
                  <a:gd name="T34" fmla="*/ 20 w 63"/>
                  <a:gd name="T35" fmla="*/ 48 h 48"/>
                  <a:gd name="T36" fmla="*/ 23 w 63"/>
                  <a:gd name="T37" fmla="*/ 48 h 48"/>
                  <a:gd name="T38" fmla="*/ 24 w 63"/>
                  <a:gd name="T39" fmla="*/ 48 h 48"/>
                  <a:gd name="T40" fmla="*/ 38 w 63"/>
                  <a:gd name="T41" fmla="*/ 39 h 48"/>
                  <a:gd name="T42" fmla="*/ 35 w 63"/>
                  <a:gd name="T43" fmla="*/ 34 h 48"/>
                  <a:gd name="T44" fmla="*/ 41 w 63"/>
                  <a:gd name="T45" fmla="*/ 33 h 48"/>
                  <a:gd name="T46" fmla="*/ 40 w 63"/>
                  <a:gd name="T47" fmla="*/ 34 h 48"/>
                  <a:gd name="T48" fmla="*/ 41 w 63"/>
                  <a:gd name="T49" fmla="*/ 36 h 48"/>
                  <a:gd name="T50" fmla="*/ 41 w 63"/>
                  <a:gd name="T51" fmla="*/ 37 h 48"/>
                  <a:gd name="T52" fmla="*/ 42 w 63"/>
                  <a:gd name="T53" fmla="*/ 39 h 48"/>
                  <a:gd name="T54" fmla="*/ 44 w 63"/>
                  <a:gd name="T55" fmla="*/ 39 h 48"/>
                  <a:gd name="T56" fmla="*/ 45 w 63"/>
                  <a:gd name="T57" fmla="*/ 39 h 48"/>
                  <a:gd name="T58" fmla="*/ 45 w 63"/>
                  <a:gd name="T59" fmla="*/ 37 h 48"/>
                  <a:gd name="T60" fmla="*/ 48 w 63"/>
                  <a:gd name="T61" fmla="*/ 37 h 48"/>
                  <a:gd name="T62" fmla="*/ 49 w 63"/>
                  <a:gd name="T63" fmla="*/ 37 h 48"/>
                  <a:gd name="T64" fmla="*/ 52 w 63"/>
                  <a:gd name="T65" fmla="*/ 36 h 48"/>
                  <a:gd name="T66" fmla="*/ 53 w 63"/>
                  <a:gd name="T67" fmla="*/ 34 h 48"/>
                  <a:gd name="T68" fmla="*/ 55 w 63"/>
                  <a:gd name="T69" fmla="*/ 33 h 48"/>
                  <a:gd name="T70" fmla="*/ 55 w 63"/>
                  <a:gd name="T71" fmla="*/ 32 h 48"/>
                  <a:gd name="T72" fmla="*/ 59 w 63"/>
                  <a:gd name="T73" fmla="*/ 29 h 48"/>
                  <a:gd name="T74" fmla="*/ 59 w 63"/>
                  <a:gd name="T75" fmla="*/ 30 h 48"/>
                  <a:gd name="T76" fmla="*/ 59 w 63"/>
                  <a:gd name="T77" fmla="*/ 32 h 48"/>
                  <a:gd name="T78" fmla="*/ 59 w 63"/>
                  <a:gd name="T79" fmla="*/ 33 h 48"/>
                  <a:gd name="T80" fmla="*/ 60 w 63"/>
                  <a:gd name="T81" fmla="*/ 34 h 48"/>
                  <a:gd name="T82" fmla="*/ 62 w 63"/>
                  <a:gd name="T83" fmla="*/ 34 h 48"/>
                  <a:gd name="T84" fmla="*/ 63 w 63"/>
                  <a:gd name="T85" fmla="*/ 33 h 48"/>
                  <a:gd name="T86" fmla="*/ 63 w 63"/>
                  <a:gd name="T87" fmla="*/ 30 h 48"/>
                  <a:gd name="T88" fmla="*/ 62 w 63"/>
                  <a:gd name="T89" fmla="*/ 29 h 48"/>
                  <a:gd name="T90" fmla="*/ 62 w 63"/>
                  <a:gd name="T91" fmla="*/ 28 h 48"/>
                  <a:gd name="T92" fmla="*/ 62 w 63"/>
                  <a:gd name="T93" fmla="*/ 26 h 48"/>
                  <a:gd name="T94" fmla="*/ 62 w 63"/>
                  <a:gd name="T95" fmla="*/ 25 h 48"/>
                  <a:gd name="T96" fmla="*/ 63 w 63"/>
                  <a:gd name="T97" fmla="*/ 25 h 48"/>
                  <a:gd name="T98" fmla="*/ 63 w 63"/>
                  <a:gd name="T99" fmla="*/ 23 h 48"/>
                  <a:gd name="T100" fmla="*/ 63 w 63"/>
                  <a:gd name="T101" fmla="*/ 22 h 48"/>
                  <a:gd name="T102" fmla="*/ 63 w 63"/>
                  <a:gd name="T103" fmla="*/ 21 h 48"/>
                  <a:gd name="T104" fmla="*/ 62 w 63"/>
                  <a:gd name="T105" fmla="*/ 21 h 48"/>
                  <a:gd name="T106" fmla="*/ 60 w 63"/>
                  <a:gd name="T107" fmla="*/ 21 h 48"/>
                  <a:gd name="T108" fmla="*/ 59 w 63"/>
                  <a:gd name="T109" fmla="*/ 21 h 48"/>
                  <a:gd name="T110" fmla="*/ 59 w 63"/>
                  <a:gd name="T111" fmla="*/ 22 h 48"/>
                  <a:gd name="T112" fmla="*/ 59 w 63"/>
                  <a:gd name="T113" fmla="*/ 21 h 48"/>
                  <a:gd name="T114" fmla="*/ 59 w 63"/>
                  <a:gd name="T115" fmla="*/ 19 h 48"/>
                  <a:gd name="T116" fmla="*/ 59 w 63"/>
                  <a:gd name="T117" fmla="*/ 18 h 48"/>
                  <a:gd name="T118" fmla="*/ 60 w 63"/>
                  <a:gd name="T119" fmla="*/ 17 h 48"/>
                  <a:gd name="T120" fmla="*/ 49 w 63"/>
                  <a:gd name="T121" fmla="*/ 0 h 48"/>
                  <a:gd name="T122" fmla="*/ 42 w 63"/>
                  <a:gd name="T123" fmla="*/ 3 h 48"/>
                  <a:gd name="T124" fmla="*/ 34 w 63"/>
                  <a:gd name="T125" fmla="*/ 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" h="48">
                    <a:moveTo>
                      <a:pt x="34" y="7"/>
                    </a:moveTo>
                    <a:lnTo>
                      <a:pt x="22" y="8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2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9"/>
                    </a:lnTo>
                    <a:lnTo>
                      <a:pt x="5" y="47"/>
                    </a:lnTo>
                    <a:lnTo>
                      <a:pt x="7" y="47"/>
                    </a:lnTo>
                    <a:lnTo>
                      <a:pt x="8" y="47"/>
                    </a:lnTo>
                    <a:lnTo>
                      <a:pt x="11" y="47"/>
                    </a:lnTo>
                    <a:lnTo>
                      <a:pt x="15" y="47"/>
                    </a:lnTo>
                    <a:lnTo>
                      <a:pt x="18" y="47"/>
                    </a:lnTo>
                    <a:lnTo>
                      <a:pt x="20" y="48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38" y="39"/>
                    </a:lnTo>
                    <a:lnTo>
                      <a:pt x="35" y="34"/>
                    </a:lnTo>
                    <a:lnTo>
                      <a:pt x="41" y="33"/>
                    </a:lnTo>
                    <a:lnTo>
                      <a:pt x="40" y="34"/>
                    </a:lnTo>
                    <a:lnTo>
                      <a:pt x="41" y="36"/>
                    </a:lnTo>
                    <a:lnTo>
                      <a:pt x="41" y="37"/>
                    </a:lnTo>
                    <a:lnTo>
                      <a:pt x="42" y="39"/>
                    </a:lnTo>
                    <a:lnTo>
                      <a:pt x="44" y="39"/>
                    </a:lnTo>
                    <a:lnTo>
                      <a:pt x="45" y="39"/>
                    </a:lnTo>
                    <a:lnTo>
                      <a:pt x="45" y="37"/>
                    </a:lnTo>
                    <a:lnTo>
                      <a:pt x="48" y="37"/>
                    </a:lnTo>
                    <a:lnTo>
                      <a:pt x="49" y="37"/>
                    </a:lnTo>
                    <a:lnTo>
                      <a:pt x="52" y="36"/>
                    </a:lnTo>
                    <a:lnTo>
                      <a:pt x="53" y="34"/>
                    </a:lnTo>
                    <a:lnTo>
                      <a:pt x="55" y="33"/>
                    </a:lnTo>
                    <a:lnTo>
                      <a:pt x="55" y="32"/>
                    </a:lnTo>
                    <a:lnTo>
                      <a:pt x="59" y="29"/>
                    </a:lnTo>
                    <a:lnTo>
                      <a:pt x="59" y="30"/>
                    </a:lnTo>
                    <a:lnTo>
                      <a:pt x="59" y="32"/>
                    </a:lnTo>
                    <a:lnTo>
                      <a:pt x="59" y="33"/>
                    </a:lnTo>
                    <a:lnTo>
                      <a:pt x="60" y="34"/>
                    </a:lnTo>
                    <a:lnTo>
                      <a:pt x="62" y="34"/>
                    </a:lnTo>
                    <a:lnTo>
                      <a:pt x="63" y="33"/>
                    </a:lnTo>
                    <a:lnTo>
                      <a:pt x="63" y="30"/>
                    </a:lnTo>
                    <a:lnTo>
                      <a:pt x="62" y="29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2" y="25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3" y="22"/>
                    </a:lnTo>
                    <a:lnTo>
                      <a:pt x="63" y="21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59" y="21"/>
                    </a:lnTo>
                    <a:lnTo>
                      <a:pt x="59" y="22"/>
                    </a:lnTo>
                    <a:lnTo>
                      <a:pt x="59" y="21"/>
                    </a:lnTo>
                    <a:lnTo>
                      <a:pt x="59" y="19"/>
                    </a:lnTo>
                    <a:lnTo>
                      <a:pt x="59" y="18"/>
                    </a:lnTo>
                    <a:lnTo>
                      <a:pt x="60" y="17"/>
                    </a:lnTo>
                    <a:lnTo>
                      <a:pt x="49" y="0"/>
                    </a:lnTo>
                    <a:lnTo>
                      <a:pt x="42" y="3"/>
                    </a:lnTo>
                    <a:lnTo>
                      <a:pt x="34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39" name="Freeform 871"/>
              <p:cNvSpPr>
                <a:spLocks/>
              </p:cNvSpPr>
              <p:nvPr/>
            </p:nvSpPr>
            <p:spPr bwMode="auto">
              <a:xfrm>
                <a:off x="2667" y="2015"/>
                <a:ext cx="188" cy="215"/>
              </a:xfrm>
              <a:custGeom>
                <a:avLst/>
                <a:gdLst>
                  <a:gd name="T0" fmla="*/ 166 w 188"/>
                  <a:gd name="T1" fmla="*/ 139 h 215"/>
                  <a:gd name="T2" fmla="*/ 164 w 188"/>
                  <a:gd name="T3" fmla="*/ 145 h 215"/>
                  <a:gd name="T4" fmla="*/ 166 w 188"/>
                  <a:gd name="T5" fmla="*/ 154 h 215"/>
                  <a:gd name="T6" fmla="*/ 166 w 188"/>
                  <a:gd name="T7" fmla="*/ 156 h 215"/>
                  <a:gd name="T8" fmla="*/ 168 w 188"/>
                  <a:gd name="T9" fmla="*/ 158 h 215"/>
                  <a:gd name="T10" fmla="*/ 179 w 188"/>
                  <a:gd name="T11" fmla="*/ 169 h 215"/>
                  <a:gd name="T12" fmla="*/ 166 w 188"/>
                  <a:gd name="T13" fmla="*/ 185 h 215"/>
                  <a:gd name="T14" fmla="*/ 153 w 188"/>
                  <a:gd name="T15" fmla="*/ 185 h 215"/>
                  <a:gd name="T16" fmla="*/ 135 w 188"/>
                  <a:gd name="T17" fmla="*/ 183 h 215"/>
                  <a:gd name="T18" fmla="*/ 119 w 188"/>
                  <a:gd name="T19" fmla="*/ 197 h 215"/>
                  <a:gd name="T20" fmla="*/ 120 w 188"/>
                  <a:gd name="T21" fmla="*/ 197 h 215"/>
                  <a:gd name="T22" fmla="*/ 120 w 188"/>
                  <a:gd name="T23" fmla="*/ 200 h 215"/>
                  <a:gd name="T24" fmla="*/ 120 w 188"/>
                  <a:gd name="T25" fmla="*/ 207 h 215"/>
                  <a:gd name="T26" fmla="*/ 86 w 188"/>
                  <a:gd name="T27" fmla="*/ 208 h 215"/>
                  <a:gd name="T28" fmla="*/ 76 w 188"/>
                  <a:gd name="T29" fmla="*/ 197 h 215"/>
                  <a:gd name="T30" fmla="*/ 69 w 188"/>
                  <a:gd name="T31" fmla="*/ 189 h 215"/>
                  <a:gd name="T32" fmla="*/ 64 w 188"/>
                  <a:gd name="T33" fmla="*/ 187 h 215"/>
                  <a:gd name="T34" fmla="*/ 61 w 188"/>
                  <a:gd name="T35" fmla="*/ 186 h 215"/>
                  <a:gd name="T36" fmla="*/ 55 w 188"/>
                  <a:gd name="T37" fmla="*/ 183 h 215"/>
                  <a:gd name="T38" fmla="*/ 50 w 188"/>
                  <a:gd name="T39" fmla="*/ 179 h 215"/>
                  <a:gd name="T40" fmla="*/ 49 w 188"/>
                  <a:gd name="T41" fmla="*/ 176 h 215"/>
                  <a:gd name="T42" fmla="*/ 46 w 188"/>
                  <a:gd name="T43" fmla="*/ 172 h 215"/>
                  <a:gd name="T44" fmla="*/ 42 w 188"/>
                  <a:gd name="T45" fmla="*/ 169 h 215"/>
                  <a:gd name="T46" fmla="*/ 49 w 188"/>
                  <a:gd name="T47" fmla="*/ 110 h 215"/>
                  <a:gd name="T48" fmla="*/ 46 w 188"/>
                  <a:gd name="T49" fmla="*/ 105 h 215"/>
                  <a:gd name="T50" fmla="*/ 40 w 188"/>
                  <a:gd name="T51" fmla="*/ 95 h 215"/>
                  <a:gd name="T52" fmla="*/ 27 w 188"/>
                  <a:gd name="T53" fmla="*/ 84 h 215"/>
                  <a:gd name="T54" fmla="*/ 3 w 188"/>
                  <a:gd name="T55" fmla="*/ 69 h 215"/>
                  <a:gd name="T56" fmla="*/ 0 w 188"/>
                  <a:gd name="T57" fmla="*/ 66 h 215"/>
                  <a:gd name="T58" fmla="*/ 2 w 188"/>
                  <a:gd name="T59" fmla="*/ 58 h 215"/>
                  <a:gd name="T60" fmla="*/ 16 w 188"/>
                  <a:gd name="T61" fmla="*/ 44 h 215"/>
                  <a:gd name="T62" fmla="*/ 28 w 188"/>
                  <a:gd name="T63" fmla="*/ 43 h 215"/>
                  <a:gd name="T64" fmla="*/ 38 w 188"/>
                  <a:gd name="T65" fmla="*/ 42 h 215"/>
                  <a:gd name="T66" fmla="*/ 51 w 188"/>
                  <a:gd name="T67" fmla="*/ 38 h 215"/>
                  <a:gd name="T68" fmla="*/ 57 w 188"/>
                  <a:gd name="T69" fmla="*/ 35 h 215"/>
                  <a:gd name="T70" fmla="*/ 68 w 188"/>
                  <a:gd name="T71" fmla="*/ 31 h 215"/>
                  <a:gd name="T72" fmla="*/ 84 w 188"/>
                  <a:gd name="T73" fmla="*/ 20 h 215"/>
                  <a:gd name="T74" fmla="*/ 94 w 188"/>
                  <a:gd name="T75" fmla="*/ 14 h 215"/>
                  <a:gd name="T76" fmla="*/ 102 w 188"/>
                  <a:gd name="T77" fmla="*/ 7 h 215"/>
                  <a:gd name="T78" fmla="*/ 113 w 188"/>
                  <a:gd name="T79" fmla="*/ 0 h 215"/>
                  <a:gd name="T80" fmla="*/ 119 w 188"/>
                  <a:gd name="T81" fmla="*/ 6 h 215"/>
                  <a:gd name="T82" fmla="*/ 127 w 188"/>
                  <a:gd name="T83" fmla="*/ 16 h 215"/>
                  <a:gd name="T84" fmla="*/ 130 w 188"/>
                  <a:gd name="T85" fmla="*/ 20 h 215"/>
                  <a:gd name="T86" fmla="*/ 130 w 188"/>
                  <a:gd name="T87" fmla="*/ 27 h 215"/>
                  <a:gd name="T88" fmla="*/ 133 w 188"/>
                  <a:gd name="T89" fmla="*/ 35 h 215"/>
                  <a:gd name="T90" fmla="*/ 141 w 188"/>
                  <a:gd name="T91" fmla="*/ 39 h 215"/>
                  <a:gd name="T92" fmla="*/ 145 w 188"/>
                  <a:gd name="T93" fmla="*/ 44 h 215"/>
                  <a:gd name="T94" fmla="*/ 146 w 188"/>
                  <a:gd name="T95" fmla="*/ 51 h 215"/>
                  <a:gd name="T96" fmla="*/ 149 w 188"/>
                  <a:gd name="T97" fmla="*/ 54 h 215"/>
                  <a:gd name="T98" fmla="*/ 155 w 188"/>
                  <a:gd name="T99" fmla="*/ 61 h 215"/>
                  <a:gd name="T100" fmla="*/ 161 w 188"/>
                  <a:gd name="T101" fmla="*/ 62 h 215"/>
                  <a:gd name="T102" fmla="*/ 172 w 188"/>
                  <a:gd name="T103" fmla="*/ 68 h 215"/>
                  <a:gd name="T104" fmla="*/ 185 w 188"/>
                  <a:gd name="T105" fmla="*/ 73 h 215"/>
                  <a:gd name="T106" fmla="*/ 188 w 188"/>
                  <a:gd name="T107" fmla="*/ 75 h 215"/>
                  <a:gd name="T108" fmla="*/ 186 w 188"/>
                  <a:gd name="T109" fmla="*/ 80 h 215"/>
                  <a:gd name="T110" fmla="*/ 183 w 188"/>
                  <a:gd name="T111" fmla="*/ 93 h 215"/>
                  <a:gd name="T112" fmla="*/ 166 w 188"/>
                  <a:gd name="T113" fmla="*/ 117 h 215"/>
                  <a:gd name="T114" fmla="*/ 160 w 188"/>
                  <a:gd name="T115" fmla="*/ 132 h 215"/>
                  <a:gd name="T116" fmla="*/ 164 w 188"/>
                  <a:gd name="T117" fmla="*/ 131 h 215"/>
                  <a:gd name="T118" fmla="*/ 166 w 188"/>
                  <a:gd name="T119" fmla="*/ 138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215">
                    <a:moveTo>
                      <a:pt x="166" y="138"/>
                    </a:moveTo>
                    <a:lnTo>
                      <a:pt x="166" y="138"/>
                    </a:lnTo>
                    <a:lnTo>
                      <a:pt x="166" y="139"/>
                    </a:lnTo>
                    <a:lnTo>
                      <a:pt x="166" y="141"/>
                    </a:lnTo>
                    <a:lnTo>
                      <a:pt x="164" y="142"/>
                    </a:lnTo>
                    <a:lnTo>
                      <a:pt x="164" y="145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4"/>
                    </a:lnTo>
                    <a:lnTo>
                      <a:pt x="166" y="156"/>
                    </a:lnTo>
                    <a:lnTo>
                      <a:pt x="167" y="156"/>
                    </a:lnTo>
                    <a:lnTo>
                      <a:pt x="167" y="157"/>
                    </a:lnTo>
                    <a:lnTo>
                      <a:pt x="168" y="158"/>
                    </a:lnTo>
                    <a:lnTo>
                      <a:pt x="168" y="160"/>
                    </a:lnTo>
                    <a:lnTo>
                      <a:pt x="170" y="160"/>
                    </a:lnTo>
                    <a:lnTo>
                      <a:pt x="179" y="169"/>
                    </a:lnTo>
                    <a:lnTo>
                      <a:pt x="178" y="176"/>
                    </a:lnTo>
                    <a:lnTo>
                      <a:pt x="167" y="185"/>
                    </a:lnTo>
                    <a:lnTo>
                      <a:pt x="166" y="185"/>
                    </a:lnTo>
                    <a:lnTo>
                      <a:pt x="163" y="185"/>
                    </a:lnTo>
                    <a:lnTo>
                      <a:pt x="157" y="185"/>
                    </a:lnTo>
                    <a:lnTo>
                      <a:pt x="153" y="185"/>
                    </a:lnTo>
                    <a:lnTo>
                      <a:pt x="146" y="183"/>
                    </a:lnTo>
                    <a:lnTo>
                      <a:pt x="141" y="183"/>
                    </a:lnTo>
                    <a:lnTo>
                      <a:pt x="135" y="183"/>
                    </a:lnTo>
                    <a:lnTo>
                      <a:pt x="131" y="183"/>
                    </a:lnTo>
                    <a:lnTo>
                      <a:pt x="122" y="187"/>
                    </a:lnTo>
                    <a:lnTo>
                      <a:pt x="119" y="197"/>
                    </a:lnTo>
                    <a:lnTo>
                      <a:pt x="119" y="197"/>
                    </a:lnTo>
                    <a:lnTo>
                      <a:pt x="119" y="197"/>
                    </a:lnTo>
                    <a:lnTo>
                      <a:pt x="120" y="197"/>
                    </a:lnTo>
                    <a:lnTo>
                      <a:pt x="120" y="198"/>
                    </a:lnTo>
                    <a:lnTo>
                      <a:pt x="120" y="198"/>
                    </a:lnTo>
                    <a:lnTo>
                      <a:pt x="120" y="200"/>
                    </a:lnTo>
                    <a:lnTo>
                      <a:pt x="120" y="200"/>
                    </a:lnTo>
                    <a:lnTo>
                      <a:pt x="120" y="201"/>
                    </a:lnTo>
                    <a:lnTo>
                      <a:pt x="120" y="207"/>
                    </a:lnTo>
                    <a:lnTo>
                      <a:pt x="113" y="215"/>
                    </a:lnTo>
                    <a:lnTo>
                      <a:pt x="106" y="213"/>
                    </a:lnTo>
                    <a:lnTo>
                      <a:pt x="86" y="208"/>
                    </a:lnTo>
                    <a:lnTo>
                      <a:pt x="86" y="207"/>
                    </a:lnTo>
                    <a:lnTo>
                      <a:pt x="78" y="196"/>
                    </a:lnTo>
                    <a:lnTo>
                      <a:pt x="76" y="197"/>
                    </a:lnTo>
                    <a:lnTo>
                      <a:pt x="71" y="191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6" y="189"/>
                    </a:lnTo>
                    <a:lnTo>
                      <a:pt x="65" y="187"/>
                    </a:lnTo>
                    <a:lnTo>
                      <a:pt x="64" y="187"/>
                    </a:lnTo>
                    <a:lnTo>
                      <a:pt x="62" y="186"/>
                    </a:lnTo>
                    <a:lnTo>
                      <a:pt x="61" y="186"/>
                    </a:lnTo>
                    <a:lnTo>
                      <a:pt x="61" y="186"/>
                    </a:lnTo>
                    <a:lnTo>
                      <a:pt x="60" y="186"/>
                    </a:lnTo>
                    <a:lnTo>
                      <a:pt x="58" y="185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1" y="180"/>
                    </a:lnTo>
                    <a:lnTo>
                      <a:pt x="50" y="179"/>
                    </a:lnTo>
                    <a:lnTo>
                      <a:pt x="49" y="178"/>
                    </a:lnTo>
                    <a:lnTo>
                      <a:pt x="49" y="178"/>
                    </a:lnTo>
                    <a:lnTo>
                      <a:pt x="49" y="176"/>
                    </a:lnTo>
                    <a:lnTo>
                      <a:pt x="49" y="175"/>
                    </a:lnTo>
                    <a:lnTo>
                      <a:pt x="47" y="174"/>
                    </a:lnTo>
                    <a:lnTo>
                      <a:pt x="46" y="172"/>
                    </a:lnTo>
                    <a:lnTo>
                      <a:pt x="44" y="171"/>
                    </a:lnTo>
                    <a:lnTo>
                      <a:pt x="43" y="171"/>
                    </a:lnTo>
                    <a:lnTo>
                      <a:pt x="42" y="169"/>
                    </a:lnTo>
                    <a:lnTo>
                      <a:pt x="42" y="169"/>
                    </a:lnTo>
                    <a:lnTo>
                      <a:pt x="47" y="167"/>
                    </a:lnTo>
                    <a:lnTo>
                      <a:pt x="49" y="110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6" y="105"/>
                    </a:lnTo>
                    <a:lnTo>
                      <a:pt x="44" y="102"/>
                    </a:lnTo>
                    <a:lnTo>
                      <a:pt x="43" y="98"/>
                    </a:lnTo>
                    <a:lnTo>
                      <a:pt x="40" y="95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27" y="84"/>
                    </a:lnTo>
                    <a:lnTo>
                      <a:pt x="27" y="7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2" y="69"/>
                    </a:lnTo>
                    <a:lnTo>
                      <a:pt x="2" y="68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2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18" y="60"/>
                    </a:lnTo>
                    <a:lnTo>
                      <a:pt x="16" y="44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9" y="43"/>
                    </a:lnTo>
                    <a:lnTo>
                      <a:pt x="33" y="42"/>
                    </a:lnTo>
                    <a:lnTo>
                      <a:pt x="38" y="42"/>
                    </a:lnTo>
                    <a:lnTo>
                      <a:pt x="42" y="40"/>
                    </a:lnTo>
                    <a:lnTo>
                      <a:pt x="46" y="39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4" y="36"/>
                    </a:lnTo>
                    <a:lnTo>
                      <a:pt x="57" y="35"/>
                    </a:lnTo>
                    <a:lnTo>
                      <a:pt x="60" y="33"/>
                    </a:lnTo>
                    <a:lnTo>
                      <a:pt x="64" y="32"/>
                    </a:lnTo>
                    <a:lnTo>
                      <a:pt x="68" y="31"/>
                    </a:lnTo>
                    <a:lnTo>
                      <a:pt x="72" y="31"/>
                    </a:lnTo>
                    <a:lnTo>
                      <a:pt x="76" y="32"/>
                    </a:lnTo>
                    <a:lnTo>
                      <a:pt x="84" y="20"/>
                    </a:lnTo>
                    <a:lnTo>
                      <a:pt x="93" y="16"/>
                    </a:lnTo>
                    <a:lnTo>
                      <a:pt x="93" y="14"/>
                    </a:lnTo>
                    <a:lnTo>
                      <a:pt x="94" y="14"/>
                    </a:lnTo>
                    <a:lnTo>
                      <a:pt x="97" y="11"/>
                    </a:lnTo>
                    <a:lnTo>
                      <a:pt x="100" y="10"/>
                    </a:lnTo>
                    <a:lnTo>
                      <a:pt x="102" y="7"/>
                    </a:lnTo>
                    <a:lnTo>
                      <a:pt x="106" y="6"/>
                    </a:lnTo>
                    <a:lnTo>
                      <a:pt x="111" y="3"/>
                    </a:lnTo>
                    <a:lnTo>
                      <a:pt x="113" y="0"/>
                    </a:lnTo>
                    <a:lnTo>
                      <a:pt x="113" y="2"/>
                    </a:lnTo>
                    <a:lnTo>
                      <a:pt x="116" y="3"/>
                    </a:lnTo>
                    <a:lnTo>
                      <a:pt x="119" y="6"/>
                    </a:lnTo>
                    <a:lnTo>
                      <a:pt x="122" y="10"/>
                    </a:lnTo>
                    <a:lnTo>
                      <a:pt x="124" y="13"/>
                    </a:lnTo>
                    <a:lnTo>
                      <a:pt x="127" y="16"/>
                    </a:lnTo>
                    <a:lnTo>
                      <a:pt x="130" y="18"/>
                    </a:lnTo>
                    <a:lnTo>
                      <a:pt x="130" y="20"/>
                    </a:lnTo>
                    <a:lnTo>
                      <a:pt x="130" y="20"/>
                    </a:lnTo>
                    <a:lnTo>
                      <a:pt x="130" y="21"/>
                    </a:lnTo>
                    <a:lnTo>
                      <a:pt x="130" y="24"/>
                    </a:lnTo>
                    <a:lnTo>
                      <a:pt x="130" y="27"/>
                    </a:lnTo>
                    <a:lnTo>
                      <a:pt x="130" y="31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8"/>
                    </a:lnTo>
                    <a:lnTo>
                      <a:pt x="139" y="38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5" y="44"/>
                    </a:lnTo>
                    <a:lnTo>
                      <a:pt x="146" y="46"/>
                    </a:lnTo>
                    <a:lnTo>
                      <a:pt x="146" y="49"/>
                    </a:lnTo>
                    <a:lnTo>
                      <a:pt x="146" y="51"/>
                    </a:lnTo>
                    <a:lnTo>
                      <a:pt x="148" y="51"/>
                    </a:lnTo>
                    <a:lnTo>
                      <a:pt x="148" y="53"/>
                    </a:lnTo>
                    <a:lnTo>
                      <a:pt x="149" y="54"/>
                    </a:lnTo>
                    <a:lnTo>
                      <a:pt x="150" y="57"/>
                    </a:lnTo>
                    <a:lnTo>
                      <a:pt x="153" y="58"/>
                    </a:lnTo>
                    <a:lnTo>
                      <a:pt x="155" y="61"/>
                    </a:lnTo>
                    <a:lnTo>
                      <a:pt x="157" y="62"/>
                    </a:lnTo>
                    <a:lnTo>
                      <a:pt x="160" y="62"/>
                    </a:lnTo>
                    <a:lnTo>
                      <a:pt x="161" y="62"/>
                    </a:lnTo>
                    <a:lnTo>
                      <a:pt x="164" y="64"/>
                    </a:lnTo>
                    <a:lnTo>
                      <a:pt x="167" y="65"/>
                    </a:lnTo>
                    <a:lnTo>
                      <a:pt x="172" y="68"/>
                    </a:lnTo>
                    <a:lnTo>
                      <a:pt x="177" y="69"/>
                    </a:lnTo>
                    <a:lnTo>
                      <a:pt x="181" y="72"/>
                    </a:lnTo>
                    <a:lnTo>
                      <a:pt x="185" y="73"/>
                    </a:lnTo>
                    <a:lnTo>
                      <a:pt x="188" y="73"/>
                    </a:lnTo>
                    <a:lnTo>
                      <a:pt x="188" y="73"/>
                    </a:lnTo>
                    <a:lnTo>
                      <a:pt x="188" y="75"/>
                    </a:lnTo>
                    <a:lnTo>
                      <a:pt x="188" y="75"/>
                    </a:lnTo>
                    <a:lnTo>
                      <a:pt x="188" y="77"/>
                    </a:lnTo>
                    <a:lnTo>
                      <a:pt x="186" y="80"/>
                    </a:lnTo>
                    <a:lnTo>
                      <a:pt x="186" y="83"/>
                    </a:lnTo>
                    <a:lnTo>
                      <a:pt x="185" y="87"/>
                    </a:lnTo>
                    <a:lnTo>
                      <a:pt x="183" y="93"/>
                    </a:lnTo>
                    <a:lnTo>
                      <a:pt x="181" y="106"/>
                    </a:lnTo>
                    <a:lnTo>
                      <a:pt x="181" y="106"/>
                    </a:lnTo>
                    <a:lnTo>
                      <a:pt x="166" y="117"/>
                    </a:lnTo>
                    <a:lnTo>
                      <a:pt x="159" y="132"/>
                    </a:lnTo>
                    <a:lnTo>
                      <a:pt x="159" y="132"/>
                    </a:lnTo>
                    <a:lnTo>
                      <a:pt x="160" y="132"/>
                    </a:lnTo>
                    <a:lnTo>
                      <a:pt x="161" y="131"/>
                    </a:lnTo>
                    <a:lnTo>
                      <a:pt x="163" y="131"/>
                    </a:lnTo>
                    <a:lnTo>
                      <a:pt x="164" y="131"/>
                    </a:lnTo>
                    <a:lnTo>
                      <a:pt x="166" y="131"/>
                    </a:lnTo>
                    <a:lnTo>
                      <a:pt x="167" y="134"/>
                    </a:lnTo>
                    <a:lnTo>
                      <a:pt x="166" y="13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0" name="Freeform 872"/>
              <p:cNvSpPr>
                <a:spLocks/>
              </p:cNvSpPr>
              <p:nvPr/>
            </p:nvSpPr>
            <p:spPr bwMode="auto">
              <a:xfrm>
                <a:off x="2667" y="2015"/>
                <a:ext cx="188" cy="215"/>
              </a:xfrm>
              <a:custGeom>
                <a:avLst/>
                <a:gdLst>
                  <a:gd name="T0" fmla="*/ 166 w 188"/>
                  <a:gd name="T1" fmla="*/ 141 h 215"/>
                  <a:gd name="T2" fmla="*/ 164 w 188"/>
                  <a:gd name="T3" fmla="*/ 148 h 215"/>
                  <a:gd name="T4" fmla="*/ 166 w 188"/>
                  <a:gd name="T5" fmla="*/ 156 h 215"/>
                  <a:gd name="T6" fmla="*/ 168 w 188"/>
                  <a:gd name="T7" fmla="*/ 158 h 215"/>
                  <a:gd name="T8" fmla="*/ 179 w 188"/>
                  <a:gd name="T9" fmla="*/ 169 h 215"/>
                  <a:gd name="T10" fmla="*/ 166 w 188"/>
                  <a:gd name="T11" fmla="*/ 185 h 215"/>
                  <a:gd name="T12" fmla="*/ 153 w 188"/>
                  <a:gd name="T13" fmla="*/ 185 h 215"/>
                  <a:gd name="T14" fmla="*/ 135 w 188"/>
                  <a:gd name="T15" fmla="*/ 183 h 215"/>
                  <a:gd name="T16" fmla="*/ 119 w 188"/>
                  <a:gd name="T17" fmla="*/ 197 h 215"/>
                  <a:gd name="T18" fmla="*/ 120 w 188"/>
                  <a:gd name="T19" fmla="*/ 200 h 215"/>
                  <a:gd name="T20" fmla="*/ 113 w 188"/>
                  <a:gd name="T21" fmla="*/ 215 h 215"/>
                  <a:gd name="T22" fmla="*/ 86 w 188"/>
                  <a:gd name="T23" fmla="*/ 207 h 215"/>
                  <a:gd name="T24" fmla="*/ 71 w 188"/>
                  <a:gd name="T25" fmla="*/ 191 h 215"/>
                  <a:gd name="T26" fmla="*/ 66 w 188"/>
                  <a:gd name="T27" fmla="*/ 189 h 215"/>
                  <a:gd name="T28" fmla="*/ 62 w 188"/>
                  <a:gd name="T29" fmla="*/ 186 h 215"/>
                  <a:gd name="T30" fmla="*/ 58 w 188"/>
                  <a:gd name="T31" fmla="*/ 185 h 215"/>
                  <a:gd name="T32" fmla="*/ 51 w 188"/>
                  <a:gd name="T33" fmla="*/ 180 h 215"/>
                  <a:gd name="T34" fmla="*/ 49 w 188"/>
                  <a:gd name="T35" fmla="*/ 176 h 215"/>
                  <a:gd name="T36" fmla="*/ 46 w 188"/>
                  <a:gd name="T37" fmla="*/ 172 h 215"/>
                  <a:gd name="T38" fmla="*/ 42 w 188"/>
                  <a:gd name="T39" fmla="*/ 169 h 215"/>
                  <a:gd name="T40" fmla="*/ 47 w 188"/>
                  <a:gd name="T41" fmla="*/ 109 h 215"/>
                  <a:gd name="T42" fmla="*/ 44 w 188"/>
                  <a:gd name="T43" fmla="*/ 102 h 215"/>
                  <a:gd name="T44" fmla="*/ 39 w 188"/>
                  <a:gd name="T45" fmla="*/ 94 h 215"/>
                  <a:gd name="T46" fmla="*/ 27 w 188"/>
                  <a:gd name="T47" fmla="*/ 79 h 215"/>
                  <a:gd name="T48" fmla="*/ 2 w 188"/>
                  <a:gd name="T49" fmla="*/ 68 h 215"/>
                  <a:gd name="T50" fmla="*/ 0 w 188"/>
                  <a:gd name="T51" fmla="*/ 62 h 215"/>
                  <a:gd name="T52" fmla="*/ 18 w 188"/>
                  <a:gd name="T53" fmla="*/ 60 h 215"/>
                  <a:gd name="T54" fmla="*/ 27 w 188"/>
                  <a:gd name="T55" fmla="*/ 43 h 215"/>
                  <a:gd name="T56" fmla="*/ 33 w 188"/>
                  <a:gd name="T57" fmla="*/ 42 h 215"/>
                  <a:gd name="T58" fmla="*/ 46 w 188"/>
                  <a:gd name="T59" fmla="*/ 39 h 215"/>
                  <a:gd name="T60" fmla="*/ 54 w 188"/>
                  <a:gd name="T61" fmla="*/ 36 h 215"/>
                  <a:gd name="T62" fmla="*/ 64 w 188"/>
                  <a:gd name="T63" fmla="*/ 32 h 215"/>
                  <a:gd name="T64" fmla="*/ 76 w 188"/>
                  <a:gd name="T65" fmla="*/ 32 h 215"/>
                  <a:gd name="T66" fmla="*/ 93 w 188"/>
                  <a:gd name="T67" fmla="*/ 14 h 215"/>
                  <a:gd name="T68" fmla="*/ 100 w 188"/>
                  <a:gd name="T69" fmla="*/ 10 h 215"/>
                  <a:gd name="T70" fmla="*/ 111 w 188"/>
                  <a:gd name="T71" fmla="*/ 3 h 215"/>
                  <a:gd name="T72" fmla="*/ 116 w 188"/>
                  <a:gd name="T73" fmla="*/ 3 h 215"/>
                  <a:gd name="T74" fmla="*/ 124 w 188"/>
                  <a:gd name="T75" fmla="*/ 13 h 215"/>
                  <a:gd name="T76" fmla="*/ 130 w 188"/>
                  <a:gd name="T77" fmla="*/ 20 h 215"/>
                  <a:gd name="T78" fmla="*/ 130 w 188"/>
                  <a:gd name="T79" fmla="*/ 27 h 215"/>
                  <a:gd name="T80" fmla="*/ 133 w 188"/>
                  <a:gd name="T81" fmla="*/ 35 h 215"/>
                  <a:gd name="T82" fmla="*/ 141 w 188"/>
                  <a:gd name="T83" fmla="*/ 39 h 215"/>
                  <a:gd name="T84" fmla="*/ 145 w 188"/>
                  <a:gd name="T85" fmla="*/ 44 h 215"/>
                  <a:gd name="T86" fmla="*/ 146 w 188"/>
                  <a:gd name="T87" fmla="*/ 51 h 215"/>
                  <a:gd name="T88" fmla="*/ 149 w 188"/>
                  <a:gd name="T89" fmla="*/ 54 h 215"/>
                  <a:gd name="T90" fmla="*/ 155 w 188"/>
                  <a:gd name="T91" fmla="*/ 61 h 215"/>
                  <a:gd name="T92" fmla="*/ 161 w 188"/>
                  <a:gd name="T93" fmla="*/ 62 h 215"/>
                  <a:gd name="T94" fmla="*/ 172 w 188"/>
                  <a:gd name="T95" fmla="*/ 68 h 215"/>
                  <a:gd name="T96" fmla="*/ 185 w 188"/>
                  <a:gd name="T97" fmla="*/ 73 h 215"/>
                  <a:gd name="T98" fmla="*/ 188 w 188"/>
                  <a:gd name="T99" fmla="*/ 77 h 215"/>
                  <a:gd name="T100" fmla="*/ 185 w 188"/>
                  <a:gd name="T101" fmla="*/ 87 h 215"/>
                  <a:gd name="T102" fmla="*/ 166 w 188"/>
                  <a:gd name="T103" fmla="*/ 117 h 215"/>
                  <a:gd name="T104" fmla="*/ 161 w 188"/>
                  <a:gd name="T105" fmla="*/ 131 h 215"/>
                  <a:gd name="T106" fmla="*/ 166 w 188"/>
                  <a:gd name="T107" fmla="*/ 13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8" h="215">
                    <a:moveTo>
                      <a:pt x="166" y="138"/>
                    </a:moveTo>
                    <a:lnTo>
                      <a:pt x="166" y="139"/>
                    </a:lnTo>
                    <a:lnTo>
                      <a:pt x="166" y="141"/>
                    </a:lnTo>
                    <a:lnTo>
                      <a:pt x="164" y="142"/>
                    </a:lnTo>
                    <a:lnTo>
                      <a:pt x="164" y="145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6" y="154"/>
                    </a:lnTo>
                    <a:lnTo>
                      <a:pt x="166" y="156"/>
                    </a:lnTo>
                    <a:lnTo>
                      <a:pt x="167" y="156"/>
                    </a:lnTo>
                    <a:lnTo>
                      <a:pt x="167" y="157"/>
                    </a:lnTo>
                    <a:lnTo>
                      <a:pt x="168" y="158"/>
                    </a:lnTo>
                    <a:lnTo>
                      <a:pt x="168" y="160"/>
                    </a:lnTo>
                    <a:lnTo>
                      <a:pt x="170" y="160"/>
                    </a:lnTo>
                    <a:lnTo>
                      <a:pt x="179" y="169"/>
                    </a:lnTo>
                    <a:lnTo>
                      <a:pt x="178" y="176"/>
                    </a:lnTo>
                    <a:lnTo>
                      <a:pt x="167" y="185"/>
                    </a:lnTo>
                    <a:lnTo>
                      <a:pt x="166" y="185"/>
                    </a:lnTo>
                    <a:lnTo>
                      <a:pt x="163" y="185"/>
                    </a:lnTo>
                    <a:lnTo>
                      <a:pt x="157" y="185"/>
                    </a:lnTo>
                    <a:lnTo>
                      <a:pt x="153" y="185"/>
                    </a:lnTo>
                    <a:lnTo>
                      <a:pt x="146" y="183"/>
                    </a:lnTo>
                    <a:lnTo>
                      <a:pt x="141" y="183"/>
                    </a:lnTo>
                    <a:lnTo>
                      <a:pt x="135" y="183"/>
                    </a:lnTo>
                    <a:lnTo>
                      <a:pt x="131" y="183"/>
                    </a:lnTo>
                    <a:lnTo>
                      <a:pt x="122" y="187"/>
                    </a:lnTo>
                    <a:lnTo>
                      <a:pt x="119" y="197"/>
                    </a:lnTo>
                    <a:lnTo>
                      <a:pt x="120" y="197"/>
                    </a:lnTo>
                    <a:lnTo>
                      <a:pt x="120" y="198"/>
                    </a:lnTo>
                    <a:lnTo>
                      <a:pt x="120" y="200"/>
                    </a:lnTo>
                    <a:lnTo>
                      <a:pt x="120" y="201"/>
                    </a:lnTo>
                    <a:lnTo>
                      <a:pt x="120" y="207"/>
                    </a:lnTo>
                    <a:lnTo>
                      <a:pt x="113" y="215"/>
                    </a:lnTo>
                    <a:lnTo>
                      <a:pt x="106" y="213"/>
                    </a:lnTo>
                    <a:lnTo>
                      <a:pt x="86" y="208"/>
                    </a:lnTo>
                    <a:lnTo>
                      <a:pt x="86" y="207"/>
                    </a:lnTo>
                    <a:lnTo>
                      <a:pt x="78" y="196"/>
                    </a:lnTo>
                    <a:lnTo>
                      <a:pt x="76" y="197"/>
                    </a:lnTo>
                    <a:lnTo>
                      <a:pt x="71" y="191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6" y="189"/>
                    </a:lnTo>
                    <a:lnTo>
                      <a:pt x="65" y="187"/>
                    </a:lnTo>
                    <a:lnTo>
                      <a:pt x="64" y="187"/>
                    </a:lnTo>
                    <a:lnTo>
                      <a:pt x="62" y="186"/>
                    </a:lnTo>
                    <a:lnTo>
                      <a:pt x="61" y="186"/>
                    </a:lnTo>
                    <a:lnTo>
                      <a:pt x="60" y="186"/>
                    </a:lnTo>
                    <a:lnTo>
                      <a:pt x="58" y="185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1" y="180"/>
                    </a:lnTo>
                    <a:lnTo>
                      <a:pt x="50" y="179"/>
                    </a:lnTo>
                    <a:lnTo>
                      <a:pt x="49" y="178"/>
                    </a:lnTo>
                    <a:lnTo>
                      <a:pt x="49" y="176"/>
                    </a:lnTo>
                    <a:lnTo>
                      <a:pt x="49" y="175"/>
                    </a:lnTo>
                    <a:lnTo>
                      <a:pt x="47" y="174"/>
                    </a:lnTo>
                    <a:lnTo>
                      <a:pt x="46" y="172"/>
                    </a:lnTo>
                    <a:lnTo>
                      <a:pt x="44" y="171"/>
                    </a:lnTo>
                    <a:lnTo>
                      <a:pt x="43" y="171"/>
                    </a:lnTo>
                    <a:lnTo>
                      <a:pt x="42" y="169"/>
                    </a:lnTo>
                    <a:lnTo>
                      <a:pt x="47" y="167"/>
                    </a:lnTo>
                    <a:lnTo>
                      <a:pt x="49" y="110"/>
                    </a:lnTo>
                    <a:lnTo>
                      <a:pt x="47" y="109"/>
                    </a:lnTo>
                    <a:lnTo>
                      <a:pt x="47" y="108"/>
                    </a:lnTo>
                    <a:lnTo>
                      <a:pt x="46" y="105"/>
                    </a:lnTo>
                    <a:lnTo>
                      <a:pt x="44" y="102"/>
                    </a:lnTo>
                    <a:lnTo>
                      <a:pt x="43" y="98"/>
                    </a:lnTo>
                    <a:lnTo>
                      <a:pt x="40" y="95"/>
                    </a:lnTo>
                    <a:lnTo>
                      <a:pt x="39" y="94"/>
                    </a:lnTo>
                    <a:lnTo>
                      <a:pt x="38" y="93"/>
                    </a:lnTo>
                    <a:lnTo>
                      <a:pt x="27" y="84"/>
                    </a:lnTo>
                    <a:lnTo>
                      <a:pt x="27" y="79"/>
                    </a:lnTo>
                    <a:lnTo>
                      <a:pt x="3" y="69"/>
                    </a:lnTo>
                    <a:lnTo>
                      <a:pt x="2" y="69"/>
                    </a:lnTo>
                    <a:lnTo>
                      <a:pt x="2" y="68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2"/>
                    </a:lnTo>
                    <a:lnTo>
                      <a:pt x="2" y="58"/>
                    </a:lnTo>
                    <a:lnTo>
                      <a:pt x="5" y="55"/>
                    </a:lnTo>
                    <a:lnTo>
                      <a:pt x="18" y="60"/>
                    </a:lnTo>
                    <a:lnTo>
                      <a:pt x="16" y="44"/>
                    </a:lnTo>
                    <a:lnTo>
                      <a:pt x="25" y="42"/>
                    </a:lnTo>
                    <a:lnTo>
                      <a:pt x="27" y="43"/>
                    </a:lnTo>
                    <a:lnTo>
                      <a:pt x="28" y="43"/>
                    </a:lnTo>
                    <a:lnTo>
                      <a:pt x="29" y="43"/>
                    </a:lnTo>
                    <a:lnTo>
                      <a:pt x="33" y="42"/>
                    </a:lnTo>
                    <a:lnTo>
                      <a:pt x="38" y="42"/>
                    </a:lnTo>
                    <a:lnTo>
                      <a:pt x="42" y="40"/>
                    </a:lnTo>
                    <a:lnTo>
                      <a:pt x="46" y="39"/>
                    </a:lnTo>
                    <a:lnTo>
                      <a:pt x="51" y="38"/>
                    </a:lnTo>
                    <a:lnTo>
                      <a:pt x="53" y="38"/>
                    </a:lnTo>
                    <a:lnTo>
                      <a:pt x="54" y="36"/>
                    </a:lnTo>
                    <a:lnTo>
                      <a:pt x="57" y="35"/>
                    </a:lnTo>
                    <a:lnTo>
                      <a:pt x="60" y="33"/>
                    </a:lnTo>
                    <a:lnTo>
                      <a:pt x="64" y="32"/>
                    </a:lnTo>
                    <a:lnTo>
                      <a:pt x="68" y="31"/>
                    </a:lnTo>
                    <a:lnTo>
                      <a:pt x="72" y="31"/>
                    </a:lnTo>
                    <a:lnTo>
                      <a:pt x="76" y="32"/>
                    </a:lnTo>
                    <a:lnTo>
                      <a:pt x="84" y="20"/>
                    </a:lnTo>
                    <a:lnTo>
                      <a:pt x="93" y="16"/>
                    </a:lnTo>
                    <a:lnTo>
                      <a:pt x="93" y="14"/>
                    </a:lnTo>
                    <a:lnTo>
                      <a:pt x="94" y="14"/>
                    </a:lnTo>
                    <a:lnTo>
                      <a:pt x="97" y="11"/>
                    </a:lnTo>
                    <a:lnTo>
                      <a:pt x="100" y="10"/>
                    </a:lnTo>
                    <a:lnTo>
                      <a:pt x="102" y="7"/>
                    </a:lnTo>
                    <a:lnTo>
                      <a:pt x="106" y="6"/>
                    </a:lnTo>
                    <a:lnTo>
                      <a:pt x="111" y="3"/>
                    </a:lnTo>
                    <a:lnTo>
                      <a:pt x="113" y="0"/>
                    </a:lnTo>
                    <a:lnTo>
                      <a:pt x="113" y="2"/>
                    </a:lnTo>
                    <a:lnTo>
                      <a:pt x="116" y="3"/>
                    </a:lnTo>
                    <a:lnTo>
                      <a:pt x="119" y="6"/>
                    </a:lnTo>
                    <a:lnTo>
                      <a:pt x="122" y="10"/>
                    </a:lnTo>
                    <a:lnTo>
                      <a:pt x="124" y="13"/>
                    </a:lnTo>
                    <a:lnTo>
                      <a:pt x="127" y="16"/>
                    </a:lnTo>
                    <a:lnTo>
                      <a:pt x="130" y="18"/>
                    </a:lnTo>
                    <a:lnTo>
                      <a:pt x="130" y="20"/>
                    </a:lnTo>
                    <a:lnTo>
                      <a:pt x="130" y="21"/>
                    </a:lnTo>
                    <a:lnTo>
                      <a:pt x="130" y="24"/>
                    </a:lnTo>
                    <a:lnTo>
                      <a:pt x="130" y="27"/>
                    </a:lnTo>
                    <a:lnTo>
                      <a:pt x="130" y="31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8"/>
                    </a:lnTo>
                    <a:lnTo>
                      <a:pt x="139" y="38"/>
                    </a:lnTo>
                    <a:lnTo>
                      <a:pt x="141" y="39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5" y="44"/>
                    </a:lnTo>
                    <a:lnTo>
                      <a:pt x="146" y="46"/>
                    </a:lnTo>
                    <a:lnTo>
                      <a:pt x="146" y="49"/>
                    </a:lnTo>
                    <a:lnTo>
                      <a:pt x="146" y="51"/>
                    </a:lnTo>
                    <a:lnTo>
                      <a:pt x="148" y="51"/>
                    </a:lnTo>
                    <a:lnTo>
                      <a:pt x="148" y="53"/>
                    </a:lnTo>
                    <a:lnTo>
                      <a:pt x="149" y="54"/>
                    </a:lnTo>
                    <a:lnTo>
                      <a:pt x="150" y="57"/>
                    </a:lnTo>
                    <a:lnTo>
                      <a:pt x="153" y="58"/>
                    </a:lnTo>
                    <a:lnTo>
                      <a:pt x="155" y="61"/>
                    </a:lnTo>
                    <a:lnTo>
                      <a:pt x="157" y="62"/>
                    </a:lnTo>
                    <a:lnTo>
                      <a:pt x="160" y="62"/>
                    </a:lnTo>
                    <a:lnTo>
                      <a:pt x="161" y="62"/>
                    </a:lnTo>
                    <a:lnTo>
                      <a:pt x="164" y="64"/>
                    </a:lnTo>
                    <a:lnTo>
                      <a:pt x="167" y="65"/>
                    </a:lnTo>
                    <a:lnTo>
                      <a:pt x="172" y="68"/>
                    </a:lnTo>
                    <a:lnTo>
                      <a:pt x="177" y="69"/>
                    </a:lnTo>
                    <a:lnTo>
                      <a:pt x="181" y="72"/>
                    </a:lnTo>
                    <a:lnTo>
                      <a:pt x="185" y="73"/>
                    </a:lnTo>
                    <a:lnTo>
                      <a:pt x="188" y="73"/>
                    </a:lnTo>
                    <a:lnTo>
                      <a:pt x="188" y="75"/>
                    </a:lnTo>
                    <a:lnTo>
                      <a:pt x="188" y="77"/>
                    </a:lnTo>
                    <a:lnTo>
                      <a:pt x="186" y="80"/>
                    </a:lnTo>
                    <a:lnTo>
                      <a:pt x="186" y="83"/>
                    </a:lnTo>
                    <a:lnTo>
                      <a:pt x="185" y="87"/>
                    </a:lnTo>
                    <a:lnTo>
                      <a:pt x="183" y="93"/>
                    </a:lnTo>
                    <a:lnTo>
                      <a:pt x="181" y="106"/>
                    </a:lnTo>
                    <a:lnTo>
                      <a:pt x="166" y="117"/>
                    </a:lnTo>
                    <a:lnTo>
                      <a:pt x="159" y="132"/>
                    </a:lnTo>
                    <a:lnTo>
                      <a:pt x="160" y="132"/>
                    </a:lnTo>
                    <a:lnTo>
                      <a:pt x="161" y="131"/>
                    </a:lnTo>
                    <a:lnTo>
                      <a:pt x="163" y="131"/>
                    </a:lnTo>
                    <a:lnTo>
                      <a:pt x="164" y="131"/>
                    </a:lnTo>
                    <a:lnTo>
                      <a:pt x="166" y="131"/>
                    </a:lnTo>
                    <a:lnTo>
                      <a:pt x="167" y="134"/>
                    </a:lnTo>
                    <a:lnTo>
                      <a:pt x="166" y="13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1" name="Freeform 873"/>
              <p:cNvSpPr>
                <a:spLocks/>
              </p:cNvSpPr>
              <p:nvPr/>
            </p:nvSpPr>
            <p:spPr bwMode="auto">
              <a:xfrm>
                <a:off x="2590" y="2211"/>
                <a:ext cx="50" cy="107"/>
              </a:xfrm>
              <a:custGeom>
                <a:avLst/>
                <a:gdLst>
                  <a:gd name="T0" fmla="*/ 7 w 50"/>
                  <a:gd name="T1" fmla="*/ 39 h 107"/>
                  <a:gd name="T2" fmla="*/ 7 w 50"/>
                  <a:gd name="T3" fmla="*/ 50 h 107"/>
                  <a:gd name="T4" fmla="*/ 5 w 50"/>
                  <a:gd name="T5" fmla="*/ 60 h 107"/>
                  <a:gd name="T6" fmla="*/ 2 w 50"/>
                  <a:gd name="T7" fmla="*/ 66 h 107"/>
                  <a:gd name="T8" fmla="*/ 2 w 50"/>
                  <a:gd name="T9" fmla="*/ 67 h 107"/>
                  <a:gd name="T10" fmla="*/ 0 w 50"/>
                  <a:gd name="T11" fmla="*/ 74 h 107"/>
                  <a:gd name="T12" fmla="*/ 3 w 50"/>
                  <a:gd name="T13" fmla="*/ 78 h 107"/>
                  <a:gd name="T14" fmla="*/ 5 w 50"/>
                  <a:gd name="T15" fmla="*/ 81 h 107"/>
                  <a:gd name="T16" fmla="*/ 6 w 50"/>
                  <a:gd name="T17" fmla="*/ 81 h 107"/>
                  <a:gd name="T18" fmla="*/ 14 w 50"/>
                  <a:gd name="T19" fmla="*/ 105 h 107"/>
                  <a:gd name="T20" fmla="*/ 16 w 50"/>
                  <a:gd name="T21" fmla="*/ 105 h 107"/>
                  <a:gd name="T22" fmla="*/ 16 w 50"/>
                  <a:gd name="T23" fmla="*/ 104 h 107"/>
                  <a:gd name="T24" fmla="*/ 17 w 50"/>
                  <a:gd name="T25" fmla="*/ 104 h 107"/>
                  <a:gd name="T26" fmla="*/ 17 w 50"/>
                  <a:gd name="T27" fmla="*/ 104 h 107"/>
                  <a:gd name="T28" fmla="*/ 18 w 50"/>
                  <a:gd name="T29" fmla="*/ 104 h 107"/>
                  <a:gd name="T30" fmla="*/ 20 w 50"/>
                  <a:gd name="T31" fmla="*/ 104 h 107"/>
                  <a:gd name="T32" fmla="*/ 21 w 50"/>
                  <a:gd name="T33" fmla="*/ 104 h 107"/>
                  <a:gd name="T34" fmla="*/ 22 w 50"/>
                  <a:gd name="T35" fmla="*/ 107 h 107"/>
                  <a:gd name="T36" fmla="*/ 22 w 50"/>
                  <a:gd name="T37" fmla="*/ 104 h 107"/>
                  <a:gd name="T38" fmla="*/ 25 w 50"/>
                  <a:gd name="T39" fmla="*/ 97 h 107"/>
                  <a:gd name="T40" fmla="*/ 28 w 50"/>
                  <a:gd name="T41" fmla="*/ 92 h 107"/>
                  <a:gd name="T42" fmla="*/ 33 w 50"/>
                  <a:gd name="T43" fmla="*/ 89 h 107"/>
                  <a:gd name="T44" fmla="*/ 32 w 50"/>
                  <a:gd name="T45" fmla="*/ 78 h 107"/>
                  <a:gd name="T46" fmla="*/ 39 w 50"/>
                  <a:gd name="T47" fmla="*/ 61 h 107"/>
                  <a:gd name="T48" fmla="*/ 35 w 50"/>
                  <a:gd name="T49" fmla="*/ 38 h 107"/>
                  <a:gd name="T50" fmla="*/ 42 w 50"/>
                  <a:gd name="T51" fmla="*/ 19 h 107"/>
                  <a:gd name="T52" fmla="*/ 43 w 50"/>
                  <a:gd name="T53" fmla="*/ 17 h 107"/>
                  <a:gd name="T54" fmla="*/ 47 w 50"/>
                  <a:gd name="T55" fmla="*/ 13 h 107"/>
                  <a:gd name="T56" fmla="*/ 50 w 50"/>
                  <a:gd name="T57" fmla="*/ 9 h 107"/>
                  <a:gd name="T58" fmla="*/ 47 w 50"/>
                  <a:gd name="T59" fmla="*/ 6 h 107"/>
                  <a:gd name="T60" fmla="*/ 43 w 50"/>
                  <a:gd name="T61" fmla="*/ 4 h 107"/>
                  <a:gd name="T62" fmla="*/ 39 w 50"/>
                  <a:gd name="T63" fmla="*/ 1 h 107"/>
                  <a:gd name="T64" fmla="*/ 36 w 50"/>
                  <a:gd name="T65" fmla="*/ 0 h 107"/>
                  <a:gd name="T66" fmla="*/ 33 w 50"/>
                  <a:gd name="T67" fmla="*/ 1 h 107"/>
                  <a:gd name="T68" fmla="*/ 7 w 50"/>
                  <a:gd name="T69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0" h="107">
                    <a:moveTo>
                      <a:pt x="7" y="2"/>
                    </a:moveTo>
                    <a:lnTo>
                      <a:pt x="7" y="39"/>
                    </a:lnTo>
                    <a:lnTo>
                      <a:pt x="7" y="45"/>
                    </a:lnTo>
                    <a:lnTo>
                      <a:pt x="7" y="50"/>
                    </a:lnTo>
                    <a:lnTo>
                      <a:pt x="6" y="56"/>
                    </a:lnTo>
                    <a:lnTo>
                      <a:pt x="5" y="60"/>
                    </a:lnTo>
                    <a:lnTo>
                      <a:pt x="3" y="63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4"/>
                    </a:lnTo>
                    <a:lnTo>
                      <a:pt x="2" y="77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5" y="81"/>
                    </a:lnTo>
                    <a:lnTo>
                      <a:pt x="6" y="81"/>
                    </a:lnTo>
                    <a:lnTo>
                      <a:pt x="6" y="81"/>
                    </a:lnTo>
                    <a:lnTo>
                      <a:pt x="6" y="101"/>
                    </a:lnTo>
                    <a:lnTo>
                      <a:pt x="14" y="105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7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0" y="104"/>
                    </a:lnTo>
                    <a:lnTo>
                      <a:pt x="21" y="104"/>
                    </a:lnTo>
                    <a:lnTo>
                      <a:pt x="21" y="104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2" y="107"/>
                    </a:lnTo>
                    <a:lnTo>
                      <a:pt x="22" y="104"/>
                    </a:lnTo>
                    <a:lnTo>
                      <a:pt x="24" y="101"/>
                    </a:lnTo>
                    <a:lnTo>
                      <a:pt x="25" y="97"/>
                    </a:lnTo>
                    <a:lnTo>
                      <a:pt x="27" y="94"/>
                    </a:lnTo>
                    <a:lnTo>
                      <a:pt x="28" y="92"/>
                    </a:lnTo>
                    <a:lnTo>
                      <a:pt x="31" y="89"/>
                    </a:lnTo>
                    <a:lnTo>
                      <a:pt x="33" y="89"/>
                    </a:lnTo>
                    <a:lnTo>
                      <a:pt x="38" y="83"/>
                    </a:lnTo>
                    <a:lnTo>
                      <a:pt x="32" y="78"/>
                    </a:lnTo>
                    <a:lnTo>
                      <a:pt x="36" y="72"/>
                    </a:lnTo>
                    <a:lnTo>
                      <a:pt x="39" y="61"/>
                    </a:lnTo>
                    <a:lnTo>
                      <a:pt x="39" y="52"/>
                    </a:lnTo>
                    <a:lnTo>
                      <a:pt x="35" y="38"/>
                    </a:lnTo>
                    <a:lnTo>
                      <a:pt x="38" y="2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6" y="16"/>
                    </a:lnTo>
                    <a:lnTo>
                      <a:pt x="47" y="13"/>
                    </a:lnTo>
                    <a:lnTo>
                      <a:pt x="49" y="12"/>
                    </a:lnTo>
                    <a:lnTo>
                      <a:pt x="50" y="9"/>
                    </a:lnTo>
                    <a:lnTo>
                      <a:pt x="50" y="8"/>
                    </a:lnTo>
                    <a:lnTo>
                      <a:pt x="47" y="6"/>
                    </a:lnTo>
                    <a:lnTo>
                      <a:pt x="44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9" y="1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16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2" name="Freeform 874"/>
              <p:cNvSpPr>
                <a:spLocks/>
              </p:cNvSpPr>
              <p:nvPr/>
            </p:nvSpPr>
            <p:spPr bwMode="auto">
              <a:xfrm>
                <a:off x="2590" y="2211"/>
                <a:ext cx="50" cy="107"/>
              </a:xfrm>
              <a:custGeom>
                <a:avLst/>
                <a:gdLst>
                  <a:gd name="T0" fmla="*/ 7 w 50"/>
                  <a:gd name="T1" fmla="*/ 2 h 107"/>
                  <a:gd name="T2" fmla="*/ 7 w 50"/>
                  <a:gd name="T3" fmla="*/ 39 h 107"/>
                  <a:gd name="T4" fmla="*/ 7 w 50"/>
                  <a:gd name="T5" fmla="*/ 45 h 107"/>
                  <a:gd name="T6" fmla="*/ 7 w 50"/>
                  <a:gd name="T7" fmla="*/ 50 h 107"/>
                  <a:gd name="T8" fmla="*/ 6 w 50"/>
                  <a:gd name="T9" fmla="*/ 56 h 107"/>
                  <a:gd name="T10" fmla="*/ 5 w 50"/>
                  <a:gd name="T11" fmla="*/ 60 h 107"/>
                  <a:gd name="T12" fmla="*/ 3 w 50"/>
                  <a:gd name="T13" fmla="*/ 63 h 107"/>
                  <a:gd name="T14" fmla="*/ 2 w 50"/>
                  <a:gd name="T15" fmla="*/ 66 h 107"/>
                  <a:gd name="T16" fmla="*/ 2 w 50"/>
                  <a:gd name="T17" fmla="*/ 67 h 107"/>
                  <a:gd name="T18" fmla="*/ 0 w 50"/>
                  <a:gd name="T19" fmla="*/ 71 h 107"/>
                  <a:gd name="T20" fmla="*/ 0 w 50"/>
                  <a:gd name="T21" fmla="*/ 74 h 107"/>
                  <a:gd name="T22" fmla="*/ 2 w 50"/>
                  <a:gd name="T23" fmla="*/ 77 h 107"/>
                  <a:gd name="T24" fmla="*/ 3 w 50"/>
                  <a:gd name="T25" fmla="*/ 78 h 107"/>
                  <a:gd name="T26" fmla="*/ 3 w 50"/>
                  <a:gd name="T27" fmla="*/ 79 h 107"/>
                  <a:gd name="T28" fmla="*/ 5 w 50"/>
                  <a:gd name="T29" fmla="*/ 81 h 107"/>
                  <a:gd name="T30" fmla="*/ 6 w 50"/>
                  <a:gd name="T31" fmla="*/ 81 h 107"/>
                  <a:gd name="T32" fmla="*/ 6 w 50"/>
                  <a:gd name="T33" fmla="*/ 101 h 107"/>
                  <a:gd name="T34" fmla="*/ 14 w 50"/>
                  <a:gd name="T35" fmla="*/ 105 h 107"/>
                  <a:gd name="T36" fmla="*/ 16 w 50"/>
                  <a:gd name="T37" fmla="*/ 105 h 107"/>
                  <a:gd name="T38" fmla="*/ 16 w 50"/>
                  <a:gd name="T39" fmla="*/ 104 h 107"/>
                  <a:gd name="T40" fmla="*/ 17 w 50"/>
                  <a:gd name="T41" fmla="*/ 104 h 107"/>
                  <a:gd name="T42" fmla="*/ 18 w 50"/>
                  <a:gd name="T43" fmla="*/ 104 h 107"/>
                  <a:gd name="T44" fmla="*/ 20 w 50"/>
                  <a:gd name="T45" fmla="*/ 104 h 107"/>
                  <a:gd name="T46" fmla="*/ 21 w 50"/>
                  <a:gd name="T47" fmla="*/ 104 h 107"/>
                  <a:gd name="T48" fmla="*/ 22 w 50"/>
                  <a:gd name="T49" fmla="*/ 105 h 107"/>
                  <a:gd name="T50" fmla="*/ 22 w 50"/>
                  <a:gd name="T51" fmla="*/ 107 h 107"/>
                  <a:gd name="T52" fmla="*/ 22 w 50"/>
                  <a:gd name="T53" fmla="*/ 104 h 107"/>
                  <a:gd name="T54" fmla="*/ 24 w 50"/>
                  <a:gd name="T55" fmla="*/ 101 h 107"/>
                  <a:gd name="T56" fmla="*/ 25 w 50"/>
                  <a:gd name="T57" fmla="*/ 97 h 107"/>
                  <a:gd name="T58" fmla="*/ 27 w 50"/>
                  <a:gd name="T59" fmla="*/ 94 h 107"/>
                  <a:gd name="T60" fmla="*/ 28 w 50"/>
                  <a:gd name="T61" fmla="*/ 92 h 107"/>
                  <a:gd name="T62" fmla="*/ 31 w 50"/>
                  <a:gd name="T63" fmla="*/ 89 h 107"/>
                  <a:gd name="T64" fmla="*/ 33 w 50"/>
                  <a:gd name="T65" fmla="*/ 89 h 107"/>
                  <a:gd name="T66" fmla="*/ 38 w 50"/>
                  <a:gd name="T67" fmla="*/ 83 h 107"/>
                  <a:gd name="T68" fmla="*/ 32 w 50"/>
                  <a:gd name="T69" fmla="*/ 78 h 107"/>
                  <a:gd name="T70" fmla="*/ 36 w 50"/>
                  <a:gd name="T71" fmla="*/ 72 h 107"/>
                  <a:gd name="T72" fmla="*/ 39 w 50"/>
                  <a:gd name="T73" fmla="*/ 61 h 107"/>
                  <a:gd name="T74" fmla="*/ 39 w 50"/>
                  <a:gd name="T75" fmla="*/ 52 h 107"/>
                  <a:gd name="T76" fmla="*/ 35 w 50"/>
                  <a:gd name="T77" fmla="*/ 38 h 107"/>
                  <a:gd name="T78" fmla="*/ 38 w 50"/>
                  <a:gd name="T79" fmla="*/ 27 h 107"/>
                  <a:gd name="T80" fmla="*/ 42 w 50"/>
                  <a:gd name="T81" fmla="*/ 19 h 107"/>
                  <a:gd name="T82" fmla="*/ 42 w 50"/>
                  <a:gd name="T83" fmla="*/ 17 h 107"/>
                  <a:gd name="T84" fmla="*/ 43 w 50"/>
                  <a:gd name="T85" fmla="*/ 17 h 107"/>
                  <a:gd name="T86" fmla="*/ 46 w 50"/>
                  <a:gd name="T87" fmla="*/ 16 h 107"/>
                  <a:gd name="T88" fmla="*/ 47 w 50"/>
                  <a:gd name="T89" fmla="*/ 13 h 107"/>
                  <a:gd name="T90" fmla="*/ 49 w 50"/>
                  <a:gd name="T91" fmla="*/ 12 h 107"/>
                  <a:gd name="T92" fmla="*/ 50 w 50"/>
                  <a:gd name="T93" fmla="*/ 9 h 107"/>
                  <a:gd name="T94" fmla="*/ 50 w 50"/>
                  <a:gd name="T95" fmla="*/ 8 h 107"/>
                  <a:gd name="T96" fmla="*/ 47 w 50"/>
                  <a:gd name="T97" fmla="*/ 6 h 107"/>
                  <a:gd name="T98" fmla="*/ 44 w 50"/>
                  <a:gd name="T99" fmla="*/ 5 h 107"/>
                  <a:gd name="T100" fmla="*/ 43 w 50"/>
                  <a:gd name="T101" fmla="*/ 4 h 107"/>
                  <a:gd name="T102" fmla="*/ 40 w 50"/>
                  <a:gd name="T103" fmla="*/ 2 h 107"/>
                  <a:gd name="T104" fmla="*/ 39 w 50"/>
                  <a:gd name="T105" fmla="*/ 1 h 107"/>
                  <a:gd name="T106" fmla="*/ 38 w 50"/>
                  <a:gd name="T107" fmla="*/ 1 h 107"/>
                  <a:gd name="T108" fmla="*/ 36 w 50"/>
                  <a:gd name="T109" fmla="*/ 0 h 107"/>
                  <a:gd name="T110" fmla="*/ 35 w 50"/>
                  <a:gd name="T111" fmla="*/ 0 h 107"/>
                  <a:gd name="T112" fmla="*/ 33 w 50"/>
                  <a:gd name="T113" fmla="*/ 1 h 107"/>
                  <a:gd name="T114" fmla="*/ 16 w 50"/>
                  <a:gd name="T115" fmla="*/ 4 h 107"/>
                  <a:gd name="T116" fmla="*/ 7 w 50"/>
                  <a:gd name="T117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0" h="107">
                    <a:moveTo>
                      <a:pt x="7" y="2"/>
                    </a:moveTo>
                    <a:lnTo>
                      <a:pt x="7" y="39"/>
                    </a:lnTo>
                    <a:lnTo>
                      <a:pt x="7" y="45"/>
                    </a:lnTo>
                    <a:lnTo>
                      <a:pt x="7" y="50"/>
                    </a:lnTo>
                    <a:lnTo>
                      <a:pt x="6" y="56"/>
                    </a:lnTo>
                    <a:lnTo>
                      <a:pt x="5" y="60"/>
                    </a:lnTo>
                    <a:lnTo>
                      <a:pt x="3" y="63"/>
                    </a:lnTo>
                    <a:lnTo>
                      <a:pt x="2" y="66"/>
                    </a:lnTo>
                    <a:lnTo>
                      <a:pt x="2" y="67"/>
                    </a:lnTo>
                    <a:lnTo>
                      <a:pt x="0" y="71"/>
                    </a:lnTo>
                    <a:lnTo>
                      <a:pt x="0" y="74"/>
                    </a:lnTo>
                    <a:lnTo>
                      <a:pt x="2" y="77"/>
                    </a:lnTo>
                    <a:lnTo>
                      <a:pt x="3" y="78"/>
                    </a:lnTo>
                    <a:lnTo>
                      <a:pt x="3" y="79"/>
                    </a:lnTo>
                    <a:lnTo>
                      <a:pt x="5" y="81"/>
                    </a:lnTo>
                    <a:lnTo>
                      <a:pt x="6" y="81"/>
                    </a:lnTo>
                    <a:lnTo>
                      <a:pt x="6" y="101"/>
                    </a:lnTo>
                    <a:lnTo>
                      <a:pt x="14" y="105"/>
                    </a:lnTo>
                    <a:lnTo>
                      <a:pt x="16" y="105"/>
                    </a:lnTo>
                    <a:lnTo>
                      <a:pt x="16" y="104"/>
                    </a:lnTo>
                    <a:lnTo>
                      <a:pt x="17" y="104"/>
                    </a:lnTo>
                    <a:lnTo>
                      <a:pt x="18" y="104"/>
                    </a:lnTo>
                    <a:lnTo>
                      <a:pt x="20" y="104"/>
                    </a:lnTo>
                    <a:lnTo>
                      <a:pt x="21" y="104"/>
                    </a:lnTo>
                    <a:lnTo>
                      <a:pt x="22" y="105"/>
                    </a:lnTo>
                    <a:lnTo>
                      <a:pt x="22" y="107"/>
                    </a:lnTo>
                    <a:lnTo>
                      <a:pt x="22" y="104"/>
                    </a:lnTo>
                    <a:lnTo>
                      <a:pt x="24" y="101"/>
                    </a:lnTo>
                    <a:lnTo>
                      <a:pt x="25" y="97"/>
                    </a:lnTo>
                    <a:lnTo>
                      <a:pt x="27" y="94"/>
                    </a:lnTo>
                    <a:lnTo>
                      <a:pt x="28" y="92"/>
                    </a:lnTo>
                    <a:lnTo>
                      <a:pt x="31" y="89"/>
                    </a:lnTo>
                    <a:lnTo>
                      <a:pt x="33" y="89"/>
                    </a:lnTo>
                    <a:lnTo>
                      <a:pt x="38" y="83"/>
                    </a:lnTo>
                    <a:lnTo>
                      <a:pt x="32" y="78"/>
                    </a:lnTo>
                    <a:lnTo>
                      <a:pt x="36" y="72"/>
                    </a:lnTo>
                    <a:lnTo>
                      <a:pt x="39" y="61"/>
                    </a:lnTo>
                    <a:lnTo>
                      <a:pt x="39" y="52"/>
                    </a:lnTo>
                    <a:lnTo>
                      <a:pt x="35" y="38"/>
                    </a:lnTo>
                    <a:lnTo>
                      <a:pt x="38" y="27"/>
                    </a:lnTo>
                    <a:lnTo>
                      <a:pt x="42" y="19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6" y="16"/>
                    </a:lnTo>
                    <a:lnTo>
                      <a:pt x="47" y="13"/>
                    </a:lnTo>
                    <a:lnTo>
                      <a:pt x="49" y="12"/>
                    </a:lnTo>
                    <a:lnTo>
                      <a:pt x="50" y="9"/>
                    </a:lnTo>
                    <a:lnTo>
                      <a:pt x="50" y="8"/>
                    </a:lnTo>
                    <a:lnTo>
                      <a:pt x="47" y="6"/>
                    </a:lnTo>
                    <a:lnTo>
                      <a:pt x="44" y="5"/>
                    </a:lnTo>
                    <a:lnTo>
                      <a:pt x="43" y="4"/>
                    </a:lnTo>
                    <a:lnTo>
                      <a:pt x="40" y="2"/>
                    </a:lnTo>
                    <a:lnTo>
                      <a:pt x="39" y="1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16" y="4"/>
                    </a:lnTo>
                    <a:lnTo>
                      <a:pt x="7" y="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3" name="Freeform 875"/>
              <p:cNvSpPr>
                <a:spLocks/>
              </p:cNvSpPr>
              <p:nvPr/>
            </p:nvSpPr>
            <p:spPr bwMode="auto">
              <a:xfrm>
                <a:off x="2816" y="1911"/>
                <a:ext cx="124" cy="210"/>
              </a:xfrm>
              <a:custGeom>
                <a:avLst/>
                <a:gdLst>
                  <a:gd name="T0" fmla="*/ 32 w 124"/>
                  <a:gd name="T1" fmla="*/ 175 h 210"/>
                  <a:gd name="T2" fmla="*/ 15 w 124"/>
                  <a:gd name="T3" fmla="*/ 169 h 210"/>
                  <a:gd name="T4" fmla="*/ 8 w 124"/>
                  <a:gd name="T5" fmla="*/ 136 h 210"/>
                  <a:gd name="T6" fmla="*/ 10 w 124"/>
                  <a:gd name="T7" fmla="*/ 135 h 210"/>
                  <a:gd name="T8" fmla="*/ 7 w 124"/>
                  <a:gd name="T9" fmla="*/ 131 h 210"/>
                  <a:gd name="T10" fmla="*/ 1 w 124"/>
                  <a:gd name="T11" fmla="*/ 121 h 210"/>
                  <a:gd name="T12" fmla="*/ 12 w 124"/>
                  <a:gd name="T13" fmla="*/ 104 h 210"/>
                  <a:gd name="T14" fmla="*/ 10 w 124"/>
                  <a:gd name="T15" fmla="*/ 102 h 210"/>
                  <a:gd name="T16" fmla="*/ 15 w 124"/>
                  <a:gd name="T17" fmla="*/ 91 h 210"/>
                  <a:gd name="T18" fmla="*/ 19 w 124"/>
                  <a:gd name="T19" fmla="*/ 89 h 210"/>
                  <a:gd name="T20" fmla="*/ 23 w 124"/>
                  <a:gd name="T21" fmla="*/ 87 h 210"/>
                  <a:gd name="T22" fmla="*/ 23 w 124"/>
                  <a:gd name="T23" fmla="*/ 82 h 210"/>
                  <a:gd name="T24" fmla="*/ 22 w 124"/>
                  <a:gd name="T25" fmla="*/ 73 h 210"/>
                  <a:gd name="T26" fmla="*/ 21 w 124"/>
                  <a:gd name="T27" fmla="*/ 71 h 210"/>
                  <a:gd name="T28" fmla="*/ 19 w 124"/>
                  <a:gd name="T29" fmla="*/ 70 h 210"/>
                  <a:gd name="T30" fmla="*/ 19 w 124"/>
                  <a:gd name="T31" fmla="*/ 69 h 210"/>
                  <a:gd name="T32" fmla="*/ 23 w 124"/>
                  <a:gd name="T33" fmla="*/ 67 h 210"/>
                  <a:gd name="T34" fmla="*/ 26 w 124"/>
                  <a:gd name="T35" fmla="*/ 62 h 210"/>
                  <a:gd name="T36" fmla="*/ 22 w 124"/>
                  <a:gd name="T37" fmla="*/ 44 h 210"/>
                  <a:gd name="T38" fmla="*/ 48 w 124"/>
                  <a:gd name="T39" fmla="*/ 37 h 210"/>
                  <a:gd name="T40" fmla="*/ 76 w 124"/>
                  <a:gd name="T41" fmla="*/ 7 h 210"/>
                  <a:gd name="T42" fmla="*/ 91 w 124"/>
                  <a:gd name="T43" fmla="*/ 23 h 210"/>
                  <a:gd name="T44" fmla="*/ 87 w 124"/>
                  <a:gd name="T45" fmla="*/ 27 h 210"/>
                  <a:gd name="T46" fmla="*/ 87 w 124"/>
                  <a:gd name="T47" fmla="*/ 33 h 210"/>
                  <a:gd name="T48" fmla="*/ 87 w 124"/>
                  <a:gd name="T49" fmla="*/ 40 h 210"/>
                  <a:gd name="T50" fmla="*/ 88 w 124"/>
                  <a:gd name="T51" fmla="*/ 45 h 210"/>
                  <a:gd name="T52" fmla="*/ 95 w 124"/>
                  <a:gd name="T53" fmla="*/ 48 h 210"/>
                  <a:gd name="T54" fmla="*/ 99 w 124"/>
                  <a:gd name="T55" fmla="*/ 48 h 210"/>
                  <a:gd name="T56" fmla="*/ 92 w 124"/>
                  <a:gd name="T57" fmla="*/ 48 h 210"/>
                  <a:gd name="T58" fmla="*/ 95 w 124"/>
                  <a:gd name="T59" fmla="*/ 58 h 210"/>
                  <a:gd name="T60" fmla="*/ 94 w 124"/>
                  <a:gd name="T61" fmla="*/ 59 h 210"/>
                  <a:gd name="T62" fmla="*/ 94 w 124"/>
                  <a:gd name="T63" fmla="*/ 63 h 210"/>
                  <a:gd name="T64" fmla="*/ 89 w 124"/>
                  <a:gd name="T65" fmla="*/ 67 h 210"/>
                  <a:gd name="T66" fmla="*/ 87 w 124"/>
                  <a:gd name="T67" fmla="*/ 69 h 210"/>
                  <a:gd name="T68" fmla="*/ 87 w 124"/>
                  <a:gd name="T69" fmla="*/ 73 h 210"/>
                  <a:gd name="T70" fmla="*/ 91 w 124"/>
                  <a:gd name="T71" fmla="*/ 80 h 210"/>
                  <a:gd name="T72" fmla="*/ 85 w 124"/>
                  <a:gd name="T73" fmla="*/ 84 h 210"/>
                  <a:gd name="T74" fmla="*/ 80 w 124"/>
                  <a:gd name="T75" fmla="*/ 92 h 210"/>
                  <a:gd name="T76" fmla="*/ 77 w 124"/>
                  <a:gd name="T77" fmla="*/ 103 h 210"/>
                  <a:gd name="T78" fmla="*/ 77 w 124"/>
                  <a:gd name="T79" fmla="*/ 111 h 210"/>
                  <a:gd name="T80" fmla="*/ 107 w 124"/>
                  <a:gd name="T81" fmla="*/ 114 h 210"/>
                  <a:gd name="T82" fmla="*/ 124 w 124"/>
                  <a:gd name="T83" fmla="*/ 154 h 210"/>
                  <a:gd name="T84" fmla="*/ 121 w 124"/>
                  <a:gd name="T85" fmla="*/ 159 h 210"/>
                  <a:gd name="T86" fmla="*/ 116 w 124"/>
                  <a:gd name="T87" fmla="*/ 164 h 210"/>
                  <a:gd name="T88" fmla="*/ 95 w 124"/>
                  <a:gd name="T89" fmla="*/ 187 h 210"/>
                  <a:gd name="T90" fmla="*/ 95 w 124"/>
                  <a:gd name="T91" fmla="*/ 192 h 210"/>
                  <a:gd name="T92" fmla="*/ 72 w 124"/>
                  <a:gd name="T93" fmla="*/ 201 h 210"/>
                  <a:gd name="T94" fmla="*/ 32 w 124"/>
                  <a:gd name="T95" fmla="*/ 209 h 210"/>
                  <a:gd name="T96" fmla="*/ 36 w 124"/>
                  <a:gd name="T97" fmla="*/ 194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4" h="210">
                    <a:moveTo>
                      <a:pt x="39" y="176"/>
                    </a:moveTo>
                    <a:lnTo>
                      <a:pt x="39" y="176"/>
                    </a:lnTo>
                    <a:lnTo>
                      <a:pt x="36" y="176"/>
                    </a:lnTo>
                    <a:lnTo>
                      <a:pt x="32" y="175"/>
                    </a:lnTo>
                    <a:lnTo>
                      <a:pt x="28" y="173"/>
                    </a:lnTo>
                    <a:lnTo>
                      <a:pt x="22" y="172"/>
                    </a:lnTo>
                    <a:lnTo>
                      <a:pt x="19" y="170"/>
                    </a:lnTo>
                    <a:lnTo>
                      <a:pt x="15" y="169"/>
                    </a:lnTo>
                    <a:lnTo>
                      <a:pt x="14" y="168"/>
                    </a:lnTo>
                    <a:lnTo>
                      <a:pt x="8" y="137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10" y="136"/>
                    </a:lnTo>
                    <a:lnTo>
                      <a:pt x="10" y="135"/>
                    </a:lnTo>
                    <a:lnTo>
                      <a:pt x="10" y="135"/>
                    </a:lnTo>
                    <a:lnTo>
                      <a:pt x="10" y="133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7" y="131"/>
                    </a:lnTo>
                    <a:lnTo>
                      <a:pt x="6" y="129"/>
                    </a:lnTo>
                    <a:lnTo>
                      <a:pt x="4" y="126"/>
                    </a:lnTo>
                    <a:lnTo>
                      <a:pt x="3" y="124"/>
                    </a:lnTo>
                    <a:lnTo>
                      <a:pt x="1" y="121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1" y="103"/>
                    </a:lnTo>
                    <a:lnTo>
                      <a:pt x="11" y="103"/>
                    </a:lnTo>
                    <a:lnTo>
                      <a:pt x="10" y="102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9"/>
                    </a:lnTo>
                    <a:lnTo>
                      <a:pt x="10" y="98"/>
                    </a:lnTo>
                    <a:lnTo>
                      <a:pt x="15" y="91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8" y="91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2" y="89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3" y="81"/>
                    </a:lnTo>
                    <a:lnTo>
                      <a:pt x="23" y="78"/>
                    </a:lnTo>
                    <a:lnTo>
                      <a:pt x="22" y="76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2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1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70"/>
                    </a:lnTo>
                    <a:lnTo>
                      <a:pt x="19" y="69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22" y="67"/>
                    </a:lnTo>
                    <a:lnTo>
                      <a:pt x="23" y="67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6" y="65"/>
                    </a:lnTo>
                    <a:lnTo>
                      <a:pt x="26" y="62"/>
                    </a:lnTo>
                    <a:lnTo>
                      <a:pt x="28" y="59"/>
                    </a:lnTo>
                    <a:lnTo>
                      <a:pt x="26" y="55"/>
                    </a:lnTo>
                    <a:lnTo>
                      <a:pt x="25" y="49"/>
                    </a:lnTo>
                    <a:lnTo>
                      <a:pt x="22" y="44"/>
                    </a:lnTo>
                    <a:lnTo>
                      <a:pt x="30" y="40"/>
                    </a:lnTo>
                    <a:lnTo>
                      <a:pt x="37" y="37"/>
                    </a:lnTo>
                    <a:lnTo>
                      <a:pt x="43" y="33"/>
                    </a:lnTo>
                    <a:lnTo>
                      <a:pt x="48" y="37"/>
                    </a:lnTo>
                    <a:lnTo>
                      <a:pt x="54" y="30"/>
                    </a:lnTo>
                    <a:lnTo>
                      <a:pt x="52" y="3"/>
                    </a:lnTo>
                    <a:lnTo>
                      <a:pt x="77" y="0"/>
                    </a:lnTo>
                    <a:lnTo>
                      <a:pt x="76" y="7"/>
                    </a:lnTo>
                    <a:lnTo>
                      <a:pt x="80" y="12"/>
                    </a:lnTo>
                    <a:lnTo>
                      <a:pt x="88" y="15"/>
                    </a:lnTo>
                    <a:lnTo>
                      <a:pt x="92" y="22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89" y="25"/>
                    </a:lnTo>
                    <a:lnTo>
                      <a:pt x="88" y="26"/>
                    </a:lnTo>
                    <a:lnTo>
                      <a:pt x="87" y="27"/>
                    </a:lnTo>
                    <a:lnTo>
                      <a:pt x="87" y="30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6"/>
                    </a:lnTo>
                    <a:lnTo>
                      <a:pt x="87" y="37"/>
                    </a:lnTo>
                    <a:lnTo>
                      <a:pt x="87" y="40"/>
                    </a:lnTo>
                    <a:lnTo>
                      <a:pt x="87" y="43"/>
                    </a:lnTo>
                    <a:lnTo>
                      <a:pt x="87" y="44"/>
                    </a:lnTo>
                    <a:lnTo>
                      <a:pt x="88" y="45"/>
                    </a:lnTo>
                    <a:lnTo>
                      <a:pt x="88" y="45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4" y="47"/>
                    </a:lnTo>
                    <a:lnTo>
                      <a:pt x="95" y="48"/>
                    </a:lnTo>
                    <a:lnTo>
                      <a:pt x="98" y="48"/>
                    </a:lnTo>
                    <a:lnTo>
                      <a:pt x="99" y="48"/>
                    </a:lnTo>
                    <a:lnTo>
                      <a:pt x="100" y="48"/>
                    </a:lnTo>
                    <a:lnTo>
                      <a:pt x="99" y="48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2" y="48"/>
                    </a:lnTo>
                    <a:lnTo>
                      <a:pt x="91" y="49"/>
                    </a:lnTo>
                    <a:lnTo>
                      <a:pt x="89" y="49"/>
                    </a:lnTo>
                    <a:lnTo>
                      <a:pt x="89" y="52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5" y="58"/>
                    </a:lnTo>
                    <a:lnTo>
                      <a:pt x="94" y="59"/>
                    </a:lnTo>
                    <a:lnTo>
                      <a:pt x="94" y="60"/>
                    </a:lnTo>
                    <a:lnTo>
                      <a:pt x="94" y="60"/>
                    </a:lnTo>
                    <a:lnTo>
                      <a:pt x="94" y="62"/>
                    </a:lnTo>
                    <a:lnTo>
                      <a:pt x="94" y="63"/>
                    </a:lnTo>
                    <a:lnTo>
                      <a:pt x="92" y="65"/>
                    </a:lnTo>
                    <a:lnTo>
                      <a:pt x="92" y="66"/>
                    </a:lnTo>
                    <a:lnTo>
                      <a:pt x="91" y="67"/>
                    </a:lnTo>
                    <a:lnTo>
                      <a:pt x="89" y="67"/>
                    </a:lnTo>
                    <a:lnTo>
                      <a:pt x="88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69"/>
                    </a:lnTo>
                    <a:lnTo>
                      <a:pt x="87" y="70"/>
                    </a:lnTo>
                    <a:lnTo>
                      <a:pt x="85" y="71"/>
                    </a:lnTo>
                    <a:lnTo>
                      <a:pt x="87" y="73"/>
                    </a:lnTo>
                    <a:lnTo>
                      <a:pt x="87" y="74"/>
                    </a:lnTo>
                    <a:lnTo>
                      <a:pt x="88" y="77"/>
                    </a:lnTo>
                    <a:lnTo>
                      <a:pt x="89" y="78"/>
                    </a:lnTo>
                    <a:lnTo>
                      <a:pt x="91" y="80"/>
                    </a:lnTo>
                    <a:lnTo>
                      <a:pt x="91" y="80"/>
                    </a:lnTo>
                    <a:lnTo>
                      <a:pt x="89" y="81"/>
                    </a:lnTo>
                    <a:lnTo>
                      <a:pt x="87" y="82"/>
                    </a:lnTo>
                    <a:lnTo>
                      <a:pt x="85" y="84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80" y="89"/>
                    </a:lnTo>
                    <a:lnTo>
                      <a:pt x="80" y="92"/>
                    </a:lnTo>
                    <a:lnTo>
                      <a:pt x="80" y="100"/>
                    </a:lnTo>
                    <a:lnTo>
                      <a:pt x="78" y="100"/>
                    </a:lnTo>
                    <a:lnTo>
                      <a:pt x="78" y="102"/>
                    </a:lnTo>
                    <a:lnTo>
                      <a:pt x="77" y="103"/>
                    </a:lnTo>
                    <a:lnTo>
                      <a:pt x="77" y="106"/>
                    </a:lnTo>
                    <a:lnTo>
                      <a:pt x="76" y="107"/>
                    </a:lnTo>
                    <a:lnTo>
                      <a:pt x="76" y="110"/>
                    </a:lnTo>
                    <a:lnTo>
                      <a:pt x="77" y="111"/>
                    </a:lnTo>
                    <a:lnTo>
                      <a:pt x="80" y="113"/>
                    </a:lnTo>
                    <a:lnTo>
                      <a:pt x="91" y="111"/>
                    </a:lnTo>
                    <a:lnTo>
                      <a:pt x="98" y="110"/>
                    </a:lnTo>
                    <a:lnTo>
                      <a:pt x="107" y="114"/>
                    </a:lnTo>
                    <a:lnTo>
                      <a:pt x="107" y="128"/>
                    </a:lnTo>
                    <a:lnTo>
                      <a:pt x="116" y="129"/>
                    </a:lnTo>
                    <a:lnTo>
                      <a:pt x="120" y="137"/>
                    </a:lnTo>
                    <a:lnTo>
                      <a:pt x="124" y="154"/>
                    </a:lnTo>
                    <a:lnTo>
                      <a:pt x="124" y="155"/>
                    </a:lnTo>
                    <a:lnTo>
                      <a:pt x="124" y="155"/>
                    </a:lnTo>
                    <a:lnTo>
                      <a:pt x="122" y="157"/>
                    </a:lnTo>
                    <a:lnTo>
                      <a:pt x="121" y="159"/>
                    </a:lnTo>
                    <a:lnTo>
                      <a:pt x="121" y="161"/>
                    </a:lnTo>
                    <a:lnTo>
                      <a:pt x="118" y="162"/>
                    </a:lnTo>
                    <a:lnTo>
                      <a:pt x="117" y="164"/>
                    </a:lnTo>
                    <a:lnTo>
                      <a:pt x="116" y="164"/>
                    </a:lnTo>
                    <a:lnTo>
                      <a:pt x="106" y="170"/>
                    </a:lnTo>
                    <a:lnTo>
                      <a:pt x="95" y="175"/>
                    </a:lnTo>
                    <a:lnTo>
                      <a:pt x="95" y="186"/>
                    </a:lnTo>
                    <a:lnTo>
                      <a:pt x="95" y="187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1"/>
                    </a:lnTo>
                    <a:lnTo>
                      <a:pt x="95" y="192"/>
                    </a:lnTo>
                    <a:lnTo>
                      <a:pt x="94" y="194"/>
                    </a:lnTo>
                    <a:lnTo>
                      <a:pt x="91" y="194"/>
                    </a:lnTo>
                    <a:lnTo>
                      <a:pt x="85" y="192"/>
                    </a:lnTo>
                    <a:lnTo>
                      <a:pt x="72" y="201"/>
                    </a:lnTo>
                    <a:lnTo>
                      <a:pt x="58" y="202"/>
                    </a:lnTo>
                    <a:lnTo>
                      <a:pt x="44" y="209"/>
                    </a:lnTo>
                    <a:lnTo>
                      <a:pt x="32" y="210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3" y="203"/>
                    </a:lnTo>
                    <a:lnTo>
                      <a:pt x="34" y="199"/>
                    </a:lnTo>
                    <a:lnTo>
                      <a:pt x="36" y="194"/>
                    </a:lnTo>
                    <a:lnTo>
                      <a:pt x="37" y="188"/>
                    </a:lnTo>
                    <a:lnTo>
                      <a:pt x="37" y="183"/>
                    </a:lnTo>
                    <a:lnTo>
                      <a:pt x="39" y="17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4" name="Freeform 876"/>
              <p:cNvSpPr>
                <a:spLocks/>
              </p:cNvSpPr>
              <p:nvPr/>
            </p:nvSpPr>
            <p:spPr bwMode="auto">
              <a:xfrm>
                <a:off x="2816" y="1911"/>
                <a:ext cx="124" cy="210"/>
              </a:xfrm>
              <a:custGeom>
                <a:avLst/>
                <a:gdLst>
                  <a:gd name="T0" fmla="*/ 32 w 124"/>
                  <a:gd name="T1" fmla="*/ 175 h 210"/>
                  <a:gd name="T2" fmla="*/ 19 w 124"/>
                  <a:gd name="T3" fmla="*/ 170 h 210"/>
                  <a:gd name="T4" fmla="*/ 8 w 124"/>
                  <a:gd name="T5" fmla="*/ 137 h 210"/>
                  <a:gd name="T6" fmla="*/ 10 w 124"/>
                  <a:gd name="T7" fmla="*/ 135 h 210"/>
                  <a:gd name="T8" fmla="*/ 7 w 124"/>
                  <a:gd name="T9" fmla="*/ 131 h 210"/>
                  <a:gd name="T10" fmla="*/ 3 w 124"/>
                  <a:gd name="T11" fmla="*/ 124 h 210"/>
                  <a:gd name="T12" fmla="*/ 0 w 124"/>
                  <a:gd name="T13" fmla="*/ 114 h 210"/>
                  <a:gd name="T14" fmla="*/ 10 w 124"/>
                  <a:gd name="T15" fmla="*/ 102 h 210"/>
                  <a:gd name="T16" fmla="*/ 10 w 124"/>
                  <a:gd name="T17" fmla="*/ 98 h 210"/>
                  <a:gd name="T18" fmla="*/ 18 w 124"/>
                  <a:gd name="T19" fmla="*/ 91 h 210"/>
                  <a:gd name="T20" fmla="*/ 22 w 124"/>
                  <a:gd name="T21" fmla="*/ 89 h 210"/>
                  <a:gd name="T22" fmla="*/ 23 w 124"/>
                  <a:gd name="T23" fmla="*/ 85 h 210"/>
                  <a:gd name="T24" fmla="*/ 23 w 124"/>
                  <a:gd name="T25" fmla="*/ 81 h 210"/>
                  <a:gd name="T26" fmla="*/ 22 w 124"/>
                  <a:gd name="T27" fmla="*/ 73 h 210"/>
                  <a:gd name="T28" fmla="*/ 19 w 124"/>
                  <a:gd name="T29" fmla="*/ 71 h 210"/>
                  <a:gd name="T30" fmla="*/ 21 w 124"/>
                  <a:gd name="T31" fmla="*/ 69 h 210"/>
                  <a:gd name="T32" fmla="*/ 23 w 124"/>
                  <a:gd name="T33" fmla="*/ 67 h 210"/>
                  <a:gd name="T34" fmla="*/ 26 w 124"/>
                  <a:gd name="T35" fmla="*/ 65 h 210"/>
                  <a:gd name="T36" fmla="*/ 26 w 124"/>
                  <a:gd name="T37" fmla="*/ 55 h 210"/>
                  <a:gd name="T38" fmla="*/ 30 w 124"/>
                  <a:gd name="T39" fmla="*/ 40 h 210"/>
                  <a:gd name="T40" fmla="*/ 48 w 124"/>
                  <a:gd name="T41" fmla="*/ 37 h 210"/>
                  <a:gd name="T42" fmla="*/ 77 w 124"/>
                  <a:gd name="T43" fmla="*/ 0 h 210"/>
                  <a:gd name="T44" fmla="*/ 88 w 124"/>
                  <a:gd name="T45" fmla="*/ 15 h 210"/>
                  <a:gd name="T46" fmla="*/ 89 w 124"/>
                  <a:gd name="T47" fmla="*/ 25 h 210"/>
                  <a:gd name="T48" fmla="*/ 87 w 124"/>
                  <a:gd name="T49" fmla="*/ 30 h 210"/>
                  <a:gd name="T50" fmla="*/ 87 w 124"/>
                  <a:gd name="T51" fmla="*/ 34 h 210"/>
                  <a:gd name="T52" fmla="*/ 87 w 124"/>
                  <a:gd name="T53" fmla="*/ 40 h 210"/>
                  <a:gd name="T54" fmla="*/ 88 w 124"/>
                  <a:gd name="T55" fmla="*/ 45 h 210"/>
                  <a:gd name="T56" fmla="*/ 94 w 124"/>
                  <a:gd name="T57" fmla="*/ 47 h 210"/>
                  <a:gd name="T58" fmla="*/ 99 w 124"/>
                  <a:gd name="T59" fmla="*/ 48 h 210"/>
                  <a:gd name="T60" fmla="*/ 98 w 124"/>
                  <a:gd name="T61" fmla="*/ 48 h 210"/>
                  <a:gd name="T62" fmla="*/ 92 w 124"/>
                  <a:gd name="T63" fmla="*/ 48 h 210"/>
                  <a:gd name="T64" fmla="*/ 89 w 124"/>
                  <a:gd name="T65" fmla="*/ 52 h 210"/>
                  <a:gd name="T66" fmla="*/ 94 w 124"/>
                  <a:gd name="T67" fmla="*/ 60 h 210"/>
                  <a:gd name="T68" fmla="*/ 92 w 124"/>
                  <a:gd name="T69" fmla="*/ 65 h 210"/>
                  <a:gd name="T70" fmla="*/ 89 w 124"/>
                  <a:gd name="T71" fmla="*/ 67 h 210"/>
                  <a:gd name="T72" fmla="*/ 87 w 124"/>
                  <a:gd name="T73" fmla="*/ 70 h 210"/>
                  <a:gd name="T74" fmla="*/ 87 w 124"/>
                  <a:gd name="T75" fmla="*/ 74 h 210"/>
                  <a:gd name="T76" fmla="*/ 91 w 124"/>
                  <a:gd name="T77" fmla="*/ 80 h 210"/>
                  <a:gd name="T78" fmla="*/ 85 w 124"/>
                  <a:gd name="T79" fmla="*/ 84 h 210"/>
                  <a:gd name="T80" fmla="*/ 80 w 124"/>
                  <a:gd name="T81" fmla="*/ 89 h 210"/>
                  <a:gd name="T82" fmla="*/ 78 w 124"/>
                  <a:gd name="T83" fmla="*/ 100 h 210"/>
                  <a:gd name="T84" fmla="*/ 77 w 124"/>
                  <a:gd name="T85" fmla="*/ 106 h 210"/>
                  <a:gd name="T86" fmla="*/ 77 w 124"/>
                  <a:gd name="T87" fmla="*/ 111 h 210"/>
                  <a:gd name="T88" fmla="*/ 98 w 124"/>
                  <a:gd name="T89" fmla="*/ 110 h 210"/>
                  <a:gd name="T90" fmla="*/ 116 w 124"/>
                  <a:gd name="T91" fmla="*/ 129 h 210"/>
                  <a:gd name="T92" fmla="*/ 124 w 124"/>
                  <a:gd name="T93" fmla="*/ 155 h 210"/>
                  <a:gd name="T94" fmla="*/ 121 w 124"/>
                  <a:gd name="T95" fmla="*/ 161 h 210"/>
                  <a:gd name="T96" fmla="*/ 116 w 124"/>
                  <a:gd name="T97" fmla="*/ 164 h 210"/>
                  <a:gd name="T98" fmla="*/ 95 w 124"/>
                  <a:gd name="T99" fmla="*/ 186 h 210"/>
                  <a:gd name="T100" fmla="*/ 96 w 124"/>
                  <a:gd name="T101" fmla="*/ 190 h 210"/>
                  <a:gd name="T102" fmla="*/ 94 w 124"/>
                  <a:gd name="T103" fmla="*/ 194 h 210"/>
                  <a:gd name="T104" fmla="*/ 72 w 124"/>
                  <a:gd name="T105" fmla="*/ 201 h 210"/>
                  <a:gd name="T106" fmla="*/ 32 w 124"/>
                  <a:gd name="T107" fmla="*/ 210 h 210"/>
                  <a:gd name="T108" fmla="*/ 33 w 124"/>
                  <a:gd name="T109" fmla="*/ 203 h 210"/>
                  <a:gd name="T110" fmla="*/ 37 w 124"/>
                  <a:gd name="T111" fmla="*/ 188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4" h="210">
                    <a:moveTo>
                      <a:pt x="39" y="176"/>
                    </a:moveTo>
                    <a:lnTo>
                      <a:pt x="36" y="176"/>
                    </a:lnTo>
                    <a:lnTo>
                      <a:pt x="32" y="175"/>
                    </a:lnTo>
                    <a:lnTo>
                      <a:pt x="28" y="173"/>
                    </a:lnTo>
                    <a:lnTo>
                      <a:pt x="22" y="172"/>
                    </a:lnTo>
                    <a:lnTo>
                      <a:pt x="19" y="170"/>
                    </a:lnTo>
                    <a:lnTo>
                      <a:pt x="15" y="169"/>
                    </a:lnTo>
                    <a:lnTo>
                      <a:pt x="14" y="168"/>
                    </a:lnTo>
                    <a:lnTo>
                      <a:pt x="8" y="137"/>
                    </a:lnTo>
                    <a:lnTo>
                      <a:pt x="8" y="136"/>
                    </a:lnTo>
                    <a:lnTo>
                      <a:pt x="10" y="136"/>
                    </a:lnTo>
                    <a:lnTo>
                      <a:pt x="10" y="135"/>
                    </a:lnTo>
                    <a:lnTo>
                      <a:pt x="10" y="133"/>
                    </a:lnTo>
                    <a:lnTo>
                      <a:pt x="8" y="132"/>
                    </a:lnTo>
                    <a:lnTo>
                      <a:pt x="7" y="131"/>
                    </a:lnTo>
                    <a:lnTo>
                      <a:pt x="6" y="129"/>
                    </a:lnTo>
                    <a:lnTo>
                      <a:pt x="4" y="126"/>
                    </a:lnTo>
                    <a:lnTo>
                      <a:pt x="3" y="124"/>
                    </a:lnTo>
                    <a:lnTo>
                      <a:pt x="1" y="121"/>
                    </a:lnTo>
                    <a:lnTo>
                      <a:pt x="1" y="117"/>
                    </a:lnTo>
                    <a:lnTo>
                      <a:pt x="0" y="114"/>
                    </a:lnTo>
                    <a:lnTo>
                      <a:pt x="12" y="104"/>
                    </a:lnTo>
                    <a:lnTo>
                      <a:pt x="11" y="103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9"/>
                    </a:lnTo>
                    <a:lnTo>
                      <a:pt x="10" y="98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8" y="91"/>
                    </a:lnTo>
                    <a:lnTo>
                      <a:pt x="19" y="89"/>
                    </a:lnTo>
                    <a:lnTo>
                      <a:pt x="21" y="89"/>
                    </a:lnTo>
                    <a:lnTo>
                      <a:pt x="22" y="89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4"/>
                    </a:lnTo>
                    <a:lnTo>
                      <a:pt x="23" y="82"/>
                    </a:lnTo>
                    <a:lnTo>
                      <a:pt x="23" y="81"/>
                    </a:lnTo>
                    <a:lnTo>
                      <a:pt x="23" y="78"/>
                    </a:lnTo>
                    <a:lnTo>
                      <a:pt x="22" y="76"/>
                    </a:lnTo>
                    <a:lnTo>
                      <a:pt x="22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9" y="70"/>
                    </a:lnTo>
                    <a:lnTo>
                      <a:pt x="19" y="69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22" y="67"/>
                    </a:lnTo>
                    <a:lnTo>
                      <a:pt x="23" y="67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6" y="65"/>
                    </a:lnTo>
                    <a:lnTo>
                      <a:pt x="26" y="62"/>
                    </a:lnTo>
                    <a:lnTo>
                      <a:pt x="28" y="59"/>
                    </a:lnTo>
                    <a:lnTo>
                      <a:pt x="26" y="55"/>
                    </a:lnTo>
                    <a:lnTo>
                      <a:pt x="25" y="49"/>
                    </a:lnTo>
                    <a:lnTo>
                      <a:pt x="22" y="44"/>
                    </a:lnTo>
                    <a:lnTo>
                      <a:pt x="30" y="40"/>
                    </a:lnTo>
                    <a:lnTo>
                      <a:pt x="37" y="37"/>
                    </a:lnTo>
                    <a:lnTo>
                      <a:pt x="43" y="33"/>
                    </a:lnTo>
                    <a:lnTo>
                      <a:pt x="48" y="37"/>
                    </a:lnTo>
                    <a:lnTo>
                      <a:pt x="54" y="30"/>
                    </a:lnTo>
                    <a:lnTo>
                      <a:pt x="52" y="3"/>
                    </a:lnTo>
                    <a:lnTo>
                      <a:pt x="77" y="0"/>
                    </a:lnTo>
                    <a:lnTo>
                      <a:pt x="76" y="7"/>
                    </a:lnTo>
                    <a:lnTo>
                      <a:pt x="80" y="12"/>
                    </a:lnTo>
                    <a:lnTo>
                      <a:pt x="88" y="15"/>
                    </a:lnTo>
                    <a:lnTo>
                      <a:pt x="92" y="22"/>
                    </a:lnTo>
                    <a:lnTo>
                      <a:pt x="91" y="23"/>
                    </a:lnTo>
                    <a:lnTo>
                      <a:pt x="89" y="25"/>
                    </a:lnTo>
                    <a:lnTo>
                      <a:pt x="88" y="26"/>
                    </a:lnTo>
                    <a:lnTo>
                      <a:pt x="87" y="27"/>
                    </a:lnTo>
                    <a:lnTo>
                      <a:pt x="87" y="30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6"/>
                    </a:lnTo>
                    <a:lnTo>
                      <a:pt x="87" y="37"/>
                    </a:lnTo>
                    <a:lnTo>
                      <a:pt x="87" y="40"/>
                    </a:lnTo>
                    <a:lnTo>
                      <a:pt x="87" y="43"/>
                    </a:lnTo>
                    <a:lnTo>
                      <a:pt x="87" y="44"/>
                    </a:lnTo>
                    <a:lnTo>
                      <a:pt x="88" y="45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4" y="47"/>
                    </a:lnTo>
                    <a:lnTo>
                      <a:pt x="95" y="48"/>
                    </a:lnTo>
                    <a:lnTo>
                      <a:pt x="98" y="48"/>
                    </a:lnTo>
                    <a:lnTo>
                      <a:pt x="99" y="48"/>
                    </a:lnTo>
                    <a:lnTo>
                      <a:pt x="100" y="48"/>
                    </a:lnTo>
                    <a:lnTo>
                      <a:pt x="99" y="48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5" y="48"/>
                    </a:lnTo>
                    <a:lnTo>
                      <a:pt x="92" y="48"/>
                    </a:lnTo>
                    <a:lnTo>
                      <a:pt x="91" y="49"/>
                    </a:lnTo>
                    <a:lnTo>
                      <a:pt x="89" y="49"/>
                    </a:lnTo>
                    <a:lnTo>
                      <a:pt x="89" y="52"/>
                    </a:lnTo>
                    <a:lnTo>
                      <a:pt x="95" y="58"/>
                    </a:lnTo>
                    <a:lnTo>
                      <a:pt x="94" y="59"/>
                    </a:lnTo>
                    <a:lnTo>
                      <a:pt x="94" y="60"/>
                    </a:lnTo>
                    <a:lnTo>
                      <a:pt x="94" y="62"/>
                    </a:lnTo>
                    <a:lnTo>
                      <a:pt x="94" y="63"/>
                    </a:lnTo>
                    <a:lnTo>
                      <a:pt x="92" y="65"/>
                    </a:lnTo>
                    <a:lnTo>
                      <a:pt x="92" y="66"/>
                    </a:lnTo>
                    <a:lnTo>
                      <a:pt x="91" y="67"/>
                    </a:lnTo>
                    <a:lnTo>
                      <a:pt x="89" y="67"/>
                    </a:lnTo>
                    <a:lnTo>
                      <a:pt x="88" y="69"/>
                    </a:lnTo>
                    <a:lnTo>
                      <a:pt x="87" y="69"/>
                    </a:lnTo>
                    <a:lnTo>
                      <a:pt x="87" y="70"/>
                    </a:lnTo>
                    <a:lnTo>
                      <a:pt x="85" y="71"/>
                    </a:lnTo>
                    <a:lnTo>
                      <a:pt x="87" y="73"/>
                    </a:lnTo>
                    <a:lnTo>
                      <a:pt x="87" y="74"/>
                    </a:lnTo>
                    <a:lnTo>
                      <a:pt x="88" y="77"/>
                    </a:lnTo>
                    <a:lnTo>
                      <a:pt x="89" y="78"/>
                    </a:lnTo>
                    <a:lnTo>
                      <a:pt x="91" y="80"/>
                    </a:lnTo>
                    <a:lnTo>
                      <a:pt x="89" y="81"/>
                    </a:lnTo>
                    <a:lnTo>
                      <a:pt x="87" y="82"/>
                    </a:lnTo>
                    <a:lnTo>
                      <a:pt x="85" y="84"/>
                    </a:lnTo>
                    <a:lnTo>
                      <a:pt x="83" y="85"/>
                    </a:lnTo>
                    <a:lnTo>
                      <a:pt x="81" y="88"/>
                    </a:lnTo>
                    <a:lnTo>
                      <a:pt x="80" y="89"/>
                    </a:lnTo>
                    <a:lnTo>
                      <a:pt x="80" y="92"/>
                    </a:lnTo>
                    <a:lnTo>
                      <a:pt x="80" y="100"/>
                    </a:lnTo>
                    <a:lnTo>
                      <a:pt x="78" y="100"/>
                    </a:lnTo>
                    <a:lnTo>
                      <a:pt x="78" y="102"/>
                    </a:lnTo>
                    <a:lnTo>
                      <a:pt x="77" y="103"/>
                    </a:lnTo>
                    <a:lnTo>
                      <a:pt x="77" y="106"/>
                    </a:lnTo>
                    <a:lnTo>
                      <a:pt x="76" y="107"/>
                    </a:lnTo>
                    <a:lnTo>
                      <a:pt x="76" y="110"/>
                    </a:lnTo>
                    <a:lnTo>
                      <a:pt x="77" y="111"/>
                    </a:lnTo>
                    <a:lnTo>
                      <a:pt x="80" y="113"/>
                    </a:lnTo>
                    <a:lnTo>
                      <a:pt x="91" y="111"/>
                    </a:lnTo>
                    <a:lnTo>
                      <a:pt x="98" y="110"/>
                    </a:lnTo>
                    <a:lnTo>
                      <a:pt x="107" y="114"/>
                    </a:lnTo>
                    <a:lnTo>
                      <a:pt x="107" y="128"/>
                    </a:lnTo>
                    <a:lnTo>
                      <a:pt x="116" y="129"/>
                    </a:lnTo>
                    <a:lnTo>
                      <a:pt x="120" y="137"/>
                    </a:lnTo>
                    <a:lnTo>
                      <a:pt x="124" y="154"/>
                    </a:lnTo>
                    <a:lnTo>
                      <a:pt x="124" y="155"/>
                    </a:lnTo>
                    <a:lnTo>
                      <a:pt x="122" y="157"/>
                    </a:lnTo>
                    <a:lnTo>
                      <a:pt x="121" y="159"/>
                    </a:lnTo>
                    <a:lnTo>
                      <a:pt x="121" y="161"/>
                    </a:lnTo>
                    <a:lnTo>
                      <a:pt x="118" y="162"/>
                    </a:lnTo>
                    <a:lnTo>
                      <a:pt x="117" y="164"/>
                    </a:lnTo>
                    <a:lnTo>
                      <a:pt x="116" y="164"/>
                    </a:lnTo>
                    <a:lnTo>
                      <a:pt x="106" y="170"/>
                    </a:lnTo>
                    <a:lnTo>
                      <a:pt x="95" y="175"/>
                    </a:lnTo>
                    <a:lnTo>
                      <a:pt x="95" y="186"/>
                    </a:lnTo>
                    <a:lnTo>
                      <a:pt x="95" y="187"/>
                    </a:lnTo>
                    <a:lnTo>
                      <a:pt x="96" y="188"/>
                    </a:lnTo>
                    <a:lnTo>
                      <a:pt x="96" y="190"/>
                    </a:lnTo>
                    <a:lnTo>
                      <a:pt x="96" y="191"/>
                    </a:lnTo>
                    <a:lnTo>
                      <a:pt x="95" y="192"/>
                    </a:lnTo>
                    <a:lnTo>
                      <a:pt x="94" y="194"/>
                    </a:lnTo>
                    <a:lnTo>
                      <a:pt x="91" y="194"/>
                    </a:lnTo>
                    <a:lnTo>
                      <a:pt x="85" y="192"/>
                    </a:lnTo>
                    <a:lnTo>
                      <a:pt x="72" y="201"/>
                    </a:lnTo>
                    <a:lnTo>
                      <a:pt x="58" y="202"/>
                    </a:lnTo>
                    <a:lnTo>
                      <a:pt x="44" y="209"/>
                    </a:lnTo>
                    <a:lnTo>
                      <a:pt x="32" y="210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3" y="203"/>
                    </a:lnTo>
                    <a:lnTo>
                      <a:pt x="34" y="199"/>
                    </a:lnTo>
                    <a:lnTo>
                      <a:pt x="36" y="194"/>
                    </a:lnTo>
                    <a:lnTo>
                      <a:pt x="37" y="188"/>
                    </a:lnTo>
                    <a:lnTo>
                      <a:pt x="37" y="183"/>
                    </a:lnTo>
                    <a:lnTo>
                      <a:pt x="39" y="17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5" name="Freeform 877"/>
              <p:cNvSpPr>
                <a:spLocks/>
              </p:cNvSpPr>
              <p:nvPr/>
            </p:nvSpPr>
            <p:spPr bwMode="auto">
              <a:xfrm>
                <a:off x="2787" y="1952"/>
                <a:ext cx="55" cy="73"/>
              </a:xfrm>
              <a:custGeom>
                <a:avLst/>
                <a:gdLst>
                  <a:gd name="T0" fmla="*/ 29 w 55"/>
                  <a:gd name="T1" fmla="*/ 73 h 73"/>
                  <a:gd name="T2" fmla="*/ 25 w 55"/>
                  <a:gd name="T3" fmla="*/ 72 h 73"/>
                  <a:gd name="T4" fmla="*/ 21 w 55"/>
                  <a:gd name="T5" fmla="*/ 70 h 73"/>
                  <a:gd name="T6" fmla="*/ 18 w 55"/>
                  <a:gd name="T7" fmla="*/ 68 h 73"/>
                  <a:gd name="T8" fmla="*/ 0 w 55"/>
                  <a:gd name="T9" fmla="*/ 57 h 73"/>
                  <a:gd name="T10" fmla="*/ 8 w 55"/>
                  <a:gd name="T11" fmla="*/ 47 h 73"/>
                  <a:gd name="T12" fmla="*/ 11 w 55"/>
                  <a:gd name="T13" fmla="*/ 44 h 73"/>
                  <a:gd name="T14" fmla="*/ 14 w 55"/>
                  <a:gd name="T15" fmla="*/ 39 h 73"/>
                  <a:gd name="T16" fmla="*/ 17 w 55"/>
                  <a:gd name="T17" fmla="*/ 32 h 73"/>
                  <a:gd name="T18" fmla="*/ 17 w 55"/>
                  <a:gd name="T19" fmla="*/ 28 h 73"/>
                  <a:gd name="T20" fmla="*/ 19 w 55"/>
                  <a:gd name="T21" fmla="*/ 21 h 73"/>
                  <a:gd name="T22" fmla="*/ 26 w 55"/>
                  <a:gd name="T23" fmla="*/ 11 h 73"/>
                  <a:gd name="T24" fmla="*/ 35 w 55"/>
                  <a:gd name="T25" fmla="*/ 3 h 73"/>
                  <a:gd name="T26" fmla="*/ 41 w 55"/>
                  <a:gd name="T27" fmla="*/ 0 h 73"/>
                  <a:gd name="T28" fmla="*/ 43 w 55"/>
                  <a:gd name="T29" fmla="*/ 0 h 73"/>
                  <a:gd name="T30" fmla="*/ 47 w 55"/>
                  <a:gd name="T31" fmla="*/ 0 h 73"/>
                  <a:gd name="T32" fmla="*/ 50 w 55"/>
                  <a:gd name="T33" fmla="*/ 2 h 73"/>
                  <a:gd name="T34" fmla="*/ 52 w 55"/>
                  <a:gd name="T35" fmla="*/ 3 h 73"/>
                  <a:gd name="T36" fmla="*/ 54 w 55"/>
                  <a:gd name="T37" fmla="*/ 7 h 73"/>
                  <a:gd name="T38" fmla="*/ 55 w 55"/>
                  <a:gd name="T39" fmla="*/ 14 h 73"/>
                  <a:gd name="T40" fmla="*/ 55 w 55"/>
                  <a:gd name="T41" fmla="*/ 22 h 73"/>
                  <a:gd name="T42" fmla="*/ 52 w 55"/>
                  <a:gd name="T43" fmla="*/ 26 h 73"/>
                  <a:gd name="T44" fmla="*/ 50 w 55"/>
                  <a:gd name="T45" fmla="*/ 26 h 73"/>
                  <a:gd name="T46" fmla="*/ 48 w 55"/>
                  <a:gd name="T47" fmla="*/ 28 h 73"/>
                  <a:gd name="T48" fmla="*/ 48 w 55"/>
                  <a:gd name="T49" fmla="*/ 30 h 73"/>
                  <a:gd name="T50" fmla="*/ 51 w 55"/>
                  <a:gd name="T51" fmla="*/ 33 h 73"/>
                  <a:gd name="T52" fmla="*/ 51 w 55"/>
                  <a:gd name="T53" fmla="*/ 36 h 73"/>
                  <a:gd name="T54" fmla="*/ 52 w 55"/>
                  <a:gd name="T55" fmla="*/ 41 h 73"/>
                  <a:gd name="T56" fmla="*/ 52 w 55"/>
                  <a:gd name="T57" fmla="*/ 47 h 73"/>
                  <a:gd name="T58" fmla="*/ 44 w 55"/>
                  <a:gd name="T59" fmla="*/ 50 h 73"/>
                  <a:gd name="T60" fmla="*/ 40 w 55"/>
                  <a:gd name="T61" fmla="*/ 55 h 73"/>
                  <a:gd name="T62" fmla="*/ 39 w 55"/>
                  <a:gd name="T63" fmla="*/ 57 h 73"/>
                  <a:gd name="T64" fmla="*/ 39 w 55"/>
                  <a:gd name="T65" fmla="*/ 58 h 73"/>
                  <a:gd name="T66" fmla="*/ 40 w 55"/>
                  <a:gd name="T67" fmla="*/ 61 h 73"/>
                  <a:gd name="T68" fmla="*/ 29 w 55"/>
                  <a:gd name="T69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5" h="73">
                    <a:moveTo>
                      <a:pt x="29" y="73"/>
                    </a:moveTo>
                    <a:lnTo>
                      <a:pt x="29" y="73"/>
                    </a:lnTo>
                    <a:lnTo>
                      <a:pt x="28" y="73"/>
                    </a:lnTo>
                    <a:lnTo>
                      <a:pt x="25" y="72"/>
                    </a:lnTo>
                    <a:lnTo>
                      <a:pt x="24" y="72"/>
                    </a:lnTo>
                    <a:lnTo>
                      <a:pt x="21" y="70"/>
                    </a:lnTo>
                    <a:lnTo>
                      <a:pt x="19" y="69"/>
                    </a:lnTo>
                    <a:lnTo>
                      <a:pt x="18" y="68"/>
                    </a:lnTo>
                    <a:lnTo>
                      <a:pt x="17" y="66"/>
                    </a:lnTo>
                    <a:lnTo>
                      <a:pt x="0" y="57"/>
                    </a:lnTo>
                    <a:lnTo>
                      <a:pt x="7" y="48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11" y="44"/>
                    </a:lnTo>
                    <a:lnTo>
                      <a:pt x="13" y="41"/>
                    </a:lnTo>
                    <a:lnTo>
                      <a:pt x="14" y="39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17" y="29"/>
                    </a:lnTo>
                    <a:lnTo>
                      <a:pt x="17" y="28"/>
                    </a:lnTo>
                    <a:lnTo>
                      <a:pt x="18" y="25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5" y="3"/>
                    </a:lnTo>
                    <a:lnTo>
                      <a:pt x="40" y="0"/>
                    </a:lnTo>
                    <a:lnTo>
                      <a:pt x="41" y="0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2" y="4"/>
                    </a:lnTo>
                    <a:lnTo>
                      <a:pt x="54" y="7"/>
                    </a:lnTo>
                    <a:lnTo>
                      <a:pt x="55" y="11"/>
                    </a:lnTo>
                    <a:lnTo>
                      <a:pt x="55" y="14"/>
                    </a:lnTo>
                    <a:lnTo>
                      <a:pt x="55" y="18"/>
                    </a:lnTo>
                    <a:lnTo>
                      <a:pt x="55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1" y="26"/>
                    </a:lnTo>
                    <a:lnTo>
                      <a:pt x="50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51" y="32"/>
                    </a:lnTo>
                    <a:lnTo>
                      <a:pt x="51" y="33"/>
                    </a:lnTo>
                    <a:lnTo>
                      <a:pt x="51" y="35"/>
                    </a:lnTo>
                    <a:lnTo>
                      <a:pt x="51" y="36"/>
                    </a:lnTo>
                    <a:lnTo>
                      <a:pt x="52" y="39"/>
                    </a:lnTo>
                    <a:lnTo>
                      <a:pt x="52" y="41"/>
                    </a:lnTo>
                    <a:lnTo>
                      <a:pt x="52" y="44"/>
                    </a:lnTo>
                    <a:lnTo>
                      <a:pt x="52" y="47"/>
                    </a:lnTo>
                    <a:lnTo>
                      <a:pt x="51" y="48"/>
                    </a:lnTo>
                    <a:lnTo>
                      <a:pt x="44" y="50"/>
                    </a:lnTo>
                    <a:lnTo>
                      <a:pt x="40" y="55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39" y="57"/>
                    </a:lnTo>
                    <a:lnTo>
                      <a:pt x="39" y="58"/>
                    </a:lnTo>
                    <a:lnTo>
                      <a:pt x="39" y="59"/>
                    </a:lnTo>
                    <a:lnTo>
                      <a:pt x="40" y="61"/>
                    </a:lnTo>
                    <a:lnTo>
                      <a:pt x="41" y="63"/>
                    </a:lnTo>
                    <a:lnTo>
                      <a:pt x="29" y="7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6" name="Freeform 878"/>
              <p:cNvSpPr>
                <a:spLocks/>
              </p:cNvSpPr>
              <p:nvPr/>
            </p:nvSpPr>
            <p:spPr bwMode="auto">
              <a:xfrm>
                <a:off x="2787" y="1952"/>
                <a:ext cx="55" cy="73"/>
              </a:xfrm>
              <a:custGeom>
                <a:avLst/>
                <a:gdLst>
                  <a:gd name="T0" fmla="*/ 28 w 55"/>
                  <a:gd name="T1" fmla="*/ 73 h 73"/>
                  <a:gd name="T2" fmla="*/ 24 w 55"/>
                  <a:gd name="T3" fmla="*/ 72 h 73"/>
                  <a:gd name="T4" fmla="*/ 19 w 55"/>
                  <a:gd name="T5" fmla="*/ 69 h 73"/>
                  <a:gd name="T6" fmla="*/ 17 w 55"/>
                  <a:gd name="T7" fmla="*/ 66 h 73"/>
                  <a:gd name="T8" fmla="*/ 7 w 55"/>
                  <a:gd name="T9" fmla="*/ 48 h 73"/>
                  <a:gd name="T10" fmla="*/ 8 w 55"/>
                  <a:gd name="T11" fmla="*/ 46 h 73"/>
                  <a:gd name="T12" fmla="*/ 13 w 55"/>
                  <a:gd name="T13" fmla="*/ 41 h 73"/>
                  <a:gd name="T14" fmla="*/ 15 w 55"/>
                  <a:gd name="T15" fmla="*/ 35 h 73"/>
                  <a:gd name="T16" fmla="*/ 17 w 55"/>
                  <a:gd name="T17" fmla="*/ 29 h 73"/>
                  <a:gd name="T18" fmla="*/ 18 w 55"/>
                  <a:gd name="T19" fmla="*/ 25 h 73"/>
                  <a:gd name="T20" fmla="*/ 22 w 55"/>
                  <a:gd name="T21" fmla="*/ 17 h 73"/>
                  <a:gd name="T22" fmla="*/ 30 w 55"/>
                  <a:gd name="T23" fmla="*/ 7 h 73"/>
                  <a:gd name="T24" fmla="*/ 40 w 55"/>
                  <a:gd name="T25" fmla="*/ 0 h 73"/>
                  <a:gd name="T26" fmla="*/ 43 w 55"/>
                  <a:gd name="T27" fmla="*/ 0 h 73"/>
                  <a:gd name="T28" fmla="*/ 47 w 55"/>
                  <a:gd name="T29" fmla="*/ 0 h 73"/>
                  <a:gd name="T30" fmla="*/ 50 w 55"/>
                  <a:gd name="T31" fmla="*/ 2 h 73"/>
                  <a:gd name="T32" fmla="*/ 52 w 55"/>
                  <a:gd name="T33" fmla="*/ 3 h 73"/>
                  <a:gd name="T34" fmla="*/ 54 w 55"/>
                  <a:gd name="T35" fmla="*/ 7 h 73"/>
                  <a:gd name="T36" fmla="*/ 55 w 55"/>
                  <a:gd name="T37" fmla="*/ 14 h 73"/>
                  <a:gd name="T38" fmla="*/ 55 w 55"/>
                  <a:gd name="T39" fmla="*/ 22 h 73"/>
                  <a:gd name="T40" fmla="*/ 51 w 55"/>
                  <a:gd name="T41" fmla="*/ 26 h 73"/>
                  <a:gd name="T42" fmla="*/ 48 w 55"/>
                  <a:gd name="T43" fmla="*/ 28 h 73"/>
                  <a:gd name="T44" fmla="*/ 48 w 55"/>
                  <a:gd name="T45" fmla="*/ 30 h 73"/>
                  <a:gd name="T46" fmla="*/ 51 w 55"/>
                  <a:gd name="T47" fmla="*/ 33 h 73"/>
                  <a:gd name="T48" fmla="*/ 51 w 55"/>
                  <a:gd name="T49" fmla="*/ 36 h 73"/>
                  <a:gd name="T50" fmla="*/ 52 w 55"/>
                  <a:gd name="T51" fmla="*/ 41 h 73"/>
                  <a:gd name="T52" fmla="*/ 52 w 55"/>
                  <a:gd name="T53" fmla="*/ 47 h 73"/>
                  <a:gd name="T54" fmla="*/ 44 w 55"/>
                  <a:gd name="T55" fmla="*/ 50 h 73"/>
                  <a:gd name="T56" fmla="*/ 39 w 55"/>
                  <a:gd name="T57" fmla="*/ 55 h 73"/>
                  <a:gd name="T58" fmla="*/ 39 w 55"/>
                  <a:gd name="T59" fmla="*/ 58 h 73"/>
                  <a:gd name="T60" fmla="*/ 40 w 55"/>
                  <a:gd name="T61" fmla="*/ 61 h 73"/>
                  <a:gd name="T62" fmla="*/ 29 w 55"/>
                  <a:gd name="T63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" h="73">
                    <a:moveTo>
                      <a:pt x="29" y="73"/>
                    </a:moveTo>
                    <a:lnTo>
                      <a:pt x="28" y="73"/>
                    </a:lnTo>
                    <a:lnTo>
                      <a:pt x="25" y="72"/>
                    </a:lnTo>
                    <a:lnTo>
                      <a:pt x="24" y="72"/>
                    </a:lnTo>
                    <a:lnTo>
                      <a:pt x="21" y="70"/>
                    </a:lnTo>
                    <a:lnTo>
                      <a:pt x="19" y="69"/>
                    </a:lnTo>
                    <a:lnTo>
                      <a:pt x="18" y="68"/>
                    </a:lnTo>
                    <a:lnTo>
                      <a:pt x="17" y="66"/>
                    </a:lnTo>
                    <a:lnTo>
                      <a:pt x="0" y="57"/>
                    </a:lnTo>
                    <a:lnTo>
                      <a:pt x="7" y="48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11" y="44"/>
                    </a:lnTo>
                    <a:lnTo>
                      <a:pt x="13" y="41"/>
                    </a:lnTo>
                    <a:lnTo>
                      <a:pt x="14" y="39"/>
                    </a:lnTo>
                    <a:lnTo>
                      <a:pt x="15" y="35"/>
                    </a:lnTo>
                    <a:lnTo>
                      <a:pt x="17" y="32"/>
                    </a:lnTo>
                    <a:lnTo>
                      <a:pt x="17" y="29"/>
                    </a:lnTo>
                    <a:lnTo>
                      <a:pt x="17" y="28"/>
                    </a:lnTo>
                    <a:lnTo>
                      <a:pt x="18" y="25"/>
                    </a:lnTo>
                    <a:lnTo>
                      <a:pt x="19" y="21"/>
                    </a:lnTo>
                    <a:lnTo>
                      <a:pt x="22" y="17"/>
                    </a:lnTo>
                    <a:lnTo>
                      <a:pt x="26" y="11"/>
                    </a:lnTo>
                    <a:lnTo>
                      <a:pt x="30" y="7"/>
                    </a:lnTo>
                    <a:lnTo>
                      <a:pt x="35" y="3"/>
                    </a:lnTo>
                    <a:lnTo>
                      <a:pt x="40" y="0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48" y="2"/>
                    </a:lnTo>
                    <a:lnTo>
                      <a:pt x="50" y="2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2" y="4"/>
                    </a:lnTo>
                    <a:lnTo>
                      <a:pt x="54" y="7"/>
                    </a:lnTo>
                    <a:lnTo>
                      <a:pt x="55" y="11"/>
                    </a:lnTo>
                    <a:lnTo>
                      <a:pt x="55" y="14"/>
                    </a:lnTo>
                    <a:lnTo>
                      <a:pt x="55" y="18"/>
                    </a:lnTo>
                    <a:lnTo>
                      <a:pt x="55" y="22"/>
                    </a:lnTo>
                    <a:lnTo>
                      <a:pt x="52" y="26"/>
                    </a:lnTo>
                    <a:lnTo>
                      <a:pt x="51" y="26"/>
                    </a:lnTo>
                    <a:lnTo>
                      <a:pt x="50" y="26"/>
                    </a:lnTo>
                    <a:lnTo>
                      <a:pt x="48" y="28"/>
                    </a:lnTo>
                    <a:lnTo>
                      <a:pt x="48" y="29"/>
                    </a:lnTo>
                    <a:lnTo>
                      <a:pt x="48" y="30"/>
                    </a:lnTo>
                    <a:lnTo>
                      <a:pt x="51" y="32"/>
                    </a:lnTo>
                    <a:lnTo>
                      <a:pt x="51" y="33"/>
                    </a:lnTo>
                    <a:lnTo>
                      <a:pt x="51" y="35"/>
                    </a:lnTo>
                    <a:lnTo>
                      <a:pt x="51" y="36"/>
                    </a:lnTo>
                    <a:lnTo>
                      <a:pt x="52" y="39"/>
                    </a:lnTo>
                    <a:lnTo>
                      <a:pt x="52" y="41"/>
                    </a:lnTo>
                    <a:lnTo>
                      <a:pt x="52" y="44"/>
                    </a:lnTo>
                    <a:lnTo>
                      <a:pt x="52" y="47"/>
                    </a:lnTo>
                    <a:lnTo>
                      <a:pt x="51" y="48"/>
                    </a:lnTo>
                    <a:lnTo>
                      <a:pt x="44" y="50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39" y="57"/>
                    </a:lnTo>
                    <a:lnTo>
                      <a:pt x="39" y="58"/>
                    </a:lnTo>
                    <a:lnTo>
                      <a:pt x="39" y="59"/>
                    </a:lnTo>
                    <a:lnTo>
                      <a:pt x="40" y="61"/>
                    </a:lnTo>
                    <a:lnTo>
                      <a:pt x="41" y="63"/>
                    </a:lnTo>
                    <a:lnTo>
                      <a:pt x="29" y="7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7" name="Freeform 879"/>
              <p:cNvSpPr>
                <a:spLocks/>
              </p:cNvSpPr>
              <p:nvPr/>
            </p:nvSpPr>
            <p:spPr bwMode="auto">
              <a:xfrm>
                <a:off x="2780" y="2009"/>
                <a:ext cx="46" cy="52"/>
              </a:xfrm>
              <a:custGeom>
                <a:avLst/>
                <a:gdLst>
                  <a:gd name="T0" fmla="*/ 7 w 46"/>
                  <a:gd name="T1" fmla="*/ 0 h 52"/>
                  <a:gd name="T2" fmla="*/ 24 w 46"/>
                  <a:gd name="T3" fmla="*/ 9 h 52"/>
                  <a:gd name="T4" fmla="*/ 25 w 46"/>
                  <a:gd name="T5" fmla="*/ 11 h 52"/>
                  <a:gd name="T6" fmla="*/ 25 w 46"/>
                  <a:gd name="T7" fmla="*/ 12 h 52"/>
                  <a:gd name="T8" fmla="*/ 28 w 46"/>
                  <a:gd name="T9" fmla="*/ 13 h 52"/>
                  <a:gd name="T10" fmla="*/ 31 w 46"/>
                  <a:gd name="T11" fmla="*/ 13 h 52"/>
                  <a:gd name="T12" fmla="*/ 32 w 46"/>
                  <a:gd name="T13" fmla="*/ 15 h 52"/>
                  <a:gd name="T14" fmla="*/ 35 w 46"/>
                  <a:gd name="T15" fmla="*/ 16 h 52"/>
                  <a:gd name="T16" fmla="*/ 36 w 46"/>
                  <a:gd name="T17" fmla="*/ 16 h 52"/>
                  <a:gd name="T18" fmla="*/ 36 w 46"/>
                  <a:gd name="T19" fmla="*/ 16 h 52"/>
                  <a:gd name="T20" fmla="*/ 36 w 46"/>
                  <a:gd name="T21" fmla="*/ 19 h 52"/>
                  <a:gd name="T22" fmla="*/ 37 w 46"/>
                  <a:gd name="T23" fmla="*/ 22 h 52"/>
                  <a:gd name="T24" fmla="*/ 39 w 46"/>
                  <a:gd name="T25" fmla="*/ 24 h 52"/>
                  <a:gd name="T26" fmla="*/ 40 w 46"/>
                  <a:gd name="T27" fmla="*/ 27 h 52"/>
                  <a:gd name="T28" fmla="*/ 42 w 46"/>
                  <a:gd name="T29" fmla="*/ 30 h 52"/>
                  <a:gd name="T30" fmla="*/ 43 w 46"/>
                  <a:gd name="T31" fmla="*/ 33 h 52"/>
                  <a:gd name="T32" fmla="*/ 44 w 46"/>
                  <a:gd name="T33" fmla="*/ 34 h 52"/>
                  <a:gd name="T34" fmla="*/ 44 w 46"/>
                  <a:gd name="T35" fmla="*/ 34 h 52"/>
                  <a:gd name="T36" fmla="*/ 46 w 46"/>
                  <a:gd name="T37" fmla="*/ 37 h 52"/>
                  <a:gd name="T38" fmla="*/ 46 w 46"/>
                  <a:gd name="T39" fmla="*/ 38 h 52"/>
                  <a:gd name="T40" fmla="*/ 46 w 46"/>
                  <a:gd name="T41" fmla="*/ 38 h 52"/>
                  <a:gd name="T42" fmla="*/ 44 w 46"/>
                  <a:gd name="T43" fmla="*/ 39 h 52"/>
                  <a:gd name="T44" fmla="*/ 43 w 46"/>
                  <a:gd name="T45" fmla="*/ 39 h 52"/>
                  <a:gd name="T46" fmla="*/ 43 w 46"/>
                  <a:gd name="T47" fmla="*/ 39 h 52"/>
                  <a:gd name="T48" fmla="*/ 42 w 46"/>
                  <a:gd name="T49" fmla="*/ 41 h 52"/>
                  <a:gd name="T50" fmla="*/ 42 w 46"/>
                  <a:gd name="T51" fmla="*/ 41 h 52"/>
                  <a:gd name="T52" fmla="*/ 39 w 46"/>
                  <a:gd name="T53" fmla="*/ 41 h 52"/>
                  <a:gd name="T54" fmla="*/ 36 w 46"/>
                  <a:gd name="T55" fmla="*/ 44 h 52"/>
                  <a:gd name="T56" fmla="*/ 35 w 46"/>
                  <a:gd name="T57" fmla="*/ 45 h 52"/>
                  <a:gd name="T58" fmla="*/ 35 w 46"/>
                  <a:gd name="T59" fmla="*/ 48 h 52"/>
                  <a:gd name="T60" fmla="*/ 33 w 46"/>
                  <a:gd name="T61" fmla="*/ 49 h 52"/>
                  <a:gd name="T62" fmla="*/ 33 w 46"/>
                  <a:gd name="T63" fmla="*/ 50 h 52"/>
                  <a:gd name="T64" fmla="*/ 33 w 46"/>
                  <a:gd name="T65" fmla="*/ 52 h 52"/>
                  <a:gd name="T66" fmla="*/ 33 w 46"/>
                  <a:gd name="T67" fmla="*/ 52 h 52"/>
                  <a:gd name="T68" fmla="*/ 32 w 46"/>
                  <a:gd name="T69" fmla="*/ 49 h 52"/>
                  <a:gd name="T70" fmla="*/ 31 w 46"/>
                  <a:gd name="T71" fmla="*/ 46 h 52"/>
                  <a:gd name="T72" fmla="*/ 29 w 46"/>
                  <a:gd name="T73" fmla="*/ 45 h 52"/>
                  <a:gd name="T74" fmla="*/ 26 w 46"/>
                  <a:gd name="T75" fmla="*/ 44 h 52"/>
                  <a:gd name="T76" fmla="*/ 25 w 46"/>
                  <a:gd name="T77" fmla="*/ 44 h 52"/>
                  <a:gd name="T78" fmla="*/ 24 w 46"/>
                  <a:gd name="T79" fmla="*/ 42 h 52"/>
                  <a:gd name="T80" fmla="*/ 24 w 46"/>
                  <a:gd name="T81" fmla="*/ 42 h 52"/>
                  <a:gd name="T82" fmla="*/ 22 w 46"/>
                  <a:gd name="T83" fmla="*/ 42 h 52"/>
                  <a:gd name="T84" fmla="*/ 20 w 46"/>
                  <a:gd name="T85" fmla="*/ 41 h 52"/>
                  <a:gd name="T86" fmla="*/ 18 w 46"/>
                  <a:gd name="T87" fmla="*/ 38 h 52"/>
                  <a:gd name="T88" fmla="*/ 17 w 46"/>
                  <a:gd name="T89" fmla="*/ 35 h 52"/>
                  <a:gd name="T90" fmla="*/ 17 w 46"/>
                  <a:gd name="T91" fmla="*/ 33 h 52"/>
                  <a:gd name="T92" fmla="*/ 17 w 46"/>
                  <a:gd name="T93" fmla="*/ 30 h 52"/>
                  <a:gd name="T94" fmla="*/ 17 w 46"/>
                  <a:gd name="T95" fmla="*/ 27 h 52"/>
                  <a:gd name="T96" fmla="*/ 17 w 46"/>
                  <a:gd name="T97" fmla="*/ 26 h 52"/>
                  <a:gd name="T98" fmla="*/ 17 w 46"/>
                  <a:gd name="T99" fmla="*/ 26 h 52"/>
                  <a:gd name="T100" fmla="*/ 0 w 46"/>
                  <a:gd name="T101" fmla="*/ 6 h 52"/>
                  <a:gd name="T102" fmla="*/ 0 w 46"/>
                  <a:gd name="T103" fmla="*/ 5 h 52"/>
                  <a:gd name="T104" fmla="*/ 2 w 46"/>
                  <a:gd name="T105" fmla="*/ 5 h 52"/>
                  <a:gd name="T106" fmla="*/ 2 w 46"/>
                  <a:gd name="T107" fmla="*/ 5 h 52"/>
                  <a:gd name="T108" fmla="*/ 3 w 46"/>
                  <a:gd name="T109" fmla="*/ 4 h 52"/>
                  <a:gd name="T110" fmla="*/ 4 w 46"/>
                  <a:gd name="T111" fmla="*/ 2 h 52"/>
                  <a:gd name="T112" fmla="*/ 6 w 46"/>
                  <a:gd name="T113" fmla="*/ 1 h 52"/>
                  <a:gd name="T114" fmla="*/ 7 w 46"/>
                  <a:gd name="T115" fmla="*/ 0 h 52"/>
                  <a:gd name="T116" fmla="*/ 7 w 46"/>
                  <a:gd name="T11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6" h="52">
                    <a:moveTo>
                      <a:pt x="7" y="0"/>
                    </a:moveTo>
                    <a:lnTo>
                      <a:pt x="24" y="9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8" y="13"/>
                    </a:lnTo>
                    <a:lnTo>
                      <a:pt x="31" y="13"/>
                    </a:lnTo>
                    <a:lnTo>
                      <a:pt x="32" y="15"/>
                    </a:lnTo>
                    <a:lnTo>
                      <a:pt x="35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2" y="30"/>
                    </a:lnTo>
                    <a:lnTo>
                      <a:pt x="43" y="33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6" y="38"/>
                    </a:lnTo>
                    <a:lnTo>
                      <a:pt x="44" y="39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2" y="41"/>
                    </a:lnTo>
                    <a:lnTo>
                      <a:pt x="42" y="41"/>
                    </a:lnTo>
                    <a:lnTo>
                      <a:pt x="39" y="41"/>
                    </a:lnTo>
                    <a:lnTo>
                      <a:pt x="36" y="44"/>
                    </a:lnTo>
                    <a:lnTo>
                      <a:pt x="35" y="45"/>
                    </a:lnTo>
                    <a:lnTo>
                      <a:pt x="35" y="48"/>
                    </a:lnTo>
                    <a:lnTo>
                      <a:pt x="33" y="49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3" y="52"/>
                    </a:lnTo>
                    <a:lnTo>
                      <a:pt x="32" y="49"/>
                    </a:lnTo>
                    <a:lnTo>
                      <a:pt x="31" y="46"/>
                    </a:lnTo>
                    <a:lnTo>
                      <a:pt x="29" y="45"/>
                    </a:lnTo>
                    <a:lnTo>
                      <a:pt x="26" y="44"/>
                    </a:lnTo>
                    <a:lnTo>
                      <a:pt x="25" y="44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1"/>
                    </a:lnTo>
                    <a:lnTo>
                      <a:pt x="18" y="38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7" y="30"/>
                    </a:lnTo>
                    <a:lnTo>
                      <a:pt x="17" y="27"/>
                    </a:lnTo>
                    <a:lnTo>
                      <a:pt x="17" y="26"/>
                    </a:lnTo>
                    <a:lnTo>
                      <a:pt x="17" y="2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8" name="Freeform 880"/>
              <p:cNvSpPr>
                <a:spLocks/>
              </p:cNvSpPr>
              <p:nvPr/>
            </p:nvSpPr>
            <p:spPr bwMode="auto">
              <a:xfrm>
                <a:off x="2780" y="2009"/>
                <a:ext cx="46" cy="52"/>
              </a:xfrm>
              <a:custGeom>
                <a:avLst/>
                <a:gdLst>
                  <a:gd name="T0" fmla="*/ 7 w 46"/>
                  <a:gd name="T1" fmla="*/ 0 h 52"/>
                  <a:gd name="T2" fmla="*/ 24 w 46"/>
                  <a:gd name="T3" fmla="*/ 9 h 52"/>
                  <a:gd name="T4" fmla="*/ 25 w 46"/>
                  <a:gd name="T5" fmla="*/ 11 h 52"/>
                  <a:gd name="T6" fmla="*/ 25 w 46"/>
                  <a:gd name="T7" fmla="*/ 12 h 52"/>
                  <a:gd name="T8" fmla="*/ 28 w 46"/>
                  <a:gd name="T9" fmla="*/ 13 h 52"/>
                  <a:gd name="T10" fmla="*/ 31 w 46"/>
                  <a:gd name="T11" fmla="*/ 13 h 52"/>
                  <a:gd name="T12" fmla="*/ 32 w 46"/>
                  <a:gd name="T13" fmla="*/ 15 h 52"/>
                  <a:gd name="T14" fmla="*/ 35 w 46"/>
                  <a:gd name="T15" fmla="*/ 16 h 52"/>
                  <a:gd name="T16" fmla="*/ 36 w 46"/>
                  <a:gd name="T17" fmla="*/ 16 h 52"/>
                  <a:gd name="T18" fmla="*/ 36 w 46"/>
                  <a:gd name="T19" fmla="*/ 19 h 52"/>
                  <a:gd name="T20" fmla="*/ 37 w 46"/>
                  <a:gd name="T21" fmla="*/ 22 h 52"/>
                  <a:gd name="T22" fmla="*/ 39 w 46"/>
                  <a:gd name="T23" fmla="*/ 24 h 52"/>
                  <a:gd name="T24" fmla="*/ 40 w 46"/>
                  <a:gd name="T25" fmla="*/ 27 h 52"/>
                  <a:gd name="T26" fmla="*/ 42 w 46"/>
                  <a:gd name="T27" fmla="*/ 30 h 52"/>
                  <a:gd name="T28" fmla="*/ 43 w 46"/>
                  <a:gd name="T29" fmla="*/ 33 h 52"/>
                  <a:gd name="T30" fmla="*/ 44 w 46"/>
                  <a:gd name="T31" fmla="*/ 34 h 52"/>
                  <a:gd name="T32" fmla="*/ 46 w 46"/>
                  <a:gd name="T33" fmla="*/ 37 h 52"/>
                  <a:gd name="T34" fmla="*/ 46 w 46"/>
                  <a:gd name="T35" fmla="*/ 38 h 52"/>
                  <a:gd name="T36" fmla="*/ 44 w 46"/>
                  <a:gd name="T37" fmla="*/ 39 h 52"/>
                  <a:gd name="T38" fmla="*/ 43 w 46"/>
                  <a:gd name="T39" fmla="*/ 39 h 52"/>
                  <a:gd name="T40" fmla="*/ 42 w 46"/>
                  <a:gd name="T41" fmla="*/ 41 h 52"/>
                  <a:gd name="T42" fmla="*/ 39 w 46"/>
                  <a:gd name="T43" fmla="*/ 41 h 52"/>
                  <a:gd name="T44" fmla="*/ 36 w 46"/>
                  <a:gd name="T45" fmla="*/ 44 h 52"/>
                  <a:gd name="T46" fmla="*/ 35 w 46"/>
                  <a:gd name="T47" fmla="*/ 45 h 52"/>
                  <a:gd name="T48" fmla="*/ 35 w 46"/>
                  <a:gd name="T49" fmla="*/ 48 h 52"/>
                  <a:gd name="T50" fmla="*/ 33 w 46"/>
                  <a:gd name="T51" fmla="*/ 49 h 52"/>
                  <a:gd name="T52" fmla="*/ 33 w 46"/>
                  <a:gd name="T53" fmla="*/ 50 h 52"/>
                  <a:gd name="T54" fmla="*/ 33 w 46"/>
                  <a:gd name="T55" fmla="*/ 52 h 52"/>
                  <a:gd name="T56" fmla="*/ 32 w 46"/>
                  <a:gd name="T57" fmla="*/ 49 h 52"/>
                  <a:gd name="T58" fmla="*/ 31 w 46"/>
                  <a:gd name="T59" fmla="*/ 46 h 52"/>
                  <a:gd name="T60" fmla="*/ 29 w 46"/>
                  <a:gd name="T61" fmla="*/ 45 h 52"/>
                  <a:gd name="T62" fmla="*/ 26 w 46"/>
                  <a:gd name="T63" fmla="*/ 44 h 52"/>
                  <a:gd name="T64" fmla="*/ 25 w 46"/>
                  <a:gd name="T65" fmla="*/ 44 h 52"/>
                  <a:gd name="T66" fmla="*/ 24 w 46"/>
                  <a:gd name="T67" fmla="*/ 42 h 52"/>
                  <a:gd name="T68" fmla="*/ 22 w 46"/>
                  <a:gd name="T69" fmla="*/ 42 h 52"/>
                  <a:gd name="T70" fmla="*/ 20 w 46"/>
                  <a:gd name="T71" fmla="*/ 41 h 52"/>
                  <a:gd name="T72" fmla="*/ 18 w 46"/>
                  <a:gd name="T73" fmla="*/ 38 h 52"/>
                  <a:gd name="T74" fmla="*/ 17 w 46"/>
                  <a:gd name="T75" fmla="*/ 35 h 52"/>
                  <a:gd name="T76" fmla="*/ 17 w 46"/>
                  <a:gd name="T77" fmla="*/ 33 h 52"/>
                  <a:gd name="T78" fmla="*/ 17 w 46"/>
                  <a:gd name="T79" fmla="*/ 30 h 52"/>
                  <a:gd name="T80" fmla="*/ 17 w 46"/>
                  <a:gd name="T81" fmla="*/ 27 h 52"/>
                  <a:gd name="T82" fmla="*/ 17 w 46"/>
                  <a:gd name="T83" fmla="*/ 26 h 52"/>
                  <a:gd name="T84" fmla="*/ 0 w 46"/>
                  <a:gd name="T85" fmla="*/ 6 h 52"/>
                  <a:gd name="T86" fmla="*/ 0 w 46"/>
                  <a:gd name="T87" fmla="*/ 5 h 52"/>
                  <a:gd name="T88" fmla="*/ 2 w 46"/>
                  <a:gd name="T89" fmla="*/ 5 h 52"/>
                  <a:gd name="T90" fmla="*/ 3 w 46"/>
                  <a:gd name="T91" fmla="*/ 4 h 52"/>
                  <a:gd name="T92" fmla="*/ 4 w 46"/>
                  <a:gd name="T93" fmla="*/ 2 h 52"/>
                  <a:gd name="T94" fmla="*/ 6 w 46"/>
                  <a:gd name="T95" fmla="*/ 1 h 52"/>
                  <a:gd name="T96" fmla="*/ 7 w 46"/>
                  <a:gd name="T97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" h="52">
                    <a:moveTo>
                      <a:pt x="7" y="0"/>
                    </a:moveTo>
                    <a:lnTo>
                      <a:pt x="24" y="9"/>
                    </a:lnTo>
                    <a:lnTo>
                      <a:pt x="25" y="11"/>
                    </a:lnTo>
                    <a:lnTo>
                      <a:pt x="25" y="12"/>
                    </a:lnTo>
                    <a:lnTo>
                      <a:pt x="28" y="13"/>
                    </a:lnTo>
                    <a:lnTo>
                      <a:pt x="31" y="13"/>
                    </a:lnTo>
                    <a:lnTo>
                      <a:pt x="32" y="15"/>
                    </a:lnTo>
                    <a:lnTo>
                      <a:pt x="35" y="16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7" y="22"/>
                    </a:lnTo>
                    <a:lnTo>
                      <a:pt x="39" y="24"/>
                    </a:lnTo>
                    <a:lnTo>
                      <a:pt x="40" y="27"/>
                    </a:lnTo>
                    <a:lnTo>
                      <a:pt x="42" y="30"/>
                    </a:lnTo>
                    <a:lnTo>
                      <a:pt x="43" y="33"/>
                    </a:lnTo>
                    <a:lnTo>
                      <a:pt x="44" y="34"/>
                    </a:lnTo>
                    <a:lnTo>
                      <a:pt x="46" y="37"/>
                    </a:lnTo>
                    <a:lnTo>
                      <a:pt x="46" y="38"/>
                    </a:lnTo>
                    <a:lnTo>
                      <a:pt x="44" y="39"/>
                    </a:lnTo>
                    <a:lnTo>
                      <a:pt x="43" y="39"/>
                    </a:lnTo>
                    <a:lnTo>
                      <a:pt x="42" y="41"/>
                    </a:lnTo>
                    <a:lnTo>
                      <a:pt x="39" y="41"/>
                    </a:lnTo>
                    <a:lnTo>
                      <a:pt x="36" y="44"/>
                    </a:lnTo>
                    <a:lnTo>
                      <a:pt x="35" y="45"/>
                    </a:lnTo>
                    <a:lnTo>
                      <a:pt x="35" y="48"/>
                    </a:lnTo>
                    <a:lnTo>
                      <a:pt x="33" y="49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2" y="49"/>
                    </a:lnTo>
                    <a:lnTo>
                      <a:pt x="31" y="46"/>
                    </a:lnTo>
                    <a:lnTo>
                      <a:pt x="29" y="45"/>
                    </a:lnTo>
                    <a:lnTo>
                      <a:pt x="26" y="44"/>
                    </a:lnTo>
                    <a:lnTo>
                      <a:pt x="25" y="44"/>
                    </a:lnTo>
                    <a:lnTo>
                      <a:pt x="24" y="42"/>
                    </a:lnTo>
                    <a:lnTo>
                      <a:pt x="22" y="42"/>
                    </a:lnTo>
                    <a:lnTo>
                      <a:pt x="20" y="41"/>
                    </a:lnTo>
                    <a:lnTo>
                      <a:pt x="18" y="38"/>
                    </a:lnTo>
                    <a:lnTo>
                      <a:pt x="17" y="35"/>
                    </a:lnTo>
                    <a:lnTo>
                      <a:pt x="17" y="33"/>
                    </a:lnTo>
                    <a:lnTo>
                      <a:pt x="17" y="30"/>
                    </a:lnTo>
                    <a:lnTo>
                      <a:pt x="17" y="27"/>
                    </a:lnTo>
                    <a:lnTo>
                      <a:pt x="17" y="26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3" y="4"/>
                    </a:lnTo>
                    <a:lnTo>
                      <a:pt x="4" y="2"/>
                    </a:lnTo>
                    <a:lnTo>
                      <a:pt x="6" y="1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49" name="Freeform 881"/>
              <p:cNvSpPr>
                <a:spLocks/>
              </p:cNvSpPr>
              <p:nvPr/>
            </p:nvSpPr>
            <p:spPr bwMode="auto">
              <a:xfrm>
                <a:off x="2813" y="2048"/>
                <a:ext cx="17" cy="31"/>
              </a:xfrm>
              <a:custGeom>
                <a:avLst/>
                <a:gdLst>
                  <a:gd name="T0" fmla="*/ 11 w 17"/>
                  <a:gd name="T1" fmla="*/ 0 h 31"/>
                  <a:gd name="T2" fmla="*/ 11 w 17"/>
                  <a:gd name="T3" fmla="*/ 0 h 31"/>
                  <a:gd name="T4" fmla="*/ 10 w 17"/>
                  <a:gd name="T5" fmla="*/ 0 h 31"/>
                  <a:gd name="T6" fmla="*/ 7 w 17"/>
                  <a:gd name="T7" fmla="*/ 0 h 31"/>
                  <a:gd name="T8" fmla="*/ 6 w 17"/>
                  <a:gd name="T9" fmla="*/ 2 h 31"/>
                  <a:gd name="T10" fmla="*/ 4 w 17"/>
                  <a:gd name="T11" fmla="*/ 3 h 31"/>
                  <a:gd name="T12" fmla="*/ 2 w 17"/>
                  <a:gd name="T13" fmla="*/ 6 h 31"/>
                  <a:gd name="T14" fmla="*/ 0 w 17"/>
                  <a:gd name="T15" fmla="*/ 9 h 31"/>
                  <a:gd name="T16" fmla="*/ 0 w 17"/>
                  <a:gd name="T17" fmla="*/ 13 h 31"/>
                  <a:gd name="T18" fmla="*/ 0 w 17"/>
                  <a:gd name="T19" fmla="*/ 13 h 31"/>
                  <a:gd name="T20" fmla="*/ 0 w 17"/>
                  <a:gd name="T21" fmla="*/ 14 h 31"/>
                  <a:gd name="T22" fmla="*/ 0 w 17"/>
                  <a:gd name="T23" fmla="*/ 16 h 31"/>
                  <a:gd name="T24" fmla="*/ 2 w 17"/>
                  <a:gd name="T25" fmla="*/ 18 h 31"/>
                  <a:gd name="T26" fmla="*/ 3 w 17"/>
                  <a:gd name="T27" fmla="*/ 21 h 31"/>
                  <a:gd name="T28" fmla="*/ 4 w 17"/>
                  <a:gd name="T29" fmla="*/ 22 h 31"/>
                  <a:gd name="T30" fmla="*/ 7 w 17"/>
                  <a:gd name="T31" fmla="*/ 25 h 31"/>
                  <a:gd name="T32" fmla="*/ 11 w 17"/>
                  <a:gd name="T33" fmla="*/ 28 h 31"/>
                  <a:gd name="T34" fmla="*/ 17 w 17"/>
                  <a:gd name="T35" fmla="*/ 31 h 31"/>
                  <a:gd name="T36" fmla="*/ 11 w 17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" h="31">
                    <a:moveTo>
                      <a:pt x="11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7" y="25"/>
                    </a:lnTo>
                    <a:lnTo>
                      <a:pt x="11" y="28"/>
                    </a:lnTo>
                    <a:lnTo>
                      <a:pt x="17" y="31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0" name="Freeform 882"/>
              <p:cNvSpPr>
                <a:spLocks/>
              </p:cNvSpPr>
              <p:nvPr/>
            </p:nvSpPr>
            <p:spPr bwMode="auto">
              <a:xfrm>
                <a:off x="2813" y="2048"/>
                <a:ext cx="17" cy="31"/>
              </a:xfrm>
              <a:custGeom>
                <a:avLst/>
                <a:gdLst>
                  <a:gd name="T0" fmla="*/ 11 w 17"/>
                  <a:gd name="T1" fmla="*/ 0 h 31"/>
                  <a:gd name="T2" fmla="*/ 10 w 17"/>
                  <a:gd name="T3" fmla="*/ 0 h 31"/>
                  <a:gd name="T4" fmla="*/ 7 w 17"/>
                  <a:gd name="T5" fmla="*/ 0 h 31"/>
                  <a:gd name="T6" fmla="*/ 6 w 17"/>
                  <a:gd name="T7" fmla="*/ 2 h 31"/>
                  <a:gd name="T8" fmla="*/ 4 w 17"/>
                  <a:gd name="T9" fmla="*/ 3 h 31"/>
                  <a:gd name="T10" fmla="*/ 2 w 17"/>
                  <a:gd name="T11" fmla="*/ 6 h 31"/>
                  <a:gd name="T12" fmla="*/ 0 w 17"/>
                  <a:gd name="T13" fmla="*/ 9 h 31"/>
                  <a:gd name="T14" fmla="*/ 0 w 17"/>
                  <a:gd name="T15" fmla="*/ 13 h 31"/>
                  <a:gd name="T16" fmla="*/ 0 w 17"/>
                  <a:gd name="T17" fmla="*/ 14 h 31"/>
                  <a:gd name="T18" fmla="*/ 0 w 17"/>
                  <a:gd name="T19" fmla="*/ 16 h 31"/>
                  <a:gd name="T20" fmla="*/ 2 w 17"/>
                  <a:gd name="T21" fmla="*/ 18 h 31"/>
                  <a:gd name="T22" fmla="*/ 3 w 17"/>
                  <a:gd name="T23" fmla="*/ 21 h 31"/>
                  <a:gd name="T24" fmla="*/ 4 w 17"/>
                  <a:gd name="T25" fmla="*/ 22 h 31"/>
                  <a:gd name="T26" fmla="*/ 7 w 17"/>
                  <a:gd name="T27" fmla="*/ 25 h 31"/>
                  <a:gd name="T28" fmla="*/ 11 w 17"/>
                  <a:gd name="T29" fmla="*/ 28 h 31"/>
                  <a:gd name="T30" fmla="*/ 17 w 17"/>
                  <a:gd name="T31" fmla="*/ 31 h 31"/>
                  <a:gd name="T32" fmla="*/ 11 w 17"/>
                  <a:gd name="T3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31">
                    <a:moveTo>
                      <a:pt x="11" y="0"/>
                    </a:moveTo>
                    <a:lnTo>
                      <a:pt x="10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3" y="21"/>
                    </a:lnTo>
                    <a:lnTo>
                      <a:pt x="4" y="22"/>
                    </a:lnTo>
                    <a:lnTo>
                      <a:pt x="7" y="25"/>
                    </a:lnTo>
                    <a:lnTo>
                      <a:pt x="11" y="28"/>
                    </a:lnTo>
                    <a:lnTo>
                      <a:pt x="17" y="31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1" name="Freeform 883"/>
              <p:cNvSpPr>
                <a:spLocks/>
              </p:cNvSpPr>
              <p:nvPr/>
            </p:nvSpPr>
            <p:spPr bwMode="auto">
              <a:xfrm>
                <a:off x="2570" y="1901"/>
                <a:ext cx="82" cy="102"/>
              </a:xfrm>
              <a:custGeom>
                <a:avLst/>
                <a:gdLst>
                  <a:gd name="T0" fmla="*/ 71 w 82"/>
                  <a:gd name="T1" fmla="*/ 37 h 102"/>
                  <a:gd name="T2" fmla="*/ 69 w 82"/>
                  <a:gd name="T3" fmla="*/ 37 h 102"/>
                  <a:gd name="T4" fmla="*/ 67 w 82"/>
                  <a:gd name="T5" fmla="*/ 36 h 102"/>
                  <a:gd name="T6" fmla="*/ 64 w 82"/>
                  <a:gd name="T7" fmla="*/ 35 h 102"/>
                  <a:gd name="T8" fmla="*/ 64 w 82"/>
                  <a:gd name="T9" fmla="*/ 32 h 102"/>
                  <a:gd name="T10" fmla="*/ 63 w 82"/>
                  <a:gd name="T11" fmla="*/ 28 h 102"/>
                  <a:gd name="T12" fmla="*/ 63 w 82"/>
                  <a:gd name="T13" fmla="*/ 25 h 102"/>
                  <a:gd name="T14" fmla="*/ 62 w 82"/>
                  <a:gd name="T15" fmla="*/ 24 h 102"/>
                  <a:gd name="T16" fmla="*/ 62 w 82"/>
                  <a:gd name="T17" fmla="*/ 24 h 102"/>
                  <a:gd name="T18" fmla="*/ 60 w 82"/>
                  <a:gd name="T19" fmla="*/ 25 h 102"/>
                  <a:gd name="T20" fmla="*/ 58 w 82"/>
                  <a:gd name="T21" fmla="*/ 26 h 102"/>
                  <a:gd name="T22" fmla="*/ 55 w 82"/>
                  <a:gd name="T23" fmla="*/ 28 h 102"/>
                  <a:gd name="T24" fmla="*/ 52 w 82"/>
                  <a:gd name="T25" fmla="*/ 26 h 102"/>
                  <a:gd name="T26" fmla="*/ 48 w 82"/>
                  <a:gd name="T27" fmla="*/ 24 h 102"/>
                  <a:gd name="T28" fmla="*/ 45 w 82"/>
                  <a:gd name="T29" fmla="*/ 20 h 102"/>
                  <a:gd name="T30" fmla="*/ 45 w 82"/>
                  <a:gd name="T31" fmla="*/ 14 h 102"/>
                  <a:gd name="T32" fmla="*/ 60 w 82"/>
                  <a:gd name="T33" fmla="*/ 4 h 102"/>
                  <a:gd name="T34" fmla="*/ 36 w 82"/>
                  <a:gd name="T35" fmla="*/ 9 h 102"/>
                  <a:gd name="T36" fmla="*/ 37 w 82"/>
                  <a:gd name="T37" fmla="*/ 20 h 102"/>
                  <a:gd name="T38" fmla="*/ 37 w 82"/>
                  <a:gd name="T39" fmla="*/ 21 h 102"/>
                  <a:gd name="T40" fmla="*/ 34 w 82"/>
                  <a:gd name="T41" fmla="*/ 25 h 102"/>
                  <a:gd name="T42" fmla="*/ 30 w 82"/>
                  <a:gd name="T43" fmla="*/ 31 h 102"/>
                  <a:gd name="T44" fmla="*/ 25 w 82"/>
                  <a:gd name="T45" fmla="*/ 33 h 102"/>
                  <a:gd name="T46" fmla="*/ 3 w 82"/>
                  <a:gd name="T47" fmla="*/ 31 h 102"/>
                  <a:gd name="T48" fmla="*/ 1 w 82"/>
                  <a:gd name="T49" fmla="*/ 32 h 102"/>
                  <a:gd name="T50" fmla="*/ 0 w 82"/>
                  <a:gd name="T51" fmla="*/ 35 h 102"/>
                  <a:gd name="T52" fmla="*/ 0 w 82"/>
                  <a:gd name="T53" fmla="*/ 39 h 102"/>
                  <a:gd name="T54" fmla="*/ 3 w 82"/>
                  <a:gd name="T55" fmla="*/ 43 h 102"/>
                  <a:gd name="T56" fmla="*/ 4 w 82"/>
                  <a:gd name="T57" fmla="*/ 43 h 102"/>
                  <a:gd name="T58" fmla="*/ 9 w 82"/>
                  <a:gd name="T59" fmla="*/ 46 h 102"/>
                  <a:gd name="T60" fmla="*/ 14 w 82"/>
                  <a:gd name="T61" fmla="*/ 53 h 102"/>
                  <a:gd name="T62" fmla="*/ 18 w 82"/>
                  <a:gd name="T63" fmla="*/ 65 h 102"/>
                  <a:gd name="T64" fmla="*/ 18 w 82"/>
                  <a:gd name="T65" fmla="*/ 69 h 102"/>
                  <a:gd name="T66" fmla="*/ 18 w 82"/>
                  <a:gd name="T67" fmla="*/ 76 h 102"/>
                  <a:gd name="T68" fmla="*/ 18 w 82"/>
                  <a:gd name="T69" fmla="*/ 83 h 102"/>
                  <a:gd name="T70" fmla="*/ 18 w 82"/>
                  <a:gd name="T71" fmla="*/ 88 h 102"/>
                  <a:gd name="T72" fmla="*/ 16 w 82"/>
                  <a:gd name="T73" fmla="*/ 91 h 102"/>
                  <a:gd name="T74" fmla="*/ 16 w 82"/>
                  <a:gd name="T75" fmla="*/ 95 h 102"/>
                  <a:gd name="T76" fmla="*/ 20 w 82"/>
                  <a:gd name="T77" fmla="*/ 99 h 102"/>
                  <a:gd name="T78" fmla="*/ 30 w 82"/>
                  <a:gd name="T79" fmla="*/ 102 h 102"/>
                  <a:gd name="T80" fmla="*/ 37 w 82"/>
                  <a:gd name="T81" fmla="*/ 99 h 102"/>
                  <a:gd name="T82" fmla="*/ 49 w 82"/>
                  <a:gd name="T83" fmla="*/ 95 h 102"/>
                  <a:gd name="T84" fmla="*/ 64 w 82"/>
                  <a:gd name="T85" fmla="*/ 88 h 102"/>
                  <a:gd name="T86" fmla="*/ 74 w 82"/>
                  <a:gd name="T87" fmla="*/ 81 h 102"/>
                  <a:gd name="T88" fmla="*/ 80 w 82"/>
                  <a:gd name="T89" fmla="*/ 75 h 102"/>
                  <a:gd name="T90" fmla="*/ 82 w 82"/>
                  <a:gd name="T91" fmla="*/ 69 h 102"/>
                  <a:gd name="T92" fmla="*/ 82 w 82"/>
                  <a:gd name="T93" fmla="*/ 64 h 102"/>
                  <a:gd name="T94" fmla="*/ 82 w 82"/>
                  <a:gd name="T95" fmla="*/ 61 h 102"/>
                  <a:gd name="T96" fmla="*/ 81 w 82"/>
                  <a:gd name="T97" fmla="*/ 57 h 102"/>
                  <a:gd name="T98" fmla="*/ 78 w 82"/>
                  <a:gd name="T99" fmla="*/ 48 h 102"/>
                  <a:gd name="T100" fmla="*/ 74 w 82"/>
                  <a:gd name="T101" fmla="*/ 42 h 102"/>
                  <a:gd name="T102" fmla="*/ 73 w 82"/>
                  <a:gd name="T103" fmla="*/ 3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" h="102">
                    <a:moveTo>
                      <a:pt x="73" y="37"/>
                    </a:moveTo>
                    <a:lnTo>
                      <a:pt x="71" y="37"/>
                    </a:lnTo>
                    <a:lnTo>
                      <a:pt x="70" y="37"/>
                    </a:lnTo>
                    <a:lnTo>
                      <a:pt x="69" y="37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66" y="35"/>
                    </a:lnTo>
                    <a:lnTo>
                      <a:pt x="64" y="35"/>
                    </a:lnTo>
                    <a:lnTo>
                      <a:pt x="64" y="33"/>
                    </a:lnTo>
                    <a:lnTo>
                      <a:pt x="64" y="32"/>
                    </a:lnTo>
                    <a:lnTo>
                      <a:pt x="64" y="29"/>
                    </a:lnTo>
                    <a:lnTo>
                      <a:pt x="63" y="28"/>
                    </a:lnTo>
                    <a:lnTo>
                      <a:pt x="63" y="26"/>
                    </a:lnTo>
                    <a:lnTo>
                      <a:pt x="63" y="25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2"/>
                    </a:lnTo>
                    <a:lnTo>
                      <a:pt x="62" y="24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9" y="25"/>
                    </a:lnTo>
                    <a:lnTo>
                      <a:pt x="58" y="26"/>
                    </a:lnTo>
                    <a:lnTo>
                      <a:pt x="56" y="26"/>
                    </a:lnTo>
                    <a:lnTo>
                      <a:pt x="55" y="28"/>
                    </a:lnTo>
                    <a:lnTo>
                      <a:pt x="53" y="26"/>
                    </a:lnTo>
                    <a:lnTo>
                      <a:pt x="52" y="26"/>
                    </a:lnTo>
                    <a:lnTo>
                      <a:pt x="49" y="25"/>
                    </a:lnTo>
                    <a:lnTo>
                      <a:pt x="48" y="24"/>
                    </a:lnTo>
                    <a:lnTo>
                      <a:pt x="47" y="22"/>
                    </a:lnTo>
                    <a:lnTo>
                      <a:pt x="45" y="20"/>
                    </a:lnTo>
                    <a:lnTo>
                      <a:pt x="44" y="18"/>
                    </a:lnTo>
                    <a:lnTo>
                      <a:pt x="45" y="14"/>
                    </a:lnTo>
                    <a:lnTo>
                      <a:pt x="47" y="11"/>
                    </a:lnTo>
                    <a:lnTo>
                      <a:pt x="60" y="4"/>
                    </a:lnTo>
                    <a:lnTo>
                      <a:pt x="45" y="0"/>
                    </a:lnTo>
                    <a:lnTo>
                      <a:pt x="36" y="9"/>
                    </a:lnTo>
                    <a:lnTo>
                      <a:pt x="34" y="17"/>
                    </a:lnTo>
                    <a:lnTo>
                      <a:pt x="37" y="20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1" y="28"/>
                    </a:lnTo>
                    <a:lnTo>
                      <a:pt x="30" y="31"/>
                    </a:lnTo>
                    <a:lnTo>
                      <a:pt x="27" y="32"/>
                    </a:lnTo>
                    <a:lnTo>
                      <a:pt x="25" y="33"/>
                    </a:lnTo>
                    <a:lnTo>
                      <a:pt x="11" y="26"/>
                    </a:lnTo>
                    <a:lnTo>
                      <a:pt x="3" y="31"/>
                    </a:lnTo>
                    <a:lnTo>
                      <a:pt x="3" y="31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2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4" y="53"/>
                    </a:lnTo>
                    <a:lnTo>
                      <a:pt x="16" y="58"/>
                    </a:lnTo>
                    <a:lnTo>
                      <a:pt x="18" y="65"/>
                    </a:lnTo>
                    <a:lnTo>
                      <a:pt x="18" y="66"/>
                    </a:lnTo>
                    <a:lnTo>
                      <a:pt x="18" y="69"/>
                    </a:lnTo>
                    <a:lnTo>
                      <a:pt x="18" y="72"/>
                    </a:lnTo>
                    <a:lnTo>
                      <a:pt x="18" y="76"/>
                    </a:lnTo>
                    <a:lnTo>
                      <a:pt x="18" y="80"/>
                    </a:lnTo>
                    <a:lnTo>
                      <a:pt x="18" y="83"/>
                    </a:lnTo>
                    <a:lnTo>
                      <a:pt x="18" y="87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6" y="95"/>
                    </a:lnTo>
                    <a:lnTo>
                      <a:pt x="18" y="98"/>
                    </a:lnTo>
                    <a:lnTo>
                      <a:pt x="20" y="99"/>
                    </a:lnTo>
                    <a:lnTo>
                      <a:pt x="25" y="101"/>
                    </a:lnTo>
                    <a:lnTo>
                      <a:pt x="30" y="102"/>
                    </a:lnTo>
                    <a:lnTo>
                      <a:pt x="33" y="101"/>
                    </a:lnTo>
                    <a:lnTo>
                      <a:pt x="37" y="99"/>
                    </a:lnTo>
                    <a:lnTo>
                      <a:pt x="42" y="98"/>
                    </a:lnTo>
                    <a:lnTo>
                      <a:pt x="49" y="95"/>
                    </a:lnTo>
                    <a:lnTo>
                      <a:pt x="58" y="91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4" y="81"/>
                    </a:lnTo>
                    <a:lnTo>
                      <a:pt x="77" y="77"/>
                    </a:lnTo>
                    <a:lnTo>
                      <a:pt x="80" y="75"/>
                    </a:lnTo>
                    <a:lnTo>
                      <a:pt x="81" y="72"/>
                    </a:lnTo>
                    <a:lnTo>
                      <a:pt x="82" y="69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2" y="62"/>
                    </a:lnTo>
                    <a:lnTo>
                      <a:pt x="82" y="61"/>
                    </a:lnTo>
                    <a:lnTo>
                      <a:pt x="82" y="59"/>
                    </a:lnTo>
                    <a:lnTo>
                      <a:pt x="81" y="57"/>
                    </a:lnTo>
                    <a:lnTo>
                      <a:pt x="80" y="53"/>
                    </a:lnTo>
                    <a:lnTo>
                      <a:pt x="78" y="48"/>
                    </a:lnTo>
                    <a:lnTo>
                      <a:pt x="75" y="44"/>
                    </a:lnTo>
                    <a:lnTo>
                      <a:pt x="74" y="42"/>
                    </a:lnTo>
                    <a:lnTo>
                      <a:pt x="74" y="39"/>
                    </a:lnTo>
                    <a:lnTo>
                      <a:pt x="73" y="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2" name="Freeform 884"/>
              <p:cNvSpPr>
                <a:spLocks/>
              </p:cNvSpPr>
              <p:nvPr/>
            </p:nvSpPr>
            <p:spPr bwMode="auto">
              <a:xfrm>
                <a:off x="2570" y="1901"/>
                <a:ext cx="82" cy="102"/>
              </a:xfrm>
              <a:custGeom>
                <a:avLst/>
                <a:gdLst>
                  <a:gd name="T0" fmla="*/ 71 w 82"/>
                  <a:gd name="T1" fmla="*/ 37 h 102"/>
                  <a:gd name="T2" fmla="*/ 69 w 82"/>
                  <a:gd name="T3" fmla="*/ 37 h 102"/>
                  <a:gd name="T4" fmla="*/ 66 w 82"/>
                  <a:gd name="T5" fmla="*/ 35 h 102"/>
                  <a:gd name="T6" fmla="*/ 64 w 82"/>
                  <a:gd name="T7" fmla="*/ 33 h 102"/>
                  <a:gd name="T8" fmla="*/ 64 w 82"/>
                  <a:gd name="T9" fmla="*/ 29 h 102"/>
                  <a:gd name="T10" fmla="*/ 63 w 82"/>
                  <a:gd name="T11" fmla="*/ 26 h 102"/>
                  <a:gd name="T12" fmla="*/ 62 w 82"/>
                  <a:gd name="T13" fmla="*/ 24 h 102"/>
                  <a:gd name="T14" fmla="*/ 62 w 82"/>
                  <a:gd name="T15" fmla="*/ 24 h 102"/>
                  <a:gd name="T16" fmla="*/ 60 w 82"/>
                  <a:gd name="T17" fmla="*/ 25 h 102"/>
                  <a:gd name="T18" fmla="*/ 58 w 82"/>
                  <a:gd name="T19" fmla="*/ 26 h 102"/>
                  <a:gd name="T20" fmla="*/ 55 w 82"/>
                  <a:gd name="T21" fmla="*/ 28 h 102"/>
                  <a:gd name="T22" fmla="*/ 52 w 82"/>
                  <a:gd name="T23" fmla="*/ 26 h 102"/>
                  <a:gd name="T24" fmla="*/ 48 w 82"/>
                  <a:gd name="T25" fmla="*/ 24 h 102"/>
                  <a:gd name="T26" fmla="*/ 45 w 82"/>
                  <a:gd name="T27" fmla="*/ 20 h 102"/>
                  <a:gd name="T28" fmla="*/ 45 w 82"/>
                  <a:gd name="T29" fmla="*/ 14 h 102"/>
                  <a:gd name="T30" fmla="*/ 60 w 82"/>
                  <a:gd name="T31" fmla="*/ 4 h 102"/>
                  <a:gd name="T32" fmla="*/ 36 w 82"/>
                  <a:gd name="T33" fmla="*/ 9 h 102"/>
                  <a:gd name="T34" fmla="*/ 37 w 82"/>
                  <a:gd name="T35" fmla="*/ 20 h 102"/>
                  <a:gd name="T36" fmla="*/ 36 w 82"/>
                  <a:gd name="T37" fmla="*/ 24 h 102"/>
                  <a:gd name="T38" fmla="*/ 31 w 82"/>
                  <a:gd name="T39" fmla="*/ 28 h 102"/>
                  <a:gd name="T40" fmla="*/ 27 w 82"/>
                  <a:gd name="T41" fmla="*/ 32 h 102"/>
                  <a:gd name="T42" fmla="*/ 11 w 82"/>
                  <a:gd name="T43" fmla="*/ 26 h 102"/>
                  <a:gd name="T44" fmla="*/ 1 w 82"/>
                  <a:gd name="T45" fmla="*/ 32 h 102"/>
                  <a:gd name="T46" fmla="*/ 0 w 82"/>
                  <a:gd name="T47" fmla="*/ 35 h 102"/>
                  <a:gd name="T48" fmla="*/ 0 w 82"/>
                  <a:gd name="T49" fmla="*/ 39 h 102"/>
                  <a:gd name="T50" fmla="*/ 3 w 82"/>
                  <a:gd name="T51" fmla="*/ 43 h 102"/>
                  <a:gd name="T52" fmla="*/ 7 w 82"/>
                  <a:gd name="T53" fmla="*/ 44 h 102"/>
                  <a:gd name="T54" fmla="*/ 12 w 82"/>
                  <a:gd name="T55" fmla="*/ 48 h 102"/>
                  <a:gd name="T56" fmla="*/ 16 w 82"/>
                  <a:gd name="T57" fmla="*/ 58 h 102"/>
                  <a:gd name="T58" fmla="*/ 18 w 82"/>
                  <a:gd name="T59" fmla="*/ 66 h 102"/>
                  <a:gd name="T60" fmla="*/ 18 w 82"/>
                  <a:gd name="T61" fmla="*/ 72 h 102"/>
                  <a:gd name="T62" fmla="*/ 18 w 82"/>
                  <a:gd name="T63" fmla="*/ 80 h 102"/>
                  <a:gd name="T64" fmla="*/ 18 w 82"/>
                  <a:gd name="T65" fmla="*/ 87 h 102"/>
                  <a:gd name="T66" fmla="*/ 16 w 82"/>
                  <a:gd name="T67" fmla="*/ 91 h 102"/>
                  <a:gd name="T68" fmla="*/ 16 w 82"/>
                  <a:gd name="T69" fmla="*/ 95 h 102"/>
                  <a:gd name="T70" fmla="*/ 20 w 82"/>
                  <a:gd name="T71" fmla="*/ 99 h 102"/>
                  <a:gd name="T72" fmla="*/ 30 w 82"/>
                  <a:gd name="T73" fmla="*/ 102 h 102"/>
                  <a:gd name="T74" fmla="*/ 37 w 82"/>
                  <a:gd name="T75" fmla="*/ 99 h 102"/>
                  <a:gd name="T76" fmla="*/ 49 w 82"/>
                  <a:gd name="T77" fmla="*/ 95 h 102"/>
                  <a:gd name="T78" fmla="*/ 64 w 82"/>
                  <a:gd name="T79" fmla="*/ 88 h 102"/>
                  <a:gd name="T80" fmla="*/ 74 w 82"/>
                  <a:gd name="T81" fmla="*/ 81 h 102"/>
                  <a:gd name="T82" fmla="*/ 80 w 82"/>
                  <a:gd name="T83" fmla="*/ 75 h 102"/>
                  <a:gd name="T84" fmla="*/ 82 w 82"/>
                  <a:gd name="T85" fmla="*/ 69 h 102"/>
                  <a:gd name="T86" fmla="*/ 82 w 82"/>
                  <a:gd name="T87" fmla="*/ 64 h 102"/>
                  <a:gd name="T88" fmla="*/ 82 w 82"/>
                  <a:gd name="T89" fmla="*/ 61 h 102"/>
                  <a:gd name="T90" fmla="*/ 81 w 82"/>
                  <a:gd name="T91" fmla="*/ 57 h 102"/>
                  <a:gd name="T92" fmla="*/ 78 w 82"/>
                  <a:gd name="T93" fmla="*/ 48 h 102"/>
                  <a:gd name="T94" fmla="*/ 74 w 82"/>
                  <a:gd name="T95" fmla="*/ 42 h 102"/>
                  <a:gd name="T96" fmla="*/ 73 w 82"/>
                  <a:gd name="T97" fmla="*/ 37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2" h="102">
                    <a:moveTo>
                      <a:pt x="73" y="37"/>
                    </a:moveTo>
                    <a:lnTo>
                      <a:pt x="71" y="37"/>
                    </a:lnTo>
                    <a:lnTo>
                      <a:pt x="70" y="37"/>
                    </a:lnTo>
                    <a:lnTo>
                      <a:pt x="69" y="37"/>
                    </a:lnTo>
                    <a:lnTo>
                      <a:pt x="67" y="36"/>
                    </a:lnTo>
                    <a:lnTo>
                      <a:pt x="66" y="35"/>
                    </a:lnTo>
                    <a:lnTo>
                      <a:pt x="64" y="35"/>
                    </a:lnTo>
                    <a:lnTo>
                      <a:pt x="64" y="33"/>
                    </a:lnTo>
                    <a:lnTo>
                      <a:pt x="64" y="32"/>
                    </a:lnTo>
                    <a:lnTo>
                      <a:pt x="64" y="29"/>
                    </a:lnTo>
                    <a:lnTo>
                      <a:pt x="63" y="28"/>
                    </a:lnTo>
                    <a:lnTo>
                      <a:pt x="63" y="26"/>
                    </a:lnTo>
                    <a:lnTo>
                      <a:pt x="63" y="25"/>
                    </a:lnTo>
                    <a:lnTo>
                      <a:pt x="62" y="24"/>
                    </a:lnTo>
                    <a:lnTo>
                      <a:pt x="62" y="22"/>
                    </a:lnTo>
                    <a:lnTo>
                      <a:pt x="62" y="24"/>
                    </a:lnTo>
                    <a:lnTo>
                      <a:pt x="60" y="24"/>
                    </a:lnTo>
                    <a:lnTo>
                      <a:pt x="60" y="25"/>
                    </a:lnTo>
                    <a:lnTo>
                      <a:pt x="59" y="25"/>
                    </a:lnTo>
                    <a:lnTo>
                      <a:pt x="58" y="26"/>
                    </a:lnTo>
                    <a:lnTo>
                      <a:pt x="56" y="26"/>
                    </a:lnTo>
                    <a:lnTo>
                      <a:pt x="55" y="28"/>
                    </a:lnTo>
                    <a:lnTo>
                      <a:pt x="53" y="26"/>
                    </a:lnTo>
                    <a:lnTo>
                      <a:pt x="52" y="26"/>
                    </a:lnTo>
                    <a:lnTo>
                      <a:pt x="49" y="25"/>
                    </a:lnTo>
                    <a:lnTo>
                      <a:pt x="48" y="24"/>
                    </a:lnTo>
                    <a:lnTo>
                      <a:pt x="47" y="22"/>
                    </a:lnTo>
                    <a:lnTo>
                      <a:pt x="45" y="20"/>
                    </a:lnTo>
                    <a:lnTo>
                      <a:pt x="44" y="18"/>
                    </a:lnTo>
                    <a:lnTo>
                      <a:pt x="45" y="14"/>
                    </a:lnTo>
                    <a:lnTo>
                      <a:pt x="47" y="11"/>
                    </a:lnTo>
                    <a:lnTo>
                      <a:pt x="60" y="4"/>
                    </a:lnTo>
                    <a:lnTo>
                      <a:pt x="45" y="0"/>
                    </a:lnTo>
                    <a:lnTo>
                      <a:pt x="36" y="9"/>
                    </a:lnTo>
                    <a:lnTo>
                      <a:pt x="34" y="17"/>
                    </a:lnTo>
                    <a:lnTo>
                      <a:pt x="37" y="20"/>
                    </a:lnTo>
                    <a:lnTo>
                      <a:pt x="37" y="21"/>
                    </a:lnTo>
                    <a:lnTo>
                      <a:pt x="36" y="24"/>
                    </a:lnTo>
                    <a:lnTo>
                      <a:pt x="34" y="25"/>
                    </a:lnTo>
                    <a:lnTo>
                      <a:pt x="31" y="28"/>
                    </a:lnTo>
                    <a:lnTo>
                      <a:pt x="30" y="31"/>
                    </a:lnTo>
                    <a:lnTo>
                      <a:pt x="27" y="32"/>
                    </a:lnTo>
                    <a:lnTo>
                      <a:pt x="25" y="33"/>
                    </a:lnTo>
                    <a:lnTo>
                      <a:pt x="11" y="26"/>
                    </a:lnTo>
                    <a:lnTo>
                      <a:pt x="3" y="31"/>
                    </a:lnTo>
                    <a:lnTo>
                      <a:pt x="1" y="32"/>
                    </a:lnTo>
                    <a:lnTo>
                      <a:pt x="1" y="33"/>
                    </a:lnTo>
                    <a:lnTo>
                      <a:pt x="0" y="35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1" y="42"/>
                    </a:lnTo>
                    <a:lnTo>
                      <a:pt x="3" y="43"/>
                    </a:lnTo>
                    <a:lnTo>
                      <a:pt x="4" y="43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4" y="53"/>
                    </a:lnTo>
                    <a:lnTo>
                      <a:pt x="16" y="58"/>
                    </a:lnTo>
                    <a:lnTo>
                      <a:pt x="18" y="65"/>
                    </a:lnTo>
                    <a:lnTo>
                      <a:pt x="18" y="66"/>
                    </a:lnTo>
                    <a:lnTo>
                      <a:pt x="18" y="69"/>
                    </a:lnTo>
                    <a:lnTo>
                      <a:pt x="18" y="72"/>
                    </a:lnTo>
                    <a:lnTo>
                      <a:pt x="18" y="76"/>
                    </a:lnTo>
                    <a:lnTo>
                      <a:pt x="18" y="80"/>
                    </a:lnTo>
                    <a:lnTo>
                      <a:pt x="18" y="83"/>
                    </a:lnTo>
                    <a:lnTo>
                      <a:pt x="18" y="87"/>
                    </a:lnTo>
                    <a:lnTo>
                      <a:pt x="18" y="88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6" y="95"/>
                    </a:lnTo>
                    <a:lnTo>
                      <a:pt x="18" y="98"/>
                    </a:lnTo>
                    <a:lnTo>
                      <a:pt x="20" y="99"/>
                    </a:lnTo>
                    <a:lnTo>
                      <a:pt x="25" y="101"/>
                    </a:lnTo>
                    <a:lnTo>
                      <a:pt x="30" y="102"/>
                    </a:lnTo>
                    <a:lnTo>
                      <a:pt x="33" y="101"/>
                    </a:lnTo>
                    <a:lnTo>
                      <a:pt x="37" y="99"/>
                    </a:lnTo>
                    <a:lnTo>
                      <a:pt x="42" y="98"/>
                    </a:lnTo>
                    <a:lnTo>
                      <a:pt x="49" y="95"/>
                    </a:lnTo>
                    <a:lnTo>
                      <a:pt x="58" y="91"/>
                    </a:lnTo>
                    <a:lnTo>
                      <a:pt x="64" y="88"/>
                    </a:lnTo>
                    <a:lnTo>
                      <a:pt x="70" y="84"/>
                    </a:lnTo>
                    <a:lnTo>
                      <a:pt x="74" y="81"/>
                    </a:lnTo>
                    <a:lnTo>
                      <a:pt x="77" y="77"/>
                    </a:lnTo>
                    <a:lnTo>
                      <a:pt x="80" y="75"/>
                    </a:lnTo>
                    <a:lnTo>
                      <a:pt x="81" y="72"/>
                    </a:lnTo>
                    <a:lnTo>
                      <a:pt x="82" y="69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2" y="62"/>
                    </a:lnTo>
                    <a:lnTo>
                      <a:pt x="82" y="61"/>
                    </a:lnTo>
                    <a:lnTo>
                      <a:pt x="82" y="59"/>
                    </a:lnTo>
                    <a:lnTo>
                      <a:pt x="81" y="57"/>
                    </a:lnTo>
                    <a:lnTo>
                      <a:pt x="80" y="53"/>
                    </a:lnTo>
                    <a:lnTo>
                      <a:pt x="78" y="48"/>
                    </a:lnTo>
                    <a:lnTo>
                      <a:pt x="75" y="44"/>
                    </a:lnTo>
                    <a:lnTo>
                      <a:pt x="74" y="42"/>
                    </a:lnTo>
                    <a:lnTo>
                      <a:pt x="74" y="39"/>
                    </a:lnTo>
                    <a:lnTo>
                      <a:pt x="73" y="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3" name="Freeform 885"/>
              <p:cNvSpPr>
                <a:spLocks/>
              </p:cNvSpPr>
              <p:nvPr/>
            </p:nvSpPr>
            <p:spPr bwMode="auto">
              <a:xfrm>
                <a:off x="2641" y="1807"/>
                <a:ext cx="128" cy="237"/>
              </a:xfrm>
              <a:custGeom>
                <a:avLst/>
                <a:gdLst>
                  <a:gd name="T0" fmla="*/ 44 w 128"/>
                  <a:gd name="T1" fmla="*/ 0 h 237"/>
                  <a:gd name="T2" fmla="*/ 37 w 128"/>
                  <a:gd name="T3" fmla="*/ 0 h 237"/>
                  <a:gd name="T4" fmla="*/ 29 w 128"/>
                  <a:gd name="T5" fmla="*/ 1 h 237"/>
                  <a:gd name="T6" fmla="*/ 18 w 128"/>
                  <a:gd name="T7" fmla="*/ 19 h 237"/>
                  <a:gd name="T8" fmla="*/ 20 w 128"/>
                  <a:gd name="T9" fmla="*/ 24 h 237"/>
                  <a:gd name="T10" fmla="*/ 17 w 128"/>
                  <a:gd name="T11" fmla="*/ 37 h 237"/>
                  <a:gd name="T12" fmla="*/ 11 w 128"/>
                  <a:gd name="T13" fmla="*/ 42 h 237"/>
                  <a:gd name="T14" fmla="*/ 6 w 128"/>
                  <a:gd name="T15" fmla="*/ 56 h 237"/>
                  <a:gd name="T16" fmla="*/ 17 w 128"/>
                  <a:gd name="T17" fmla="*/ 63 h 237"/>
                  <a:gd name="T18" fmla="*/ 14 w 128"/>
                  <a:gd name="T19" fmla="*/ 68 h 237"/>
                  <a:gd name="T20" fmla="*/ 14 w 128"/>
                  <a:gd name="T21" fmla="*/ 78 h 237"/>
                  <a:gd name="T22" fmla="*/ 28 w 128"/>
                  <a:gd name="T23" fmla="*/ 87 h 237"/>
                  <a:gd name="T24" fmla="*/ 26 w 128"/>
                  <a:gd name="T25" fmla="*/ 97 h 237"/>
                  <a:gd name="T26" fmla="*/ 22 w 128"/>
                  <a:gd name="T27" fmla="*/ 109 h 237"/>
                  <a:gd name="T28" fmla="*/ 26 w 128"/>
                  <a:gd name="T29" fmla="*/ 116 h 237"/>
                  <a:gd name="T30" fmla="*/ 42 w 128"/>
                  <a:gd name="T31" fmla="*/ 120 h 237"/>
                  <a:gd name="T32" fmla="*/ 48 w 128"/>
                  <a:gd name="T33" fmla="*/ 151 h 237"/>
                  <a:gd name="T34" fmla="*/ 35 w 128"/>
                  <a:gd name="T35" fmla="*/ 166 h 237"/>
                  <a:gd name="T36" fmla="*/ 22 w 128"/>
                  <a:gd name="T37" fmla="*/ 181 h 237"/>
                  <a:gd name="T38" fmla="*/ 21 w 128"/>
                  <a:gd name="T39" fmla="*/ 185 h 237"/>
                  <a:gd name="T40" fmla="*/ 24 w 128"/>
                  <a:gd name="T41" fmla="*/ 189 h 237"/>
                  <a:gd name="T42" fmla="*/ 62 w 128"/>
                  <a:gd name="T43" fmla="*/ 186 h 237"/>
                  <a:gd name="T44" fmla="*/ 61 w 128"/>
                  <a:gd name="T45" fmla="*/ 189 h 237"/>
                  <a:gd name="T46" fmla="*/ 58 w 128"/>
                  <a:gd name="T47" fmla="*/ 193 h 237"/>
                  <a:gd name="T48" fmla="*/ 24 w 128"/>
                  <a:gd name="T49" fmla="*/ 207 h 237"/>
                  <a:gd name="T50" fmla="*/ 32 w 128"/>
                  <a:gd name="T51" fmla="*/ 225 h 237"/>
                  <a:gd name="T52" fmla="*/ 101 w 128"/>
                  <a:gd name="T53" fmla="*/ 214 h 237"/>
                  <a:gd name="T54" fmla="*/ 116 w 128"/>
                  <a:gd name="T55" fmla="*/ 193 h 237"/>
                  <a:gd name="T56" fmla="*/ 120 w 128"/>
                  <a:gd name="T57" fmla="*/ 189 h 237"/>
                  <a:gd name="T58" fmla="*/ 123 w 128"/>
                  <a:gd name="T59" fmla="*/ 180 h 237"/>
                  <a:gd name="T60" fmla="*/ 120 w 128"/>
                  <a:gd name="T61" fmla="*/ 174 h 237"/>
                  <a:gd name="T62" fmla="*/ 113 w 128"/>
                  <a:gd name="T63" fmla="*/ 164 h 237"/>
                  <a:gd name="T64" fmla="*/ 104 w 128"/>
                  <a:gd name="T65" fmla="*/ 160 h 237"/>
                  <a:gd name="T66" fmla="*/ 102 w 128"/>
                  <a:gd name="T67" fmla="*/ 149 h 237"/>
                  <a:gd name="T68" fmla="*/ 92 w 128"/>
                  <a:gd name="T69" fmla="*/ 127 h 237"/>
                  <a:gd name="T70" fmla="*/ 79 w 128"/>
                  <a:gd name="T71" fmla="*/ 115 h 237"/>
                  <a:gd name="T72" fmla="*/ 76 w 128"/>
                  <a:gd name="T73" fmla="*/ 97 h 237"/>
                  <a:gd name="T74" fmla="*/ 69 w 128"/>
                  <a:gd name="T75" fmla="*/ 81 h 237"/>
                  <a:gd name="T76" fmla="*/ 66 w 128"/>
                  <a:gd name="T77" fmla="*/ 52 h 237"/>
                  <a:gd name="T78" fmla="*/ 66 w 128"/>
                  <a:gd name="T79" fmla="*/ 48 h 237"/>
                  <a:gd name="T80" fmla="*/ 64 w 128"/>
                  <a:gd name="T81" fmla="*/ 41 h 237"/>
                  <a:gd name="T82" fmla="*/ 59 w 128"/>
                  <a:gd name="T83" fmla="*/ 39 h 237"/>
                  <a:gd name="T84" fmla="*/ 55 w 128"/>
                  <a:gd name="T85" fmla="*/ 37 h 237"/>
                  <a:gd name="T86" fmla="*/ 53 w 128"/>
                  <a:gd name="T87" fmla="*/ 35 h 237"/>
                  <a:gd name="T88" fmla="*/ 42 w 128"/>
                  <a:gd name="T89" fmla="*/ 32 h 237"/>
                  <a:gd name="T90" fmla="*/ 40 w 128"/>
                  <a:gd name="T91" fmla="*/ 27 h 237"/>
                  <a:gd name="T92" fmla="*/ 40 w 128"/>
                  <a:gd name="T93" fmla="*/ 20 h 237"/>
                  <a:gd name="T94" fmla="*/ 46 w 128"/>
                  <a:gd name="T95" fmla="*/ 15 h 237"/>
                  <a:gd name="T96" fmla="*/ 48 w 128"/>
                  <a:gd name="T97" fmla="*/ 6 h 237"/>
                  <a:gd name="T98" fmla="*/ 47 w 128"/>
                  <a:gd name="T99" fmla="*/ 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8" h="237">
                    <a:moveTo>
                      <a:pt x="47" y="1"/>
                    </a:moveTo>
                    <a:lnTo>
                      <a:pt x="46" y="1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17" y="17"/>
                    </a:lnTo>
                    <a:lnTo>
                      <a:pt x="17" y="17"/>
                    </a:lnTo>
                    <a:lnTo>
                      <a:pt x="18" y="19"/>
                    </a:lnTo>
                    <a:lnTo>
                      <a:pt x="18" y="20"/>
                    </a:lnTo>
                    <a:lnTo>
                      <a:pt x="20" y="22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18" y="32"/>
                    </a:lnTo>
                    <a:lnTo>
                      <a:pt x="17" y="37"/>
                    </a:lnTo>
                    <a:lnTo>
                      <a:pt x="15" y="37"/>
                    </a:lnTo>
                    <a:lnTo>
                      <a:pt x="14" y="39"/>
                    </a:lnTo>
                    <a:lnTo>
                      <a:pt x="11" y="42"/>
                    </a:lnTo>
                    <a:lnTo>
                      <a:pt x="9" y="46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17" y="63"/>
                    </a:lnTo>
                    <a:lnTo>
                      <a:pt x="17" y="64"/>
                    </a:lnTo>
                    <a:lnTo>
                      <a:pt x="15" y="65"/>
                    </a:lnTo>
                    <a:lnTo>
                      <a:pt x="14" y="68"/>
                    </a:lnTo>
                    <a:lnTo>
                      <a:pt x="14" y="72"/>
                    </a:lnTo>
                    <a:lnTo>
                      <a:pt x="13" y="75"/>
                    </a:lnTo>
                    <a:lnTo>
                      <a:pt x="14" y="78"/>
                    </a:lnTo>
                    <a:lnTo>
                      <a:pt x="15" y="81"/>
                    </a:lnTo>
                    <a:lnTo>
                      <a:pt x="20" y="82"/>
                    </a:lnTo>
                    <a:lnTo>
                      <a:pt x="28" y="87"/>
                    </a:lnTo>
                    <a:lnTo>
                      <a:pt x="29" y="94"/>
                    </a:lnTo>
                    <a:lnTo>
                      <a:pt x="28" y="96"/>
                    </a:lnTo>
                    <a:lnTo>
                      <a:pt x="26" y="97"/>
                    </a:lnTo>
                    <a:lnTo>
                      <a:pt x="25" y="101"/>
                    </a:lnTo>
                    <a:lnTo>
                      <a:pt x="24" y="105"/>
                    </a:lnTo>
                    <a:lnTo>
                      <a:pt x="22" y="109"/>
                    </a:lnTo>
                    <a:lnTo>
                      <a:pt x="22" y="112"/>
                    </a:lnTo>
                    <a:lnTo>
                      <a:pt x="24" y="115"/>
                    </a:lnTo>
                    <a:lnTo>
                      <a:pt x="26" y="116"/>
                    </a:lnTo>
                    <a:lnTo>
                      <a:pt x="39" y="108"/>
                    </a:lnTo>
                    <a:lnTo>
                      <a:pt x="51" y="109"/>
                    </a:lnTo>
                    <a:lnTo>
                      <a:pt x="42" y="120"/>
                    </a:lnTo>
                    <a:lnTo>
                      <a:pt x="40" y="133"/>
                    </a:lnTo>
                    <a:lnTo>
                      <a:pt x="48" y="134"/>
                    </a:lnTo>
                    <a:lnTo>
                      <a:pt x="48" y="151"/>
                    </a:lnTo>
                    <a:lnTo>
                      <a:pt x="26" y="151"/>
                    </a:lnTo>
                    <a:lnTo>
                      <a:pt x="26" y="163"/>
                    </a:lnTo>
                    <a:lnTo>
                      <a:pt x="35" y="166"/>
                    </a:lnTo>
                    <a:lnTo>
                      <a:pt x="24" y="180"/>
                    </a:lnTo>
                    <a:lnTo>
                      <a:pt x="24" y="180"/>
                    </a:lnTo>
                    <a:lnTo>
                      <a:pt x="22" y="181"/>
                    </a:lnTo>
                    <a:lnTo>
                      <a:pt x="22" y="182"/>
                    </a:lnTo>
                    <a:lnTo>
                      <a:pt x="21" y="184"/>
                    </a:lnTo>
                    <a:lnTo>
                      <a:pt x="21" y="185"/>
                    </a:lnTo>
                    <a:lnTo>
                      <a:pt x="21" y="186"/>
                    </a:lnTo>
                    <a:lnTo>
                      <a:pt x="22" y="188"/>
                    </a:lnTo>
                    <a:lnTo>
                      <a:pt x="24" y="189"/>
                    </a:lnTo>
                    <a:lnTo>
                      <a:pt x="46" y="193"/>
                    </a:lnTo>
                    <a:lnTo>
                      <a:pt x="57" y="189"/>
                    </a:lnTo>
                    <a:lnTo>
                      <a:pt x="62" y="186"/>
                    </a:lnTo>
                    <a:lnTo>
                      <a:pt x="62" y="186"/>
                    </a:lnTo>
                    <a:lnTo>
                      <a:pt x="62" y="188"/>
                    </a:lnTo>
                    <a:lnTo>
                      <a:pt x="61" y="189"/>
                    </a:lnTo>
                    <a:lnTo>
                      <a:pt x="61" y="191"/>
                    </a:lnTo>
                    <a:lnTo>
                      <a:pt x="59" y="192"/>
                    </a:lnTo>
                    <a:lnTo>
                      <a:pt x="58" y="193"/>
                    </a:lnTo>
                    <a:lnTo>
                      <a:pt x="57" y="195"/>
                    </a:lnTo>
                    <a:lnTo>
                      <a:pt x="54" y="196"/>
                    </a:lnTo>
                    <a:lnTo>
                      <a:pt x="24" y="207"/>
                    </a:lnTo>
                    <a:lnTo>
                      <a:pt x="0" y="232"/>
                    </a:lnTo>
                    <a:lnTo>
                      <a:pt x="11" y="237"/>
                    </a:lnTo>
                    <a:lnTo>
                      <a:pt x="32" y="225"/>
                    </a:lnTo>
                    <a:lnTo>
                      <a:pt x="44" y="222"/>
                    </a:lnTo>
                    <a:lnTo>
                      <a:pt x="70" y="222"/>
                    </a:lnTo>
                    <a:lnTo>
                      <a:pt x="101" y="214"/>
                    </a:lnTo>
                    <a:lnTo>
                      <a:pt x="128" y="204"/>
                    </a:lnTo>
                    <a:lnTo>
                      <a:pt x="116" y="195"/>
                    </a:lnTo>
                    <a:lnTo>
                      <a:pt x="116" y="193"/>
                    </a:lnTo>
                    <a:lnTo>
                      <a:pt x="117" y="193"/>
                    </a:lnTo>
                    <a:lnTo>
                      <a:pt x="119" y="191"/>
                    </a:lnTo>
                    <a:lnTo>
                      <a:pt x="120" y="189"/>
                    </a:lnTo>
                    <a:lnTo>
                      <a:pt x="121" y="186"/>
                    </a:lnTo>
                    <a:lnTo>
                      <a:pt x="121" y="184"/>
                    </a:lnTo>
                    <a:lnTo>
                      <a:pt x="123" y="180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20" y="174"/>
                    </a:lnTo>
                    <a:lnTo>
                      <a:pt x="119" y="171"/>
                    </a:lnTo>
                    <a:lnTo>
                      <a:pt x="116" y="169"/>
                    </a:lnTo>
                    <a:lnTo>
                      <a:pt x="113" y="164"/>
                    </a:lnTo>
                    <a:lnTo>
                      <a:pt x="110" y="163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4" y="159"/>
                    </a:lnTo>
                    <a:lnTo>
                      <a:pt x="102" y="155"/>
                    </a:lnTo>
                    <a:lnTo>
                      <a:pt x="102" y="149"/>
                    </a:lnTo>
                    <a:lnTo>
                      <a:pt x="99" y="142"/>
                    </a:lnTo>
                    <a:lnTo>
                      <a:pt x="97" y="134"/>
                    </a:lnTo>
                    <a:lnTo>
                      <a:pt x="92" y="127"/>
                    </a:lnTo>
                    <a:lnTo>
                      <a:pt x="87" y="120"/>
                    </a:lnTo>
                    <a:lnTo>
                      <a:pt x="80" y="116"/>
                    </a:lnTo>
                    <a:lnTo>
                      <a:pt x="79" y="115"/>
                    </a:lnTo>
                    <a:lnTo>
                      <a:pt x="79" y="111"/>
                    </a:lnTo>
                    <a:lnTo>
                      <a:pt x="77" y="105"/>
                    </a:lnTo>
                    <a:lnTo>
                      <a:pt x="76" y="97"/>
                    </a:lnTo>
                    <a:lnTo>
                      <a:pt x="75" y="90"/>
                    </a:lnTo>
                    <a:lnTo>
                      <a:pt x="72" y="85"/>
                    </a:lnTo>
                    <a:lnTo>
                      <a:pt x="69" y="81"/>
                    </a:lnTo>
                    <a:lnTo>
                      <a:pt x="66" y="78"/>
                    </a:lnTo>
                    <a:lnTo>
                      <a:pt x="57" y="71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8"/>
                    </a:lnTo>
                    <a:lnTo>
                      <a:pt x="65" y="45"/>
                    </a:lnTo>
                    <a:lnTo>
                      <a:pt x="65" y="43"/>
                    </a:lnTo>
                    <a:lnTo>
                      <a:pt x="64" y="41"/>
                    </a:lnTo>
                    <a:lnTo>
                      <a:pt x="62" y="39"/>
                    </a:lnTo>
                    <a:lnTo>
                      <a:pt x="61" y="39"/>
                    </a:lnTo>
                    <a:lnTo>
                      <a:pt x="59" y="39"/>
                    </a:lnTo>
                    <a:lnTo>
                      <a:pt x="58" y="38"/>
                    </a:lnTo>
                    <a:lnTo>
                      <a:pt x="57" y="38"/>
                    </a:lnTo>
                    <a:lnTo>
                      <a:pt x="55" y="37"/>
                    </a:lnTo>
                    <a:lnTo>
                      <a:pt x="54" y="37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1"/>
                    </a:lnTo>
                    <a:lnTo>
                      <a:pt x="40" y="28"/>
                    </a:lnTo>
                    <a:lnTo>
                      <a:pt x="40" y="27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19"/>
                    </a:lnTo>
                    <a:lnTo>
                      <a:pt x="44" y="16"/>
                    </a:lnTo>
                    <a:lnTo>
                      <a:pt x="46" y="15"/>
                    </a:lnTo>
                    <a:lnTo>
                      <a:pt x="47" y="12"/>
                    </a:lnTo>
                    <a:lnTo>
                      <a:pt x="48" y="9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4" name="Freeform 886"/>
              <p:cNvSpPr>
                <a:spLocks/>
              </p:cNvSpPr>
              <p:nvPr/>
            </p:nvSpPr>
            <p:spPr bwMode="auto">
              <a:xfrm>
                <a:off x="2641" y="1807"/>
                <a:ext cx="128" cy="237"/>
              </a:xfrm>
              <a:custGeom>
                <a:avLst/>
                <a:gdLst>
                  <a:gd name="T0" fmla="*/ 44 w 128"/>
                  <a:gd name="T1" fmla="*/ 0 h 237"/>
                  <a:gd name="T2" fmla="*/ 37 w 128"/>
                  <a:gd name="T3" fmla="*/ 0 h 237"/>
                  <a:gd name="T4" fmla="*/ 29 w 128"/>
                  <a:gd name="T5" fmla="*/ 1 h 237"/>
                  <a:gd name="T6" fmla="*/ 18 w 128"/>
                  <a:gd name="T7" fmla="*/ 20 h 237"/>
                  <a:gd name="T8" fmla="*/ 20 w 128"/>
                  <a:gd name="T9" fmla="*/ 28 h 237"/>
                  <a:gd name="T10" fmla="*/ 15 w 128"/>
                  <a:gd name="T11" fmla="*/ 37 h 237"/>
                  <a:gd name="T12" fmla="*/ 9 w 128"/>
                  <a:gd name="T13" fmla="*/ 46 h 237"/>
                  <a:gd name="T14" fmla="*/ 6 w 128"/>
                  <a:gd name="T15" fmla="*/ 61 h 237"/>
                  <a:gd name="T16" fmla="*/ 17 w 128"/>
                  <a:gd name="T17" fmla="*/ 64 h 237"/>
                  <a:gd name="T18" fmla="*/ 14 w 128"/>
                  <a:gd name="T19" fmla="*/ 72 h 237"/>
                  <a:gd name="T20" fmla="*/ 15 w 128"/>
                  <a:gd name="T21" fmla="*/ 81 h 237"/>
                  <a:gd name="T22" fmla="*/ 29 w 128"/>
                  <a:gd name="T23" fmla="*/ 94 h 237"/>
                  <a:gd name="T24" fmla="*/ 25 w 128"/>
                  <a:gd name="T25" fmla="*/ 101 h 237"/>
                  <a:gd name="T26" fmla="*/ 22 w 128"/>
                  <a:gd name="T27" fmla="*/ 112 h 237"/>
                  <a:gd name="T28" fmla="*/ 39 w 128"/>
                  <a:gd name="T29" fmla="*/ 108 h 237"/>
                  <a:gd name="T30" fmla="*/ 40 w 128"/>
                  <a:gd name="T31" fmla="*/ 133 h 237"/>
                  <a:gd name="T32" fmla="*/ 26 w 128"/>
                  <a:gd name="T33" fmla="*/ 151 h 237"/>
                  <a:gd name="T34" fmla="*/ 24 w 128"/>
                  <a:gd name="T35" fmla="*/ 180 h 237"/>
                  <a:gd name="T36" fmla="*/ 21 w 128"/>
                  <a:gd name="T37" fmla="*/ 184 h 237"/>
                  <a:gd name="T38" fmla="*/ 22 w 128"/>
                  <a:gd name="T39" fmla="*/ 188 h 237"/>
                  <a:gd name="T40" fmla="*/ 57 w 128"/>
                  <a:gd name="T41" fmla="*/ 189 h 237"/>
                  <a:gd name="T42" fmla="*/ 61 w 128"/>
                  <a:gd name="T43" fmla="*/ 189 h 237"/>
                  <a:gd name="T44" fmla="*/ 58 w 128"/>
                  <a:gd name="T45" fmla="*/ 193 h 237"/>
                  <a:gd name="T46" fmla="*/ 24 w 128"/>
                  <a:gd name="T47" fmla="*/ 207 h 237"/>
                  <a:gd name="T48" fmla="*/ 32 w 128"/>
                  <a:gd name="T49" fmla="*/ 225 h 237"/>
                  <a:gd name="T50" fmla="*/ 101 w 128"/>
                  <a:gd name="T51" fmla="*/ 214 h 237"/>
                  <a:gd name="T52" fmla="*/ 116 w 128"/>
                  <a:gd name="T53" fmla="*/ 193 h 237"/>
                  <a:gd name="T54" fmla="*/ 120 w 128"/>
                  <a:gd name="T55" fmla="*/ 189 h 237"/>
                  <a:gd name="T56" fmla="*/ 123 w 128"/>
                  <a:gd name="T57" fmla="*/ 180 h 237"/>
                  <a:gd name="T58" fmla="*/ 120 w 128"/>
                  <a:gd name="T59" fmla="*/ 174 h 237"/>
                  <a:gd name="T60" fmla="*/ 113 w 128"/>
                  <a:gd name="T61" fmla="*/ 164 h 237"/>
                  <a:gd name="T62" fmla="*/ 104 w 128"/>
                  <a:gd name="T63" fmla="*/ 160 h 237"/>
                  <a:gd name="T64" fmla="*/ 102 w 128"/>
                  <a:gd name="T65" fmla="*/ 149 h 237"/>
                  <a:gd name="T66" fmla="*/ 92 w 128"/>
                  <a:gd name="T67" fmla="*/ 127 h 237"/>
                  <a:gd name="T68" fmla="*/ 79 w 128"/>
                  <a:gd name="T69" fmla="*/ 115 h 237"/>
                  <a:gd name="T70" fmla="*/ 76 w 128"/>
                  <a:gd name="T71" fmla="*/ 97 h 237"/>
                  <a:gd name="T72" fmla="*/ 69 w 128"/>
                  <a:gd name="T73" fmla="*/ 81 h 237"/>
                  <a:gd name="T74" fmla="*/ 66 w 128"/>
                  <a:gd name="T75" fmla="*/ 52 h 237"/>
                  <a:gd name="T76" fmla="*/ 66 w 128"/>
                  <a:gd name="T77" fmla="*/ 48 h 237"/>
                  <a:gd name="T78" fmla="*/ 64 w 128"/>
                  <a:gd name="T79" fmla="*/ 41 h 237"/>
                  <a:gd name="T80" fmla="*/ 59 w 128"/>
                  <a:gd name="T81" fmla="*/ 39 h 237"/>
                  <a:gd name="T82" fmla="*/ 55 w 128"/>
                  <a:gd name="T83" fmla="*/ 37 h 237"/>
                  <a:gd name="T84" fmla="*/ 42 w 128"/>
                  <a:gd name="T85" fmla="*/ 32 h 237"/>
                  <a:gd name="T86" fmla="*/ 40 w 128"/>
                  <a:gd name="T87" fmla="*/ 27 h 237"/>
                  <a:gd name="T88" fmla="*/ 40 w 128"/>
                  <a:gd name="T89" fmla="*/ 20 h 237"/>
                  <a:gd name="T90" fmla="*/ 46 w 128"/>
                  <a:gd name="T91" fmla="*/ 15 h 237"/>
                  <a:gd name="T92" fmla="*/ 48 w 128"/>
                  <a:gd name="T93" fmla="*/ 6 h 237"/>
                  <a:gd name="T94" fmla="*/ 47 w 128"/>
                  <a:gd name="T95" fmla="*/ 1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8" h="237">
                    <a:moveTo>
                      <a:pt x="47" y="1"/>
                    </a:moveTo>
                    <a:lnTo>
                      <a:pt x="46" y="1"/>
                    </a:lnTo>
                    <a:lnTo>
                      <a:pt x="44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9" y="1"/>
                    </a:lnTo>
                    <a:lnTo>
                      <a:pt x="17" y="17"/>
                    </a:lnTo>
                    <a:lnTo>
                      <a:pt x="18" y="19"/>
                    </a:lnTo>
                    <a:lnTo>
                      <a:pt x="18" y="20"/>
                    </a:lnTo>
                    <a:lnTo>
                      <a:pt x="20" y="22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18" y="32"/>
                    </a:lnTo>
                    <a:lnTo>
                      <a:pt x="17" y="37"/>
                    </a:lnTo>
                    <a:lnTo>
                      <a:pt x="15" y="37"/>
                    </a:lnTo>
                    <a:lnTo>
                      <a:pt x="14" y="39"/>
                    </a:lnTo>
                    <a:lnTo>
                      <a:pt x="11" y="42"/>
                    </a:lnTo>
                    <a:lnTo>
                      <a:pt x="9" y="46"/>
                    </a:lnTo>
                    <a:lnTo>
                      <a:pt x="6" y="52"/>
                    </a:lnTo>
                    <a:lnTo>
                      <a:pt x="6" y="56"/>
                    </a:lnTo>
                    <a:lnTo>
                      <a:pt x="6" y="61"/>
                    </a:lnTo>
                    <a:lnTo>
                      <a:pt x="9" y="64"/>
                    </a:lnTo>
                    <a:lnTo>
                      <a:pt x="17" y="63"/>
                    </a:lnTo>
                    <a:lnTo>
                      <a:pt x="17" y="64"/>
                    </a:lnTo>
                    <a:lnTo>
                      <a:pt x="15" y="65"/>
                    </a:lnTo>
                    <a:lnTo>
                      <a:pt x="14" y="68"/>
                    </a:lnTo>
                    <a:lnTo>
                      <a:pt x="14" y="72"/>
                    </a:lnTo>
                    <a:lnTo>
                      <a:pt x="13" y="75"/>
                    </a:lnTo>
                    <a:lnTo>
                      <a:pt x="14" y="78"/>
                    </a:lnTo>
                    <a:lnTo>
                      <a:pt x="15" y="81"/>
                    </a:lnTo>
                    <a:lnTo>
                      <a:pt x="20" y="82"/>
                    </a:lnTo>
                    <a:lnTo>
                      <a:pt x="28" y="87"/>
                    </a:lnTo>
                    <a:lnTo>
                      <a:pt x="29" y="94"/>
                    </a:lnTo>
                    <a:lnTo>
                      <a:pt x="28" y="96"/>
                    </a:lnTo>
                    <a:lnTo>
                      <a:pt x="26" y="97"/>
                    </a:lnTo>
                    <a:lnTo>
                      <a:pt x="25" y="101"/>
                    </a:lnTo>
                    <a:lnTo>
                      <a:pt x="24" y="105"/>
                    </a:lnTo>
                    <a:lnTo>
                      <a:pt x="22" y="109"/>
                    </a:lnTo>
                    <a:lnTo>
                      <a:pt x="22" y="112"/>
                    </a:lnTo>
                    <a:lnTo>
                      <a:pt x="24" y="115"/>
                    </a:lnTo>
                    <a:lnTo>
                      <a:pt x="26" y="116"/>
                    </a:lnTo>
                    <a:lnTo>
                      <a:pt x="39" y="108"/>
                    </a:lnTo>
                    <a:lnTo>
                      <a:pt x="51" y="109"/>
                    </a:lnTo>
                    <a:lnTo>
                      <a:pt x="42" y="120"/>
                    </a:lnTo>
                    <a:lnTo>
                      <a:pt x="40" y="133"/>
                    </a:lnTo>
                    <a:lnTo>
                      <a:pt x="48" y="134"/>
                    </a:lnTo>
                    <a:lnTo>
                      <a:pt x="48" y="151"/>
                    </a:lnTo>
                    <a:lnTo>
                      <a:pt x="26" y="151"/>
                    </a:lnTo>
                    <a:lnTo>
                      <a:pt x="26" y="163"/>
                    </a:lnTo>
                    <a:lnTo>
                      <a:pt x="35" y="166"/>
                    </a:lnTo>
                    <a:lnTo>
                      <a:pt x="24" y="180"/>
                    </a:lnTo>
                    <a:lnTo>
                      <a:pt x="22" y="181"/>
                    </a:lnTo>
                    <a:lnTo>
                      <a:pt x="22" y="182"/>
                    </a:lnTo>
                    <a:lnTo>
                      <a:pt x="21" y="184"/>
                    </a:lnTo>
                    <a:lnTo>
                      <a:pt x="21" y="185"/>
                    </a:lnTo>
                    <a:lnTo>
                      <a:pt x="21" y="186"/>
                    </a:lnTo>
                    <a:lnTo>
                      <a:pt x="22" y="188"/>
                    </a:lnTo>
                    <a:lnTo>
                      <a:pt x="24" y="189"/>
                    </a:lnTo>
                    <a:lnTo>
                      <a:pt x="46" y="193"/>
                    </a:lnTo>
                    <a:lnTo>
                      <a:pt x="57" y="189"/>
                    </a:lnTo>
                    <a:lnTo>
                      <a:pt x="62" y="186"/>
                    </a:lnTo>
                    <a:lnTo>
                      <a:pt x="62" y="188"/>
                    </a:lnTo>
                    <a:lnTo>
                      <a:pt x="61" y="189"/>
                    </a:lnTo>
                    <a:lnTo>
                      <a:pt x="61" y="191"/>
                    </a:lnTo>
                    <a:lnTo>
                      <a:pt x="59" y="192"/>
                    </a:lnTo>
                    <a:lnTo>
                      <a:pt x="58" y="193"/>
                    </a:lnTo>
                    <a:lnTo>
                      <a:pt x="57" y="195"/>
                    </a:lnTo>
                    <a:lnTo>
                      <a:pt x="54" y="196"/>
                    </a:lnTo>
                    <a:lnTo>
                      <a:pt x="24" y="207"/>
                    </a:lnTo>
                    <a:lnTo>
                      <a:pt x="0" y="232"/>
                    </a:lnTo>
                    <a:lnTo>
                      <a:pt x="11" y="237"/>
                    </a:lnTo>
                    <a:lnTo>
                      <a:pt x="32" y="225"/>
                    </a:lnTo>
                    <a:lnTo>
                      <a:pt x="44" y="222"/>
                    </a:lnTo>
                    <a:lnTo>
                      <a:pt x="70" y="222"/>
                    </a:lnTo>
                    <a:lnTo>
                      <a:pt x="101" y="214"/>
                    </a:lnTo>
                    <a:lnTo>
                      <a:pt x="128" y="204"/>
                    </a:lnTo>
                    <a:lnTo>
                      <a:pt x="116" y="195"/>
                    </a:lnTo>
                    <a:lnTo>
                      <a:pt x="116" y="193"/>
                    </a:lnTo>
                    <a:lnTo>
                      <a:pt x="117" y="193"/>
                    </a:lnTo>
                    <a:lnTo>
                      <a:pt x="119" y="191"/>
                    </a:lnTo>
                    <a:lnTo>
                      <a:pt x="120" y="189"/>
                    </a:lnTo>
                    <a:lnTo>
                      <a:pt x="121" y="186"/>
                    </a:lnTo>
                    <a:lnTo>
                      <a:pt x="121" y="184"/>
                    </a:lnTo>
                    <a:lnTo>
                      <a:pt x="123" y="180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20" y="174"/>
                    </a:lnTo>
                    <a:lnTo>
                      <a:pt x="119" y="171"/>
                    </a:lnTo>
                    <a:lnTo>
                      <a:pt x="116" y="169"/>
                    </a:lnTo>
                    <a:lnTo>
                      <a:pt x="113" y="164"/>
                    </a:lnTo>
                    <a:lnTo>
                      <a:pt x="110" y="163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4" y="159"/>
                    </a:lnTo>
                    <a:lnTo>
                      <a:pt x="102" y="155"/>
                    </a:lnTo>
                    <a:lnTo>
                      <a:pt x="102" y="149"/>
                    </a:lnTo>
                    <a:lnTo>
                      <a:pt x="99" y="142"/>
                    </a:lnTo>
                    <a:lnTo>
                      <a:pt x="97" y="134"/>
                    </a:lnTo>
                    <a:lnTo>
                      <a:pt x="92" y="127"/>
                    </a:lnTo>
                    <a:lnTo>
                      <a:pt x="87" y="120"/>
                    </a:lnTo>
                    <a:lnTo>
                      <a:pt x="80" y="116"/>
                    </a:lnTo>
                    <a:lnTo>
                      <a:pt x="79" y="115"/>
                    </a:lnTo>
                    <a:lnTo>
                      <a:pt x="79" y="111"/>
                    </a:lnTo>
                    <a:lnTo>
                      <a:pt x="77" y="105"/>
                    </a:lnTo>
                    <a:lnTo>
                      <a:pt x="76" y="97"/>
                    </a:lnTo>
                    <a:lnTo>
                      <a:pt x="75" y="90"/>
                    </a:lnTo>
                    <a:lnTo>
                      <a:pt x="72" y="85"/>
                    </a:lnTo>
                    <a:lnTo>
                      <a:pt x="69" y="81"/>
                    </a:lnTo>
                    <a:lnTo>
                      <a:pt x="66" y="78"/>
                    </a:lnTo>
                    <a:lnTo>
                      <a:pt x="57" y="71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49"/>
                    </a:lnTo>
                    <a:lnTo>
                      <a:pt x="66" y="48"/>
                    </a:lnTo>
                    <a:lnTo>
                      <a:pt x="65" y="45"/>
                    </a:lnTo>
                    <a:lnTo>
                      <a:pt x="65" y="43"/>
                    </a:lnTo>
                    <a:lnTo>
                      <a:pt x="64" y="41"/>
                    </a:lnTo>
                    <a:lnTo>
                      <a:pt x="62" y="39"/>
                    </a:lnTo>
                    <a:lnTo>
                      <a:pt x="61" y="39"/>
                    </a:lnTo>
                    <a:lnTo>
                      <a:pt x="59" y="39"/>
                    </a:lnTo>
                    <a:lnTo>
                      <a:pt x="58" y="38"/>
                    </a:lnTo>
                    <a:lnTo>
                      <a:pt x="57" y="38"/>
                    </a:lnTo>
                    <a:lnTo>
                      <a:pt x="55" y="37"/>
                    </a:lnTo>
                    <a:lnTo>
                      <a:pt x="54" y="37"/>
                    </a:lnTo>
                    <a:lnTo>
                      <a:pt x="53" y="35"/>
                    </a:lnTo>
                    <a:lnTo>
                      <a:pt x="42" y="32"/>
                    </a:lnTo>
                    <a:lnTo>
                      <a:pt x="42" y="31"/>
                    </a:lnTo>
                    <a:lnTo>
                      <a:pt x="40" y="28"/>
                    </a:lnTo>
                    <a:lnTo>
                      <a:pt x="40" y="27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19"/>
                    </a:lnTo>
                    <a:lnTo>
                      <a:pt x="44" y="16"/>
                    </a:lnTo>
                    <a:lnTo>
                      <a:pt x="46" y="15"/>
                    </a:lnTo>
                    <a:lnTo>
                      <a:pt x="47" y="12"/>
                    </a:lnTo>
                    <a:lnTo>
                      <a:pt x="48" y="9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5" name="Freeform 887"/>
              <p:cNvSpPr>
                <a:spLocks/>
              </p:cNvSpPr>
              <p:nvPr/>
            </p:nvSpPr>
            <p:spPr bwMode="auto">
              <a:xfrm>
                <a:off x="2614" y="1903"/>
                <a:ext cx="44" cy="37"/>
              </a:xfrm>
              <a:custGeom>
                <a:avLst/>
                <a:gdLst>
                  <a:gd name="T0" fmla="*/ 19 w 44"/>
                  <a:gd name="T1" fmla="*/ 0 h 37"/>
                  <a:gd name="T2" fmla="*/ 19 w 44"/>
                  <a:gd name="T3" fmla="*/ 0 h 37"/>
                  <a:gd name="T4" fmla="*/ 22 w 44"/>
                  <a:gd name="T5" fmla="*/ 0 h 37"/>
                  <a:gd name="T6" fmla="*/ 25 w 44"/>
                  <a:gd name="T7" fmla="*/ 0 h 37"/>
                  <a:gd name="T8" fmla="*/ 27 w 44"/>
                  <a:gd name="T9" fmla="*/ 0 h 37"/>
                  <a:gd name="T10" fmla="*/ 31 w 44"/>
                  <a:gd name="T11" fmla="*/ 0 h 37"/>
                  <a:gd name="T12" fmla="*/ 34 w 44"/>
                  <a:gd name="T13" fmla="*/ 1 h 37"/>
                  <a:gd name="T14" fmla="*/ 37 w 44"/>
                  <a:gd name="T15" fmla="*/ 2 h 37"/>
                  <a:gd name="T16" fmla="*/ 38 w 44"/>
                  <a:gd name="T17" fmla="*/ 7 h 37"/>
                  <a:gd name="T18" fmla="*/ 40 w 44"/>
                  <a:gd name="T19" fmla="*/ 7 h 37"/>
                  <a:gd name="T20" fmla="*/ 41 w 44"/>
                  <a:gd name="T21" fmla="*/ 8 h 37"/>
                  <a:gd name="T22" fmla="*/ 42 w 44"/>
                  <a:gd name="T23" fmla="*/ 11 h 37"/>
                  <a:gd name="T24" fmla="*/ 44 w 44"/>
                  <a:gd name="T25" fmla="*/ 13 h 37"/>
                  <a:gd name="T26" fmla="*/ 44 w 44"/>
                  <a:gd name="T27" fmla="*/ 18 h 37"/>
                  <a:gd name="T28" fmla="*/ 44 w 44"/>
                  <a:gd name="T29" fmla="*/ 22 h 37"/>
                  <a:gd name="T30" fmla="*/ 42 w 44"/>
                  <a:gd name="T31" fmla="*/ 27 h 37"/>
                  <a:gd name="T32" fmla="*/ 38 w 44"/>
                  <a:gd name="T33" fmla="*/ 31 h 37"/>
                  <a:gd name="T34" fmla="*/ 38 w 44"/>
                  <a:gd name="T35" fmla="*/ 31 h 37"/>
                  <a:gd name="T36" fmla="*/ 38 w 44"/>
                  <a:gd name="T37" fmla="*/ 33 h 37"/>
                  <a:gd name="T38" fmla="*/ 38 w 44"/>
                  <a:gd name="T39" fmla="*/ 33 h 37"/>
                  <a:gd name="T40" fmla="*/ 37 w 44"/>
                  <a:gd name="T41" fmla="*/ 34 h 37"/>
                  <a:gd name="T42" fmla="*/ 37 w 44"/>
                  <a:gd name="T43" fmla="*/ 34 h 37"/>
                  <a:gd name="T44" fmla="*/ 36 w 44"/>
                  <a:gd name="T45" fmla="*/ 35 h 37"/>
                  <a:gd name="T46" fmla="*/ 34 w 44"/>
                  <a:gd name="T47" fmla="*/ 37 h 37"/>
                  <a:gd name="T48" fmla="*/ 33 w 44"/>
                  <a:gd name="T49" fmla="*/ 37 h 37"/>
                  <a:gd name="T50" fmla="*/ 33 w 44"/>
                  <a:gd name="T51" fmla="*/ 37 h 37"/>
                  <a:gd name="T52" fmla="*/ 31 w 44"/>
                  <a:gd name="T53" fmla="*/ 37 h 37"/>
                  <a:gd name="T54" fmla="*/ 29 w 44"/>
                  <a:gd name="T55" fmla="*/ 35 h 37"/>
                  <a:gd name="T56" fmla="*/ 27 w 44"/>
                  <a:gd name="T57" fmla="*/ 35 h 37"/>
                  <a:gd name="T58" fmla="*/ 25 w 44"/>
                  <a:gd name="T59" fmla="*/ 34 h 37"/>
                  <a:gd name="T60" fmla="*/ 23 w 44"/>
                  <a:gd name="T61" fmla="*/ 34 h 37"/>
                  <a:gd name="T62" fmla="*/ 20 w 44"/>
                  <a:gd name="T63" fmla="*/ 33 h 37"/>
                  <a:gd name="T64" fmla="*/ 20 w 44"/>
                  <a:gd name="T65" fmla="*/ 31 h 37"/>
                  <a:gd name="T66" fmla="*/ 20 w 44"/>
                  <a:gd name="T67" fmla="*/ 30 h 37"/>
                  <a:gd name="T68" fmla="*/ 20 w 44"/>
                  <a:gd name="T69" fmla="*/ 27 h 37"/>
                  <a:gd name="T70" fmla="*/ 19 w 44"/>
                  <a:gd name="T71" fmla="*/ 26 h 37"/>
                  <a:gd name="T72" fmla="*/ 19 w 44"/>
                  <a:gd name="T73" fmla="*/ 24 h 37"/>
                  <a:gd name="T74" fmla="*/ 19 w 44"/>
                  <a:gd name="T75" fmla="*/ 23 h 37"/>
                  <a:gd name="T76" fmla="*/ 18 w 44"/>
                  <a:gd name="T77" fmla="*/ 22 h 37"/>
                  <a:gd name="T78" fmla="*/ 18 w 44"/>
                  <a:gd name="T79" fmla="*/ 22 h 37"/>
                  <a:gd name="T80" fmla="*/ 18 w 44"/>
                  <a:gd name="T81" fmla="*/ 20 h 37"/>
                  <a:gd name="T82" fmla="*/ 18 w 44"/>
                  <a:gd name="T83" fmla="*/ 22 h 37"/>
                  <a:gd name="T84" fmla="*/ 16 w 44"/>
                  <a:gd name="T85" fmla="*/ 22 h 37"/>
                  <a:gd name="T86" fmla="*/ 16 w 44"/>
                  <a:gd name="T87" fmla="*/ 23 h 37"/>
                  <a:gd name="T88" fmla="*/ 15 w 44"/>
                  <a:gd name="T89" fmla="*/ 23 h 37"/>
                  <a:gd name="T90" fmla="*/ 14 w 44"/>
                  <a:gd name="T91" fmla="*/ 24 h 37"/>
                  <a:gd name="T92" fmla="*/ 12 w 44"/>
                  <a:gd name="T93" fmla="*/ 24 h 37"/>
                  <a:gd name="T94" fmla="*/ 11 w 44"/>
                  <a:gd name="T95" fmla="*/ 26 h 37"/>
                  <a:gd name="T96" fmla="*/ 9 w 44"/>
                  <a:gd name="T97" fmla="*/ 24 h 37"/>
                  <a:gd name="T98" fmla="*/ 8 w 44"/>
                  <a:gd name="T99" fmla="*/ 24 h 37"/>
                  <a:gd name="T100" fmla="*/ 5 w 44"/>
                  <a:gd name="T101" fmla="*/ 23 h 37"/>
                  <a:gd name="T102" fmla="*/ 4 w 44"/>
                  <a:gd name="T103" fmla="*/ 22 h 37"/>
                  <a:gd name="T104" fmla="*/ 3 w 44"/>
                  <a:gd name="T105" fmla="*/ 20 h 37"/>
                  <a:gd name="T106" fmla="*/ 1 w 44"/>
                  <a:gd name="T107" fmla="*/ 18 h 37"/>
                  <a:gd name="T108" fmla="*/ 0 w 44"/>
                  <a:gd name="T109" fmla="*/ 16 h 37"/>
                  <a:gd name="T110" fmla="*/ 1 w 44"/>
                  <a:gd name="T111" fmla="*/ 12 h 37"/>
                  <a:gd name="T112" fmla="*/ 3 w 44"/>
                  <a:gd name="T113" fmla="*/ 9 h 37"/>
                  <a:gd name="T114" fmla="*/ 19 w 44"/>
                  <a:gd name="T1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4" h="37">
                    <a:moveTo>
                      <a:pt x="19" y="0"/>
                    </a:moveTo>
                    <a:lnTo>
                      <a:pt x="19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4" y="13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2" y="27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36" y="35"/>
                    </a:lnTo>
                    <a:lnTo>
                      <a:pt x="34" y="37"/>
                    </a:lnTo>
                    <a:lnTo>
                      <a:pt x="33" y="37"/>
                    </a:lnTo>
                    <a:lnTo>
                      <a:pt x="33" y="37"/>
                    </a:lnTo>
                    <a:lnTo>
                      <a:pt x="31" y="37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19" y="23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4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3" y="20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6" name="Freeform 888"/>
              <p:cNvSpPr>
                <a:spLocks/>
              </p:cNvSpPr>
              <p:nvPr/>
            </p:nvSpPr>
            <p:spPr bwMode="auto">
              <a:xfrm>
                <a:off x="2614" y="1903"/>
                <a:ext cx="44" cy="37"/>
              </a:xfrm>
              <a:custGeom>
                <a:avLst/>
                <a:gdLst>
                  <a:gd name="T0" fmla="*/ 19 w 44"/>
                  <a:gd name="T1" fmla="*/ 0 h 37"/>
                  <a:gd name="T2" fmla="*/ 22 w 44"/>
                  <a:gd name="T3" fmla="*/ 0 h 37"/>
                  <a:gd name="T4" fmla="*/ 25 w 44"/>
                  <a:gd name="T5" fmla="*/ 0 h 37"/>
                  <a:gd name="T6" fmla="*/ 27 w 44"/>
                  <a:gd name="T7" fmla="*/ 0 h 37"/>
                  <a:gd name="T8" fmla="*/ 31 w 44"/>
                  <a:gd name="T9" fmla="*/ 0 h 37"/>
                  <a:gd name="T10" fmla="*/ 34 w 44"/>
                  <a:gd name="T11" fmla="*/ 1 h 37"/>
                  <a:gd name="T12" fmla="*/ 37 w 44"/>
                  <a:gd name="T13" fmla="*/ 2 h 37"/>
                  <a:gd name="T14" fmla="*/ 38 w 44"/>
                  <a:gd name="T15" fmla="*/ 7 h 37"/>
                  <a:gd name="T16" fmla="*/ 40 w 44"/>
                  <a:gd name="T17" fmla="*/ 7 h 37"/>
                  <a:gd name="T18" fmla="*/ 41 w 44"/>
                  <a:gd name="T19" fmla="*/ 8 h 37"/>
                  <a:gd name="T20" fmla="*/ 42 w 44"/>
                  <a:gd name="T21" fmla="*/ 11 h 37"/>
                  <a:gd name="T22" fmla="*/ 44 w 44"/>
                  <a:gd name="T23" fmla="*/ 13 h 37"/>
                  <a:gd name="T24" fmla="*/ 44 w 44"/>
                  <a:gd name="T25" fmla="*/ 18 h 37"/>
                  <a:gd name="T26" fmla="*/ 44 w 44"/>
                  <a:gd name="T27" fmla="*/ 22 h 37"/>
                  <a:gd name="T28" fmla="*/ 42 w 44"/>
                  <a:gd name="T29" fmla="*/ 27 h 37"/>
                  <a:gd name="T30" fmla="*/ 38 w 44"/>
                  <a:gd name="T31" fmla="*/ 31 h 37"/>
                  <a:gd name="T32" fmla="*/ 38 w 44"/>
                  <a:gd name="T33" fmla="*/ 33 h 37"/>
                  <a:gd name="T34" fmla="*/ 37 w 44"/>
                  <a:gd name="T35" fmla="*/ 34 h 37"/>
                  <a:gd name="T36" fmla="*/ 36 w 44"/>
                  <a:gd name="T37" fmla="*/ 35 h 37"/>
                  <a:gd name="T38" fmla="*/ 34 w 44"/>
                  <a:gd name="T39" fmla="*/ 37 h 37"/>
                  <a:gd name="T40" fmla="*/ 33 w 44"/>
                  <a:gd name="T41" fmla="*/ 37 h 37"/>
                  <a:gd name="T42" fmla="*/ 31 w 44"/>
                  <a:gd name="T43" fmla="*/ 37 h 37"/>
                  <a:gd name="T44" fmla="*/ 29 w 44"/>
                  <a:gd name="T45" fmla="*/ 35 h 37"/>
                  <a:gd name="T46" fmla="*/ 27 w 44"/>
                  <a:gd name="T47" fmla="*/ 35 h 37"/>
                  <a:gd name="T48" fmla="*/ 25 w 44"/>
                  <a:gd name="T49" fmla="*/ 34 h 37"/>
                  <a:gd name="T50" fmla="*/ 23 w 44"/>
                  <a:gd name="T51" fmla="*/ 34 h 37"/>
                  <a:gd name="T52" fmla="*/ 20 w 44"/>
                  <a:gd name="T53" fmla="*/ 33 h 37"/>
                  <a:gd name="T54" fmla="*/ 20 w 44"/>
                  <a:gd name="T55" fmla="*/ 31 h 37"/>
                  <a:gd name="T56" fmla="*/ 20 w 44"/>
                  <a:gd name="T57" fmla="*/ 30 h 37"/>
                  <a:gd name="T58" fmla="*/ 20 w 44"/>
                  <a:gd name="T59" fmla="*/ 27 h 37"/>
                  <a:gd name="T60" fmla="*/ 19 w 44"/>
                  <a:gd name="T61" fmla="*/ 26 h 37"/>
                  <a:gd name="T62" fmla="*/ 19 w 44"/>
                  <a:gd name="T63" fmla="*/ 24 h 37"/>
                  <a:gd name="T64" fmla="*/ 19 w 44"/>
                  <a:gd name="T65" fmla="*/ 23 h 37"/>
                  <a:gd name="T66" fmla="*/ 18 w 44"/>
                  <a:gd name="T67" fmla="*/ 22 h 37"/>
                  <a:gd name="T68" fmla="*/ 18 w 44"/>
                  <a:gd name="T69" fmla="*/ 20 h 37"/>
                  <a:gd name="T70" fmla="*/ 18 w 44"/>
                  <a:gd name="T71" fmla="*/ 22 h 37"/>
                  <a:gd name="T72" fmla="*/ 16 w 44"/>
                  <a:gd name="T73" fmla="*/ 22 h 37"/>
                  <a:gd name="T74" fmla="*/ 16 w 44"/>
                  <a:gd name="T75" fmla="*/ 23 h 37"/>
                  <a:gd name="T76" fmla="*/ 15 w 44"/>
                  <a:gd name="T77" fmla="*/ 23 h 37"/>
                  <a:gd name="T78" fmla="*/ 14 w 44"/>
                  <a:gd name="T79" fmla="*/ 24 h 37"/>
                  <a:gd name="T80" fmla="*/ 12 w 44"/>
                  <a:gd name="T81" fmla="*/ 24 h 37"/>
                  <a:gd name="T82" fmla="*/ 11 w 44"/>
                  <a:gd name="T83" fmla="*/ 26 h 37"/>
                  <a:gd name="T84" fmla="*/ 9 w 44"/>
                  <a:gd name="T85" fmla="*/ 24 h 37"/>
                  <a:gd name="T86" fmla="*/ 8 w 44"/>
                  <a:gd name="T87" fmla="*/ 24 h 37"/>
                  <a:gd name="T88" fmla="*/ 5 w 44"/>
                  <a:gd name="T89" fmla="*/ 23 h 37"/>
                  <a:gd name="T90" fmla="*/ 4 w 44"/>
                  <a:gd name="T91" fmla="*/ 22 h 37"/>
                  <a:gd name="T92" fmla="*/ 3 w 44"/>
                  <a:gd name="T93" fmla="*/ 20 h 37"/>
                  <a:gd name="T94" fmla="*/ 1 w 44"/>
                  <a:gd name="T95" fmla="*/ 18 h 37"/>
                  <a:gd name="T96" fmla="*/ 0 w 44"/>
                  <a:gd name="T97" fmla="*/ 16 h 37"/>
                  <a:gd name="T98" fmla="*/ 1 w 44"/>
                  <a:gd name="T99" fmla="*/ 12 h 37"/>
                  <a:gd name="T100" fmla="*/ 3 w 44"/>
                  <a:gd name="T101" fmla="*/ 9 h 37"/>
                  <a:gd name="T102" fmla="*/ 19 w 44"/>
                  <a:gd name="T10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4" h="37">
                    <a:moveTo>
                      <a:pt x="19" y="0"/>
                    </a:moveTo>
                    <a:lnTo>
                      <a:pt x="22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4" y="13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2" y="27"/>
                    </a:lnTo>
                    <a:lnTo>
                      <a:pt x="38" y="31"/>
                    </a:lnTo>
                    <a:lnTo>
                      <a:pt x="38" y="33"/>
                    </a:lnTo>
                    <a:lnTo>
                      <a:pt x="37" y="34"/>
                    </a:lnTo>
                    <a:lnTo>
                      <a:pt x="36" y="35"/>
                    </a:lnTo>
                    <a:lnTo>
                      <a:pt x="34" y="37"/>
                    </a:lnTo>
                    <a:lnTo>
                      <a:pt x="33" y="37"/>
                    </a:lnTo>
                    <a:lnTo>
                      <a:pt x="31" y="37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5" y="34"/>
                    </a:lnTo>
                    <a:lnTo>
                      <a:pt x="23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0" y="30"/>
                    </a:lnTo>
                    <a:lnTo>
                      <a:pt x="20" y="27"/>
                    </a:lnTo>
                    <a:lnTo>
                      <a:pt x="19" y="26"/>
                    </a:lnTo>
                    <a:lnTo>
                      <a:pt x="19" y="24"/>
                    </a:lnTo>
                    <a:lnTo>
                      <a:pt x="19" y="23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22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5" y="23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1" y="26"/>
                    </a:lnTo>
                    <a:lnTo>
                      <a:pt x="9" y="24"/>
                    </a:lnTo>
                    <a:lnTo>
                      <a:pt x="8" y="24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3" y="20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2"/>
                    </a:lnTo>
                    <a:lnTo>
                      <a:pt x="3" y="9"/>
                    </a:lnTo>
                    <a:lnTo>
                      <a:pt x="1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7" name="Freeform 889"/>
              <p:cNvSpPr>
                <a:spLocks/>
              </p:cNvSpPr>
              <p:nvPr/>
            </p:nvSpPr>
            <p:spPr bwMode="auto">
              <a:xfrm>
                <a:off x="2857" y="1841"/>
                <a:ext cx="44" cy="73"/>
              </a:xfrm>
              <a:custGeom>
                <a:avLst/>
                <a:gdLst>
                  <a:gd name="T0" fmla="*/ 36 w 44"/>
                  <a:gd name="T1" fmla="*/ 70 h 73"/>
                  <a:gd name="T2" fmla="*/ 36 w 44"/>
                  <a:gd name="T3" fmla="*/ 53 h 73"/>
                  <a:gd name="T4" fmla="*/ 36 w 44"/>
                  <a:gd name="T5" fmla="*/ 53 h 73"/>
                  <a:gd name="T6" fmla="*/ 36 w 44"/>
                  <a:gd name="T7" fmla="*/ 52 h 73"/>
                  <a:gd name="T8" fmla="*/ 36 w 44"/>
                  <a:gd name="T9" fmla="*/ 52 h 73"/>
                  <a:gd name="T10" fmla="*/ 36 w 44"/>
                  <a:gd name="T11" fmla="*/ 51 h 73"/>
                  <a:gd name="T12" fmla="*/ 36 w 44"/>
                  <a:gd name="T13" fmla="*/ 49 h 73"/>
                  <a:gd name="T14" fmla="*/ 35 w 44"/>
                  <a:gd name="T15" fmla="*/ 48 h 73"/>
                  <a:gd name="T16" fmla="*/ 35 w 44"/>
                  <a:gd name="T17" fmla="*/ 47 h 73"/>
                  <a:gd name="T18" fmla="*/ 35 w 44"/>
                  <a:gd name="T19" fmla="*/ 44 h 73"/>
                  <a:gd name="T20" fmla="*/ 35 w 44"/>
                  <a:gd name="T21" fmla="*/ 42 h 73"/>
                  <a:gd name="T22" fmla="*/ 35 w 44"/>
                  <a:gd name="T23" fmla="*/ 41 h 73"/>
                  <a:gd name="T24" fmla="*/ 36 w 44"/>
                  <a:gd name="T25" fmla="*/ 40 h 73"/>
                  <a:gd name="T26" fmla="*/ 36 w 44"/>
                  <a:gd name="T27" fmla="*/ 38 h 73"/>
                  <a:gd name="T28" fmla="*/ 37 w 44"/>
                  <a:gd name="T29" fmla="*/ 37 h 73"/>
                  <a:gd name="T30" fmla="*/ 39 w 44"/>
                  <a:gd name="T31" fmla="*/ 36 h 73"/>
                  <a:gd name="T32" fmla="*/ 40 w 44"/>
                  <a:gd name="T33" fmla="*/ 36 h 73"/>
                  <a:gd name="T34" fmla="*/ 43 w 44"/>
                  <a:gd name="T35" fmla="*/ 34 h 73"/>
                  <a:gd name="T36" fmla="*/ 44 w 44"/>
                  <a:gd name="T37" fmla="*/ 33 h 73"/>
                  <a:gd name="T38" fmla="*/ 44 w 44"/>
                  <a:gd name="T39" fmla="*/ 30 h 73"/>
                  <a:gd name="T40" fmla="*/ 43 w 44"/>
                  <a:gd name="T41" fmla="*/ 27 h 73"/>
                  <a:gd name="T42" fmla="*/ 42 w 44"/>
                  <a:gd name="T43" fmla="*/ 25 h 73"/>
                  <a:gd name="T44" fmla="*/ 40 w 44"/>
                  <a:gd name="T45" fmla="*/ 23 h 73"/>
                  <a:gd name="T46" fmla="*/ 39 w 44"/>
                  <a:gd name="T47" fmla="*/ 20 h 73"/>
                  <a:gd name="T48" fmla="*/ 37 w 44"/>
                  <a:gd name="T49" fmla="*/ 19 h 73"/>
                  <a:gd name="T50" fmla="*/ 37 w 44"/>
                  <a:gd name="T51" fmla="*/ 19 h 73"/>
                  <a:gd name="T52" fmla="*/ 37 w 44"/>
                  <a:gd name="T53" fmla="*/ 15 h 73"/>
                  <a:gd name="T54" fmla="*/ 36 w 44"/>
                  <a:gd name="T55" fmla="*/ 12 h 73"/>
                  <a:gd name="T56" fmla="*/ 36 w 44"/>
                  <a:gd name="T57" fmla="*/ 9 h 73"/>
                  <a:gd name="T58" fmla="*/ 36 w 44"/>
                  <a:gd name="T59" fmla="*/ 7 h 73"/>
                  <a:gd name="T60" fmla="*/ 36 w 44"/>
                  <a:gd name="T61" fmla="*/ 4 h 73"/>
                  <a:gd name="T62" fmla="*/ 35 w 44"/>
                  <a:gd name="T63" fmla="*/ 1 h 73"/>
                  <a:gd name="T64" fmla="*/ 35 w 44"/>
                  <a:gd name="T65" fmla="*/ 0 h 73"/>
                  <a:gd name="T66" fmla="*/ 35 w 44"/>
                  <a:gd name="T67" fmla="*/ 0 h 73"/>
                  <a:gd name="T68" fmla="*/ 31 w 44"/>
                  <a:gd name="T69" fmla="*/ 1 h 73"/>
                  <a:gd name="T70" fmla="*/ 4 w 44"/>
                  <a:gd name="T71" fmla="*/ 23 h 73"/>
                  <a:gd name="T72" fmla="*/ 2 w 44"/>
                  <a:gd name="T73" fmla="*/ 26 h 73"/>
                  <a:gd name="T74" fmla="*/ 2 w 44"/>
                  <a:gd name="T75" fmla="*/ 30 h 73"/>
                  <a:gd name="T76" fmla="*/ 0 w 44"/>
                  <a:gd name="T77" fmla="*/ 34 h 73"/>
                  <a:gd name="T78" fmla="*/ 2 w 44"/>
                  <a:gd name="T79" fmla="*/ 40 h 73"/>
                  <a:gd name="T80" fmla="*/ 2 w 44"/>
                  <a:gd name="T81" fmla="*/ 45 h 73"/>
                  <a:gd name="T82" fmla="*/ 2 w 44"/>
                  <a:gd name="T83" fmla="*/ 49 h 73"/>
                  <a:gd name="T84" fmla="*/ 3 w 44"/>
                  <a:gd name="T85" fmla="*/ 53 h 73"/>
                  <a:gd name="T86" fmla="*/ 3 w 44"/>
                  <a:gd name="T87" fmla="*/ 53 h 73"/>
                  <a:gd name="T88" fmla="*/ 11 w 44"/>
                  <a:gd name="T89" fmla="*/ 64 h 73"/>
                  <a:gd name="T90" fmla="*/ 11 w 44"/>
                  <a:gd name="T91" fmla="*/ 73 h 73"/>
                  <a:gd name="T92" fmla="*/ 36 w 44"/>
                  <a:gd name="T9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4" h="73">
                    <a:moveTo>
                      <a:pt x="36" y="70"/>
                    </a:moveTo>
                    <a:lnTo>
                      <a:pt x="36" y="53"/>
                    </a:lnTo>
                    <a:lnTo>
                      <a:pt x="36" y="53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1"/>
                    </a:lnTo>
                    <a:lnTo>
                      <a:pt x="36" y="49"/>
                    </a:lnTo>
                    <a:lnTo>
                      <a:pt x="35" y="48"/>
                    </a:lnTo>
                    <a:lnTo>
                      <a:pt x="35" y="47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1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7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3" y="34"/>
                    </a:lnTo>
                    <a:lnTo>
                      <a:pt x="44" y="33"/>
                    </a:lnTo>
                    <a:lnTo>
                      <a:pt x="44" y="30"/>
                    </a:lnTo>
                    <a:lnTo>
                      <a:pt x="43" y="27"/>
                    </a:lnTo>
                    <a:lnTo>
                      <a:pt x="42" y="25"/>
                    </a:lnTo>
                    <a:lnTo>
                      <a:pt x="40" y="23"/>
                    </a:lnTo>
                    <a:lnTo>
                      <a:pt x="39" y="20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6" y="12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4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1" y="1"/>
                    </a:lnTo>
                    <a:lnTo>
                      <a:pt x="4" y="23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5"/>
                    </a:lnTo>
                    <a:lnTo>
                      <a:pt x="2" y="49"/>
                    </a:lnTo>
                    <a:lnTo>
                      <a:pt x="3" y="53"/>
                    </a:lnTo>
                    <a:lnTo>
                      <a:pt x="3" y="53"/>
                    </a:lnTo>
                    <a:lnTo>
                      <a:pt x="11" y="64"/>
                    </a:lnTo>
                    <a:lnTo>
                      <a:pt x="11" y="73"/>
                    </a:lnTo>
                    <a:lnTo>
                      <a:pt x="36" y="7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8" name="Freeform 890"/>
              <p:cNvSpPr>
                <a:spLocks/>
              </p:cNvSpPr>
              <p:nvPr/>
            </p:nvSpPr>
            <p:spPr bwMode="auto">
              <a:xfrm>
                <a:off x="2857" y="1841"/>
                <a:ext cx="44" cy="73"/>
              </a:xfrm>
              <a:custGeom>
                <a:avLst/>
                <a:gdLst>
                  <a:gd name="T0" fmla="*/ 36 w 44"/>
                  <a:gd name="T1" fmla="*/ 70 h 73"/>
                  <a:gd name="T2" fmla="*/ 36 w 44"/>
                  <a:gd name="T3" fmla="*/ 53 h 73"/>
                  <a:gd name="T4" fmla="*/ 36 w 44"/>
                  <a:gd name="T5" fmla="*/ 52 h 73"/>
                  <a:gd name="T6" fmla="*/ 36 w 44"/>
                  <a:gd name="T7" fmla="*/ 51 h 73"/>
                  <a:gd name="T8" fmla="*/ 36 w 44"/>
                  <a:gd name="T9" fmla="*/ 49 h 73"/>
                  <a:gd name="T10" fmla="*/ 35 w 44"/>
                  <a:gd name="T11" fmla="*/ 48 h 73"/>
                  <a:gd name="T12" fmla="*/ 35 w 44"/>
                  <a:gd name="T13" fmla="*/ 47 h 73"/>
                  <a:gd name="T14" fmla="*/ 35 w 44"/>
                  <a:gd name="T15" fmla="*/ 44 h 73"/>
                  <a:gd name="T16" fmla="*/ 35 w 44"/>
                  <a:gd name="T17" fmla="*/ 42 h 73"/>
                  <a:gd name="T18" fmla="*/ 35 w 44"/>
                  <a:gd name="T19" fmla="*/ 41 h 73"/>
                  <a:gd name="T20" fmla="*/ 36 w 44"/>
                  <a:gd name="T21" fmla="*/ 40 h 73"/>
                  <a:gd name="T22" fmla="*/ 36 w 44"/>
                  <a:gd name="T23" fmla="*/ 38 h 73"/>
                  <a:gd name="T24" fmla="*/ 37 w 44"/>
                  <a:gd name="T25" fmla="*/ 37 h 73"/>
                  <a:gd name="T26" fmla="*/ 39 w 44"/>
                  <a:gd name="T27" fmla="*/ 36 h 73"/>
                  <a:gd name="T28" fmla="*/ 40 w 44"/>
                  <a:gd name="T29" fmla="*/ 36 h 73"/>
                  <a:gd name="T30" fmla="*/ 43 w 44"/>
                  <a:gd name="T31" fmla="*/ 34 h 73"/>
                  <a:gd name="T32" fmla="*/ 44 w 44"/>
                  <a:gd name="T33" fmla="*/ 33 h 73"/>
                  <a:gd name="T34" fmla="*/ 44 w 44"/>
                  <a:gd name="T35" fmla="*/ 30 h 73"/>
                  <a:gd name="T36" fmla="*/ 43 w 44"/>
                  <a:gd name="T37" fmla="*/ 27 h 73"/>
                  <a:gd name="T38" fmla="*/ 42 w 44"/>
                  <a:gd name="T39" fmla="*/ 25 h 73"/>
                  <a:gd name="T40" fmla="*/ 40 w 44"/>
                  <a:gd name="T41" fmla="*/ 23 h 73"/>
                  <a:gd name="T42" fmla="*/ 39 w 44"/>
                  <a:gd name="T43" fmla="*/ 20 h 73"/>
                  <a:gd name="T44" fmla="*/ 37 w 44"/>
                  <a:gd name="T45" fmla="*/ 19 h 73"/>
                  <a:gd name="T46" fmla="*/ 37 w 44"/>
                  <a:gd name="T47" fmla="*/ 15 h 73"/>
                  <a:gd name="T48" fmla="*/ 36 w 44"/>
                  <a:gd name="T49" fmla="*/ 12 h 73"/>
                  <a:gd name="T50" fmla="*/ 36 w 44"/>
                  <a:gd name="T51" fmla="*/ 9 h 73"/>
                  <a:gd name="T52" fmla="*/ 36 w 44"/>
                  <a:gd name="T53" fmla="*/ 7 h 73"/>
                  <a:gd name="T54" fmla="*/ 36 w 44"/>
                  <a:gd name="T55" fmla="*/ 4 h 73"/>
                  <a:gd name="T56" fmla="*/ 35 w 44"/>
                  <a:gd name="T57" fmla="*/ 1 h 73"/>
                  <a:gd name="T58" fmla="*/ 35 w 44"/>
                  <a:gd name="T59" fmla="*/ 0 h 73"/>
                  <a:gd name="T60" fmla="*/ 31 w 44"/>
                  <a:gd name="T61" fmla="*/ 1 h 73"/>
                  <a:gd name="T62" fmla="*/ 4 w 44"/>
                  <a:gd name="T63" fmla="*/ 23 h 73"/>
                  <a:gd name="T64" fmla="*/ 2 w 44"/>
                  <a:gd name="T65" fmla="*/ 26 h 73"/>
                  <a:gd name="T66" fmla="*/ 2 w 44"/>
                  <a:gd name="T67" fmla="*/ 30 h 73"/>
                  <a:gd name="T68" fmla="*/ 0 w 44"/>
                  <a:gd name="T69" fmla="*/ 34 h 73"/>
                  <a:gd name="T70" fmla="*/ 2 w 44"/>
                  <a:gd name="T71" fmla="*/ 40 h 73"/>
                  <a:gd name="T72" fmla="*/ 2 w 44"/>
                  <a:gd name="T73" fmla="*/ 45 h 73"/>
                  <a:gd name="T74" fmla="*/ 2 w 44"/>
                  <a:gd name="T75" fmla="*/ 49 h 73"/>
                  <a:gd name="T76" fmla="*/ 3 w 44"/>
                  <a:gd name="T77" fmla="*/ 53 h 73"/>
                  <a:gd name="T78" fmla="*/ 11 w 44"/>
                  <a:gd name="T79" fmla="*/ 64 h 73"/>
                  <a:gd name="T80" fmla="*/ 11 w 44"/>
                  <a:gd name="T81" fmla="*/ 73 h 73"/>
                  <a:gd name="T82" fmla="*/ 36 w 44"/>
                  <a:gd name="T8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4" h="73">
                    <a:moveTo>
                      <a:pt x="36" y="70"/>
                    </a:moveTo>
                    <a:lnTo>
                      <a:pt x="36" y="53"/>
                    </a:lnTo>
                    <a:lnTo>
                      <a:pt x="36" y="52"/>
                    </a:lnTo>
                    <a:lnTo>
                      <a:pt x="36" y="51"/>
                    </a:lnTo>
                    <a:lnTo>
                      <a:pt x="36" y="49"/>
                    </a:lnTo>
                    <a:lnTo>
                      <a:pt x="35" y="48"/>
                    </a:lnTo>
                    <a:lnTo>
                      <a:pt x="35" y="47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1"/>
                    </a:lnTo>
                    <a:lnTo>
                      <a:pt x="36" y="40"/>
                    </a:lnTo>
                    <a:lnTo>
                      <a:pt x="36" y="38"/>
                    </a:lnTo>
                    <a:lnTo>
                      <a:pt x="37" y="37"/>
                    </a:lnTo>
                    <a:lnTo>
                      <a:pt x="39" y="36"/>
                    </a:lnTo>
                    <a:lnTo>
                      <a:pt x="40" y="36"/>
                    </a:lnTo>
                    <a:lnTo>
                      <a:pt x="43" y="34"/>
                    </a:lnTo>
                    <a:lnTo>
                      <a:pt x="44" y="33"/>
                    </a:lnTo>
                    <a:lnTo>
                      <a:pt x="44" y="30"/>
                    </a:lnTo>
                    <a:lnTo>
                      <a:pt x="43" y="27"/>
                    </a:lnTo>
                    <a:lnTo>
                      <a:pt x="42" y="25"/>
                    </a:lnTo>
                    <a:lnTo>
                      <a:pt x="40" y="23"/>
                    </a:lnTo>
                    <a:lnTo>
                      <a:pt x="39" y="20"/>
                    </a:lnTo>
                    <a:lnTo>
                      <a:pt x="37" y="19"/>
                    </a:lnTo>
                    <a:lnTo>
                      <a:pt x="37" y="15"/>
                    </a:lnTo>
                    <a:lnTo>
                      <a:pt x="36" y="12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4"/>
                    </a:lnTo>
                    <a:lnTo>
                      <a:pt x="35" y="1"/>
                    </a:lnTo>
                    <a:lnTo>
                      <a:pt x="35" y="0"/>
                    </a:lnTo>
                    <a:lnTo>
                      <a:pt x="31" y="1"/>
                    </a:lnTo>
                    <a:lnTo>
                      <a:pt x="4" y="23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0" y="34"/>
                    </a:lnTo>
                    <a:lnTo>
                      <a:pt x="2" y="40"/>
                    </a:lnTo>
                    <a:lnTo>
                      <a:pt x="2" y="45"/>
                    </a:lnTo>
                    <a:lnTo>
                      <a:pt x="2" y="49"/>
                    </a:lnTo>
                    <a:lnTo>
                      <a:pt x="3" y="53"/>
                    </a:lnTo>
                    <a:lnTo>
                      <a:pt x="11" y="64"/>
                    </a:lnTo>
                    <a:lnTo>
                      <a:pt x="11" y="73"/>
                    </a:lnTo>
                    <a:lnTo>
                      <a:pt x="36" y="7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59" name="Freeform 891"/>
              <p:cNvSpPr>
                <a:spLocks/>
              </p:cNvSpPr>
              <p:nvPr/>
            </p:nvSpPr>
            <p:spPr bwMode="auto">
              <a:xfrm>
                <a:off x="2916" y="1440"/>
                <a:ext cx="201" cy="463"/>
              </a:xfrm>
              <a:custGeom>
                <a:avLst/>
                <a:gdLst>
                  <a:gd name="T0" fmla="*/ 2 w 201"/>
                  <a:gd name="T1" fmla="*/ 335 h 463"/>
                  <a:gd name="T2" fmla="*/ 2 w 201"/>
                  <a:gd name="T3" fmla="*/ 346 h 463"/>
                  <a:gd name="T4" fmla="*/ 2 w 201"/>
                  <a:gd name="T5" fmla="*/ 356 h 463"/>
                  <a:gd name="T6" fmla="*/ 2 w 201"/>
                  <a:gd name="T7" fmla="*/ 367 h 463"/>
                  <a:gd name="T8" fmla="*/ 0 w 201"/>
                  <a:gd name="T9" fmla="*/ 379 h 463"/>
                  <a:gd name="T10" fmla="*/ 2 w 201"/>
                  <a:gd name="T11" fmla="*/ 415 h 463"/>
                  <a:gd name="T12" fmla="*/ 31 w 201"/>
                  <a:gd name="T13" fmla="*/ 463 h 463"/>
                  <a:gd name="T14" fmla="*/ 47 w 201"/>
                  <a:gd name="T15" fmla="*/ 449 h 463"/>
                  <a:gd name="T16" fmla="*/ 60 w 201"/>
                  <a:gd name="T17" fmla="*/ 442 h 463"/>
                  <a:gd name="T18" fmla="*/ 65 w 201"/>
                  <a:gd name="T19" fmla="*/ 439 h 463"/>
                  <a:gd name="T20" fmla="*/ 75 w 201"/>
                  <a:gd name="T21" fmla="*/ 417 h 463"/>
                  <a:gd name="T22" fmla="*/ 80 w 201"/>
                  <a:gd name="T23" fmla="*/ 395 h 463"/>
                  <a:gd name="T24" fmla="*/ 79 w 201"/>
                  <a:gd name="T25" fmla="*/ 380 h 463"/>
                  <a:gd name="T26" fmla="*/ 108 w 201"/>
                  <a:gd name="T27" fmla="*/ 347 h 463"/>
                  <a:gd name="T28" fmla="*/ 112 w 201"/>
                  <a:gd name="T29" fmla="*/ 335 h 463"/>
                  <a:gd name="T30" fmla="*/ 112 w 201"/>
                  <a:gd name="T31" fmla="*/ 329 h 463"/>
                  <a:gd name="T32" fmla="*/ 105 w 201"/>
                  <a:gd name="T33" fmla="*/ 316 h 463"/>
                  <a:gd name="T34" fmla="*/ 95 w 201"/>
                  <a:gd name="T35" fmla="*/ 312 h 463"/>
                  <a:gd name="T36" fmla="*/ 94 w 201"/>
                  <a:gd name="T37" fmla="*/ 270 h 463"/>
                  <a:gd name="T38" fmla="*/ 94 w 201"/>
                  <a:gd name="T39" fmla="*/ 274 h 463"/>
                  <a:gd name="T40" fmla="*/ 94 w 201"/>
                  <a:gd name="T41" fmla="*/ 274 h 463"/>
                  <a:gd name="T42" fmla="*/ 95 w 201"/>
                  <a:gd name="T43" fmla="*/ 262 h 463"/>
                  <a:gd name="T44" fmla="*/ 99 w 201"/>
                  <a:gd name="T45" fmla="*/ 248 h 463"/>
                  <a:gd name="T46" fmla="*/ 105 w 201"/>
                  <a:gd name="T47" fmla="*/ 240 h 463"/>
                  <a:gd name="T48" fmla="*/ 112 w 201"/>
                  <a:gd name="T49" fmla="*/ 230 h 463"/>
                  <a:gd name="T50" fmla="*/ 126 w 201"/>
                  <a:gd name="T51" fmla="*/ 221 h 463"/>
                  <a:gd name="T52" fmla="*/ 133 w 201"/>
                  <a:gd name="T53" fmla="*/ 217 h 463"/>
                  <a:gd name="T54" fmla="*/ 144 w 201"/>
                  <a:gd name="T55" fmla="*/ 199 h 463"/>
                  <a:gd name="T56" fmla="*/ 148 w 201"/>
                  <a:gd name="T57" fmla="*/ 185 h 463"/>
                  <a:gd name="T58" fmla="*/ 148 w 201"/>
                  <a:gd name="T59" fmla="*/ 166 h 463"/>
                  <a:gd name="T60" fmla="*/ 170 w 201"/>
                  <a:gd name="T61" fmla="*/ 144 h 463"/>
                  <a:gd name="T62" fmla="*/ 185 w 201"/>
                  <a:gd name="T63" fmla="*/ 140 h 463"/>
                  <a:gd name="T64" fmla="*/ 199 w 201"/>
                  <a:gd name="T65" fmla="*/ 141 h 463"/>
                  <a:gd name="T66" fmla="*/ 200 w 201"/>
                  <a:gd name="T67" fmla="*/ 141 h 463"/>
                  <a:gd name="T68" fmla="*/ 201 w 201"/>
                  <a:gd name="T69" fmla="*/ 138 h 463"/>
                  <a:gd name="T70" fmla="*/ 200 w 201"/>
                  <a:gd name="T71" fmla="*/ 136 h 463"/>
                  <a:gd name="T72" fmla="*/ 190 w 201"/>
                  <a:gd name="T73" fmla="*/ 118 h 463"/>
                  <a:gd name="T74" fmla="*/ 182 w 201"/>
                  <a:gd name="T75" fmla="*/ 97 h 463"/>
                  <a:gd name="T76" fmla="*/ 182 w 201"/>
                  <a:gd name="T77" fmla="*/ 93 h 463"/>
                  <a:gd name="T78" fmla="*/ 182 w 201"/>
                  <a:gd name="T79" fmla="*/ 90 h 463"/>
                  <a:gd name="T80" fmla="*/ 182 w 201"/>
                  <a:gd name="T81" fmla="*/ 85 h 463"/>
                  <a:gd name="T82" fmla="*/ 186 w 201"/>
                  <a:gd name="T83" fmla="*/ 82 h 463"/>
                  <a:gd name="T84" fmla="*/ 189 w 201"/>
                  <a:gd name="T85" fmla="*/ 70 h 463"/>
                  <a:gd name="T86" fmla="*/ 170 w 201"/>
                  <a:gd name="T87" fmla="*/ 49 h 463"/>
                  <a:gd name="T88" fmla="*/ 161 w 201"/>
                  <a:gd name="T89" fmla="*/ 35 h 463"/>
                  <a:gd name="T90" fmla="*/ 150 w 201"/>
                  <a:gd name="T91" fmla="*/ 24 h 463"/>
                  <a:gd name="T92" fmla="*/ 141 w 201"/>
                  <a:gd name="T93" fmla="*/ 0 h 463"/>
                  <a:gd name="T94" fmla="*/ 133 w 201"/>
                  <a:gd name="T95" fmla="*/ 6 h 463"/>
                  <a:gd name="T96" fmla="*/ 116 w 201"/>
                  <a:gd name="T97" fmla="*/ 20 h 463"/>
                  <a:gd name="T98" fmla="*/ 109 w 201"/>
                  <a:gd name="T99" fmla="*/ 28 h 463"/>
                  <a:gd name="T100" fmla="*/ 104 w 201"/>
                  <a:gd name="T101" fmla="*/ 37 h 463"/>
                  <a:gd name="T102" fmla="*/ 98 w 201"/>
                  <a:gd name="T103" fmla="*/ 48 h 463"/>
                  <a:gd name="T104" fmla="*/ 95 w 201"/>
                  <a:gd name="T105" fmla="*/ 56 h 463"/>
                  <a:gd name="T106" fmla="*/ 93 w 201"/>
                  <a:gd name="T107" fmla="*/ 64 h 463"/>
                  <a:gd name="T108" fmla="*/ 87 w 201"/>
                  <a:gd name="T109" fmla="*/ 70 h 463"/>
                  <a:gd name="T110" fmla="*/ 83 w 201"/>
                  <a:gd name="T111" fmla="*/ 100 h 463"/>
                  <a:gd name="T112" fmla="*/ 71 w 201"/>
                  <a:gd name="T113" fmla="*/ 116 h 463"/>
                  <a:gd name="T114" fmla="*/ 58 w 201"/>
                  <a:gd name="T115" fmla="*/ 126 h 463"/>
                  <a:gd name="T116" fmla="*/ 42 w 201"/>
                  <a:gd name="T117" fmla="*/ 195 h 463"/>
                  <a:gd name="T118" fmla="*/ 20 w 201"/>
                  <a:gd name="T119" fmla="*/ 277 h 463"/>
                  <a:gd name="T120" fmla="*/ 18 w 201"/>
                  <a:gd name="T121" fmla="*/ 313 h 463"/>
                  <a:gd name="T122" fmla="*/ 14 w 201"/>
                  <a:gd name="T123" fmla="*/ 325 h 463"/>
                  <a:gd name="T124" fmla="*/ 2 w 201"/>
                  <a:gd name="T125" fmla="*/ 33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1" h="463">
                    <a:moveTo>
                      <a:pt x="2" y="332"/>
                    </a:moveTo>
                    <a:lnTo>
                      <a:pt x="2" y="334"/>
                    </a:lnTo>
                    <a:lnTo>
                      <a:pt x="2" y="335"/>
                    </a:lnTo>
                    <a:lnTo>
                      <a:pt x="2" y="339"/>
                    </a:lnTo>
                    <a:lnTo>
                      <a:pt x="2" y="342"/>
                    </a:lnTo>
                    <a:lnTo>
                      <a:pt x="2" y="346"/>
                    </a:lnTo>
                    <a:lnTo>
                      <a:pt x="2" y="350"/>
                    </a:lnTo>
                    <a:lnTo>
                      <a:pt x="2" y="353"/>
                    </a:lnTo>
                    <a:lnTo>
                      <a:pt x="2" y="356"/>
                    </a:lnTo>
                    <a:lnTo>
                      <a:pt x="2" y="358"/>
                    </a:lnTo>
                    <a:lnTo>
                      <a:pt x="2" y="361"/>
                    </a:lnTo>
                    <a:lnTo>
                      <a:pt x="2" y="367"/>
                    </a:lnTo>
                    <a:lnTo>
                      <a:pt x="0" y="371"/>
                    </a:lnTo>
                    <a:lnTo>
                      <a:pt x="0" y="375"/>
                    </a:lnTo>
                    <a:lnTo>
                      <a:pt x="0" y="379"/>
                    </a:lnTo>
                    <a:lnTo>
                      <a:pt x="0" y="382"/>
                    </a:lnTo>
                    <a:lnTo>
                      <a:pt x="0" y="383"/>
                    </a:lnTo>
                    <a:lnTo>
                      <a:pt x="2" y="415"/>
                    </a:lnTo>
                    <a:lnTo>
                      <a:pt x="17" y="437"/>
                    </a:lnTo>
                    <a:lnTo>
                      <a:pt x="21" y="460"/>
                    </a:lnTo>
                    <a:lnTo>
                      <a:pt x="31" y="463"/>
                    </a:lnTo>
                    <a:lnTo>
                      <a:pt x="44" y="457"/>
                    </a:lnTo>
                    <a:lnTo>
                      <a:pt x="44" y="453"/>
                    </a:lnTo>
                    <a:lnTo>
                      <a:pt x="47" y="449"/>
                    </a:lnTo>
                    <a:lnTo>
                      <a:pt x="51" y="446"/>
                    </a:lnTo>
                    <a:lnTo>
                      <a:pt x="55" y="443"/>
                    </a:lnTo>
                    <a:lnTo>
                      <a:pt x="60" y="442"/>
                    </a:lnTo>
                    <a:lnTo>
                      <a:pt x="62" y="441"/>
                    </a:lnTo>
                    <a:lnTo>
                      <a:pt x="65" y="441"/>
                    </a:lnTo>
                    <a:lnTo>
                      <a:pt x="65" y="439"/>
                    </a:lnTo>
                    <a:lnTo>
                      <a:pt x="69" y="434"/>
                    </a:lnTo>
                    <a:lnTo>
                      <a:pt x="72" y="426"/>
                    </a:lnTo>
                    <a:lnTo>
                      <a:pt x="75" y="417"/>
                    </a:lnTo>
                    <a:lnTo>
                      <a:pt x="76" y="409"/>
                    </a:lnTo>
                    <a:lnTo>
                      <a:pt x="79" y="402"/>
                    </a:lnTo>
                    <a:lnTo>
                      <a:pt x="80" y="395"/>
                    </a:lnTo>
                    <a:lnTo>
                      <a:pt x="80" y="391"/>
                    </a:lnTo>
                    <a:lnTo>
                      <a:pt x="80" y="390"/>
                    </a:lnTo>
                    <a:lnTo>
                      <a:pt x="79" y="380"/>
                    </a:lnTo>
                    <a:lnTo>
                      <a:pt x="99" y="357"/>
                    </a:lnTo>
                    <a:lnTo>
                      <a:pt x="105" y="353"/>
                    </a:lnTo>
                    <a:lnTo>
                      <a:pt x="108" y="347"/>
                    </a:lnTo>
                    <a:lnTo>
                      <a:pt x="111" y="343"/>
                    </a:lnTo>
                    <a:lnTo>
                      <a:pt x="112" y="339"/>
                    </a:lnTo>
                    <a:lnTo>
                      <a:pt x="112" y="335"/>
                    </a:lnTo>
                    <a:lnTo>
                      <a:pt x="112" y="332"/>
                    </a:lnTo>
                    <a:lnTo>
                      <a:pt x="112" y="329"/>
                    </a:lnTo>
                    <a:lnTo>
                      <a:pt x="112" y="329"/>
                    </a:lnTo>
                    <a:lnTo>
                      <a:pt x="111" y="324"/>
                    </a:lnTo>
                    <a:lnTo>
                      <a:pt x="108" y="320"/>
                    </a:lnTo>
                    <a:lnTo>
                      <a:pt x="105" y="316"/>
                    </a:lnTo>
                    <a:lnTo>
                      <a:pt x="101" y="314"/>
                    </a:lnTo>
                    <a:lnTo>
                      <a:pt x="98" y="313"/>
                    </a:lnTo>
                    <a:lnTo>
                      <a:pt x="95" y="312"/>
                    </a:lnTo>
                    <a:lnTo>
                      <a:pt x="93" y="312"/>
                    </a:lnTo>
                    <a:lnTo>
                      <a:pt x="93" y="312"/>
                    </a:lnTo>
                    <a:lnTo>
                      <a:pt x="94" y="270"/>
                    </a:lnTo>
                    <a:lnTo>
                      <a:pt x="94" y="272"/>
                    </a:lnTo>
                    <a:lnTo>
                      <a:pt x="94" y="273"/>
                    </a:lnTo>
                    <a:lnTo>
                      <a:pt x="94" y="274"/>
                    </a:lnTo>
                    <a:lnTo>
                      <a:pt x="94" y="276"/>
                    </a:lnTo>
                    <a:lnTo>
                      <a:pt x="94" y="276"/>
                    </a:lnTo>
                    <a:lnTo>
                      <a:pt x="94" y="274"/>
                    </a:lnTo>
                    <a:lnTo>
                      <a:pt x="95" y="272"/>
                    </a:lnTo>
                    <a:lnTo>
                      <a:pt x="95" y="268"/>
                    </a:lnTo>
                    <a:lnTo>
                      <a:pt x="95" y="262"/>
                    </a:lnTo>
                    <a:lnTo>
                      <a:pt x="97" y="257"/>
                    </a:lnTo>
                    <a:lnTo>
                      <a:pt x="98" y="252"/>
                    </a:lnTo>
                    <a:lnTo>
                      <a:pt x="99" y="248"/>
                    </a:lnTo>
                    <a:lnTo>
                      <a:pt x="101" y="246"/>
                    </a:lnTo>
                    <a:lnTo>
                      <a:pt x="102" y="243"/>
                    </a:lnTo>
                    <a:lnTo>
                      <a:pt x="105" y="240"/>
                    </a:lnTo>
                    <a:lnTo>
                      <a:pt x="106" y="236"/>
                    </a:lnTo>
                    <a:lnTo>
                      <a:pt x="109" y="233"/>
                    </a:lnTo>
                    <a:lnTo>
                      <a:pt x="112" y="230"/>
                    </a:lnTo>
                    <a:lnTo>
                      <a:pt x="116" y="226"/>
                    </a:lnTo>
                    <a:lnTo>
                      <a:pt x="122" y="224"/>
                    </a:lnTo>
                    <a:lnTo>
                      <a:pt x="126" y="221"/>
                    </a:lnTo>
                    <a:lnTo>
                      <a:pt x="130" y="218"/>
                    </a:lnTo>
                    <a:lnTo>
                      <a:pt x="133" y="217"/>
                    </a:lnTo>
                    <a:lnTo>
                      <a:pt x="133" y="217"/>
                    </a:lnTo>
                    <a:lnTo>
                      <a:pt x="138" y="210"/>
                    </a:lnTo>
                    <a:lnTo>
                      <a:pt x="141" y="204"/>
                    </a:lnTo>
                    <a:lnTo>
                      <a:pt x="144" y="199"/>
                    </a:lnTo>
                    <a:lnTo>
                      <a:pt x="145" y="193"/>
                    </a:lnTo>
                    <a:lnTo>
                      <a:pt x="146" y="189"/>
                    </a:lnTo>
                    <a:lnTo>
                      <a:pt x="148" y="185"/>
                    </a:lnTo>
                    <a:lnTo>
                      <a:pt x="148" y="182"/>
                    </a:lnTo>
                    <a:lnTo>
                      <a:pt x="148" y="182"/>
                    </a:lnTo>
                    <a:lnTo>
                      <a:pt x="148" y="166"/>
                    </a:lnTo>
                    <a:lnTo>
                      <a:pt x="160" y="152"/>
                    </a:lnTo>
                    <a:lnTo>
                      <a:pt x="166" y="148"/>
                    </a:lnTo>
                    <a:lnTo>
                      <a:pt x="170" y="144"/>
                    </a:lnTo>
                    <a:lnTo>
                      <a:pt x="175" y="141"/>
                    </a:lnTo>
                    <a:lnTo>
                      <a:pt x="181" y="140"/>
                    </a:lnTo>
                    <a:lnTo>
                      <a:pt x="185" y="140"/>
                    </a:lnTo>
                    <a:lnTo>
                      <a:pt x="189" y="140"/>
                    </a:lnTo>
                    <a:lnTo>
                      <a:pt x="194" y="140"/>
                    </a:lnTo>
                    <a:lnTo>
                      <a:pt x="199" y="141"/>
                    </a:lnTo>
                    <a:lnTo>
                      <a:pt x="199" y="141"/>
                    </a:lnTo>
                    <a:lnTo>
                      <a:pt x="199" y="141"/>
                    </a:lnTo>
                    <a:lnTo>
                      <a:pt x="200" y="141"/>
                    </a:lnTo>
                    <a:lnTo>
                      <a:pt x="200" y="140"/>
                    </a:lnTo>
                    <a:lnTo>
                      <a:pt x="201" y="140"/>
                    </a:lnTo>
                    <a:lnTo>
                      <a:pt x="201" y="138"/>
                    </a:lnTo>
                    <a:lnTo>
                      <a:pt x="201" y="138"/>
                    </a:lnTo>
                    <a:lnTo>
                      <a:pt x="201" y="137"/>
                    </a:lnTo>
                    <a:lnTo>
                      <a:pt x="200" y="136"/>
                    </a:lnTo>
                    <a:lnTo>
                      <a:pt x="197" y="131"/>
                    </a:lnTo>
                    <a:lnTo>
                      <a:pt x="194" y="126"/>
                    </a:lnTo>
                    <a:lnTo>
                      <a:pt x="190" y="118"/>
                    </a:lnTo>
                    <a:lnTo>
                      <a:pt x="188" y="111"/>
                    </a:lnTo>
                    <a:lnTo>
                      <a:pt x="185" y="104"/>
                    </a:lnTo>
                    <a:lnTo>
                      <a:pt x="182" y="97"/>
                    </a:lnTo>
                    <a:lnTo>
                      <a:pt x="182" y="93"/>
                    </a:lnTo>
                    <a:lnTo>
                      <a:pt x="182" y="93"/>
                    </a:lnTo>
                    <a:lnTo>
                      <a:pt x="182" y="93"/>
                    </a:lnTo>
                    <a:lnTo>
                      <a:pt x="182" y="92"/>
                    </a:lnTo>
                    <a:lnTo>
                      <a:pt x="182" y="90"/>
                    </a:lnTo>
                    <a:lnTo>
                      <a:pt x="182" y="90"/>
                    </a:lnTo>
                    <a:lnTo>
                      <a:pt x="182" y="89"/>
                    </a:lnTo>
                    <a:lnTo>
                      <a:pt x="182" y="86"/>
                    </a:lnTo>
                    <a:lnTo>
                      <a:pt x="182" y="85"/>
                    </a:lnTo>
                    <a:lnTo>
                      <a:pt x="183" y="85"/>
                    </a:lnTo>
                    <a:lnTo>
                      <a:pt x="185" y="83"/>
                    </a:lnTo>
                    <a:lnTo>
                      <a:pt x="186" y="82"/>
                    </a:lnTo>
                    <a:lnTo>
                      <a:pt x="188" y="78"/>
                    </a:lnTo>
                    <a:lnTo>
                      <a:pt x="189" y="75"/>
                    </a:lnTo>
                    <a:lnTo>
                      <a:pt x="189" y="70"/>
                    </a:lnTo>
                    <a:lnTo>
                      <a:pt x="186" y="64"/>
                    </a:lnTo>
                    <a:lnTo>
                      <a:pt x="182" y="59"/>
                    </a:lnTo>
                    <a:lnTo>
                      <a:pt x="170" y="49"/>
                    </a:lnTo>
                    <a:lnTo>
                      <a:pt x="167" y="44"/>
                    </a:lnTo>
                    <a:lnTo>
                      <a:pt x="164" y="39"/>
                    </a:lnTo>
                    <a:lnTo>
                      <a:pt x="161" y="35"/>
                    </a:lnTo>
                    <a:lnTo>
                      <a:pt x="157" y="30"/>
                    </a:lnTo>
                    <a:lnTo>
                      <a:pt x="153" y="27"/>
                    </a:lnTo>
                    <a:lnTo>
                      <a:pt x="150" y="24"/>
                    </a:lnTo>
                    <a:lnTo>
                      <a:pt x="148" y="23"/>
                    </a:lnTo>
                    <a:lnTo>
                      <a:pt x="146" y="22"/>
                    </a:lnTo>
                    <a:lnTo>
                      <a:pt x="141" y="0"/>
                    </a:lnTo>
                    <a:lnTo>
                      <a:pt x="139" y="1"/>
                    </a:lnTo>
                    <a:lnTo>
                      <a:pt x="137" y="2"/>
                    </a:lnTo>
                    <a:lnTo>
                      <a:pt x="133" y="6"/>
                    </a:lnTo>
                    <a:lnTo>
                      <a:pt x="127" y="11"/>
                    </a:lnTo>
                    <a:lnTo>
                      <a:pt x="122" y="15"/>
                    </a:lnTo>
                    <a:lnTo>
                      <a:pt x="116" y="20"/>
                    </a:lnTo>
                    <a:lnTo>
                      <a:pt x="112" y="24"/>
                    </a:lnTo>
                    <a:lnTo>
                      <a:pt x="109" y="28"/>
                    </a:lnTo>
                    <a:lnTo>
                      <a:pt x="109" y="28"/>
                    </a:lnTo>
                    <a:lnTo>
                      <a:pt x="108" y="31"/>
                    </a:lnTo>
                    <a:lnTo>
                      <a:pt x="106" y="33"/>
                    </a:lnTo>
                    <a:lnTo>
                      <a:pt x="104" y="37"/>
                    </a:lnTo>
                    <a:lnTo>
                      <a:pt x="102" y="39"/>
                    </a:lnTo>
                    <a:lnTo>
                      <a:pt x="99" y="44"/>
                    </a:lnTo>
                    <a:lnTo>
                      <a:pt x="98" y="48"/>
                    </a:lnTo>
                    <a:lnTo>
                      <a:pt x="97" y="50"/>
                    </a:lnTo>
                    <a:lnTo>
                      <a:pt x="95" y="53"/>
                    </a:lnTo>
                    <a:lnTo>
                      <a:pt x="95" y="56"/>
                    </a:lnTo>
                    <a:lnTo>
                      <a:pt x="94" y="59"/>
                    </a:lnTo>
                    <a:lnTo>
                      <a:pt x="94" y="61"/>
                    </a:lnTo>
                    <a:lnTo>
                      <a:pt x="93" y="64"/>
                    </a:lnTo>
                    <a:lnTo>
                      <a:pt x="91" y="66"/>
                    </a:lnTo>
                    <a:lnTo>
                      <a:pt x="90" y="68"/>
                    </a:lnTo>
                    <a:lnTo>
                      <a:pt x="87" y="70"/>
                    </a:lnTo>
                    <a:lnTo>
                      <a:pt x="86" y="96"/>
                    </a:lnTo>
                    <a:lnTo>
                      <a:pt x="86" y="97"/>
                    </a:lnTo>
                    <a:lnTo>
                      <a:pt x="83" y="100"/>
                    </a:lnTo>
                    <a:lnTo>
                      <a:pt x="79" y="105"/>
                    </a:lnTo>
                    <a:lnTo>
                      <a:pt x="75" y="111"/>
                    </a:lnTo>
                    <a:lnTo>
                      <a:pt x="71" y="116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58" y="126"/>
                    </a:lnTo>
                    <a:lnTo>
                      <a:pt x="55" y="145"/>
                    </a:lnTo>
                    <a:lnTo>
                      <a:pt x="43" y="166"/>
                    </a:lnTo>
                    <a:lnTo>
                      <a:pt x="42" y="195"/>
                    </a:lnTo>
                    <a:lnTo>
                      <a:pt x="16" y="211"/>
                    </a:lnTo>
                    <a:lnTo>
                      <a:pt x="20" y="219"/>
                    </a:lnTo>
                    <a:lnTo>
                      <a:pt x="20" y="277"/>
                    </a:lnTo>
                    <a:lnTo>
                      <a:pt x="18" y="309"/>
                    </a:lnTo>
                    <a:lnTo>
                      <a:pt x="18" y="310"/>
                    </a:lnTo>
                    <a:lnTo>
                      <a:pt x="18" y="313"/>
                    </a:lnTo>
                    <a:lnTo>
                      <a:pt x="17" y="317"/>
                    </a:lnTo>
                    <a:lnTo>
                      <a:pt x="17" y="321"/>
                    </a:lnTo>
                    <a:lnTo>
                      <a:pt x="14" y="325"/>
                    </a:lnTo>
                    <a:lnTo>
                      <a:pt x="11" y="328"/>
                    </a:lnTo>
                    <a:lnTo>
                      <a:pt x="7" y="331"/>
                    </a:lnTo>
                    <a:lnTo>
                      <a:pt x="2" y="33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0" name="Freeform 892"/>
              <p:cNvSpPr>
                <a:spLocks/>
              </p:cNvSpPr>
              <p:nvPr/>
            </p:nvSpPr>
            <p:spPr bwMode="auto">
              <a:xfrm>
                <a:off x="2916" y="1440"/>
                <a:ext cx="201" cy="463"/>
              </a:xfrm>
              <a:custGeom>
                <a:avLst/>
                <a:gdLst>
                  <a:gd name="T0" fmla="*/ 2 w 201"/>
                  <a:gd name="T1" fmla="*/ 335 h 463"/>
                  <a:gd name="T2" fmla="*/ 2 w 201"/>
                  <a:gd name="T3" fmla="*/ 346 h 463"/>
                  <a:gd name="T4" fmla="*/ 2 w 201"/>
                  <a:gd name="T5" fmla="*/ 356 h 463"/>
                  <a:gd name="T6" fmla="*/ 2 w 201"/>
                  <a:gd name="T7" fmla="*/ 367 h 463"/>
                  <a:gd name="T8" fmla="*/ 0 w 201"/>
                  <a:gd name="T9" fmla="*/ 379 h 463"/>
                  <a:gd name="T10" fmla="*/ 2 w 201"/>
                  <a:gd name="T11" fmla="*/ 415 h 463"/>
                  <a:gd name="T12" fmla="*/ 31 w 201"/>
                  <a:gd name="T13" fmla="*/ 463 h 463"/>
                  <a:gd name="T14" fmla="*/ 47 w 201"/>
                  <a:gd name="T15" fmla="*/ 449 h 463"/>
                  <a:gd name="T16" fmla="*/ 60 w 201"/>
                  <a:gd name="T17" fmla="*/ 442 h 463"/>
                  <a:gd name="T18" fmla="*/ 65 w 201"/>
                  <a:gd name="T19" fmla="*/ 439 h 463"/>
                  <a:gd name="T20" fmla="*/ 75 w 201"/>
                  <a:gd name="T21" fmla="*/ 417 h 463"/>
                  <a:gd name="T22" fmla="*/ 80 w 201"/>
                  <a:gd name="T23" fmla="*/ 395 h 463"/>
                  <a:gd name="T24" fmla="*/ 79 w 201"/>
                  <a:gd name="T25" fmla="*/ 380 h 463"/>
                  <a:gd name="T26" fmla="*/ 108 w 201"/>
                  <a:gd name="T27" fmla="*/ 347 h 463"/>
                  <a:gd name="T28" fmla="*/ 112 w 201"/>
                  <a:gd name="T29" fmla="*/ 335 h 463"/>
                  <a:gd name="T30" fmla="*/ 111 w 201"/>
                  <a:gd name="T31" fmla="*/ 324 h 463"/>
                  <a:gd name="T32" fmla="*/ 101 w 201"/>
                  <a:gd name="T33" fmla="*/ 314 h 463"/>
                  <a:gd name="T34" fmla="*/ 93 w 201"/>
                  <a:gd name="T35" fmla="*/ 312 h 463"/>
                  <a:gd name="T36" fmla="*/ 94 w 201"/>
                  <a:gd name="T37" fmla="*/ 273 h 463"/>
                  <a:gd name="T38" fmla="*/ 94 w 201"/>
                  <a:gd name="T39" fmla="*/ 274 h 463"/>
                  <a:gd name="T40" fmla="*/ 95 w 201"/>
                  <a:gd name="T41" fmla="*/ 262 h 463"/>
                  <a:gd name="T42" fmla="*/ 99 w 201"/>
                  <a:gd name="T43" fmla="*/ 248 h 463"/>
                  <a:gd name="T44" fmla="*/ 105 w 201"/>
                  <a:gd name="T45" fmla="*/ 240 h 463"/>
                  <a:gd name="T46" fmla="*/ 112 w 201"/>
                  <a:gd name="T47" fmla="*/ 230 h 463"/>
                  <a:gd name="T48" fmla="*/ 126 w 201"/>
                  <a:gd name="T49" fmla="*/ 221 h 463"/>
                  <a:gd name="T50" fmla="*/ 138 w 201"/>
                  <a:gd name="T51" fmla="*/ 210 h 463"/>
                  <a:gd name="T52" fmla="*/ 145 w 201"/>
                  <a:gd name="T53" fmla="*/ 193 h 463"/>
                  <a:gd name="T54" fmla="*/ 148 w 201"/>
                  <a:gd name="T55" fmla="*/ 182 h 463"/>
                  <a:gd name="T56" fmla="*/ 166 w 201"/>
                  <a:gd name="T57" fmla="*/ 148 h 463"/>
                  <a:gd name="T58" fmla="*/ 181 w 201"/>
                  <a:gd name="T59" fmla="*/ 140 h 463"/>
                  <a:gd name="T60" fmla="*/ 194 w 201"/>
                  <a:gd name="T61" fmla="*/ 140 h 463"/>
                  <a:gd name="T62" fmla="*/ 200 w 201"/>
                  <a:gd name="T63" fmla="*/ 140 h 463"/>
                  <a:gd name="T64" fmla="*/ 201 w 201"/>
                  <a:gd name="T65" fmla="*/ 137 h 463"/>
                  <a:gd name="T66" fmla="*/ 194 w 201"/>
                  <a:gd name="T67" fmla="*/ 126 h 463"/>
                  <a:gd name="T68" fmla="*/ 185 w 201"/>
                  <a:gd name="T69" fmla="*/ 104 h 463"/>
                  <a:gd name="T70" fmla="*/ 182 w 201"/>
                  <a:gd name="T71" fmla="*/ 92 h 463"/>
                  <a:gd name="T72" fmla="*/ 182 w 201"/>
                  <a:gd name="T73" fmla="*/ 86 h 463"/>
                  <a:gd name="T74" fmla="*/ 185 w 201"/>
                  <a:gd name="T75" fmla="*/ 83 h 463"/>
                  <a:gd name="T76" fmla="*/ 189 w 201"/>
                  <a:gd name="T77" fmla="*/ 75 h 463"/>
                  <a:gd name="T78" fmla="*/ 182 w 201"/>
                  <a:gd name="T79" fmla="*/ 59 h 463"/>
                  <a:gd name="T80" fmla="*/ 164 w 201"/>
                  <a:gd name="T81" fmla="*/ 39 h 463"/>
                  <a:gd name="T82" fmla="*/ 153 w 201"/>
                  <a:gd name="T83" fmla="*/ 27 h 463"/>
                  <a:gd name="T84" fmla="*/ 146 w 201"/>
                  <a:gd name="T85" fmla="*/ 22 h 463"/>
                  <a:gd name="T86" fmla="*/ 137 w 201"/>
                  <a:gd name="T87" fmla="*/ 2 h 463"/>
                  <a:gd name="T88" fmla="*/ 122 w 201"/>
                  <a:gd name="T89" fmla="*/ 15 h 463"/>
                  <a:gd name="T90" fmla="*/ 109 w 201"/>
                  <a:gd name="T91" fmla="*/ 28 h 463"/>
                  <a:gd name="T92" fmla="*/ 104 w 201"/>
                  <a:gd name="T93" fmla="*/ 37 h 463"/>
                  <a:gd name="T94" fmla="*/ 98 w 201"/>
                  <a:gd name="T95" fmla="*/ 48 h 463"/>
                  <a:gd name="T96" fmla="*/ 95 w 201"/>
                  <a:gd name="T97" fmla="*/ 56 h 463"/>
                  <a:gd name="T98" fmla="*/ 93 w 201"/>
                  <a:gd name="T99" fmla="*/ 64 h 463"/>
                  <a:gd name="T100" fmla="*/ 87 w 201"/>
                  <a:gd name="T101" fmla="*/ 70 h 463"/>
                  <a:gd name="T102" fmla="*/ 83 w 201"/>
                  <a:gd name="T103" fmla="*/ 100 h 463"/>
                  <a:gd name="T104" fmla="*/ 71 w 201"/>
                  <a:gd name="T105" fmla="*/ 116 h 463"/>
                  <a:gd name="T106" fmla="*/ 58 w 201"/>
                  <a:gd name="T107" fmla="*/ 126 h 463"/>
                  <a:gd name="T108" fmla="*/ 42 w 201"/>
                  <a:gd name="T109" fmla="*/ 195 h 463"/>
                  <a:gd name="T110" fmla="*/ 20 w 201"/>
                  <a:gd name="T111" fmla="*/ 277 h 463"/>
                  <a:gd name="T112" fmla="*/ 18 w 201"/>
                  <a:gd name="T113" fmla="*/ 313 h 463"/>
                  <a:gd name="T114" fmla="*/ 14 w 201"/>
                  <a:gd name="T115" fmla="*/ 325 h 463"/>
                  <a:gd name="T116" fmla="*/ 2 w 201"/>
                  <a:gd name="T117" fmla="*/ 332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1" h="463">
                    <a:moveTo>
                      <a:pt x="2" y="332"/>
                    </a:moveTo>
                    <a:lnTo>
                      <a:pt x="2" y="334"/>
                    </a:lnTo>
                    <a:lnTo>
                      <a:pt x="2" y="335"/>
                    </a:lnTo>
                    <a:lnTo>
                      <a:pt x="2" y="339"/>
                    </a:lnTo>
                    <a:lnTo>
                      <a:pt x="2" y="342"/>
                    </a:lnTo>
                    <a:lnTo>
                      <a:pt x="2" y="346"/>
                    </a:lnTo>
                    <a:lnTo>
                      <a:pt x="2" y="350"/>
                    </a:lnTo>
                    <a:lnTo>
                      <a:pt x="2" y="353"/>
                    </a:lnTo>
                    <a:lnTo>
                      <a:pt x="2" y="356"/>
                    </a:lnTo>
                    <a:lnTo>
                      <a:pt x="2" y="358"/>
                    </a:lnTo>
                    <a:lnTo>
                      <a:pt x="2" y="361"/>
                    </a:lnTo>
                    <a:lnTo>
                      <a:pt x="2" y="367"/>
                    </a:lnTo>
                    <a:lnTo>
                      <a:pt x="0" y="371"/>
                    </a:lnTo>
                    <a:lnTo>
                      <a:pt x="0" y="375"/>
                    </a:lnTo>
                    <a:lnTo>
                      <a:pt x="0" y="379"/>
                    </a:lnTo>
                    <a:lnTo>
                      <a:pt x="0" y="382"/>
                    </a:lnTo>
                    <a:lnTo>
                      <a:pt x="0" y="383"/>
                    </a:lnTo>
                    <a:lnTo>
                      <a:pt x="2" y="415"/>
                    </a:lnTo>
                    <a:lnTo>
                      <a:pt x="17" y="437"/>
                    </a:lnTo>
                    <a:lnTo>
                      <a:pt x="21" y="460"/>
                    </a:lnTo>
                    <a:lnTo>
                      <a:pt x="31" y="463"/>
                    </a:lnTo>
                    <a:lnTo>
                      <a:pt x="44" y="457"/>
                    </a:lnTo>
                    <a:lnTo>
                      <a:pt x="44" y="453"/>
                    </a:lnTo>
                    <a:lnTo>
                      <a:pt x="47" y="449"/>
                    </a:lnTo>
                    <a:lnTo>
                      <a:pt x="51" y="446"/>
                    </a:lnTo>
                    <a:lnTo>
                      <a:pt x="55" y="443"/>
                    </a:lnTo>
                    <a:lnTo>
                      <a:pt x="60" y="442"/>
                    </a:lnTo>
                    <a:lnTo>
                      <a:pt x="62" y="441"/>
                    </a:lnTo>
                    <a:lnTo>
                      <a:pt x="65" y="441"/>
                    </a:lnTo>
                    <a:lnTo>
                      <a:pt x="65" y="439"/>
                    </a:lnTo>
                    <a:lnTo>
                      <a:pt x="69" y="434"/>
                    </a:lnTo>
                    <a:lnTo>
                      <a:pt x="72" y="426"/>
                    </a:lnTo>
                    <a:lnTo>
                      <a:pt x="75" y="417"/>
                    </a:lnTo>
                    <a:lnTo>
                      <a:pt x="76" y="409"/>
                    </a:lnTo>
                    <a:lnTo>
                      <a:pt x="79" y="402"/>
                    </a:lnTo>
                    <a:lnTo>
                      <a:pt x="80" y="395"/>
                    </a:lnTo>
                    <a:lnTo>
                      <a:pt x="80" y="391"/>
                    </a:lnTo>
                    <a:lnTo>
                      <a:pt x="80" y="390"/>
                    </a:lnTo>
                    <a:lnTo>
                      <a:pt x="79" y="380"/>
                    </a:lnTo>
                    <a:lnTo>
                      <a:pt x="99" y="357"/>
                    </a:lnTo>
                    <a:lnTo>
                      <a:pt x="105" y="353"/>
                    </a:lnTo>
                    <a:lnTo>
                      <a:pt x="108" y="347"/>
                    </a:lnTo>
                    <a:lnTo>
                      <a:pt x="111" y="343"/>
                    </a:lnTo>
                    <a:lnTo>
                      <a:pt x="112" y="339"/>
                    </a:lnTo>
                    <a:lnTo>
                      <a:pt x="112" y="335"/>
                    </a:lnTo>
                    <a:lnTo>
                      <a:pt x="112" y="332"/>
                    </a:lnTo>
                    <a:lnTo>
                      <a:pt x="112" y="329"/>
                    </a:lnTo>
                    <a:lnTo>
                      <a:pt x="111" y="324"/>
                    </a:lnTo>
                    <a:lnTo>
                      <a:pt x="108" y="320"/>
                    </a:lnTo>
                    <a:lnTo>
                      <a:pt x="105" y="316"/>
                    </a:lnTo>
                    <a:lnTo>
                      <a:pt x="101" y="314"/>
                    </a:lnTo>
                    <a:lnTo>
                      <a:pt x="98" y="313"/>
                    </a:lnTo>
                    <a:lnTo>
                      <a:pt x="95" y="312"/>
                    </a:lnTo>
                    <a:lnTo>
                      <a:pt x="93" y="312"/>
                    </a:lnTo>
                    <a:lnTo>
                      <a:pt x="94" y="270"/>
                    </a:lnTo>
                    <a:lnTo>
                      <a:pt x="94" y="272"/>
                    </a:lnTo>
                    <a:lnTo>
                      <a:pt x="94" y="273"/>
                    </a:lnTo>
                    <a:lnTo>
                      <a:pt x="94" y="274"/>
                    </a:lnTo>
                    <a:lnTo>
                      <a:pt x="94" y="276"/>
                    </a:lnTo>
                    <a:lnTo>
                      <a:pt x="94" y="274"/>
                    </a:lnTo>
                    <a:lnTo>
                      <a:pt x="95" y="272"/>
                    </a:lnTo>
                    <a:lnTo>
                      <a:pt x="95" y="268"/>
                    </a:lnTo>
                    <a:lnTo>
                      <a:pt x="95" y="262"/>
                    </a:lnTo>
                    <a:lnTo>
                      <a:pt x="97" y="257"/>
                    </a:lnTo>
                    <a:lnTo>
                      <a:pt x="98" y="252"/>
                    </a:lnTo>
                    <a:lnTo>
                      <a:pt x="99" y="248"/>
                    </a:lnTo>
                    <a:lnTo>
                      <a:pt x="101" y="246"/>
                    </a:lnTo>
                    <a:lnTo>
                      <a:pt x="102" y="243"/>
                    </a:lnTo>
                    <a:lnTo>
                      <a:pt x="105" y="240"/>
                    </a:lnTo>
                    <a:lnTo>
                      <a:pt x="106" y="236"/>
                    </a:lnTo>
                    <a:lnTo>
                      <a:pt x="109" y="233"/>
                    </a:lnTo>
                    <a:lnTo>
                      <a:pt x="112" y="230"/>
                    </a:lnTo>
                    <a:lnTo>
                      <a:pt x="116" y="226"/>
                    </a:lnTo>
                    <a:lnTo>
                      <a:pt x="122" y="224"/>
                    </a:lnTo>
                    <a:lnTo>
                      <a:pt x="126" y="221"/>
                    </a:lnTo>
                    <a:lnTo>
                      <a:pt x="130" y="218"/>
                    </a:lnTo>
                    <a:lnTo>
                      <a:pt x="133" y="217"/>
                    </a:lnTo>
                    <a:lnTo>
                      <a:pt x="138" y="210"/>
                    </a:lnTo>
                    <a:lnTo>
                      <a:pt x="141" y="204"/>
                    </a:lnTo>
                    <a:lnTo>
                      <a:pt x="144" y="199"/>
                    </a:lnTo>
                    <a:lnTo>
                      <a:pt x="145" y="193"/>
                    </a:lnTo>
                    <a:lnTo>
                      <a:pt x="146" y="189"/>
                    </a:lnTo>
                    <a:lnTo>
                      <a:pt x="148" y="185"/>
                    </a:lnTo>
                    <a:lnTo>
                      <a:pt x="148" y="182"/>
                    </a:lnTo>
                    <a:lnTo>
                      <a:pt x="148" y="166"/>
                    </a:lnTo>
                    <a:lnTo>
                      <a:pt x="160" y="152"/>
                    </a:lnTo>
                    <a:lnTo>
                      <a:pt x="166" y="148"/>
                    </a:lnTo>
                    <a:lnTo>
                      <a:pt x="170" y="144"/>
                    </a:lnTo>
                    <a:lnTo>
                      <a:pt x="175" y="141"/>
                    </a:lnTo>
                    <a:lnTo>
                      <a:pt x="181" y="140"/>
                    </a:lnTo>
                    <a:lnTo>
                      <a:pt x="185" y="140"/>
                    </a:lnTo>
                    <a:lnTo>
                      <a:pt x="189" y="140"/>
                    </a:lnTo>
                    <a:lnTo>
                      <a:pt x="194" y="140"/>
                    </a:lnTo>
                    <a:lnTo>
                      <a:pt x="199" y="141"/>
                    </a:lnTo>
                    <a:lnTo>
                      <a:pt x="200" y="141"/>
                    </a:lnTo>
                    <a:lnTo>
                      <a:pt x="200" y="140"/>
                    </a:lnTo>
                    <a:lnTo>
                      <a:pt x="201" y="140"/>
                    </a:lnTo>
                    <a:lnTo>
                      <a:pt x="201" y="138"/>
                    </a:lnTo>
                    <a:lnTo>
                      <a:pt x="201" y="137"/>
                    </a:lnTo>
                    <a:lnTo>
                      <a:pt x="200" y="136"/>
                    </a:lnTo>
                    <a:lnTo>
                      <a:pt x="197" y="131"/>
                    </a:lnTo>
                    <a:lnTo>
                      <a:pt x="194" y="126"/>
                    </a:lnTo>
                    <a:lnTo>
                      <a:pt x="190" y="118"/>
                    </a:lnTo>
                    <a:lnTo>
                      <a:pt x="188" y="111"/>
                    </a:lnTo>
                    <a:lnTo>
                      <a:pt x="185" y="104"/>
                    </a:lnTo>
                    <a:lnTo>
                      <a:pt x="182" y="97"/>
                    </a:lnTo>
                    <a:lnTo>
                      <a:pt x="182" y="93"/>
                    </a:lnTo>
                    <a:lnTo>
                      <a:pt x="182" y="92"/>
                    </a:lnTo>
                    <a:lnTo>
                      <a:pt x="182" y="90"/>
                    </a:lnTo>
                    <a:lnTo>
                      <a:pt x="182" y="89"/>
                    </a:lnTo>
                    <a:lnTo>
                      <a:pt x="182" y="86"/>
                    </a:lnTo>
                    <a:lnTo>
                      <a:pt x="182" y="85"/>
                    </a:lnTo>
                    <a:lnTo>
                      <a:pt x="183" y="85"/>
                    </a:lnTo>
                    <a:lnTo>
                      <a:pt x="185" y="83"/>
                    </a:lnTo>
                    <a:lnTo>
                      <a:pt x="186" y="82"/>
                    </a:lnTo>
                    <a:lnTo>
                      <a:pt x="188" y="78"/>
                    </a:lnTo>
                    <a:lnTo>
                      <a:pt x="189" y="75"/>
                    </a:lnTo>
                    <a:lnTo>
                      <a:pt x="189" y="70"/>
                    </a:lnTo>
                    <a:lnTo>
                      <a:pt x="186" y="64"/>
                    </a:lnTo>
                    <a:lnTo>
                      <a:pt x="182" y="59"/>
                    </a:lnTo>
                    <a:lnTo>
                      <a:pt x="170" y="49"/>
                    </a:lnTo>
                    <a:lnTo>
                      <a:pt x="167" y="44"/>
                    </a:lnTo>
                    <a:lnTo>
                      <a:pt x="164" y="39"/>
                    </a:lnTo>
                    <a:lnTo>
                      <a:pt x="161" y="35"/>
                    </a:lnTo>
                    <a:lnTo>
                      <a:pt x="157" y="30"/>
                    </a:lnTo>
                    <a:lnTo>
                      <a:pt x="153" y="27"/>
                    </a:lnTo>
                    <a:lnTo>
                      <a:pt x="150" y="24"/>
                    </a:lnTo>
                    <a:lnTo>
                      <a:pt x="148" y="23"/>
                    </a:lnTo>
                    <a:lnTo>
                      <a:pt x="146" y="22"/>
                    </a:lnTo>
                    <a:lnTo>
                      <a:pt x="141" y="0"/>
                    </a:lnTo>
                    <a:lnTo>
                      <a:pt x="139" y="1"/>
                    </a:lnTo>
                    <a:lnTo>
                      <a:pt x="137" y="2"/>
                    </a:lnTo>
                    <a:lnTo>
                      <a:pt x="133" y="6"/>
                    </a:lnTo>
                    <a:lnTo>
                      <a:pt x="127" y="11"/>
                    </a:lnTo>
                    <a:lnTo>
                      <a:pt x="122" y="15"/>
                    </a:lnTo>
                    <a:lnTo>
                      <a:pt x="116" y="20"/>
                    </a:lnTo>
                    <a:lnTo>
                      <a:pt x="112" y="24"/>
                    </a:lnTo>
                    <a:lnTo>
                      <a:pt x="109" y="28"/>
                    </a:lnTo>
                    <a:lnTo>
                      <a:pt x="108" y="31"/>
                    </a:lnTo>
                    <a:lnTo>
                      <a:pt x="106" y="33"/>
                    </a:lnTo>
                    <a:lnTo>
                      <a:pt x="104" y="37"/>
                    </a:lnTo>
                    <a:lnTo>
                      <a:pt x="102" y="39"/>
                    </a:lnTo>
                    <a:lnTo>
                      <a:pt x="99" y="44"/>
                    </a:lnTo>
                    <a:lnTo>
                      <a:pt x="98" y="48"/>
                    </a:lnTo>
                    <a:lnTo>
                      <a:pt x="97" y="50"/>
                    </a:lnTo>
                    <a:lnTo>
                      <a:pt x="95" y="53"/>
                    </a:lnTo>
                    <a:lnTo>
                      <a:pt x="95" y="56"/>
                    </a:lnTo>
                    <a:lnTo>
                      <a:pt x="94" y="59"/>
                    </a:lnTo>
                    <a:lnTo>
                      <a:pt x="94" y="61"/>
                    </a:lnTo>
                    <a:lnTo>
                      <a:pt x="93" y="64"/>
                    </a:lnTo>
                    <a:lnTo>
                      <a:pt x="91" y="66"/>
                    </a:lnTo>
                    <a:lnTo>
                      <a:pt x="90" y="68"/>
                    </a:lnTo>
                    <a:lnTo>
                      <a:pt x="87" y="70"/>
                    </a:lnTo>
                    <a:lnTo>
                      <a:pt x="86" y="96"/>
                    </a:lnTo>
                    <a:lnTo>
                      <a:pt x="86" y="97"/>
                    </a:lnTo>
                    <a:lnTo>
                      <a:pt x="83" y="100"/>
                    </a:lnTo>
                    <a:lnTo>
                      <a:pt x="79" y="105"/>
                    </a:lnTo>
                    <a:lnTo>
                      <a:pt x="75" y="111"/>
                    </a:lnTo>
                    <a:lnTo>
                      <a:pt x="71" y="116"/>
                    </a:lnTo>
                    <a:lnTo>
                      <a:pt x="65" y="122"/>
                    </a:lnTo>
                    <a:lnTo>
                      <a:pt x="61" y="125"/>
                    </a:lnTo>
                    <a:lnTo>
                      <a:pt x="58" y="126"/>
                    </a:lnTo>
                    <a:lnTo>
                      <a:pt x="55" y="145"/>
                    </a:lnTo>
                    <a:lnTo>
                      <a:pt x="43" y="166"/>
                    </a:lnTo>
                    <a:lnTo>
                      <a:pt x="42" y="195"/>
                    </a:lnTo>
                    <a:lnTo>
                      <a:pt x="16" y="211"/>
                    </a:lnTo>
                    <a:lnTo>
                      <a:pt x="20" y="219"/>
                    </a:lnTo>
                    <a:lnTo>
                      <a:pt x="20" y="277"/>
                    </a:lnTo>
                    <a:lnTo>
                      <a:pt x="18" y="309"/>
                    </a:lnTo>
                    <a:lnTo>
                      <a:pt x="18" y="310"/>
                    </a:lnTo>
                    <a:lnTo>
                      <a:pt x="18" y="313"/>
                    </a:lnTo>
                    <a:lnTo>
                      <a:pt x="17" y="317"/>
                    </a:lnTo>
                    <a:lnTo>
                      <a:pt x="17" y="321"/>
                    </a:lnTo>
                    <a:lnTo>
                      <a:pt x="14" y="325"/>
                    </a:lnTo>
                    <a:lnTo>
                      <a:pt x="11" y="328"/>
                    </a:lnTo>
                    <a:lnTo>
                      <a:pt x="7" y="331"/>
                    </a:lnTo>
                    <a:lnTo>
                      <a:pt x="2" y="33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1" name="Freeform 893"/>
              <p:cNvSpPr>
                <a:spLocks/>
              </p:cNvSpPr>
              <p:nvPr/>
            </p:nvSpPr>
            <p:spPr bwMode="auto">
              <a:xfrm>
                <a:off x="3057" y="1407"/>
                <a:ext cx="150" cy="367"/>
              </a:xfrm>
              <a:custGeom>
                <a:avLst/>
                <a:gdLst>
                  <a:gd name="T0" fmla="*/ 147 w 150"/>
                  <a:gd name="T1" fmla="*/ 97 h 367"/>
                  <a:gd name="T2" fmla="*/ 133 w 150"/>
                  <a:gd name="T3" fmla="*/ 149 h 367"/>
                  <a:gd name="T4" fmla="*/ 136 w 150"/>
                  <a:gd name="T5" fmla="*/ 159 h 367"/>
                  <a:gd name="T6" fmla="*/ 140 w 150"/>
                  <a:gd name="T7" fmla="*/ 170 h 367"/>
                  <a:gd name="T8" fmla="*/ 139 w 150"/>
                  <a:gd name="T9" fmla="*/ 186 h 367"/>
                  <a:gd name="T10" fmla="*/ 135 w 150"/>
                  <a:gd name="T11" fmla="*/ 230 h 367"/>
                  <a:gd name="T12" fmla="*/ 137 w 150"/>
                  <a:gd name="T13" fmla="*/ 254 h 367"/>
                  <a:gd name="T14" fmla="*/ 143 w 150"/>
                  <a:gd name="T15" fmla="*/ 259 h 367"/>
                  <a:gd name="T16" fmla="*/ 147 w 150"/>
                  <a:gd name="T17" fmla="*/ 269 h 367"/>
                  <a:gd name="T18" fmla="*/ 150 w 150"/>
                  <a:gd name="T19" fmla="*/ 291 h 367"/>
                  <a:gd name="T20" fmla="*/ 148 w 150"/>
                  <a:gd name="T21" fmla="*/ 305 h 367"/>
                  <a:gd name="T22" fmla="*/ 147 w 150"/>
                  <a:gd name="T23" fmla="*/ 307 h 367"/>
                  <a:gd name="T24" fmla="*/ 147 w 150"/>
                  <a:gd name="T25" fmla="*/ 309 h 367"/>
                  <a:gd name="T26" fmla="*/ 108 w 150"/>
                  <a:gd name="T27" fmla="*/ 347 h 367"/>
                  <a:gd name="T28" fmla="*/ 108 w 150"/>
                  <a:gd name="T29" fmla="*/ 349 h 367"/>
                  <a:gd name="T30" fmla="*/ 102 w 150"/>
                  <a:gd name="T31" fmla="*/ 347 h 367"/>
                  <a:gd name="T32" fmla="*/ 93 w 150"/>
                  <a:gd name="T33" fmla="*/ 347 h 367"/>
                  <a:gd name="T34" fmla="*/ 85 w 150"/>
                  <a:gd name="T35" fmla="*/ 350 h 367"/>
                  <a:gd name="T36" fmla="*/ 64 w 150"/>
                  <a:gd name="T37" fmla="*/ 358 h 367"/>
                  <a:gd name="T38" fmla="*/ 59 w 150"/>
                  <a:gd name="T39" fmla="*/ 360 h 367"/>
                  <a:gd name="T40" fmla="*/ 48 w 150"/>
                  <a:gd name="T41" fmla="*/ 362 h 367"/>
                  <a:gd name="T42" fmla="*/ 29 w 150"/>
                  <a:gd name="T43" fmla="*/ 361 h 367"/>
                  <a:gd name="T44" fmla="*/ 22 w 150"/>
                  <a:gd name="T45" fmla="*/ 357 h 367"/>
                  <a:gd name="T46" fmla="*/ 9 w 150"/>
                  <a:gd name="T47" fmla="*/ 349 h 367"/>
                  <a:gd name="T48" fmla="*/ 7 w 150"/>
                  <a:gd name="T49" fmla="*/ 340 h 367"/>
                  <a:gd name="T50" fmla="*/ 4 w 150"/>
                  <a:gd name="T51" fmla="*/ 329 h 367"/>
                  <a:gd name="T52" fmla="*/ 5 w 150"/>
                  <a:gd name="T53" fmla="*/ 314 h 367"/>
                  <a:gd name="T54" fmla="*/ 5 w 150"/>
                  <a:gd name="T55" fmla="*/ 270 h 367"/>
                  <a:gd name="T56" fmla="*/ 8 w 150"/>
                  <a:gd name="T57" fmla="*/ 262 h 367"/>
                  <a:gd name="T58" fmla="*/ 18 w 150"/>
                  <a:gd name="T59" fmla="*/ 248 h 367"/>
                  <a:gd name="T60" fmla="*/ 52 w 150"/>
                  <a:gd name="T61" fmla="*/ 219 h 367"/>
                  <a:gd name="T62" fmla="*/ 64 w 150"/>
                  <a:gd name="T63" fmla="*/ 206 h 367"/>
                  <a:gd name="T64" fmla="*/ 67 w 150"/>
                  <a:gd name="T65" fmla="*/ 186 h 367"/>
                  <a:gd name="T66" fmla="*/ 58 w 150"/>
                  <a:gd name="T67" fmla="*/ 174 h 367"/>
                  <a:gd name="T68" fmla="*/ 59 w 150"/>
                  <a:gd name="T69" fmla="*/ 173 h 367"/>
                  <a:gd name="T70" fmla="*/ 60 w 150"/>
                  <a:gd name="T71" fmla="*/ 171 h 367"/>
                  <a:gd name="T72" fmla="*/ 59 w 150"/>
                  <a:gd name="T73" fmla="*/ 169 h 367"/>
                  <a:gd name="T74" fmla="*/ 48 w 150"/>
                  <a:gd name="T75" fmla="*/ 149 h 367"/>
                  <a:gd name="T76" fmla="*/ 41 w 150"/>
                  <a:gd name="T77" fmla="*/ 125 h 367"/>
                  <a:gd name="T78" fmla="*/ 44 w 150"/>
                  <a:gd name="T79" fmla="*/ 115 h 367"/>
                  <a:gd name="T80" fmla="*/ 48 w 150"/>
                  <a:gd name="T81" fmla="*/ 103 h 367"/>
                  <a:gd name="T82" fmla="*/ 29 w 150"/>
                  <a:gd name="T83" fmla="*/ 82 h 367"/>
                  <a:gd name="T84" fmla="*/ 26 w 150"/>
                  <a:gd name="T85" fmla="*/ 77 h 367"/>
                  <a:gd name="T86" fmla="*/ 16 w 150"/>
                  <a:gd name="T87" fmla="*/ 63 h 367"/>
                  <a:gd name="T88" fmla="*/ 0 w 150"/>
                  <a:gd name="T89" fmla="*/ 33 h 367"/>
                  <a:gd name="T90" fmla="*/ 11 w 150"/>
                  <a:gd name="T91" fmla="*/ 24 h 367"/>
                  <a:gd name="T92" fmla="*/ 31 w 150"/>
                  <a:gd name="T93" fmla="*/ 17 h 367"/>
                  <a:gd name="T94" fmla="*/ 42 w 150"/>
                  <a:gd name="T95" fmla="*/ 22 h 367"/>
                  <a:gd name="T96" fmla="*/ 51 w 150"/>
                  <a:gd name="T97" fmla="*/ 26 h 367"/>
                  <a:gd name="T98" fmla="*/ 71 w 150"/>
                  <a:gd name="T99" fmla="*/ 26 h 367"/>
                  <a:gd name="T100" fmla="*/ 82 w 150"/>
                  <a:gd name="T101" fmla="*/ 20 h 367"/>
                  <a:gd name="T102" fmla="*/ 85 w 150"/>
                  <a:gd name="T103" fmla="*/ 15 h 367"/>
                  <a:gd name="T104" fmla="*/ 91 w 150"/>
                  <a:gd name="T105" fmla="*/ 5 h 367"/>
                  <a:gd name="T106" fmla="*/ 104 w 150"/>
                  <a:gd name="T107" fmla="*/ 0 h 367"/>
                  <a:gd name="T108" fmla="*/ 144 w 150"/>
                  <a:gd name="T109" fmla="*/ 22 h 367"/>
                  <a:gd name="T110" fmla="*/ 143 w 150"/>
                  <a:gd name="T111" fmla="*/ 24 h 367"/>
                  <a:gd name="T112" fmla="*/ 136 w 150"/>
                  <a:gd name="T113" fmla="*/ 3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0" h="367">
                    <a:moveTo>
                      <a:pt x="121" y="53"/>
                    </a:moveTo>
                    <a:lnTo>
                      <a:pt x="122" y="72"/>
                    </a:lnTo>
                    <a:lnTo>
                      <a:pt x="147" y="97"/>
                    </a:lnTo>
                    <a:lnTo>
                      <a:pt x="147" y="133"/>
                    </a:lnTo>
                    <a:lnTo>
                      <a:pt x="132" y="149"/>
                    </a:lnTo>
                    <a:lnTo>
                      <a:pt x="133" y="149"/>
                    </a:lnTo>
                    <a:lnTo>
                      <a:pt x="133" y="152"/>
                    </a:lnTo>
                    <a:lnTo>
                      <a:pt x="135" y="155"/>
                    </a:lnTo>
                    <a:lnTo>
                      <a:pt x="136" y="159"/>
                    </a:lnTo>
                    <a:lnTo>
                      <a:pt x="137" y="163"/>
                    </a:lnTo>
                    <a:lnTo>
                      <a:pt x="139" y="167"/>
                    </a:lnTo>
                    <a:lnTo>
                      <a:pt x="140" y="170"/>
                    </a:lnTo>
                    <a:lnTo>
                      <a:pt x="140" y="173"/>
                    </a:lnTo>
                    <a:lnTo>
                      <a:pt x="140" y="177"/>
                    </a:lnTo>
                    <a:lnTo>
                      <a:pt x="139" y="186"/>
                    </a:lnTo>
                    <a:lnTo>
                      <a:pt x="137" y="200"/>
                    </a:lnTo>
                    <a:lnTo>
                      <a:pt x="136" y="215"/>
                    </a:lnTo>
                    <a:lnTo>
                      <a:pt x="135" y="230"/>
                    </a:lnTo>
                    <a:lnTo>
                      <a:pt x="136" y="244"/>
                    </a:lnTo>
                    <a:lnTo>
                      <a:pt x="136" y="250"/>
                    </a:lnTo>
                    <a:lnTo>
                      <a:pt x="137" y="254"/>
                    </a:lnTo>
                    <a:lnTo>
                      <a:pt x="140" y="258"/>
                    </a:lnTo>
                    <a:lnTo>
                      <a:pt x="141" y="259"/>
                    </a:lnTo>
                    <a:lnTo>
                      <a:pt x="143" y="259"/>
                    </a:lnTo>
                    <a:lnTo>
                      <a:pt x="143" y="262"/>
                    </a:lnTo>
                    <a:lnTo>
                      <a:pt x="146" y="265"/>
                    </a:lnTo>
                    <a:lnTo>
                      <a:pt x="147" y="269"/>
                    </a:lnTo>
                    <a:lnTo>
                      <a:pt x="148" y="276"/>
                    </a:lnTo>
                    <a:lnTo>
                      <a:pt x="150" y="283"/>
                    </a:lnTo>
                    <a:lnTo>
                      <a:pt x="150" y="291"/>
                    </a:lnTo>
                    <a:lnTo>
                      <a:pt x="148" y="301"/>
                    </a:lnTo>
                    <a:lnTo>
                      <a:pt x="148" y="303"/>
                    </a:lnTo>
                    <a:lnTo>
                      <a:pt x="148" y="305"/>
                    </a:lnTo>
                    <a:lnTo>
                      <a:pt x="148" y="306"/>
                    </a:lnTo>
                    <a:lnTo>
                      <a:pt x="147" y="307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47" y="309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7"/>
                    </a:lnTo>
                    <a:lnTo>
                      <a:pt x="108" y="349"/>
                    </a:lnTo>
                    <a:lnTo>
                      <a:pt x="108" y="349"/>
                    </a:lnTo>
                    <a:lnTo>
                      <a:pt x="107" y="349"/>
                    </a:lnTo>
                    <a:lnTo>
                      <a:pt x="104" y="347"/>
                    </a:lnTo>
                    <a:lnTo>
                      <a:pt x="102" y="347"/>
                    </a:lnTo>
                    <a:lnTo>
                      <a:pt x="99" y="347"/>
                    </a:lnTo>
                    <a:lnTo>
                      <a:pt x="96" y="347"/>
                    </a:lnTo>
                    <a:lnTo>
                      <a:pt x="93" y="347"/>
                    </a:lnTo>
                    <a:lnTo>
                      <a:pt x="91" y="347"/>
                    </a:lnTo>
                    <a:lnTo>
                      <a:pt x="88" y="349"/>
                    </a:lnTo>
                    <a:lnTo>
                      <a:pt x="85" y="350"/>
                    </a:lnTo>
                    <a:lnTo>
                      <a:pt x="82" y="351"/>
                    </a:lnTo>
                    <a:lnTo>
                      <a:pt x="81" y="354"/>
                    </a:lnTo>
                    <a:lnTo>
                      <a:pt x="64" y="358"/>
                    </a:lnTo>
                    <a:lnTo>
                      <a:pt x="64" y="358"/>
                    </a:lnTo>
                    <a:lnTo>
                      <a:pt x="62" y="358"/>
                    </a:lnTo>
                    <a:lnTo>
                      <a:pt x="59" y="360"/>
                    </a:lnTo>
                    <a:lnTo>
                      <a:pt x="56" y="360"/>
                    </a:lnTo>
                    <a:lnTo>
                      <a:pt x="52" y="361"/>
                    </a:lnTo>
                    <a:lnTo>
                      <a:pt x="48" y="362"/>
                    </a:lnTo>
                    <a:lnTo>
                      <a:pt x="45" y="364"/>
                    </a:lnTo>
                    <a:lnTo>
                      <a:pt x="42" y="367"/>
                    </a:lnTo>
                    <a:lnTo>
                      <a:pt x="29" y="361"/>
                    </a:lnTo>
                    <a:lnTo>
                      <a:pt x="27" y="361"/>
                    </a:lnTo>
                    <a:lnTo>
                      <a:pt x="25" y="360"/>
                    </a:lnTo>
                    <a:lnTo>
                      <a:pt x="22" y="357"/>
                    </a:lnTo>
                    <a:lnTo>
                      <a:pt x="18" y="354"/>
                    </a:lnTo>
                    <a:lnTo>
                      <a:pt x="14" y="351"/>
                    </a:lnTo>
                    <a:lnTo>
                      <a:pt x="9" y="349"/>
                    </a:lnTo>
                    <a:lnTo>
                      <a:pt x="7" y="345"/>
                    </a:lnTo>
                    <a:lnTo>
                      <a:pt x="7" y="340"/>
                    </a:lnTo>
                    <a:lnTo>
                      <a:pt x="7" y="340"/>
                    </a:lnTo>
                    <a:lnTo>
                      <a:pt x="5" y="338"/>
                    </a:lnTo>
                    <a:lnTo>
                      <a:pt x="5" y="334"/>
                    </a:lnTo>
                    <a:lnTo>
                      <a:pt x="4" y="329"/>
                    </a:lnTo>
                    <a:lnTo>
                      <a:pt x="4" y="325"/>
                    </a:lnTo>
                    <a:lnTo>
                      <a:pt x="4" y="320"/>
                    </a:lnTo>
                    <a:lnTo>
                      <a:pt x="5" y="314"/>
                    </a:lnTo>
                    <a:lnTo>
                      <a:pt x="7" y="310"/>
                    </a:lnTo>
                    <a:lnTo>
                      <a:pt x="5" y="272"/>
                    </a:lnTo>
                    <a:lnTo>
                      <a:pt x="5" y="270"/>
                    </a:lnTo>
                    <a:lnTo>
                      <a:pt x="7" y="269"/>
                    </a:lnTo>
                    <a:lnTo>
                      <a:pt x="7" y="266"/>
                    </a:lnTo>
                    <a:lnTo>
                      <a:pt x="8" y="262"/>
                    </a:lnTo>
                    <a:lnTo>
                      <a:pt x="11" y="258"/>
                    </a:lnTo>
                    <a:lnTo>
                      <a:pt x="14" y="254"/>
                    </a:lnTo>
                    <a:lnTo>
                      <a:pt x="18" y="248"/>
                    </a:lnTo>
                    <a:lnTo>
                      <a:pt x="23" y="244"/>
                    </a:lnTo>
                    <a:lnTo>
                      <a:pt x="51" y="221"/>
                    </a:lnTo>
                    <a:lnTo>
                      <a:pt x="52" y="219"/>
                    </a:lnTo>
                    <a:lnTo>
                      <a:pt x="56" y="217"/>
                    </a:lnTo>
                    <a:lnTo>
                      <a:pt x="60" y="211"/>
                    </a:lnTo>
                    <a:lnTo>
                      <a:pt x="64" y="206"/>
                    </a:lnTo>
                    <a:lnTo>
                      <a:pt x="67" y="199"/>
                    </a:lnTo>
                    <a:lnTo>
                      <a:pt x="67" y="191"/>
                    </a:lnTo>
                    <a:lnTo>
                      <a:pt x="67" y="186"/>
                    </a:lnTo>
                    <a:lnTo>
                      <a:pt x="64" y="182"/>
                    </a:lnTo>
                    <a:lnTo>
                      <a:pt x="62" y="178"/>
                    </a:lnTo>
                    <a:lnTo>
                      <a:pt x="58" y="174"/>
                    </a:lnTo>
                    <a:lnTo>
                      <a:pt x="58" y="174"/>
                    </a:lnTo>
                    <a:lnTo>
                      <a:pt x="59" y="174"/>
                    </a:lnTo>
                    <a:lnTo>
                      <a:pt x="59" y="173"/>
                    </a:lnTo>
                    <a:lnTo>
                      <a:pt x="60" y="173"/>
                    </a:lnTo>
                    <a:lnTo>
                      <a:pt x="60" y="171"/>
                    </a:lnTo>
                    <a:lnTo>
                      <a:pt x="60" y="171"/>
                    </a:lnTo>
                    <a:lnTo>
                      <a:pt x="60" y="171"/>
                    </a:lnTo>
                    <a:lnTo>
                      <a:pt x="60" y="170"/>
                    </a:lnTo>
                    <a:lnTo>
                      <a:pt x="59" y="169"/>
                    </a:lnTo>
                    <a:lnTo>
                      <a:pt x="56" y="164"/>
                    </a:lnTo>
                    <a:lnTo>
                      <a:pt x="52" y="158"/>
                    </a:lnTo>
                    <a:lnTo>
                      <a:pt x="48" y="149"/>
                    </a:lnTo>
                    <a:lnTo>
                      <a:pt x="45" y="141"/>
                    </a:lnTo>
                    <a:lnTo>
                      <a:pt x="42" y="133"/>
                    </a:lnTo>
                    <a:lnTo>
                      <a:pt x="41" y="125"/>
                    </a:lnTo>
                    <a:lnTo>
                      <a:pt x="41" y="118"/>
                    </a:lnTo>
                    <a:lnTo>
                      <a:pt x="42" y="118"/>
                    </a:lnTo>
                    <a:lnTo>
                      <a:pt x="44" y="115"/>
                    </a:lnTo>
                    <a:lnTo>
                      <a:pt x="47" y="112"/>
                    </a:lnTo>
                    <a:lnTo>
                      <a:pt x="48" y="108"/>
                    </a:lnTo>
                    <a:lnTo>
                      <a:pt x="48" y="103"/>
                    </a:lnTo>
                    <a:lnTo>
                      <a:pt x="45" y="97"/>
                    </a:lnTo>
                    <a:lnTo>
                      <a:pt x="38" y="90"/>
                    </a:lnTo>
                    <a:lnTo>
                      <a:pt x="29" y="82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6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6" y="63"/>
                    </a:lnTo>
                    <a:lnTo>
                      <a:pt x="11" y="59"/>
                    </a:lnTo>
                    <a:lnTo>
                      <a:pt x="5" y="5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5" y="28"/>
                    </a:lnTo>
                    <a:lnTo>
                      <a:pt x="11" y="24"/>
                    </a:lnTo>
                    <a:lnTo>
                      <a:pt x="18" y="20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6" y="17"/>
                    </a:lnTo>
                    <a:lnTo>
                      <a:pt x="38" y="19"/>
                    </a:lnTo>
                    <a:lnTo>
                      <a:pt x="42" y="22"/>
                    </a:lnTo>
                    <a:lnTo>
                      <a:pt x="45" y="26"/>
                    </a:lnTo>
                    <a:lnTo>
                      <a:pt x="47" y="26"/>
                    </a:lnTo>
                    <a:lnTo>
                      <a:pt x="51" y="26"/>
                    </a:lnTo>
                    <a:lnTo>
                      <a:pt x="56" y="27"/>
                    </a:lnTo>
                    <a:lnTo>
                      <a:pt x="64" y="27"/>
                    </a:lnTo>
                    <a:lnTo>
                      <a:pt x="71" y="26"/>
                    </a:lnTo>
                    <a:lnTo>
                      <a:pt x="78" y="24"/>
                    </a:lnTo>
                    <a:lnTo>
                      <a:pt x="81" y="23"/>
                    </a:lnTo>
                    <a:lnTo>
                      <a:pt x="82" y="20"/>
                    </a:lnTo>
                    <a:lnTo>
                      <a:pt x="84" y="19"/>
                    </a:lnTo>
                    <a:lnTo>
                      <a:pt x="85" y="16"/>
                    </a:lnTo>
                    <a:lnTo>
                      <a:pt x="85" y="15"/>
                    </a:lnTo>
                    <a:lnTo>
                      <a:pt x="86" y="13"/>
                    </a:lnTo>
                    <a:lnTo>
                      <a:pt x="88" y="9"/>
                    </a:lnTo>
                    <a:lnTo>
                      <a:pt x="91" y="5"/>
                    </a:lnTo>
                    <a:lnTo>
                      <a:pt x="93" y="2"/>
                    </a:lnTo>
                    <a:lnTo>
                      <a:pt x="97" y="0"/>
                    </a:lnTo>
                    <a:lnTo>
                      <a:pt x="104" y="0"/>
                    </a:lnTo>
                    <a:lnTo>
                      <a:pt x="111" y="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4" y="22"/>
                    </a:lnTo>
                    <a:lnTo>
                      <a:pt x="143" y="23"/>
                    </a:lnTo>
                    <a:lnTo>
                      <a:pt x="143" y="24"/>
                    </a:lnTo>
                    <a:lnTo>
                      <a:pt x="141" y="27"/>
                    </a:lnTo>
                    <a:lnTo>
                      <a:pt x="139" y="28"/>
                    </a:lnTo>
                    <a:lnTo>
                      <a:pt x="136" y="30"/>
                    </a:lnTo>
                    <a:lnTo>
                      <a:pt x="132" y="33"/>
                    </a:lnTo>
                    <a:lnTo>
                      <a:pt x="121" y="5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2" name="Freeform 894"/>
              <p:cNvSpPr>
                <a:spLocks/>
              </p:cNvSpPr>
              <p:nvPr/>
            </p:nvSpPr>
            <p:spPr bwMode="auto">
              <a:xfrm>
                <a:off x="3057" y="1407"/>
                <a:ext cx="150" cy="367"/>
              </a:xfrm>
              <a:custGeom>
                <a:avLst/>
                <a:gdLst>
                  <a:gd name="T0" fmla="*/ 147 w 150"/>
                  <a:gd name="T1" fmla="*/ 97 h 367"/>
                  <a:gd name="T2" fmla="*/ 133 w 150"/>
                  <a:gd name="T3" fmla="*/ 149 h 367"/>
                  <a:gd name="T4" fmla="*/ 136 w 150"/>
                  <a:gd name="T5" fmla="*/ 159 h 367"/>
                  <a:gd name="T6" fmla="*/ 140 w 150"/>
                  <a:gd name="T7" fmla="*/ 170 h 367"/>
                  <a:gd name="T8" fmla="*/ 139 w 150"/>
                  <a:gd name="T9" fmla="*/ 186 h 367"/>
                  <a:gd name="T10" fmla="*/ 135 w 150"/>
                  <a:gd name="T11" fmla="*/ 230 h 367"/>
                  <a:gd name="T12" fmla="*/ 137 w 150"/>
                  <a:gd name="T13" fmla="*/ 254 h 367"/>
                  <a:gd name="T14" fmla="*/ 143 w 150"/>
                  <a:gd name="T15" fmla="*/ 259 h 367"/>
                  <a:gd name="T16" fmla="*/ 147 w 150"/>
                  <a:gd name="T17" fmla="*/ 269 h 367"/>
                  <a:gd name="T18" fmla="*/ 150 w 150"/>
                  <a:gd name="T19" fmla="*/ 291 h 367"/>
                  <a:gd name="T20" fmla="*/ 148 w 150"/>
                  <a:gd name="T21" fmla="*/ 305 h 367"/>
                  <a:gd name="T22" fmla="*/ 147 w 150"/>
                  <a:gd name="T23" fmla="*/ 309 h 367"/>
                  <a:gd name="T24" fmla="*/ 107 w 150"/>
                  <a:gd name="T25" fmla="*/ 349 h 367"/>
                  <a:gd name="T26" fmla="*/ 99 w 150"/>
                  <a:gd name="T27" fmla="*/ 347 h 367"/>
                  <a:gd name="T28" fmla="*/ 91 w 150"/>
                  <a:gd name="T29" fmla="*/ 347 h 367"/>
                  <a:gd name="T30" fmla="*/ 82 w 150"/>
                  <a:gd name="T31" fmla="*/ 351 h 367"/>
                  <a:gd name="T32" fmla="*/ 62 w 150"/>
                  <a:gd name="T33" fmla="*/ 358 h 367"/>
                  <a:gd name="T34" fmla="*/ 52 w 150"/>
                  <a:gd name="T35" fmla="*/ 361 h 367"/>
                  <a:gd name="T36" fmla="*/ 42 w 150"/>
                  <a:gd name="T37" fmla="*/ 367 h 367"/>
                  <a:gd name="T38" fmla="*/ 25 w 150"/>
                  <a:gd name="T39" fmla="*/ 360 h 367"/>
                  <a:gd name="T40" fmla="*/ 14 w 150"/>
                  <a:gd name="T41" fmla="*/ 351 h 367"/>
                  <a:gd name="T42" fmla="*/ 7 w 150"/>
                  <a:gd name="T43" fmla="*/ 340 h 367"/>
                  <a:gd name="T44" fmla="*/ 4 w 150"/>
                  <a:gd name="T45" fmla="*/ 329 h 367"/>
                  <a:gd name="T46" fmla="*/ 5 w 150"/>
                  <a:gd name="T47" fmla="*/ 314 h 367"/>
                  <a:gd name="T48" fmla="*/ 5 w 150"/>
                  <a:gd name="T49" fmla="*/ 270 h 367"/>
                  <a:gd name="T50" fmla="*/ 8 w 150"/>
                  <a:gd name="T51" fmla="*/ 262 h 367"/>
                  <a:gd name="T52" fmla="*/ 18 w 150"/>
                  <a:gd name="T53" fmla="*/ 248 h 367"/>
                  <a:gd name="T54" fmla="*/ 52 w 150"/>
                  <a:gd name="T55" fmla="*/ 219 h 367"/>
                  <a:gd name="T56" fmla="*/ 64 w 150"/>
                  <a:gd name="T57" fmla="*/ 206 h 367"/>
                  <a:gd name="T58" fmla="*/ 67 w 150"/>
                  <a:gd name="T59" fmla="*/ 186 h 367"/>
                  <a:gd name="T60" fmla="*/ 58 w 150"/>
                  <a:gd name="T61" fmla="*/ 174 h 367"/>
                  <a:gd name="T62" fmla="*/ 60 w 150"/>
                  <a:gd name="T63" fmla="*/ 173 h 367"/>
                  <a:gd name="T64" fmla="*/ 59 w 150"/>
                  <a:gd name="T65" fmla="*/ 169 h 367"/>
                  <a:gd name="T66" fmla="*/ 48 w 150"/>
                  <a:gd name="T67" fmla="*/ 149 h 367"/>
                  <a:gd name="T68" fmla="*/ 41 w 150"/>
                  <a:gd name="T69" fmla="*/ 125 h 367"/>
                  <a:gd name="T70" fmla="*/ 44 w 150"/>
                  <a:gd name="T71" fmla="*/ 115 h 367"/>
                  <a:gd name="T72" fmla="*/ 48 w 150"/>
                  <a:gd name="T73" fmla="*/ 103 h 367"/>
                  <a:gd name="T74" fmla="*/ 29 w 150"/>
                  <a:gd name="T75" fmla="*/ 82 h 367"/>
                  <a:gd name="T76" fmla="*/ 26 w 150"/>
                  <a:gd name="T77" fmla="*/ 77 h 367"/>
                  <a:gd name="T78" fmla="*/ 16 w 150"/>
                  <a:gd name="T79" fmla="*/ 63 h 367"/>
                  <a:gd name="T80" fmla="*/ 0 w 150"/>
                  <a:gd name="T81" fmla="*/ 33 h 367"/>
                  <a:gd name="T82" fmla="*/ 11 w 150"/>
                  <a:gd name="T83" fmla="*/ 24 h 367"/>
                  <a:gd name="T84" fmla="*/ 31 w 150"/>
                  <a:gd name="T85" fmla="*/ 17 h 367"/>
                  <a:gd name="T86" fmla="*/ 42 w 150"/>
                  <a:gd name="T87" fmla="*/ 22 h 367"/>
                  <a:gd name="T88" fmla="*/ 51 w 150"/>
                  <a:gd name="T89" fmla="*/ 26 h 367"/>
                  <a:gd name="T90" fmla="*/ 71 w 150"/>
                  <a:gd name="T91" fmla="*/ 26 h 367"/>
                  <a:gd name="T92" fmla="*/ 82 w 150"/>
                  <a:gd name="T93" fmla="*/ 20 h 367"/>
                  <a:gd name="T94" fmla="*/ 85 w 150"/>
                  <a:gd name="T95" fmla="*/ 15 h 367"/>
                  <a:gd name="T96" fmla="*/ 91 w 150"/>
                  <a:gd name="T97" fmla="*/ 5 h 367"/>
                  <a:gd name="T98" fmla="*/ 104 w 150"/>
                  <a:gd name="T99" fmla="*/ 0 h 367"/>
                  <a:gd name="T100" fmla="*/ 143 w 150"/>
                  <a:gd name="T101" fmla="*/ 23 h 367"/>
                  <a:gd name="T102" fmla="*/ 139 w 150"/>
                  <a:gd name="T103" fmla="*/ 28 h 367"/>
                  <a:gd name="T104" fmla="*/ 121 w 150"/>
                  <a:gd name="T105" fmla="*/ 53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0" h="367">
                    <a:moveTo>
                      <a:pt x="121" y="53"/>
                    </a:moveTo>
                    <a:lnTo>
                      <a:pt x="122" y="72"/>
                    </a:lnTo>
                    <a:lnTo>
                      <a:pt x="147" y="97"/>
                    </a:lnTo>
                    <a:lnTo>
                      <a:pt x="147" y="133"/>
                    </a:lnTo>
                    <a:lnTo>
                      <a:pt x="132" y="149"/>
                    </a:lnTo>
                    <a:lnTo>
                      <a:pt x="133" y="149"/>
                    </a:lnTo>
                    <a:lnTo>
                      <a:pt x="133" y="152"/>
                    </a:lnTo>
                    <a:lnTo>
                      <a:pt x="135" y="155"/>
                    </a:lnTo>
                    <a:lnTo>
                      <a:pt x="136" y="159"/>
                    </a:lnTo>
                    <a:lnTo>
                      <a:pt x="137" y="163"/>
                    </a:lnTo>
                    <a:lnTo>
                      <a:pt x="139" y="167"/>
                    </a:lnTo>
                    <a:lnTo>
                      <a:pt x="140" y="170"/>
                    </a:lnTo>
                    <a:lnTo>
                      <a:pt x="140" y="173"/>
                    </a:lnTo>
                    <a:lnTo>
                      <a:pt x="140" y="177"/>
                    </a:lnTo>
                    <a:lnTo>
                      <a:pt x="139" y="186"/>
                    </a:lnTo>
                    <a:lnTo>
                      <a:pt x="137" y="200"/>
                    </a:lnTo>
                    <a:lnTo>
                      <a:pt x="136" y="215"/>
                    </a:lnTo>
                    <a:lnTo>
                      <a:pt x="135" y="230"/>
                    </a:lnTo>
                    <a:lnTo>
                      <a:pt x="136" y="244"/>
                    </a:lnTo>
                    <a:lnTo>
                      <a:pt x="136" y="250"/>
                    </a:lnTo>
                    <a:lnTo>
                      <a:pt x="137" y="254"/>
                    </a:lnTo>
                    <a:lnTo>
                      <a:pt x="140" y="258"/>
                    </a:lnTo>
                    <a:lnTo>
                      <a:pt x="141" y="259"/>
                    </a:lnTo>
                    <a:lnTo>
                      <a:pt x="143" y="259"/>
                    </a:lnTo>
                    <a:lnTo>
                      <a:pt x="143" y="262"/>
                    </a:lnTo>
                    <a:lnTo>
                      <a:pt x="146" y="265"/>
                    </a:lnTo>
                    <a:lnTo>
                      <a:pt x="147" y="269"/>
                    </a:lnTo>
                    <a:lnTo>
                      <a:pt x="148" y="276"/>
                    </a:lnTo>
                    <a:lnTo>
                      <a:pt x="150" y="283"/>
                    </a:lnTo>
                    <a:lnTo>
                      <a:pt x="150" y="291"/>
                    </a:lnTo>
                    <a:lnTo>
                      <a:pt x="148" y="301"/>
                    </a:lnTo>
                    <a:lnTo>
                      <a:pt x="148" y="303"/>
                    </a:lnTo>
                    <a:lnTo>
                      <a:pt x="148" y="305"/>
                    </a:lnTo>
                    <a:lnTo>
                      <a:pt x="148" y="306"/>
                    </a:lnTo>
                    <a:lnTo>
                      <a:pt x="147" y="307"/>
                    </a:lnTo>
                    <a:lnTo>
                      <a:pt x="147" y="309"/>
                    </a:lnTo>
                    <a:lnTo>
                      <a:pt x="108" y="347"/>
                    </a:lnTo>
                    <a:lnTo>
                      <a:pt x="108" y="349"/>
                    </a:lnTo>
                    <a:lnTo>
                      <a:pt x="107" y="349"/>
                    </a:lnTo>
                    <a:lnTo>
                      <a:pt x="104" y="347"/>
                    </a:lnTo>
                    <a:lnTo>
                      <a:pt x="102" y="347"/>
                    </a:lnTo>
                    <a:lnTo>
                      <a:pt x="99" y="347"/>
                    </a:lnTo>
                    <a:lnTo>
                      <a:pt x="96" y="347"/>
                    </a:lnTo>
                    <a:lnTo>
                      <a:pt x="93" y="347"/>
                    </a:lnTo>
                    <a:lnTo>
                      <a:pt x="91" y="347"/>
                    </a:lnTo>
                    <a:lnTo>
                      <a:pt x="88" y="349"/>
                    </a:lnTo>
                    <a:lnTo>
                      <a:pt x="85" y="350"/>
                    </a:lnTo>
                    <a:lnTo>
                      <a:pt x="82" y="351"/>
                    </a:lnTo>
                    <a:lnTo>
                      <a:pt x="81" y="354"/>
                    </a:lnTo>
                    <a:lnTo>
                      <a:pt x="64" y="358"/>
                    </a:lnTo>
                    <a:lnTo>
                      <a:pt x="62" y="358"/>
                    </a:lnTo>
                    <a:lnTo>
                      <a:pt x="59" y="360"/>
                    </a:lnTo>
                    <a:lnTo>
                      <a:pt x="56" y="360"/>
                    </a:lnTo>
                    <a:lnTo>
                      <a:pt x="52" y="361"/>
                    </a:lnTo>
                    <a:lnTo>
                      <a:pt x="48" y="362"/>
                    </a:lnTo>
                    <a:lnTo>
                      <a:pt x="45" y="364"/>
                    </a:lnTo>
                    <a:lnTo>
                      <a:pt x="42" y="367"/>
                    </a:lnTo>
                    <a:lnTo>
                      <a:pt x="29" y="361"/>
                    </a:lnTo>
                    <a:lnTo>
                      <a:pt x="27" y="361"/>
                    </a:lnTo>
                    <a:lnTo>
                      <a:pt x="25" y="360"/>
                    </a:lnTo>
                    <a:lnTo>
                      <a:pt x="22" y="357"/>
                    </a:lnTo>
                    <a:lnTo>
                      <a:pt x="18" y="354"/>
                    </a:lnTo>
                    <a:lnTo>
                      <a:pt x="14" y="351"/>
                    </a:lnTo>
                    <a:lnTo>
                      <a:pt x="9" y="349"/>
                    </a:lnTo>
                    <a:lnTo>
                      <a:pt x="7" y="345"/>
                    </a:lnTo>
                    <a:lnTo>
                      <a:pt x="7" y="340"/>
                    </a:lnTo>
                    <a:lnTo>
                      <a:pt x="5" y="338"/>
                    </a:lnTo>
                    <a:lnTo>
                      <a:pt x="5" y="334"/>
                    </a:lnTo>
                    <a:lnTo>
                      <a:pt x="4" y="329"/>
                    </a:lnTo>
                    <a:lnTo>
                      <a:pt x="4" y="325"/>
                    </a:lnTo>
                    <a:lnTo>
                      <a:pt x="4" y="320"/>
                    </a:lnTo>
                    <a:lnTo>
                      <a:pt x="5" y="314"/>
                    </a:lnTo>
                    <a:lnTo>
                      <a:pt x="7" y="310"/>
                    </a:lnTo>
                    <a:lnTo>
                      <a:pt x="5" y="272"/>
                    </a:lnTo>
                    <a:lnTo>
                      <a:pt x="5" y="270"/>
                    </a:lnTo>
                    <a:lnTo>
                      <a:pt x="7" y="269"/>
                    </a:lnTo>
                    <a:lnTo>
                      <a:pt x="7" y="266"/>
                    </a:lnTo>
                    <a:lnTo>
                      <a:pt x="8" y="262"/>
                    </a:lnTo>
                    <a:lnTo>
                      <a:pt x="11" y="258"/>
                    </a:lnTo>
                    <a:lnTo>
                      <a:pt x="14" y="254"/>
                    </a:lnTo>
                    <a:lnTo>
                      <a:pt x="18" y="248"/>
                    </a:lnTo>
                    <a:lnTo>
                      <a:pt x="23" y="244"/>
                    </a:lnTo>
                    <a:lnTo>
                      <a:pt x="51" y="221"/>
                    </a:lnTo>
                    <a:lnTo>
                      <a:pt x="52" y="219"/>
                    </a:lnTo>
                    <a:lnTo>
                      <a:pt x="56" y="217"/>
                    </a:lnTo>
                    <a:lnTo>
                      <a:pt x="60" y="211"/>
                    </a:lnTo>
                    <a:lnTo>
                      <a:pt x="64" y="206"/>
                    </a:lnTo>
                    <a:lnTo>
                      <a:pt x="67" y="199"/>
                    </a:lnTo>
                    <a:lnTo>
                      <a:pt x="67" y="191"/>
                    </a:lnTo>
                    <a:lnTo>
                      <a:pt x="67" y="186"/>
                    </a:lnTo>
                    <a:lnTo>
                      <a:pt x="64" y="182"/>
                    </a:lnTo>
                    <a:lnTo>
                      <a:pt x="62" y="178"/>
                    </a:lnTo>
                    <a:lnTo>
                      <a:pt x="58" y="174"/>
                    </a:lnTo>
                    <a:lnTo>
                      <a:pt x="59" y="174"/>
                    </a:lnTo>
                    <a:lnTo>
                      <a:pt x="59" y="173"/>
                    </a:lnTo>
                    <a:lnTo>
                      <a:pt x="60" y="173"/>
                    </a:lnTo>
                    <a:lnTo>
                      <a:pt x="60" y="171"/>
                    </a:lnTo>
                    <a:lnTo>
                      <a:pt x="60" y="170"/>
                    </a:lnTo>
                    <a:lnTo>
                      <a:pt x="59" y="169"/>
                    </a:lnTo>
                    <a:lnTo>
                      <a:pt x="56" y="164"/>
                    </a:lnTo>
                    <a:lnTo>
                      <a:pt x="52" y="158"/>
                    </a:lnTo>
                    <a:lnTo>
                      <a:pt x="48" y="149"/>
                    </a:lnTo>
                    <a:lnTo>
                      <a:pt x="45" y="141"/>
                    </a:lnTo>
                    <a:lnTo>
                      <a:pt x="42" y="133"/>
                    </a:lnTo>
                    <a:lnTo>
                      <a:pt x="41" y="125"/>
                    </a:lnTo>
                    <a:lnTo>
                      <a:pt x="41" y="118"/>
                    </a:lnTo>
                    <a:lnTo>
                      <a:pt x="42" y="118"/>
                    </a:lnTo>
                    <a:lnTo>
                      <a:pt x="44" y="115"/>
                    </a:lnTo>
                    <a:lnTo>
                      <a:pt x="47" y="112"/>
                    </a:lnTo>
                    <a:lnTo>
                      <a:pt x="48" y="108"/>
                    </a:lnTo>
                    <a:lnTo>
                      <a:pt x="48" y="103"/>
                    </a:lnTo>
                    <a:lnTo>
                      <a:pt x="45" y="97"/>
                    </a:lnTo>
                    <a:lnTo>
                      <a:pt x="38" y="90"/>
                    </a:lnTo>
                    <a:lnTo>
                      <a:pt x="29" y="82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6" y="77"/>
                    </a:lnTo>
                    <a:lnTo>
                      <a:pt x="23" y="72"/>
                    </a:lnTo>
                    <a:lnTo>
                      <a:pt x="20" y="67"/>
                    </a:lnTo>
                    <a:lnTo>
                      <a:pt x="16" y="63"/>
                    </a:lnTo>
                    <a:lnTo>
                      <a:pt x="11" y="59"/>
                    </a:lnTo>
                    <a:lnTo>
                      <a:pt x="5" y="55"/>
                    </a:lnTo>
                    <a:lnTo>
                      <a:pt x="0" y="33"/>
                    </a:lnTo>
                    <a:lnTo>
                      <a:pt x="1" y="31"/>
                    </a:lnTo>
                    <a:lnTo>
                      <a:pt x="5" y="28"/>
                    </a:lnTo>
                    <a:lnTo>
                      <a:pt x="11" y="24"/>
                    </a:lnTo>
                    <a:lnTo>
                      <a:pt x="18" y="20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6" y="17"/>
                    </a:lnTo>
                    <a:lnTo>
                      <a:pt x="38" y="19"/>
                    </a:lnTo>
                    <a:lnTo>
                      <a:pt x="42" y="22"/>
                    </a:lnTo>
                    <a:lnTo>
                      <a:pt x="45" y="26"/>
                    </a:lnTo>
                    <a:lnTo>
                      <a:pt x="47" y="26"/>
                    </a:lnTo>
                    <a:lnTo>
                      <a:pt x="51" y="26"/>
                    </a:lnTo>
                    <a:lnTo>
                      <a:pt x="56" y="27"/>
                    </a:lnTo>
                    <a:lnTo>
                      <a:pt x="64" y="27"/>
                    </a:lnTo>
                    <a:lnTo>
                      <a:pt x="71" y="26"/>
                    </a:lnTo>
                    <a:lnTo>
                      <a:pt x="78" y="24"/>
                    </a:lnTo>
                    <a:lnTo>
                      <a:pt x="81" y="23"/>
                    </a:lnTo>
                    <a:lnTo>
                      <a:pt x="82" y="20"/>
                    </a:lnTo>
                    <a:lnTo>
                      <a:pt x="84" y="19"/>
                    </a:lnTo>
                    <a:lnTo>
                      <a:pt x="85" y="16"/>
                    </a:lnTo>
                    <a:lnTo>
                      <a:pt x="85" y="15"/>
                    </a:lnTo>
                    <a:lnTo>
                      <a:pt x="86" y="13"/>
                    </a:lnTo>
                    <a:lnTo>
                      <a:pt x="88" y="9"/>
                    </a:lnTo>
                    <a:lnTo>
                      <a:pt x="91" y="5"/>
                    </a:lnTo>
                    <a:lnTo>
                      <a:pt x="93" y="2"/>
                    </a:lnTo>
                    <a:lnTo>
                      <a:pt x="97" y="0"/>
                    </a:lnTo>
                    <a:lnTo>
                      <a:pt x="104" y="0"/>
                    </a:lnTo>
                    <a:lnTo>
                      <a:pt x="111" y="2"/>
                    </a:lnTo>
                    <a:lnTo>
                      <a:pt x="144" y="22"/>
                    </a:lnTo>
                    <a:lnTo>
                      <a:pt x="143" y="23"/>
                    </a:lnTo>
                    <a:lnTo>
                      <a:pt x="143" y="24"/>
                    </a:lnTo>
                    <a:lnTo>
                      <a:pt x="141" y="27"/>
                    </a:lnTo>
                    <a:lnTo>
                      <a:pt x="139" y="28"/>
                    </a:lnTo>
                    <a:lnTo>
                      <a:pt x="136" y="30"/>
                    </a:lnTo>
                    <a:lnTo>
                      <a:pt x="132" y="33"/>
                    </a:lnTo>
                    <a:lnTo>
                      <a:pt x="121" y="5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3" name="Freeform 895"/>
              <p:cNvSpPr>
                <a:spLocks/>
              </p:cNvSpPr>
              <p:nvPr/>
            </p:nvSpPr>
            <p:spPr bwMode="auto">
              <a:xfrm>
                <a:off x="2892" y="1927"/>
                <a:ext cx="63" cy="99"/>
              </a:xfrm>
              <a:custGeom>
                <a:avLst/>
                <a:gdLst>
                  <a:gd name="T0" fmla="*/ 4 w 63"/>
                  <a:gd name="T1" fmla="*/ 97 h 99"/>
                  <a:gd name="T2" fmla="*/ 1 w 63"/>
                  <a:gd name="T3" fmla="*/ 90 h 99"/>
                  <a:gd name="T4" fmla="*/ 4 w 63"/>
                  <a:gd name="T5" fmla="*/ 84 h 99"/>
                  <a:gd name="T6" fmla="*/ 7 w 63"/>
                  <a:gd name="T7" fmla="*/ 69 h 99"/>
                  <a:gd name="T8" fmla="*/ 15 w 63"/>
                  <a:gd name="T9" fmla="*/ 64 h 99"/>
                  <a:gd name="T10" fmla="*/ 11 w 63"/>
                  <a:gd name="T11" fmla="*/ 58 h 99"/>
                  <a:gd name="T12" fmla="*/ 11 w 63"/>
                  <a:gd name="T13" fmla="*/ 53 h 99"/>
                  <a:gd name="T14" fmla="*/ 12 w 63"/>
                  <a:gd name="T15" fmla="*/ 53 h 99"/>
                  <a:gd name="T16" fmla="*/ 16 w 63"/>
                  <a:gd name="T17" fmla="*/ 49 h 99"/>
                  <a:gd name="T18" fmla="*/ 18 w 63"/>
                  <a:gd name="T19" fmla="*/ 44 h 99"/>
                  <a:gd name="T20" fmla="*/ 19 w 63"/>
                  <a:gd name="T21" fmla="*/ 42 h 99"/>
                  <a:gd name="T22" fmla="*/ 15 w 63"/>
                  <a:gd name="T23" fmla="*/ 33 h 99"/>
                  <a:gd name="T24" fmla="*/ 22 w 63"/>
                  <a:gd name="T25" fmla="*/ 32 h 99"/>
                  <a:gd name="T26" fmla="*/ 22 w 63"/>
                  <a:gd name="T27" fmla="*/ 32 h 99"/>
                  <a:gd name="T28" fmla="*/ 13 w 63"/>
                  <a:gd name="T29" fmla="*/ 31 h 99"/>
                  <a:gd name="T30" fmla="*/ 11 w 63"/>
                  <a:gd name="T31" fmla="*/ 28 h 99"/>
                  <a:gd name="T32" fmla="*/ 11 w 63"/>
                  <a:gd name="T33" fmla="*/ 25 h 99"/>
                  <a:gd name="T34" fmla="*/ 11 w 63"/>
                  <a:gd name="T35" fmla="*/ 17 h 99"/>
                  <a:gd name="T36" fmla="*/ 13 w 63"/>
                  <a:gd name="T37" fmla="*/ 17 h 99"/>
                  <a:gd name="T38" fmla="*/ 22 w 63"/>
                  <a:gd name="T39" fmla="*/ 11 h 99"/>
                  <a:gd name="T40" fmla="*/ 53 w 63"/>
                  <a:gd name="T41" fmla="*/ 13 h 99"/>
                  <a:gd name="T42" fmla="*/ 53 w 63"/>
                  <a:gd name="T43" fmla="*/ 24 h 99"/>
                  <a:gd name="T44" fmla="*/ 55 w 63"/>
                  <a:gd name="T45" fmla="*/ 32 h 99"/>
                  <a:gd name="T46" fmla="*/ 55 w 63"/>
                  <a:gd name="T47" fmla="*/ 35 h 99"/>
                  <a:gd name="T48" fmla="*/ 53 w 63"/>
                  <a:gd name="T49" fmla="*/ 36 h 99"/>
                  <a:gd name="T50" fmla="*/ 53 w 63"/>
                  <a:gd name="T51" fmla="*/ 39 h 99"/>
                  <a:gd name="T52" fmla="*/ 51 w 63"/>
                  <a:gd name="T53" fmla="*/ 40 h 99"/>
                  <a:gd name="T54" fmla="*/ 52 w 63"/>
                  <a:gd name="T55" fmla="*/ 44 h 99"/>
                  <a:gd name="T56" fmla="*/ 57 w 63"/>
                  <a:gd name="T57" fmla="*/ 50 h 99"/>
                  <a:gd name="T58" fmla="*/ 62 w 63"/>
                  <a:gd name="T59" fmla="*/ 57 h 99"/>
                  <a:gd name="T60" fmla="*/ 60 w 63"/>
                  <a:gd name="T61" fmla="*/ 61 h 99"/>
                  <a:gd name="T62" fmla="*/ 56 w 63"/>
                  <a:gd name="T63" fmla="*/ 65 h 99"/>
                  <a:gd name="T64" fmla="*/ 56 w 63"/>
                  <a:gd name="T65" fmla="*/ 69 h 99"/>
                  <a:gd name="T66" fmla="*/ 57 w 63"/>
                  <a:gd name="T67" fmla="*/ 71 h 99"/>
                  <a:gd name="T68" fmla="*/ 57 w 63"/>
                  <a:gd name="T69" fmla="*/ 73 h 99"/>
                  <a:gd name="T70" fmla="*/ 56 w 63"/>
                  <a:gd name="T71" fmla="*/ 77 h 99"/>
                  <a:gd name="T72" fmla="*/ 57 w 63"/>
                  <a:gd name="T73" fmla="*/ 80 h 99"/>
                  <a:gd name="T74" fmla="*/ 57 w 63"/>
                  <a:gd name="T75" fmla="*/ 83 h 99"/>
                  <a:gd name="T76" fmla="*/ 57 w 63"/>
                  <a:gd name="T77" fmla="*/ 84 h 99"/>
                  <a:gd name="T78" fmla="*/ 57 w 63"/>
                  <a:gd name="T79" fmla="*/ 91 h 99"/>
                  <a:gd name="T80" fmla="*/ 53 w 63"/>
                  <a:gd name="T81" fmla="*/ 90 h 99"/>
                  <a:gd name="T82" fmla="*/ 51 w 63"/>
                  <a:gd name="T83" fmla="*/ 90 h 99"/>
                  <a:gd name="T84" fmla="*/ 52 w 63"/>
                  <a:gd name="T85" fmla="*/ 93 h 99"/>
                  <a:gd name="T86" fmla="*/ 51 w 63"/>
                  <a:gd name="T87" fmla="*/ 94 h 99"/>
                  <a:gd name="T88" fmla="*/ 45 w 63"/>
                  <a:gd name="T89" fmla="*/ 97 h 99"/>
                  <a:gd name="T90" fmla="*/ 42 w 63"/>
                  <a:gd name="T91" fmla="*/ 97 h 99"/>
                  <a:gd name="T92" fmla="*/ 37 w 63"/>
                  <a:gd name="T93" fmla="*/ 98 h 99"/>
                  <a:gd name="T94" fmla="*/ 34 w 63"/>
                  <a:gd name="T95" fmla="*/ 99 h 99"/>
                  <a:gd name="T96" fmla="*/ 31 w 63"/>
                  <a:gd name="T9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" h="99">
                    <a:moveTo>
                      <a:pt x="31" y="98"/>
                    </a:moveTo>
                    <a:lnTo>
                      <a:pt x="22" y="94"/>
                    </a:lnTo>
                    <a:lnTo>
                      <a:pt x="15" y="95"/>
                    </a:lnTo>
                    <a:lnTo>
                      <a:pt x="4" y="97"/>
                    </a:lnTo>
                    <a:lnTo>
                      <a:pt x="1" y="95"/>
                    </a:lnTo>
                    <a:lnTo>
                      <a:pt x="0" y="94"/>
                    </a:lnTo>
                    <a:lnTo>
                      <a:pt x="0" y="91"/>
                    </a:lnTo>
                    <a:lnTo>
                      <a:pt x="1" y="90"/>
                    </a:lnTo>
                    <a:lnTo>
                      <a:pt x="1" y="87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76"/>
                    </a:lnTo>
                    <a:lnTo>
                      <a:pt x="4" y="73"/>
                    </a:lnTo>
                    <a:lnTo>
                      <a:pt x="5" y="72"/>
                    </a:lnTo>
                    <a:lnTo>
                      <a:pt x="7" y="69"/>
                    </a:lnTo>
                    <a:lnTo>
                      <a:pt x="9" y="68"/>
                    </a:lnTo>
                    <a:lnTo>
                      <a:pt x="11" y="66"/>
                    </a:lnTo>
                    <a:lnTo>
                      <a:pt x="13" y="65"/>
                    </a:lnTo>
                    <a:lnTo>
                      <a:pt x="15" y="64"/>
                    </a:lnTo>
                    <a:lnTo>
                      <a:pt x="15" y="64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1" y="58"/>
                    </a:lnTo>
                    <a:lnTo>
                      <a:pt x="11" y="57"/>
                    </a:lnTo>
                    <a:lnTo>
                      <a:pt x="9" y="55"/>
                    </a:lnTo>
                    <a:lnTo>
                      <a:pt x="11" y="54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1" y="53"/>
                    </a:lnTo>
                    <a:lnTo>
                      <a:pt x="12" y="53"/>
                    </a:lnTo>
                    <a:lnTo>
                      <a:pt x="13" y="51"/>
                    </a:lnTo>
                    <a:lnTo>
                      <a:pt x="15" y="51"/>
                    </a:lnTo>
                    <a:lnTo>
                      <a:pt x="16" y="50"/>
                    </a:lnTo>
                    <a:lnTo>
                      <a:pt x="16" y="49"/>
                    </a:lnTo>
                    <a:lnTo>
                      <a:pt x="18" y="47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3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3" y="36"/>
                    </a:lnTo>
                    <a:lnTo>
                      <a:pt x="13" y="33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9" y="32"/>
                    </a:lnTo>
                    <a:lnTo>
                      <a:pt x="18" y="31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2" y="29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1" y="27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1" y="25"/>
                    </a:lnTo>
                    <a:lnTo>
                      <a:pt x="11" y="24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9" y="16"/>
                    </a:lnTo>
                    <a:lnTo>
                      <a:pt x="22" y="11"/>
                    </a:lnTo>
                    <a:lnTo>
                      <a:pt x="37" y="0"/>
                    </a:lnTo>
                    <a:lnTo>
                      <a:pt x="45" y="2"/>
                    </a:lnTo>
                    <a:lnTo>
                      <a:pt x="53" y="13"/>
                    </a:lnTo>
                    <a:lnTo>
                      <a:pt x="53" y="13"/>
                    </a:lnTo>
                    <a:lnTo>
                      <a:pt x="53" y="14"/>
                    </a:lnTo>
                    <a:lnTo>
                      <a:pt x="53" y="17"/>
                    </a:lnTo>
                    <a:lnTo>
                      <a:pt x="53" y="20"/>
                    </a:lnTo>
                    <a:lnTo>
                      <a:pt x="53" y="24"/>
                    </a:lnTo>
                    <a:lnTo>
                      <a:pt x="53" y="27"/>
                    </a:lnTo>
                    <a:lnTo>
                      <a:pt x="53" y="29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3"/>
                    </a:lnTo>
                    <a:lnTo>
                      <a:pt x="55" y="33"/>
                    </a:lnTo>
                    <a:lnTo>
                      <a:pt x="55" y="33"/>
                    </a:lnTo>
                    <a:lnTo>
                      <a:pt x="55" y="35"/>
                    </a:lnTo>
                    <a:lnTo>
                      <a:pt x="53" y="35"/>
                    </a:lnTo>
                    <a:lnTo>
                      <a:pt x="53" y="35"/>
                    </a:lnTo>
                    <a:lnTo>
                      <a:pt x="53" y="36"/>
                    </a:lnTo>
                    <a:lnTo>
                      <a:pt x="53" y="36"/>
                    </a:lnTo>
                    <a:lnTo>
                      <a:pt x="53" y="36"/>
                    </a:lnTo>
                    <a:lnTo>
                      <a:pt x="53" y="38"/>
                    </a:lnTo>
                    <a:lnTo>
                      <a:pt x="53" y="38"/>
                    </a:lnTo>
                    <a:lnTo>
                      <a:pt x="53" y="39"/>
                    </a:lnTo>
                    <a:lnTo>
                      <a:pt x="52" y="39"/>
                    </a:lnTo>
                    <a:lnTo>
                      <a:pt x="52" y="40"/>
                    </a:lnTo>
                    <a:lnTo>
                      <a:pt x="51" y="40"/>
                    </a:lnTo>
                    <a:lnTo>
                      <a:pt x="51" y="40"/>
                    </a:lnTo>
                    <a:lnTo>
                      <a:pt x="51" y="42"/>
                    </a:lnTo>
                    <a:lnTo>
                      <a:pt x="51" y="42"/>
                    </a:lnTo>
                    <a:lnTo>
                      <a:pt x="51" y="43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5" y="47"/>
                    </a:lnTo>
                    <a:lnTo>
                      <a:pt x="57" y="50"/>
                    </a:lnTo>
                    <a:lnTo>
                      <a:pt x="57" y="50"/>
                    </a:lnTo>
                    <a:lnTo>
                      <a:pt x="59" y="51"/>
                    </a:lnTo>
                    <a:lnTo>
                      <a:pt x="60" y="53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3" y="58"/>
                    </a:lnTo>
                    <a:lnTo>
                      <a:pt x="63" y="60"/>
                    </a:lnTo>
                    <a:lnTo>
                      <a:pt x="62" y="61"/>
                    </a:lnTo>
                    <a:lnTo>
                      <a:pt x="60" y="61"/>
                    </a:lnTo>
                    <a:lnTo>
                      <a:pt x="60" y="61"/>
                    </a:lnTo>
                    <a:lnTo>
                      <a:pt x="59" y="62"/>
                    </a:lnTo>
                    <a:lnTo>
                      <a:pt x="57" y="64"/>
                    </a:lnTo>
                    <a:lnTo>
                      <a:pt x="56" y="65"/>
                    </a:lnTo>
                    <a:lnTo>
                      <a:pt x="56" y="66"/>
                    </a:lnTo>
                    <a:lnTo>
                      <a:pt x="55" y="68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6" y="69"/>
                    </a:lnTo>
                    <a:lnTo>
                      <a:pt x="57" y="71"/>
                    </a:lnTo>
                    <a:lnTo>
                      <a:pt x="57" y="71"/>
                    </a:lnTo>
                    <a:lnTo>
                      <a:pt x="57" y="72"/>
                    </a:lnTo>
                    <a:lnTo>
                      <a:pt x="57" y="72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7" y="75"/>
                    </a:lnTo>
                    <a:lnTo>
                      <a:pt x="56" y="76"/>
                    </a:lnTo>
                    <a:lnTo>
                      <a:pt x="56" y="77"/>
                    </a:lnTo>
                    <a:lnTo>
                      <a:pt x="56" y="77"/>
                    </a:lnTo>
                    <a:lnTo>
                      <a:pt x="56" y="79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7" y="87"/>
                    </a:lnTo>
                    <a:lnTo>
                      <a:pt x="57" y="90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4"/>
                    </a:lnTo>
                    <a:lnTo>
                      <a:pt x="56" y="94"/>
                    </a:lnTo>
                    <a:lnTo>
                      <a:pt x="53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1" y="90"/>
                    </a:lnTo>
                    <a:lnTo>
                      <a:pt x="51" y="90"/>
                    </a:lnTo>
                    <a:lnTo>
                      <a:pt x="51" y="91"/>
                    </a:lnTo>
                    <a:lnTo>
                      <a:pt x="52" y="91"/>
                    </a:lnTo>
                    <a:lnTo>
                      <a:pt x="52" y="91"/>
                    </a:lnTo>
                    <a:lnTo>
                      <a:pt x="52" y="93"/>
                    </a:lnTo>
                    <a:lnTo>
                      <a:pt x="53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1" y="94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46" y="97"/>
                    </a:lnTo>
                    <a:lnTo>
                      <a:pt x="45" y="97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2" y="97"/>
                    </a:lnTo>
                    <a:lnTo>
                      <a:pt x="41" y="97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7" y="98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5" y="99"/>
                    </a:lnTo>
                    <a:lnTo>
                      <a:pt x="34" y="99"/>
                    </a:lnTo>
                    <a:lnTo>
                      <a:pt x="34" y="99"/>
                    </a:lnTo>
                    <a:lnTo>
                      <a:pt x="33" y="99"/>
                    </a:lnTo>
                    <a:lnTo>
                      <a:pt x="33" y="99"/>
                    </a:lnTo>
                    <a:lnTo>
                      <a:pt x="31" y="99"/>
                    </a:lnTo>
                    <a:lnTo>
                      <a:pt x="31" y="9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4" name="Freeform 896"/>
              <p:cNvSpPr>
                <a:spLocks/>
              </p:cNvSpPr>
              <p:nvPr/>
            </p:nvSpPr>
            <p:spPr bwMode="auto">
              <a:xfrm>
                <a:off x="2892" y="1927"/>
                <a:ext cx="63" cy="99"/>
              </a:xfrm>
              <a:custGeom>
                <a:avLst/>
                <a:gdLst>
                  <a:gd name="T0" fmla="*/ 15 w 63"/>
                  <a:gd name="T1" fmla="*/ 95 h 99"/>
                  <a:gd name="T2" fmla="*/ 0 w 63"/>
                  <a:gd name="T3" fmla="*/ 94 h 99"/>
                  <a:gd name="T4" fmla="*/ 1 w 63"/>
                  <a:gd name="T5" fmla="*/ 87 h 99"/>
                  <a:gd name="T6" fmla="*/ 4 w 63"/>
                  <a:gd name="T7" fmla="*/ 84 h 99"/>
                  <a:gd name="T8" fmla="*/ 5 w 63"/>
                  <a:gd name="T9" fmla="*/ 72 h 99"/>
                  <a:gd name="T10" fmla="*/ 11 w 63"/>
                  <a:gd name="T11" fmla="*/ 66 h 99"/>
                  <a:gd name="T12" fmla="*/ 13 w 63"/>
                  <a:gd name="T13" fmla="*/ 62 h 99"/>
                  <a:gd name="T14" fmla="*/ 11 w 63"/>
                  <a:gd name="T15" fmla="*/ 57 h 99"/>
                  <a:gd name="T16" fmla="*/ 11 w 63"/>
                  <a:gd name="T17" fmla="*/ 53 h 99"/>
                  <a:gd name="T18" fmla="*/ 15 w 63"/>
                  <a:gd name="T19" fmla="*/ 51 h 99"/>
                  <a:gd name="T20" fmla="*/ 18 w 63"/>
                  <a:gd name="T21" fmla="*/ 47 h 99"/>
                  <a:gd name="T22" fmla="*/ 18 w 63"/>
                  <a:gd name="T23" fmla="*/ 43 h 99"/>
                  <a:gd name="T24" fmla="*/ 13 w 63"/>
                  <a:gd name="T25" fmla="*/ 33 h 99"/>
                  <a:gd name="T26" fmla="*/ 19 w 63"/>
                  <a:gd name="T27" fmla="*/ 32 h 99"/>
                  <a:gd name="T28" fmla="*/ 23 w 63"/>
                  <a:gd name="T29" fmla="*/ 32 h 99"/>
                  <a:gd name="T30" fmla="*/ 22 w 63"/>
                  <a:gd name="T31" fmla="*/ 32 h 99"/>
                  <a:gd name="T32" fmla="*/ 15 w 63"/>
                  <a:gd name="T33" fmla="*/ 31 h 99"/>
                  <a:gd name="T34" fmla="*/ 11 w 63"/>
                  <a:gd name="T35" fmla="*/ 29 h 99"/>
                  <a:gd name="T36" fmla="*/ 11 w 63"/>
                  <a:gd name="T37" fmla="*/ 25 h 99"/>
                  <a:gd name="T38" fmla="*/ 12 w 63"/>
                  <a:gd name="T39" fmla="*/ 17 h 99"/>
                  <a:gd name="T40" fmla="*/ 16 w 63"/>
                  <a:gd name="T41" fmla="*/ 17 h 99"/>
                  <a:gd name="T42" fmla="*/ 37 w 63"/>
                  <a:gd name="T43" fmla="*/ 0 h 99"/>
                  <a:gd name="T44" fmla="*/ 53 w 63"/>
                  <a:gd name="T45" fmla="*/ 14 h 99"/>
                  <a:gd name="T46" fmla="*/ 53 w 63"/>
                  <a:gd name="T47" fmla="*/ 24 h 99"/>
                  <a:gd name="T48" fmla="*/ 55 w 63"/>
                  <a:gd name="T49" fmla="*/ 32 h 99"/>
                  <a:gd name="T50" fmla="*/ 53 w 63"/>
                  <a:gd name="T51" fmla="*/ 35 h 99"/>
                  <a:gd name="T52" fmla="*/ 53 w 63"/>
                  <a:gd name="T53" fmla="*/ 39 h 99"/>
                  <a:gd name="T54" fmla="*/ 51 w 63"/>
                  <a:gd name="T55" fmla="*/ 40 h 99"/>
                  <a:gd name="T56" fmla="*/ 52 w 63"/>
                  <a:gd name="T57" fmla="*/ 44 h 99"/>
                  <a:gd name="T58" fmla="*/ 57 w 63"/>
                  <a:gd name="T59" fmla="*/ 50 h 99"/>
                  <a:gd name="T60" fmla="*/ 62 w 63"/>
                  <a:gd name="T61" fmla="*/ 55 h 99"/>
                  <a:gd name="T62" fmla="*/ 63 w 63"/>
                  <a:gd name="T63" fmla="*/ 60 h 99"/>
                  <a:gd name="T64" fmla="*/ 59 w 63"/>
                  <a:gd name="T65" fmla="*/ 62 h 99"/>
                  <a:gd name="T66" fmla="*/ 56 w 63"/>
                  <a:gd name="T67" fmla="*/ 66 h 99"/>
                  <a:gd name="T68" fmla="*/ 57 w 63"/>
                  <a:gd name="T69" fmla="*/ 71 h 99"/>
                  <a:gd name="T70" fmla="*/ 57 w 63"/>
                  <a:gd name="T71" fmla="*/ 73 h 99"/>
                  <a:gd name="T72" fmla="*/ 56 w 63"/>
                  <a:gd name="T73" fmla="*/ 77 h 99"/>
                  <a:gd name="T74" fmla="*/ 57 w 63"/>
                  <a:gd name="T75" fmla="*/ 82 h 99"/>
                  <a:gd name="T76" fmla="*/ 57 w 63"/>
                  <a:gd name="T77" fmla="*/ 86 h 99"/>
                  <a:gd name="T78" fmla="*/ 57 w 63"/>
                  <a:gd name="T79" fmla="*/ 91 h 99"/>
                  <a:gd name="T80" fmla="*/ 56 w 63"/>
                  <a:gd name="T81" fmla="*/ 94 h 99"/>
                  <a:gd name="T82" fmla="*/ 51 w 63"/>
                  <a:gd name="T83" fmla="*/ 90 h 99"/>
                  <a:gd name="T84" fmla="*/ 52 w 63"/>
                  <a:gd name="T85" fmla="*/ 93 h 99"/>
                  <a:gd name="T86" fmla="*/ 51 w 63"/>
                  <a:gd name="T87" fmla="*/ 94 h 99"/>
                  <a:gd name="T88" fmla="*/ 46 w 63"/>
                  <a:gd name="T89" fmla="*/ 97 h 99"/>
                  <a:gd name="T90" fmla="*/ 42 w 63"/>
                  <a:gd name="T91" fmla="*/ 97 h 99"/>
                  <a:gd name="T92" fmla="*/ 38 w 63"/>
                  <a:gd name="T93" fmla="*/ 98 h 99"/>
                  <a:gd name="T94" fmla="*/ 35 w 63"/>
                  <a:gd name="T95" fmla="*/ 99 h 99"/>
                  <a:gd name="T96" fmla="*/ 31 w 63"/>
                  <a:gd name="T97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3" h="99">
                    <a:moveTo>
                      <a:pt x="31" y="98"/>
                    </a:moveTo>
                    <a:lnTo>
                      <a:pt x="22" y="94"/>
                    </a:lnTo>
                    <a:lnTo>
                      <a:pt x="15" y="95"/>
                    </a:lnTo>
                    <a:lnTo>
                      <a:pt x="4" y="97"/>
                    </a:lnTo>
                    <a:lnTo>
                      <a:pt x="1" y="95"/>
                    </a:lnTo>
                    <a:lnTo>
                      <a:pt x="0" y="94"/>
                    </a:lnTo>
                    <a:lnTo>
                      <a:pt x="0" y="91"/>
                    </a:lnTo>
                    <a:lnTo>
                      <a:pt x="1" y="90"/>
                    </a:lnTo>
                    <a:lnTo>
                      <a:pt x="1" y="87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76"/>
                    </a:lnTo>
                    <a:lnTo>
                      <a:pt x="4" y="73"/>
                    </a:lnTo>
                    <a:lnTo>
                      <a:pt x="5" y="72"/>
                    </a:lnTo>
                    <a:lnTo>
                      <a:pt x="7" y="69"/>
                    </a:lnTo>
                    <a:lnTo>
                      <a:pt x="9" y="68"/>
                    </a:lnTo>
                    <a:lnTo>
                      <a:pt x="11" y="66"/>
                    </a:lnTo>
                    <a:lnTo>
                      <a:pt x="13" y="65"/>
                    </a:lnTo>
                    <a:lnTo>
                      <a:pt x="15" y="64"/>
                    </a:lnTo>
                    <a:lnTo>
                      <a:pt x="13" y="62"/>
                    </a:lnTo>
                    <a:lnTo>
                      <a:pt x="12" y="61"/>
                    </a:lnTo>
                    <a:lnTo>
                      <a:pt x="11" y="58"/>
                    </a:lnTo>
                    <a:lnTo>
                      <a:pt x="11" y="57"/>
                    </a:lnTo>
                    <a:lnTo>
                      <a:pt x="9" y="55"/>
                    </a:lnTo>
                    <a:lnTo>
                      <a:pt x="11" y="54"/>
                    </a:lnTo>
                    <a:lnTo>
                      <a:pt x="11" y="53"/>
                    </a:lnTo>
                    <a:lnTo>
                      <a:pt x="12" y="53"/>
                    </a:lnTo>
                    <a:lnTo>
                      <a:pt x="13" y="51"/>
                    </a:lnTo>
                    <a:lnTo>
                      <a:pt x="15" y="51"/>
                    </a:lnTo>
                    <a:lnTo>
                      <a:pt x="16" y="50"/>
                    </a:lnTo>
                    <a:lnTo>
                      <a:pt x="16" y="49"/>
                    </a:lnTo>
                    <a:lnTo>
                      <a:pt x="18" y="47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3"/>
                    </a:lnTo>
                    <a:lnTo>
                      <a:pt x="19" y="42"/>
                    </a:lnTo>
                    <a:lnTo>
                      <a:pt x="13" y="36"/>
                    </a:lnTo>
                    <a:lnTo>
                      <a:pt x="13" y="33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2"/>
                    </a:lnTo>
                    <a:lnTo>
                      <a:pt x="20" y="32"/>
                    </a:lnTo>
                    <a:lnTo>
                      <a:pt x="22" y="32"/>
                    </a:lnTo>
                    <a:lnTo>
                      <a:pt x="23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2" y="32"/>
                    </a:lnTo>
                    <a:lnTo>
                      <a:pt x="19" y="32"/>
                    </a:lnTo>
                    <a:lnTo>
                      <a:pt x="18" y="31"/>
                    </a:lnTo>
                    <a:lnTo>
                      <a:pt x="15" y="31"/>
                    </a:lnTo>
                    <a:lnTo>
                      <a:pt x="13" y="31"/>
                    </a:lnTo>
                    <a:lnTo>
                      <a:pt x="12" y="29"/>
                    </a:lnTo>
                    <a:lnTo>
                      <a:pt x="11" y="29"/>
                    </a:lnTo>
                    <a:lnTo>
                      <a:pt x="11" y="28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1" y="24"/>
                    </a:lnTo>
                    <a:lnTo>
                      <a:pt x="11" y="17"/>
                    </a:lnTo>
                    <a:lnTo>
                      <a:pt x="12" y="17"/>
                    </a:lnTo>
                    <a:lnTo>
                      <a:pt x="13" y="17"/>
                    </a:lnTo>
                    <a:lnTo>
                      <a:pt x="15" y="17"/>
                    </a:lnTo>
                    <a:lnTo>
                      <a:pt x="16" y="17"/>
                    </a:lnTo>
                    <a:lnTo>
                      <a:pt x="19" y="16"/>
                    </a:lnTo>
                    <a:lnTo>
                      <a:pt x="22" y="11"/>
                    </a:lnTo>
                    <a:lnTo>
                      <a:pt x="37" y="0"/>
                    </a:lnTo>
                    <a:lnTo>
                      <a:pt x="45" y="2"/>
                    </a:lnTo>
                    <a:lnTo>
                      <a:pt x="53" y="13"/>
                    </a:lnTo>
                    <a:lnTo>
                      <a:pt x="53" y="14"/>
                    </a:lnTo>
                    <a:lnTo>
                      <a:pt x="53" y="17"/>
                    </a:lnTo>
                    <a:lnTo>
                      <a:pt x="53" y="20"/>
                    </a:lnTo>
                    <a:lnTo>
                      <a:pt x="53" y="24"/>
                    </a:lnTo>
                    <a:lnTo>
                      <a:pt x="53" y="27"/>
                    </a:lnTo>
                    <a:lnTo>
                      <a:pt x="53" y="29"/>
                    </a:lnTo>
                    <a:lnTo>
                      <a:pt x="55" y="32"/>
                    </a:lnTo>
                    <a:lnTo>
                      <a:pt x="55" y="33"/>
                    </a:lnTo>
                    <a:lnTo>
                      <a:pt x="55" y="35"/>
                    </a:lnTo>
                    <a:lnTo>
                      <a:pt x="53" y="35"/>
                    </a:lnTo>
                    <a:lnTo>
                      <a:pt x="53" y="36"/>
                    </a:lnTo>
                    <a:lnTo>
                      <a:pt x="53" y="38"/>
                    </a:lnTo>
                    <a:lnTo>
                      <a:pt x="53" y="39"/>
                    </a:lnTo>
                    <a:lnTo>
                      <a:pt x="52" y="39"/>
                    </a:lnTo>
                    <a:lnTo>
                      <a:pt x="52" y="40"/>
                    </a:lnTo>
                    <a:lnTo>
                      <a:pt x="51" y="40"/>
                    </a:lnTo>
                    <a:lnTo>
                      <a:pt x="51" y="42"/>
                    </a:lnTo>
                    <a:lnTo>
                      <a:pt x="51" y="43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5" y="47"/>
                    </a:lnTo>
                    <a:lnTo>
                      <a:pt x="57" y="50"/>
                    </a:lnTo>
                    <a:lnTo>
                      <a:pt x="59" y="51"/>
                    </a:lnTo>
                    <a:lnTo>
                      <a:pt x="60" y="53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3" y="58"/>
                    </a:lnTo>
                    <a:lnTo>
                      <a:pt x="63" y="60"/>
                    </a:lnTo>
                    <a:lnTo>
                      <a:pt x="62" y="61"/>
                    </a:lnTo>
                    <a:lnTo>
                      <a:pt x="60" y="61"/>
                    </a:lnTo>
                    <a:lnTo>
                      <a:pt x="59" y="62"/>
                    </a:lnTo>
                    <a:lnTo>
                      <a:pt x="57" y="64"/>
                    </a:lnTo>
                    <a:lnTo>
                      <a:pt x="56" y="65"/>
                    </a:lnTo>
                    <a:lnTo>
                      <a:pt x="56" y="66"/>
                    </a:lnTo>
                    <a:lnTo>
                      <a:pt x="55" y="68"/>
                    </a:lnTo>
                    <a:lnTo>
                      <a:pt x="56" y="69"/>
                    </a:lnTo>
                    <a:lnTo>
                      <a:pt x="57" y="71"/>
                    </a:lnTo>
                    <a:lnTo>
                      <a:pt x="57" y="72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6" y="76"/>
                    </a:lnTo>
                    <a:lnTo>
                      <a:pt x="56" y="77"/>
                    </a:lnTo>
                    <a:lnTo>
                      <a:pt x="56" y="79"/>
                    </a:lnTo>
                    <a:lnTo>
                      <a:pt x="57" y="80"/>
                    </a:lnTo>
                    <a:lnTo>
                      <a:pt x="57" y="82"/>
                    </a:lnTo>
                    <a:lnTo>
                      <a:pt x="57" y="83"/>
                    </a:lnTo>
                    <a:lnTo>
                      <a:pt x="57" y="84"/>
                    </a:lnTo>
                    <a:lnTo>
                      <a:pt x="57" y="86"/>
                    </a:lnTo>
                    <a:lnTo>
                      <a:pt x="57" y="87"/>
                    </a:lnTo>
                    <a:lnTo>
                      <a:pt x="57" y="90"/>
                    </a:lnTo>
                    <a:lnTo>
                      <a:pt x="57" y="91"/>
                    </a:lnTo>
                    <a:lnTo>
                      <a:pt x="57" y="93"/>
                    </a:lnTo>
                    <a:lnTo>
                      <a:pt x="57" y="94"/>
                    </a:lnTo>
                    <a:lnTo>
                      <a:pt x="56" y="94"/>
                    </a:lnTo>
                    <a:lnTo>
                      <a:pt x="53" y="90"/>
                    </a:lnTo>
                    <a:lnTo>
                      <a:pt x="52" y="90"/>
                    </a:lnTo>
                    <a:lnTo>
                      <a:pt x="51" y="90"/>
                    </a:lnTo>
                    <a:lnTo>
                      <a:pt x="51" y="91"/>
                    </a:lnTo>
                    <a:lnTo>
                      <a:pt x="52" y="91"/>
                    </a:lnTo>
                    <a:lnTo>
                      <a:pt x="52" y="93"/>
                    </a:lnTo>
                    <a:lnTo>
                      <a:pt x="53" y="94"/>
                    </a:lnTo>
                    <a:lnTo>
                      <a:pt x="52" y="94"/>
                    </a:lnTo>
                    <a:lnTo>
                      <a:pt x="51" y="94"/>
                    </a:lnTo>
                    <a:lnTo>
                      <a:pt x="49" y="95"/>
                    </a:lnTo>
                    <a:lnTo>
                      <a:pt x="48" y="95"/>
                    </a:lnTo>
                    <a:lnTo>
                      <a:pt x="46" y="97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1" y="97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5" y="99"/>
                    </a:lnTo>
                    <a:lnTo>
                      <a:pt x="34" y="99"/>
                    </a:lnTo>
                    <a:lnTo>
                      <a:pt x="33" y="99"/>
                    </a:lnTo>
                    <a:lnTo>
                      <a:pt x="31" y="99"/>
                    </a:lnTo>
                    <a:lnTo>
                      <a:pt x="31" y="9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5" name="Freeform 897"/>
              <p:cNvSpPr>
                <a:spLocks/>
              </p:cNvSpPr>
              <p:nvPr/>
            </p:nvSpPr>
            <p:spPr bwMode="auto">
              <a:xfrm>
                <a:off x="3132" y="2215"/>
                <a:ext cx="266" cy="130"/>
              </a:xfrm>
              <a:custGeom>
                <a:avLst/>
                <a:gdLst>
                  <a:gd name="T0" fmla="*/ 234 w 266"/>
                  <a:gd name="T1" fmla="*/ 42 h 130"/>
                  <a:gd name="T2" fmla="*/ 245 w 266"/>
                  <a:gd name="T3" fmla="*/ 51 h 130"/>
                  <a:gd name="T4" fmla="*/ 262 w 266"/>
                  <a:gd name="T5" fmla="*/ 82 h 130"/>
                  <a:gd name="T6" fmla="*/ 265 w 266"/>
                  <a:gd name="T7" fmla="*/ 96 h 130"/>
                  <a:gd name="T8" fmla="*/ 260 w 266"/>
                  <a:gd name="T9" fmla="*/ 96 h 130"/>
                  <a:gd name="T10" fmla="*/ 233 w 266"/>
                  <a:gd name="T11" fmla="*/ 96 h 130"/>
                  <a:gd name="T12" fmla="*/ 214 w 266"/>
                  <a:gd name="T13" fmla="*/ 103 h 130"/>
                  <a:gd name="T14" fmla="*/ 205 w 266"/>
                  <a:gd name="T15" fmla="*/ 108 h 130"/>
                  <a:gd name="T16" fmla="*/ 199 w 266"/>
                  <a:gd name="T17" fmla="*/ 110 h 130"/>
                  <a:gd name="T18" fmla="*/ 193 w 266"/>
                  <a:gd name="T19" fmla="*/ 117 h 130"/>
                  <a:gd name="T20" fmla="*/ 170 w 266"/>
                  <a:gd name="T21" fmla="*/ 121 h 130"/>
                  <a:gd name="T22" fmla="*/ 154 w 266"/>
                  <a:gd name="T23" fmla="*/ 117 h 130"/>
                  <a:gd name="T24" fmla="*/ 146 w 266"/>
                  <a:gd name="T25" fmla="*/ 119 h 130"/>
                  <a:gd name="T26" fmla="*/ 138 w 266"/>
                  <a:gd name="T27" fmla="*/ 130 h 130"/>
                  <a:gd name="T28" fmla="*/ 134 w 266"/>
                  <a:gd name="T29" fmla="*/ 128 h 130"/>
                  <a:gd name="T30" fmla="*/ 135 w 266"/>
                  <a:gd name="T31" fmla="*/ 125 h 130"/>
                  <a:gd name="T32" fmla="*/ 138 w 266"/>
                  <a:gd name="T33" fmla="*/ 122 h 130"/>
                  <a:gd name="T34" fmla="*/ 138 w 266"/>
                  <a:gd name="T35" fmla="*/ 118 h 130"/>
                  <a:gd name="T36" fmla="*/ 115 w 266"/>
                  <a:gd name="T37" fmla="*/ 122 h 130"/>
                  <a:gd name="T38" fmla="*/ 105 w 266"/>
                  <a:gd name="T39" fmla="*/ 126 h 130"/>
                  <a:gd name="T40" fmla="*/ 93 w 266"/>
                  <a:gd name="T41" fmla="*/ 125 h 130"/>
                  <a:gd name="T42" fmla="*/ 69 w 266"/>
                  <a:gd name="T43" fmla="*/ 121 h 130"/>
                  <a:gd name="T44" fmla="*/ 64 w 266"/>
                  <a:gd name="T45" fmla="*/ 128 h 130"/>
                  <a:gd name="T46" fmla="*/ 55 w 266"/>
                  <a:gd name="T47" fmla="*/ 130 h 130"/>
                  <a:gd name="T48" fmla="*/ 43 w 266"/>
                  <a:gd name="T49" fmla="*/ 125 h 130"/>
                  <a:gd name="T50" fmla="*/ 28 w 266"/>
                  <a:gd name="T51" fmla="*/ 119 h 130"/>
                  <a:gd name="T52" fmla="*/ 14 w 266"/>
                  <a:gd name="T53" fmla="*/ 106 h 130"/>
                  <a:gd name="T54" fmla="*/ 11 w 266"/>
                  <a:gd name="T55" fmla="*/ 93 h 130"/>
                  <a:gd name="T56" fmla="*/ 0 w 266"/>
                  <a:gd name="T57" fmla="*/ 78 h 130"/>
                  <a:gd name="T58" fmla="*/ 0 w 266"/>
                  <a:gd name="T59" fmla="*/ 63 h 130"/>
                  <a:gd name="T60" fmla="*/ 5 w 266"/>
                  <a:gd name="T61" fmla="*/ 57 h 130"/>
                  <a:gd name="T62" fmla="*/ 16 w 266"/>
                  <a:gd name="T63" fmla="*/ 52 h 130"/>
                  <a:gd name="T64" fmla="*/ 28 w 266"/>
                  <a:gd name="T65" fmla="*/ 53 h 130"/>
                  <a:gd name="T66" fmla="*/ 38 w 266"/>
                  <a:gd name="T67" fmla="*/ 51 h 130"/>
                  <a:gd name="T68" fmla="*/ 50 w 266"/>
                  <a:gd name="T69" fmla="*/ 45 h 130"/>
                  <a:gd name="T70" fmla="*/ 53 w 266"/>
                  <a:gd name="T71" fmla="*/ 45 h 130"/>
                  <a:gd name="T72" fmla="*/ 46 w 266"/>
                  <a:gd name="T73" fmla="*/ 41 h 130"/>
                  <a:gd name="T74" fmla="*/ 49 w 266"/>
                  <a:gd name="T75" fmla="*/ 26 h 130"/>
                  <a:gd name="T76" fmla="*/ 61 w 266"/>
                  <a:gd name="T77" fmla="*/ 19 h 130"/>
                  <a:gd name="T78" fmla="*/ 73 w 266"/>
                  <a:gd name="T79" fmla="*/ 19 h 130"/>
                  <a:gd name="T80" fmla="*/ 88 w 266"/>
                  <a:gd name="T81" fmla="*/ 13 h 130"/>
                  <a:gd name="T82" fmla="*/ 104 w 266"/>
                  <a:gd name="T83" fmla="*/ 2 h 130"/>
                  <a:gd name="T84" fmla="*/ 123 w 266"/>
                  <a:gd name="T85" fmla="*/ 1 h 130"/>
                  <a:gd name="T86" fmla="*/ 137 w 266"/>
                  <a:gd name="T87" fmla="*/ 8 h 130"/>
                  <a:gd name="T88" fmla="*/ 150 w 266"/>
                  <a:gd name="T89" fmla="*/ 18 h 130"/>
                  <a:gd name="T90" fmla="*/ 160 w 266"/>
                  <a:gd name="T91" fmla="*/ 16 h 130"/>
                  <a:gd name="T92" fmla="*/ 171 w 266"/>
                  <a:gd name="T93" fmla="*/ 13 h 130"/>
                  <a:gd name="T94" fmla="*/ 188 w 266"/>
                  <a:gd name="T95" fmla="*/ 18 h 130"/>
                  <a:gd name="T96" fmla="*/ 196 w 266"/>
                  <a:gd name="T97" fmla="*/ 24 h 130"/>
                  <a:gd name="T98" fmla="*/ 214 w 266"/>
                  <a:gd name="T99" fmla="*/ 31 h 130"/>
                  <a:gd name="T100" fmla="*/ 222 w 266"/>
                  <a:gd name="T101" fmla="*/ 34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130">
                    <a:moveTo>
                      <a:pt x="223" y="35"/>
                    </a:moveTo>
                    <a:lnTo>
                      <a:pt x="226" y="37"/>
                    </a:lnTo>
                    <a:lnTo>
                      <a:pt x="229" y="40"/>
                    </a:lnTo>
                    <a:lnTo>
                      <a:pt x="232" y="41"/>
                    </a:lnTo>
                    <a:lnTo>
                      <a:pt x="234" y="42"/>
                    </a:lnTo>
                    <a:lnTo>
                      <a:pt x="237" y="45"/>
                    </a:lnTo>
                    <a:lnTo>
                      <a:pt x="240" y="46"/>
                    </a:lnTo>
                    <a:lnTo>
                      <a:pt x="241" y="46"/>
                    </a:lnTo>
                    <a:lnTo>
                      <a:pt x="243" y="46"/>
                    </a:lnTo>
                    <a:lnTo>
                      <a:pt x="245" y="51"/>
                    </a:lnTo>
                    <a:lnTo>
                      <a:pt x="248" y="55"/>
                    </a:lnTo>
                    <a:lnTo>
                      <a:pt x="252" y="62"/>
                    </a:lnTo>
                    <a:lnTo>
                      <a:pt x="256" y="68"/>
                    </a:lnTo>
                    <a:lnTo>
                      <a:pt x="259" y="75"/>
                    </a:lnTo>
                    <a:lnTo>
                      <a:pt x="262" y="82"/>
                    </a:lnTo>
                    <a:lnTo>
                      <a:pt x="265" y="88"/>
                    </a:lnTo>
                    <a:lnTo>
                      <a:pt x="265" y="92"/>
                    </a:lnTo>
                    <a:lnTo>
                      <a:pt x="266" y="93"/>
                    </a:lnTo>
                    <a:lnTo>
                      <a:pt x="265" y="95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3" y="96"/>
                    </a:lnTo>
                    <a:lnTo>
                      <a:pt x="262" y="96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0"/>
                    </a:lnTo>
                    <a:lnTo>
                      <a:pt x="245" y="95"/>
                    </a:lnTo>
                    <a:lnTo>
                      <a:pt x="243" y="93"/>
                    </a:lnTo>
                    <a:lnTo>
                      <a:pt x="238" y="95"/>
                    </a:lnTo>
                    <a:lnTo>
                      <a:pt x="233" y="96"/>
                    </a:lnTo>
                    <a:lnTo>
                      <a:pt x="227" y="97"/>
                    </a:lnTo>
                    <a:lnTo>
                      <a:pt x="222" y="100"/>
                    </a:lnTo>
                    <a:lnTo>
                      <a:pt x="218" y="101"/>
                    </a:lnTo>
                    <a:lnTo>
                      <a:pt x="215" y="103"/>
                    </a:lnTo>
                    <a:lnTo>
                      <a:pt x="214" y="103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08" y="107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4" y="110"/>
                    </a:lnTo>
                    <a:lnTo>
                      <a:pt x="203" y="110"/>
                    </a:lnTo>
                    <a:lnTo>
                      <a:pt x="203" y="110"/>
                    </a:lnTo>
                    <a:lnTo>
                      <a:pt x="201" y="110"/>
                    </a:lnTo>
                    <a:lnTo>
                      <a:pt x="199" y="110"/>
                    </a:lnTo>
                    <a:lnTo>
                      <a:pt x="197" y="111"/>
                    </a:lnTo>
                    <a:lnTo>
                      <a:pt x="196" y="112"/>
                    </a:lnTo>
                    <a:lnTo>
                      <a:pt x="194" y="114"/>
                    </a:lnTo>
                    <a:lnTo>
                      <a:pt x="193" y="115"/>
                    </a:lnTo>
                    <a:lnTo>
                      <a:pt x="193" y="117"/>
                    </a:lnTo>
                    <a:lnTo>
                      <a:pt x="193" y="117"/>
                    </a:lnTo>
                    <a:lnTo>
                      <a:pt x="188" y="119"/>
                    </a:lnTo>
                    <a:lnTo>
                      <a:pt x="181" y="121"/>
                    </a:lnTo>
                    <a:lnTo>
                      <a:pt x="175" y="121"/>
                    </a:lnTo>
                    <a:lnTo>
                      <a:pt x="170" y="121"/>
                    </a:lnTo>
                    <a:lnTo>
                      <a:pt x="164" y="121"/>
                    </a:lnTo>
                    <a:lnTo>
                      <a:pt x="160" y="119"/>
                    </a:lnTo>
                    <a:lnTo>
                      <a:pt x="157" y="118"/>
                    </a:lnTo>
                    <a:lnTo>
                      <a:pt x="156" y="118"/>
                    </a:lnTo>
                    <a:lnTo>
                      <a:pt x="154" y="117"/>
                    </a:lnTo>
                    <a:lnTo>
                      <a:pt x="152" y="115"/>
                    </a:lnTo>
                    <a:lnTo>
                      <a:pt x="150" y="117"/>
                    </a:lnTo>
                    <a:lnTo>
                      <a:pt x="149" y="117"/>
                    </a:lnTo>
                    <a:lnTo>
                      <a:pt x="148" y="118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6" y="121"/>
                    </a:lnTo>
                    <a:lnTo>
                      <a:pt x="142" y="126"/>
                    </a:lnTo>
                    <a:lnTo>
                      <a:pt x="139" y="129"/>
                    </a:lnTo>
                    <a:lnTo>
                      <a:pt x="138" y="130"/>
                    </a:lnTo>
                    <a:lnTo>
                      <a:pt x="137" y="130"/>
                    </a:lnTo>
                    <a:lnTo>
                      <a:pt x="135" y="130"/>
                    </a:lnTo>
                    <a:lnTo>
                      <a:pt x="134" y="129"/>
                    </a:lnTo>
                    <a:lnTo>
                      <a:pt x="134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6"/>
                    </a:lnTo>
                    <a:lnTo>
                      <a:pt x="134" y="126"/>
                    </a:lnTo>
                    <a:lnTo>
                      <a:pt x="135" y="125"/>
                    </a:lnTo>
                    <a:lnTo>
                      <a:pt x="135" y="125"/>
                    </a:lnTo>
                    <a:lnTo>
                      <a:pt x="135" y="123"/>
                    </a:lnTo>
                    <a:lnTo>
                      <a:pt x="137" y="123"/>
                    </a:lnTo>
                    <a:lnTo>
                      <a:pt x="138" y="123"/>
                    </a:lnTo>
                    <a:lnTo>
                      <a:pt x="138" y="123"/>
                    </a:lnTo>
                    <a:lnTo>
                      <a:pt x="138" y="122"/>
                    </a:lnTo>
                    <a:lnTo>
                      <a:pt x="138" y="122"/>
                    </a:lnTo>
                    <a:lnTo>
                      <a:pt x="138" y="121"/>
                    </a:lnTo>
                    <a:lnTo>
                      <a:pt x="138" y="119"/>
                    </a:lnTo>
                    <a:lnTo>
                      <a:pt x="138" y="118"/>
                    </a:lnTo>
                    <a:lnTo>
                      <a:pt x="138" y="118"/>
                    </a:lnTo>
                    <a:lnTo>
                      <a:pt x="137" y="118"/>
                    </a:lnTo>
                    <a:lnTo>
                      <a:pt x="128" y="121"/>
                    </a:lnTo>
                    <a:lnTo>
                      <a:pt x="121" y="125"/>
                    </a:lnTo>
                    <a:lnTo>
                      <a:pt x="116" y="122"/>
                    </a:lnTo>
                    <a:lnTo>
                      <a:pt x="115" y="122"/>
                    </a:lnTo>
                    <a:lnTo>
                      <a:pt x="115" y="122"/>
                    </a:lnTo>
                    <a:lnTo>
                      <a:pt x="112" y="123"/>
                    </a:lnTo>
                    <a:lnTo>
                      <a:pt x="110" y="125"/>
                    </a:lnTo>
                    <a:lnTo>
                      <a:pt x="108" y="126"/>
                    </a:lnTo>
                    <a:lnTo>
                      <a:pt x="105" y="126"/>
                    </a:lnTo>
                    <a:lnTo>
                      <a:pt x="102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6"/>
                    </a:lnTo>
                    <a:lnTo>
                      <a:pt x="93" y="125"/>
                    </a:lnTo>
                    <a:lnTo>
                      <a:pt x="88" y="123"/>
                    </a:lnTo>
                    <a:lnTo>
                      <a:pt x="84" y="122"/>
                    </a:lnTo>
                    <a:lnTo>
                      <a:pt x="79" y="122"/>
                    </a:lnTo>
                    <a:lnTo>
                      <a:pt x="75" y="121"/>
                    </a:lnTo>
                    <a:lnTo>
                      <a:pt x="69" y="121"/>
                    </a:lnTo>
                    <a:lnTo>
                      <a:pt x="69" y="122"/>
                    </a:lnTo>
                    <a:lnTo>
                      <a:pt x="69" y="122"/>
                    </a:lnTo>
                    <a:lnTo>
                      <a:pt x="68" y="123"/>
                    </a:lnTo>
                    <a:lnTo>
                      <a:pt x="65" y="126"/>
                    </a:lnTo>
                    <a:lnTo>
                      <a:pt x="64" y="128"/>
                    </a:lnTo>
                    <a:lnTo>
                      <a:pt x="61" y="129"/>
                    </a:lnTo>
                    <a:lnTo>
                      <a:pt x="60" y="130"/>
                    </a:lnTo>
                    <a:lnTo>
                      <a:pt x="57" y="130"/>
                    </a:lnTo>
                    <a:lnTo>
                      <a:pt x="57" y="130"/>
                    </a:lnTo>
                    <a:lnTo>
                      <a:pt x="55" y="130"/>
                    </a:lnTo>
                    <a:lnTo>
                      <a:pt x="54" y="129"/>
                    </a:lnTo>
                    <a:lnTo>
                      <a:pt x="51" y="128"/>
                    </a:lnTo>
                    <a:lnTo>
                      <a:pt x="49" y="128"/>
                    </a:lnTo>
                    <a:lnTo>
                      <a:pt x="46" y="126"/>
                    </a:lnTo>
                    <a:lnTo>
                      <a:pt x="43" y="125"/>
                    </a:lnTo>
                    <a:lnTo>
                      <a:pt x="39" y="125"/>
                    </a:lnTo>
                    <a:lnTo>
                      <a:pt x="39" y="125"/>
                    </a:lnTo>
                    <a:lnTo>
                      <a:pt x="36" y="123"/>
                    </a:lnTo>
                    <a:lnTo>
                      <a:pt x="32" y="122"/>
                    </a:lnTo>
                    <a:lnTo>
                      <a:pt x="28" y="119"/>
                    </a:lnTo>
                    <a:lnTo>
                      <a:pt x="24" y="117"/>
                    </a:lnTo>
                    <a:lnTo>
                      <a:pt x="20" y="112"/>
                    </a:lnTo>
                    <a:lnTo>
                      <a:pt x="17" y="110"/>
                    </a:lnTo>
                    <a:lnTo>
                      <a:pt x="14" y="107"/>
                    </a:lnTo>
                    <a:lnTo>
                      <a:pt x="14" y="106"/>
                    </a:lnTo>
                    <a:lnTo>
                      <a:pt x="14" y="104"/>
                    </a:lnTo>
                    <a:lnTo>
                      <a:pt x="14" y="101"/>
                    </a:lnTo>
                    <a:lnTo>
                      <a:pt x="13" y="99"/>
                    </a:lnTo>
                    <a:lnTo>
                      <a:pt x="11" y="96"/>
                    </a:lnTo>
                    <a:lnTo>
                      <a:pt x="11" y="93"/>
                    </a:lnTo>
                    <a:lnTo>
                      <a:pt x="10" y="92"/>
                    </a:lnTo>
                    <a:lnTo>
                      <a:pt x="9" y="90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8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6" y="55"/>
                    </a:lnTo>
                    <a:lnTo>
                      <a:pt x="9" y="53"/>
                    </a:lnTo>
                    <a:lnTo>
                      <a:pt x="11" y="52"/>
                    </a:lnTo>
                    <a:lnTo>
                      <a:pt x="16" y="51"/>
                    </a:lnTo>
                    <a:lnTo>
                      <a:pt x="16" y="52"/>
                    </a:lnTo>
                    <a:lnTo>
                      <a:pt x="17" y="52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5" y="52"/>
                    </a:lnTo>
                    <a:lnTo>
                      <a:pt x="35" y="52"/>
                    </a:lnTo>
                    <a:lnTo>
                      <a:pt x="36" y="52"/>
                    </a:lnTo>
                    <a:lnTo>
                      <a:pt x="38" y="51"/>
                    </a:lnTo>
                    <a:lnTo>
                      <a:pt x="40" y="49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7" y="46"/>
                    </a:lnTo>
                    <a:lnTo>
                      <a:pt x="50" y="45"/>
                    </a:lnTo>
                    <a:lnTo>
                      <a:pt x="60" y="45"/>
                    </a:lnTo>
                    <a:lnTo>
                      <a:pt x="58" y="45"/>
                    </a:lnTo>
                    <a:lnTo>
                      <a:pt x="57" y="45"/>
                    </a:lnTo>
                    <a:lnTo>
                      <a:pt x="55" y="45"/>
                    </a:lnTo>
                    <a:lnTo>
                      <a:pt x="53" y="45"/>
                    </a:lnTo>
                    <a:lnTo>
                      <a:pt x="50" y="44"/>
                    </a:lnTo>
                    <a:lnTo>
                      <a:pt x="47" y="44"/>
                    </a:lnTo>
                    <a:lnTo>
                      <a:pt x="46" y="42"/>
                    </a:lnTo>
                    <a:lnTo>
                      <a:pt x="46" y="41"/>
                    </a:lnTo>
                    <a:lnTo>
                      <a:pt x="46" y="41"/>
                    </a:lnTo>
                    <a:lnTo>
                      <a:pt x="46" y="38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9" y="26"/>
                    </a:lnTo>
                    <a:lnTo>
                      <a:pt x="51" y="22"/>
                    </a:lnTo>
                    <a:lnTo>
                      <a:pt x="57" y="19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1" y="19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9" y="19"/>
                    </a:lnTo>
                    <a:lnTo>
                      <a:pt x="72" y="19"/>
                    </a:lnTo>
                    <a:lnTo>
                      <a:pt x="73" y="19"/>
                    </a:lnTo>
                    <a:lnTo>
                      <a:pt x="73" y="19"/>
                    </a:lnTo>
                    <a:lnTo>
                      <a:pt x="76" y="18"/>
                    </a:lnTo>
                    <a:lnTo>
                      <a:pt x="80" y="16"/>
                    </a:lnTo>
                    <a:lnTo>
                      <a:pt x="84" y="15"/>
                    </a:lnTo>
                    <a:lnTo>
                      <a:pt x="88" y="13"/>
                    </a:lnTo>
                    <a:lnTo>
                      <a:pt x="94" y="11"/>
                    </a:lnTo>
                    <a:lnTo>
                      <a:pt x="98" y="8"/>
                    </a:lnTo>
                    <a:lnTo>
                      <a:pt x="102" y="5"/>
                    </a:lnTo>
                    <a:lnTo>
                      <a:pt x="102" y="4"/>
                    </a:lnTo>
                    <a:lnTo>
                      <a:pt x="104" y="2"/>
                    </a:lnTo>
                    <a:lnTo>
                      <a:pt x="105" y="1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6" y="0"/>
                    </a:lnTo>
                    <a:lnTo>
                      <a:pt x="123" y="1"/>
                    </a:lnTo>
                    <a:lnTo>
                      <a:pt x="132" y="4"/>
                    </a:lnTo>
                    <a:lnTo>
                      <a:pt x="132" y="4"/>
                    </a:lnTo>
                    <a:lnTo>
                      <a:pt x="134" y="5"/>
                    </a:lnTo>
                    <a:lnTo>
                      <a:pt x="135" y="7"/>
                    </a:lnTo>
                    <a:lnTo>
                      <a:pt x="137" y="8"/>
                    </a:lnTo>
                    <a:lnTo>
                      <a:pt x="139" y="11"/>
                    </a:lnTo>
                    <a:lnTo>
                      <a:pt x="142" y="12"/>
                    </a:lnTo>
                    <a:lnTo>
                      <a:pt x="146" y="15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52" y="18"/>
                    </a:lnTo>
                    <a:lnTo>
                      <a:pt x="154" y="16"/>
                    </a:lnTo>
                    <a:lnTo>
                      <a:pt x="156" y="16"/>
                    </a:lnTo>
                    <a:lnTo>
                      <a:pt x="159" y="16"/>
                    </a:lnTo>
                    <a:lnTo>
                      <a:pt x="160" y="16"/>
                    </a:lnTo>
                    <a:lnTo>
                      <a:pt x="163" y="15"/>
                    </a:lnTo>
                    <a:lnTo>
                      <a:pt x="164" y="15"/>
                    </a:lnTo>
                    <a:lnTo>
                      <a:pt x="165" y="13"/>
                    </a:lnTo>
                    <a:lnTo>
                      <a:pt x="167" y="13"/>
                    </a:lnTo>
                    <a:lnTo>
                      <a:pt x="171" y="13"/>
                    </a:lnTo>
                    <a:lnTo>
                      <a:pt x="174" y="13"/>
                    </a:lnTo>
                    <a:lnTo>
                      <a:pt x="178" y="13"/>
                    </a:lnTo>
                    <a:lnTo>
                      <a:pt x="182" y="15"/>
                    </a:lnTo>
                    <a:lnTo>
                      <a:pt x="185" y="15"/>
                    </a:lnTo>
                    <a:lnTo>
                      <a:pt x="188" y="18"/>
                    </a:lnTo>
                    <a:lnTo>
                      <a:pt x="188" y="18"/>
                    </a:lnTo>
                    <a:lnTo>
                      <a:pt x="189" y="19"/>
                    </a:lnTo>
                    <a:lnTo>
                      <a:pt x="190" y="20"/>
                    </a:lnTo>
                    <a:lnTo>
                      <a:pt x="193" y="23"/>
                    </a:lnTo>
                    <a:lnTo>
                      <a:pt x="196" y="24"/>
                    </a:lnTo>
                    <a:lnTo>
                      <a:pt x="200" y="27"/>
                    </a:lnTo>
                    <a:lnTo>
                      <a:pt x="205" y="29"/>
                    </a:lnTo>
                    <a:lnTo>
                      <a:pt x="212" y="31"/>
                    </a:lnTo>
                    <a:lnTo>
                      <a:pt x="212" y="31"/>
                    </a:lnTo>
                    <a:lnTo>
                      <a:pt x="214" y="31"/>
                    </a:lnTo>
                    <a:lnTo>
                      <a:pt x="215" y="31"/>
                    </a:lnTo>
                    <a:lnTo>
                      <a:pt x="216" y="31"/>
                    </a:lnTo>
                    <a:lnTo>
                      <a:pt x="219" y="33"/>
                    </a:lnTo>
                    <a:lnTo>
                      <a:pt x="221" y="33"/>
                    </a:lnTo>
                    <a:lnTo>
                      <a:pt x="222" y="34"/>
                    </a:lnTo>
                    <a:lnTo>
                      <a:pt x="223" y="3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6" name="Freeform 898"/>
              <p:cNvSpPr>
                <a:spLocks/>
              </p:cNvSpPr>
              <p:nvPr/>
            </p:nvSpPr>
            <p:spPr bwMode="auto">
              <a:xfrm>
                <a:off x="3132" y="2215"/>
                <a:ext cx="266" cy="130"/>
              </a:xfrm>
              <a:custGeom>
                <a:avLst/>
                <a:gdLst>
                  <a:gd name="T0" fmla="*/ 232 w 266"/>
                  <a:gd name="T1" fmla="*/ 41 h 130"/>
                  <a:gd name="T2" fmla="*/ 241 w 266"/>
                  <a:gd name="T3" fmla="*/ 46 h 130"/>
                  <a:gd name="T4" fmla="*/ 252 w 266"/>
                  <a:gd name="T5" fmla="*/ 62 h 130"/>
                  <a:gd name="T6" fmla="*/ 265 w 266"/>
                  <a:gd name="T7" fmla="*/ 88 h 130"/>
                  <a:gd name="T8" fmla="*/ 265 w 266"/>
                  <a:gd name="T9" fmla="*/ 96 h 130"/>
                  <a:gd name="T10" fmla="*/ 258 w 266"/>
                  <a:gd name="T11" fmla="*/ 90 h 130"/>
                  <a:gd name="T12" fmla="*/ 233 w 266"/>
                  <a:gd name="T13" fmla="*/ 96 h 130"/>
                  <a:gd name="T14" fmla="*/ 215 w 266"/>
                  <a:gd name="T15" fmla="*/ 103 h 130"/>
                  <a:gd name="T16" fmla="*/ 208 w 266"/>
                  <a:gd name="T17" fmla="*/ 107 h 130"/>
                  <a:gd name="T18" fmla="*/ 203 w 266"/>
                  <a:gd name="T19" fmla="*/ 110 h 130"/>
                  <a:gd name="T20" fmla="*/ 196 w 266"/>
                  <a:gd name="T21" fmla="*/ 112 h 130"/>
                  <a:gd name="T22" fmla="*/ 188 w 266"/>
                  <a:gd name="T23" fmla="*/ 119 h 130"/>
                  <a:gd name="T24" fmla="*/ 164 w 266"/>
                  <a:gd name="T25" fmla="*/ 121 h 130"/>
                  <a:gd name="T26" fmla="*/ 154 w 266"/>
                  <a:gd name="T27" fmla="*/ 117 h 130"/>
                  <a:gd name="T28" fmla="*/ 148 w 266"/>
                  <a:gd name="T29" fmla="*/ 118 h 130"/>
                  <a:gd name="T30" fmla="*/ 139 w 266"/>
                  <a:gd name="T31" fmla="*/ 129 h 130"/>
                  <a:gd name="T32" fmla="*/ 134 w 266"/>
                  <a:gd name="T33" fmla="*/ 129 h 130"/>
                  <a:gd name="T34" fmla="*/ 135 w 266"/>
                  <a:gd name="T35" fmla="*/ 123 h 130"/>
                  <a:gd name="T36" fmla="*/ 138 w 266"/>
                  <a:gd name="T37" fmla="*/ 121 h 130"/>
                  <a:gd name="T38" fmla="*/ 128 w 266"/>
                  <a:gd name="T39" fmla="*/ 121 h 130"/>
                  <a:gd name="T40" fmla="*/ 112 w 266"/>
                  <a:gd name="T41" fmla="*/ 123 h 130"/>
                  <a:gd name="T42" fmla="*/ 102 w 266"/>
                  <a:gd name="T43" fmla="*/ 128 h 130"/>
                  <a:gd name="T44" fmla="*/ 93 w 266"/>
                  <a:gd name="T45" fmla="*/ 125 h 130"/>
                  <a:gd name="T46" fmla="*/ 75 w 266"/>
                  <a:gd name="T47" fmla="*/ 121 h 130"/>
                  <a:gd name="T48" fmla="*/ 65 w 266"/>
                  <a:gd name="T49" fmla="*/ 126 h 130"/>
                  <a:gd name="T50" fmla="*/ 57 w 266"/>
                  <a:gd name="T51" fmla="*/ 130 h 130"/>
                  <a:gd name="T52" fmla="*/ 49 w 266"/>
                  <a:gd name="T53" fmla="*/ 128 h 130"/>
                  <a:gd name="T54" fmla="*/ 36 w 266"/>
                  <a:gd name="T55" fmla="*/ 123 h 130"/>
                  <a:gd name="T56" fmla="*/ 20 w 266"/>
                  <a:gd name="T57" fmla="*/ 112 h 130"/>
                  <a:gd name="T58" fmla="*/ 14 w 266"/>
                  <a:gd name="T59" fmla="*/ 104 h 130"/>
                  <a:gd name="T60" fmla="*/ 11 w 266"/>
                  <a:gd name="T61" fmla="*/ 93 h 130"/>
                  <a:gd name="T62" fmla="*/ 0 w 266"/>
                  <a:gd name="T63" fmla="*/ 81 h 130"/>
                  <a:gd name="T64" fmla="*/ 0 w 266"/>
                  <a:gd name="T65" fmla="*/ 68 h 130"/>
                  <a:gd name="T66" fmla="*/ 2 w 266"/>
                  <a:gd name="T67" fmla="*/ 60 h 130"/>
                  <a:gd name="T68" fmla="*/ 9 w 266"/>
                  <a:gd name="T69" fmla="*/ 53 h 130"/>
                  <a:gd name="T70" fmla="*/ 17 w 266"/>
                  <a:gd name="T71" fmla="*/ 52 h 130"/>
                  <a:gd name="T72" fmla="*/ 28 w 266"/>
                  <a:gd name="T73" fmla="*/ 53 h 130"/>
                  <a:gd name="T74" fmla="*/ 38 w 266"/>
                  <a:gd name="T75" fmla="*/ 51 h 130"/>
                  <a:gd name="T76" fmla="*/ 47 w 266"/>
                  <a:gd name="T77" fmla="*/ 46 h 130"/>
                  <a:gd name="T78" fmla="*/ 57 w 266"/>
                  <a:gd name="T79" fmla="*/ 45 h 130"/>
                  <a:gd name="T80" fmla="*/ 47 w 266"/>
                  <a:gd name="T81" fmla="*/ 44 h 130"/>
                  <a:gd name="T82" fmla="*/ 44 w 266"/>
                  <a:gd name="T83" fmla="*/ 35 h 130"/>
                  <a:gd name="T84" fmla="*/ 51 w 266"/>
                  <a:gd name="T85" fmla="*/ 22 h 130"/>
                  <a:gd name="T86" fmla="*/ 64 w 266"/>
                  <a:gd name="T87" fmla="*/ 19 h 130"/>
                  <a:gd name="T88" fmla="*/ 73 w 266"/>
                  <a:gd name="T89" fmla="*/ 19 h 130"/>
                  <a:gd name="T90" fmla="*/ 88 w 266"/>
                  <a:gd name="T91" fmla="*/ 13 h 130"/>
                  <a:gd name="T92" fmla="*/ 102 w 266"/>
                  <a:gd name="T93" fmla="*/ 4 h 130"/>
                  <a:gd name="T94" fmla="*/ 110 w 266"/>
                  <a:gd name="T95" fmla="*/ 0 h 130"/>
                  <a:gd name="T96" fmla="*/ 134 w 266"/>
                  <a:gd name="T97" fmla="*/ 5 h 130"/>
                  <a:gd name="T98" fmla="*/ 142 w 266"/>
                  <a:gd name="T99" fmla="*/ 12 h 130"/>
                  <a:gd name="T100" fmla="*/ 154 w 266"/>
                  <a:gd name="T101" fmla="*/ 16 h 130"/>
                  <a:gd name="T102" fmla="*/ 163 w 266"/>
                  <a:gd name="T103" fmla="*/ 15 h 130"/>
                  <a:gd name="T104" fmla="*/ 171 w 266"/>
                  <a:gd name="T105" fmla="*/ 13 h 130"/>
                  <a:gd name="T106" fmla="*/ 185 w 266"/>
                  <a:gd name="T107" fmla="*/ 15 h 130"/>
                  <a:gd name="T108" fmla="*/ 193 w 266"/>
                  <a:gd name="T109" fmla="*/ 23 h 130"/>
                  <a:gd name="T110" fmla="*/ 212 w 266"/>
                  <a:gd name="T111" fmla="*/ 31 h 130"/>
                  <a:gd name="T112" fmla="*/ 219 w 266"/>
                  <a:gd name="T113" fmla="*/ 3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6" h="130">
                    <a:moveTo>
                      <a:pt x="223" y="35"/>
                    </a:moveTo>
                    <a:lnTo>
                      <a:pt x="226" y="37"/>
                    </a:lnTo>
                    <a:lnTo>
                      <a:pt x="229" y="40"/>
                    </a:lnTo>
                    <a:lnTo>
                      <a:pt x="232" y="41"/>
                    </a:lnTo>
                    <a:lnTo>
                      <a:pt x="234" y="42"/>
                    </a:lnTo>
                    <a:lnTo>
                      <a:pt x="237" y="45"/>
                    </a:lnTo>
                    <a:lnTo>
                      <a:pt x="240" y="46"/>
                    </a:lnTo>
                    <a:lnTo>
                      <a:pt x="241" y="46"/>
                    </a:lnTo>
                    <a:lnTo>
                      <a:pt x="243" y="46"/>
                    </a:lnTo>
                    <a:lnTo>
                      <a:pt x="245" y="51"/>
                    </a:lnTo>
                    <a:lnTo>
                      <a:pt x="248" y="55"/>
                    </a:lnTo>
                    <a:lnTo>
                      <a:pt x="252" y="62"/>
                    </a:lnTo>
                    <a:lnTo>
                      <a:pt x="256" y="68"/>
                    </a:lnTo>
                    <a:lnTo>
                      <a:pt x="259" y="75"/>
                    </a:lnTo>
                    <a:lnTo>
                      <a:pt x="262" y="82"/>
                    </a:lnTo>
                    <a:lnTo>
                      <a:pt x="265" y="88"/>
                    </a:lnTo>
                    <a:lnTo>
                      <a:pt x="265" y="92"/>
                    </a:lnTo>
                    <a:lnTo>
                      <a:pt x="266" y="93"/>
                    </a:lnTo>
                    <a:lnTo>
                      <a:pt x="265" y="95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0"/>
                    </a:lnTo>
                    <a:lnTo>
                      <a:pt x="245" y="95"/>
                    </a:lnTo>
                    <a:lnTo>
                      <a:pt x="243" y="93"/>
                    </a:lnTo>
                    <a:lnTo>
                      <a:pt x="238" y="95"/>
                    </a:lnTo>
                    <a:lnTo>
                      <a:pt x="233" y="96"/>
                    </a:lnTo>
                    <a:lnTo>
                      <a:pt x="227" y="97"/>
                    </a:lnTo>
                    <a:lnTo>
                      <a:pt x="222" y="100"/>
                    </a:lnTo>
                    <a:lnTo>
                      <a:pt x="218" y="101"/>
                    </a:lnTo>
                    <a:lnTo>
                      <a:pt x="215" y="103"/>
                    </a:lnTo>
                    <a:lnTo>
                      <a:pt x="214" y="103"/>
                    </a:lnTo>
                    <a:lnTo>
                      <a:pt x="212" y="106"/>
                    </a:lnTo>
                    <a:lnTo>
                      <a:pt x="211" y="107"/>
                    </a:lnTo>
                    <a:lnTo>
                      <a:pt x="208" y="107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4" y="110"/>
                    </a:lnTo>
                    <a:lnTo>
                      <a:pt x="203" y="110"/>
                    </a:lnTo>
                    <a:lnTo>
                      <a:pt x="201" y="110"/>
                    </a:lnTo>
                    <a:lnTo>
                      <a:pt x="199" y="110"/>
                    </a:lnTo>
                    <a:lnTo>
                      <a:pt x="197" y="111"/>
                    </a:lnTo>
                    <a:lnTo>
                      <a:pt x="196" y="112"/>
                    </a:lnTo>
                    <a:lnTo>
                      <a:pt x="194" y="114"/>
                    </a:lnTo>
                    <a:lnTo>
                      <a:pt x="193" y="115"/>
                    </a:lnTo>
                    <a:lnTo>
                      <a:pt x="193" y="117"/>
                    </a:lnTo>
                    <a:lnTo>
                      <a:pt x="188" y="119"/>
                    </a:lnTo>
                    <a:lnTo>
                      <a:pt x="181" y="121"/>
                    </a:lnTo>
                    <a:lnTo>
                      <a:pt x="175" y="121"/>
                    </a:lnTo>
                    <a:lnTo>
                      <a:pt x="170" y="121"/>
                    </a:lnTo>
                    <a:lnTo>
                      <a:pt x="164" y="121"/>
                    </a:lnTo>
                    <a:lnTo>
                      <a:pt x="160" y="119"/>
                    </a:lnTo>
                    <a:lnTo>
                      <a:pt x="157" y="118"/>
                    </a:lnTo>
                    <a:lnTo>
                      <a:pt x="156" y="118"/>
                    </a:lnTo>
                    <a:lnTo>
                      <a:pt x="154" y="117"/>
                    </a:lnTo>
                    <a:lnTo>
                      <a:pt x="152" y="115"/>
                    </a:lnTo>
                    <a:lnTo>
                      <a:pt x="150" y="117"/>
                    </a:lnTo>
                    <a:lnTo>
                      <a:pt x="149" y="117"/>
                    </a:lnTo>
                    <a:lnTo>
                      <a:pt x="148" y="118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2" y="126"/>
                    </a:lnTo>
                    <a:lnTo>
                      <a:pt x="139" y="129"/>
                    </a:lnTo>
                    <a:lnTo>
                      <a:pt x="138" y="130"/>
                    </a:lnTo>
                    <a:lnTo>
                      <a:pt x="137" y="130"/>
                    </a:lnTo>
                    <a:lnTo>
                      <a:pt x="135" y="130"/>
                    </a:lnTo>
                    <a:lnTo>
                      <a:pt x="134" y="129"/>
                    </a:lnTo>
                    <a:lnTo>
                      <a:pt x="134" y="128"/>
                    </a:lnTo>
                    <a:lnTo>
                      <a:pt x="134" y="126"/>
                    </a:lnTo>
                    <a:lnTo>
                      <a:pt x="135" y="125"/>
                    </a:lnTo>
                    <a:lnTo>
                      <a:pt x="135" y="123"/>
                    </a:lnTo>
                    <a:lnTo>
                      <a:pt x="137" y="123"/>
                    </a:lnTo>
                    <a:lnTo>
                      <a:pt x="138" y="123"/>
                    </a:lnTo>
                    <a:lnTo>
                      <a:pt x="138" y="122"/>
                    </a:lnTo>
                    <a:lnTo>
                      <a:pt x="138" y="121"/>
                    </a:lnTo>
                    <a:lnTo>
                      <a:pt x="138" y="119"/>
                    </a:lnTo>
                    <a:lnTo>
                      <a:pt x="138" y="118"/>
                    </a:lnTo>
                    <a:lnTo>
                      <a:pt x="137" y="118"/>
                    </a:lnTo>
                    <a:lnTo>
                      <a:pt x="128" y="121"/>
                    </a:lnTo>
                    <a:lnTo>
                      <a:pt x="121" y="125"/>
                    </a:lnTo>
                    <a:lnTo>
                      <a:pt x="116" y="122"/>
                    </a:lnTo>
                    <a:lnTo>
                      <a:pt x="115" y="122"/>
                    </a:lnTo>
                    <a:lnTo>
                      <a:pt x="112" y="123"/>
                    </a:lnTo>
                    <a:lnTo>
                      <a:pt x="110" y="125"/>
                    </a:lnTo>
                    <a:lnTo>
                      <a:pt x="108" y="126"/>
                    </a:lnTo>
                    <a:lnTo>
                      <a:pt x="105" y="126"/>
                    </a:lnTo>
                    <a:lnTo>
                      <a:pt x="102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6"/>
                    </a:lnTo>
                    <a:lnTo>
                      <a:pt x="93" y="125"/>
                    </a:lnTo>
                    <a:lnTo>
                      <a:pt x="88" y="123"/>
                    </a:lnTo>
                    <a:lnTo>
                      <a:pt x="84" y="122"/>
                    </a:lnTo>
                    <a:lnTo>
                      <a:pt x="79" y="122"/>
                    </a:lnTo>
                    <a:lnTo>
                      <a:pt x="75" y="121"/>
                    </a:lnTo>
                    <a:lnTo>
                      <a:pt x="69" y="121"/>
                    </a:lnTo>
                    <a:lnTo>
                      <a:pt x="69" y="122"/>
                    </a:lnTo>
                    <a:lnTo>
                      <a:pt x="68" y="123"/>
                    </a:lnTo>
                    <a:lnTo>
                      <a:pt x="65" y="126"/>
                    </a:lnTo>
                    <a:lnTo>
                      <a:pt x="64" y="128"/>
                    </a:lnTo>
                    <a:lnTo>
                      <a:pt x="61" y="129"/>
                    </a:lnTo>
                    <a:lnTo>
                      <a:pt x="60" y="130"/>
                    </a:lnTo>
                    <a:lnTo>
                      <a:pt x="57" y="130"/>
                    </a:lnTo>
                    <a:lnTo>
                      <a:pt x="55" y="130"/>
                    </a:lnTo>
                    <a:lnTo>
                      <a:pt x="54" y="129"/>
                    </a:lnTo>
                    <a:lnTo>
                      <a:pt x="51" y="128"/>
                    </a:lnTo>
                    <a:lnTo>
                      <a:pt x="49" y="128"/>
                    </a:lnTo>
                    <a:lnTo>
                      <a:pt x="46" y="126"/>
                    </a:lnTo>
                    <a:lnTo>
                      <a:pt x="43" y="125"/>
                    </a:lnTo>
                    <a:lnTo>
                      <a:pt x="39" y="125"/>
                    </a:lnTo>
                    <a:lnTo>
                      <a:pt x="36" y="123"/>
                    </a:lnTo>
                    <a:lnTo>
                      <a:pt x="32" y="122"/>
                    </a:lnTo>
                    <a:lnTo>
                      <a:pt x="28" y="119"/>
                    </a:lnTo>
                    <a:lnTo>
                      <a:pt x="24" y="117"/>
                    </a:lnTo>
                    <a:lnTo>
                      <a:pt x="20" y="112"/>
                    </a:lnTo>
                    <a:lnTo>
                      <a:pt x="17" y="110"/>
                    </a:lnTo>
                    <a:lnTo>
                      <a:pt x="14" y="107"/>
                    </a:lnTo>
                    <a:lnTo>
                      <a:pt x="14" y="106"/>
                    </a:lnTo>
                    <a:lnTo>
                      <a:pt x="14" y="104"/>
                    </a:lnTo>
                    <a:lnTo>
                      <a:pt x="14" y="101"/>
                    </a:lnTo>
                    <a:lnTo>
                      <a:pt x="13" y="99"/>
                    </a:lnTo>
                    <a:lnTo>
                      <a:pt x="11" y="96"/>
                    </a:lnTo>
                    <a:lnTo>
                      <a:pt x="11" y="93"/>
                    </a:lnTo>
                    <a:lnTo>
                      <a:pt x="10" y="92"/>
                    </a:lnTo>
                    <a:lnTo>
                      <a:pt x="9" y="90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8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3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3" y="59"/>
                    </a:lnTo>
                    <a:lnTo>
                      <a:pt x="5" y="57"/>
                    </a:lnTo>
                    <a:lnTo>
                      <a:pt x="6" y="55"/>
                    </a:lnTo>
                    <a:lnTo>
                      <a:pt x="9" y="53"/>
                    </a:lnTo>
                    <a:lnTo>
                      <a:pt x="11" y="52"/>
                    </a:lnTo>
                    <a:lnTo>
                      <a:pt x="16" y="51"/>
                    </a:lnTo>
                    <a:lnTo>
                      <a:pt x="16" y="52"/>
                    </a:lnTo>
                    <a:lnTo>
                      <a:pt x="17" y="52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5" y="53"/>
                    </a:lnTo>
                    <a:lnTo>
                      <a:pt x="28" y="53"/>
                    </a:lnTo>
                    <a:lnTo>
                      <a:pt x="31" y="53"/>
                    </a:lnTo>
                    <a:lnTo>
                      <a:pt x="35" y="52"/>
                    </a:lnTo>
                    <a:lnTo>
                      <a:pt x="36" y="52"/>
                    </a:lnTo>
                    <a:lnTo>
                      <a:pt x="38" y="51"/>
                    </a:lnTo>
                    <a:lnTo>
                      <a:pt x="40" y="49"/>
                    </a:lnTo>
                    <a:lnTo>
                      <a:pt x="42" y="48"/>
                    </a:lnTo>
                    <a:lnTo>
                      <a:pt x="44" y="46"/>
                    </a:lnTo>
                    <a:lnTo>
                      <a:pt x="47" y="46"/>
                    </a:lnTo>
                    <a:lnTo>
                      <a:pt x="50" y="45"/>
                    </a:lnTo>
                    <a:lnTo>
                      <a:pt x="60" y="45"/>
                    </a:lnTo>
                    <a:lnTo>
                      <a:pt x="58" y="45"/>
                    </a:lnTo>
                    <a:lnTo>
                      <a:pt x="57" y="45"/>
                    </a:lnTo>
                    <a:lnTo>
                      <a:pt x="55" y="45"/>
                    </a:lnTo>
                    <a:lnTo>
                      <a:pt x="53" y="45"/>
                    </a:lnTo>
                    <a:lnTo>
                      <a:pt x="50" y="44"/>
                    </a:lnTo>
                    <a:lnTo>
                      <a:pt x="47" y="44"/>
                    </a:lnTo>
                    <a:lnTo>
                      <a:pt x="46" y="42"/>
                    </a:lnTo>
                    <a:lnTo>
                      <a:pt x="46" y="41"/>
                    </a:lnTo>
                    <a:lnTo>
                      <a:pt x="46" y="38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46" y="29"/>
                    </a:lnTo>
                    <a:lnTo>
                      <a:pt x="49" y="26"/>
                    </a:lnTo>
                    <a:lnTo>
                      <a:pt x="51" y="22"/>
                    </a:lnTo>
                    <a:lnTo>
                      <a:pt x="57" y="19"/>
                    </a:lnTo>
                    <a:lnTo>
                      <a:pt x="58" y="19"/>
                    </a:lnTo>
                    <a:lnTo>
                      <a:pt x="61" y="19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9" y="19"/>
                    </a:lnTo>
                    <a:lnTo>
                      <a:pt x="72" y="19"/>
                    </a:lnTo>
                    <a:lnTo>
                      <a:pt x="73" y="19"/>
                    </a:lnTo>
                    <a:lnTo>
                      <a:pt x="76" y="18"/>
                    </a:lnTo>
                    <a:lnTo>
                      <a:pt x="80" y="16"/>
                    </a:lnTo>
                    <a:lnTo>
                      <a:pt x="84" y="15"/>
                    </a:lnTo>
                    <a:lnTo>
                      <a:pt x="88" y="13"/>
                    </a:lnTo>
                    <a:lnTo>
                      <a:pt x="94" y="11"/>
                    </a:lnTo>
                    <a:lnTo>
                      <a:pt x="98" y="8"/>
                    </a:lnTo>
                    <a:lnTo>
                      <a:pt x="102" y="5"/>
                    </a:lnTo>
                    <a:lnTo>
                      <a:pt x="102" y="4"/>
                    </a:lnTo>
                    <a:lnTo>
                      <a:pt x="104" y="2"/>
                    </a:lnTo>
                    <a:lnTo>
                      <a:pt x="105" y="1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6" y="0"/>
                    </a:lnTo>
                    <a:lnTo>
                      <a:pt x="123" y="1"/>
                    </a:lnTo>
                    <a:lnTo>
                      <a:pt x="132" y="4"/>
                    </a:lnTo>
                    <a:lnTo>
                      <a:pt x="134" y="5"/>
                    </a:lnTo>
                    <a:lnTo>
                      <a:pt x="135" y="7"/>
                    </a:lnTo>
                    <a:lnTo>
                      <a:pt x="137" y="8"/>
                    </a:lnTo>
                    <a:lnTo>
                      <a:pt x="139" y="11"/>
                    </a:lnTo>
                    <a:lnTo>
                      <a:pt x="142" y="12"/>
                    </a:lnTo>
                    <a:lnTo>
                      <a:pt x="146" y="15"/>
                    </a:lnTo>
                    <a:lnTo>
                      <a:pt x="150" y="18"/>
                    </a:lnTo>
                    <a:lnTo>
                      <a:pt x="152" y="18"/>
                    </a:lnTo>
                    <a:lnTo>
                      <a:pt x="154" y="16"/>
                    </a:lnTo>
                    <a:lnTo>
                      <a:pt x="156" y="16"/>
                    </a:lnTo>
                    <a:lnTo>
                      <a:pt x="159" y="16"/>
                    </a:lnTo>
                    <a:lnTo>
                      <a:pt x="160" y="16"/>
                    </a:lnTo>
                    <a:lnTo>
                      <a:pt x="163" y="15"/>
                    </a:lnTo>
                    <a:lnTo>
                      <a:pt x="164" y="15"/>
                    </a:lnTo>
                    <a:lnTo>
                      <a:pt x="165" y="13"/>
                    </a:lnTo>
                    <a:lnTo>
                      <a:pt x="167" y="13"/>
                    </a:lnTo>
                    <a:lnTo>
                      <a:pt x="171" y="13"/>
                    </a:lnTo>
                    <a:lnTo>
                      <a:pt x="174" y="13"/>
                    </a:lnTo>
                    <a:lnTo>
                      <a:pt x="178" y="13"/>
                    </a:lnTo>
                    <a:lnTo>
                      <a:pt x="182" y="15"/>
                    </a:lnTo>
                    <a:lnTo>
                      <a:pt x="185" y="15"/>
                    </a:lnTo>
                    <a:lnTo>
                      <a:pt x="188" y="18"/>
                    </a:lnTo>
                    <a:lnTo>
                      <a:pt x="189" y="19"/>
                    </a:lnTo>
                    <a:lnTo>
                      <a:pt x="190" y="20"/>
                    </a:lnTo>
                    <a:lnTo>
                      <a:pt x="193" y="23"/>
                    </a:lnTo>
                    <a:lnTo>
                      <a:pt x="196" y="24"/>
                    </a:lnTo>
                    <a:lnTo>
                      <a:pt x="200" y="27"/>
                    </a:lnTo>
                    <a:lnTo>
                      <a:pt x="205" y="29"/>
                    </a:lnTo>
                    <a:lnTo>
                      <a:pt x="212" y="31"/>
                    </a:lnTo>
                    <a:lnTo>
                      <a:pt x="214" y="31"/>
                    </a:lnTo>
                    <a:lnTo>
                      <a:pt x="215" y="31"/>
                    </a:lnTo>
                    <a:lnTo>
                      <a:pt x="216" y="31"/>
                    </a:lnTo>
                    <a:lnTo>
                      <a:pt x="219" y="33"/>
                    </a:lnTo>
                    <a:lnTo>
                      <a:pt x="221" y="33"/>
                    </a:lnTo>
                    <a:lnTo>
                      <a:pt x="222" y="34"/>
                    </a:lnTo>
                    <a:lnTo>
                      <a:pt x="223" y="3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7" name="Freeform 899"/>
              <p:cNvSpPr>
                <a:spLocks/>
              </p:cNvSpPr>
              <p:nvPr/>
            </p:nvSpPr>
            <p:spPr bwMode="auto">
              <a:xfrm>
                <a:off x="3046" y="2130"/>
                <a:ext cx="129" cy="107"/>
              </a:xfrm>
              <a:custGeom>
                <a:avLst/>
                <a:gdLst>
                  <a:gd name="T0" fmla="*/ 33 w 129"/>
                  <a:gd name="T1" fmla="*/ 90 h 107"/>
                  <a:gd name="T2" fmla="*/ 36 w 129"/>
                  <a:gd name="T3" fmla="*/ 72 h 107"/>
                  <a:gd name="T4" fmla="*/ 36 w 129"/>
                  <a:gd name="T5" fmla="*/ 71 h 107"/>
                  <a:gd name="T6" fmla="*/ 38 w 129"/>
                  <a:gd name="T7" fmla="*/ 68 h 107"/>
                  <a:gd name="T8" fmla="*/ 38 w 129"/>
                  <a:gd name="T9" fmla="*/ 65 h 107"/>
                  <a:gd name="T10" fmla="*/ 36 w 129"/>
                  <a:gd name="T11" fmla="*/ 60 h 107"/>
                  <a:gd name="T12" fmla="*/ 33 w 129"/>
                  <a:gd name="T13" fmla="*/ 59 h 107"/>
                  <a:gd name="T14" fmla="*/ 30 w 129"/>
                  <a:gd name="T15" fmla="*/ 53 h 107"/>
                  <a:gd name="T16" fmla="*/ 26 w 129"/>
                  <a:gd name="T17" fmla="*/ 46 h 107"/>
                  <a:gd name="T18" fmla="*/ 26 w 129"/>
                  <a:gd name="T19" fmla="*/ 38 h 107"/>
                  <a:gd name="T20" fmla="*/ 22 w 129"/>
                  <a:gd name="T21" fmla="*/ 24 h 107"/>
                  <a:gd name="T22" fmla="*/ 4 w 129"/>
                  <a:gd name="T23" fmla="*/ 16 h 107"/>
                  <a:gd name="T24" fmla="*/ 4 w 129"/>
                  <a:gd name="T25" fmla="*/ 15 h 107"/>
                  <a:gd name="T26" fmla="*/ 5 w 129"/>
                  <a:gd name="T27" fmla="*/ 9 h 107"/>
                  <a:gd name="T28" fmla="*/ 4 w 129"/>
                  <a:gd name="T29" fmla="*/ 4 h 107"/>
                  <a:gd name="T30" fmla="*/ 0 w 129"/>
                  <a:gd name="T31" fmla="*/ 0 h 107"/>
                  <a:gd name="T32" fmla="*/ 0 w 129"/>
                  <a:gd name="T33" fmla="*/ 0 h 107"/>
                  <a:gd name="T34" fmla="*/ 1 w 129"/>
                  <a:gd name="T35" fmla="*/ 1 h 107"/>
                  <a:gd name="T36" fmla="*/ 5 w 129"/>
                  <a:gd name="T37" fmla="*/ 1 h 107"/>
                  <a:gd name="T38" fmla="*/ 12 w 129"/>
                  <a:gd name="T39" fmla="*/ 1 h 107"/>
                  <a:gd name="T40" fmla="*/ 20 w 129"/>
                  <a:gd name="T41" fmla="*/ 5 h 107"/>
                  <a:gd name="T42" fmla="*/ 26 w 129"/>
                  <a:gd name="T43" fmla="*/ 11 h 107"/>
                  <a:gd name="T44" fmla="*/ 34 w 129"/>
                  <a:gd name="T45" fmla="*/ 17 h 107"/>
                  <a:gd name="T46" fmla="*/ 47 w 129"/>
                  <a:gd name="T47" fmla="*/ 23 h 107"/>
                  <a:gd name="T48" fmla="*/ 53 w 129"/>
                  <a:gd name="T49" fmla="*/ 23 h 107"/>
                  <a:gd name="T50" fmla="*/ 63 w 129"/>
                  <a:gd name="T51" fmla="*/ 19 h 107"/>
                  <a:gd name="T52" fmla="*/ 75 w 129"/>
                  <a:gd name="T53" fmla="*/ 15 h 107"/>
                  <a:gd name="T54" fmla="*/ 92 w 129"/>
                  <a:gd name="T55" fmla="*/ 17 h 107"/>
                  <a:gd name="T56" fmla="*/ 117 w 129"/>
                  <a:gd name="T57" fmla="*/ 28 h 107"/>
                  <a:gd name="T58" fmla="*/ 119 w 129"/>
                  <a:gd name="T59" fmla="*/ 28 h 107"/>
                  <a:gd name="T60" fmla="*/ 125 w 129"/>
                  <a:gd name="T61" fmla="*/ 31 h 107"/>
                  <a:gd name="T62" fmla="*/ 129 w 129"/>
                  <a:gd name="T63" fmla="*/ 35 h 107"/>
                  <a:gd name="T64" fmla="*/ 129 w 129"/>
                  <a:gd name="T65" fmla="*/ 39 h 107"/>
                  <a:gd name="T66" fmla="*/ 129 w 129"/>
                  <a:gd name="T67" fmla="*/ 41 h 107"/>
                  <a:gd name="T68" fmla="*/ 128 w 129"/>
                  <a:gd name="T69" fmla="*/ 45 h 107"/>
                  <a:gd name="T70" fmla="*/ 128 w 129"/>
                  <a:gd name="T71" fmla="*/ 49 h 107"/>
                  <a:gd name="T72" fmla="*/ 125 w 129"/>
                  <a:gd name="T73" fmla="*/ 56 h 107"/>
                  <a:gd name="T74" fmla="*/ 125 w 129"/>
                  <a:gd name="T75" fmla="*/ 57 h 107"/>
                  <a:gd name="T76" fmla="*/ 124 w 129"/>
                  <a:gd name="T77" fmla="*/ 61 h 107"/>
                  <a:gd name="T78" fmla="*/ 121 w 129"/>
                  <a:gd name="T79" fmla="*/ 64 h 107"/>
                  <a:gd name="T80" fmla="*/ 118 w 129"/>
                  <a:gd name="T81" fmla="*/ 67 h 107"/>
                  <a:gd name="T82" fmla="*/ 117 w 129"/>
                  <a:gd name="T83" fmla="*/ 68 h 107"/>
                  <a:gd name="T84" fmla="*/ 114 w 129"/>
                  <a:gd name="T85" fmla="*/ 72 h 107"/>
                  <a:gd name="T86" fmla="*/ 113 w 129"/>
                  <a:gd name="T87" fmla="*/ 76 h 107"/>
                  <a:gd name="T88" fmla="*/ 113 w 129"/>
                  <a:gd name="T89" fmla="*/ 83 h 107"/>
                  <a:gd name="T90" fmla="*/ 110 w 129"/>
                  <a:gd name="T91" fmla="*/ 82 h 107"/>
                  <a:gd name="T92" fmla="*/ 102 w 129"/>
                  <a:gd name="T93" fmla="*/ 85 h 107"/>
                  <a:gd name="T94" fmla="*/ 92 w 129"/>
                  <a:gd name="T95" fmla="*/ 90 h 107"/>
                  <a:gd name="T96" fmla="*/ 86 w 129"/>
                  <a:gd name="T97" fmla="*/ 107 h 107"/>
                  <a:gd name="T98" fmla="*/ 82 w 129"/>
                  <a:gd name="T99" fmla="*/ 107 h 107"/>
                  <a:gd name="T100" fmla="*/ 77 w 129"/>
                  <a:gd name="T101" fmla="*/ 107 h 107"/>
                  <a:gd name="T102" fmla="*/ 70 w 129"/>
                  <a:gd name="T103" fmla="*/ 107 h 107"/>
                  <a:gd name="T104" fmla="*/ 66 w 129"/>
                  <a:gd name="T105" fmla="*/ 107 h 107"/>
                  <a:gd name="T106" fmla="*/ 41 w 129"/>
                  <a:gd name="T10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9" h="107">
                    <a:moveTo>
                      <a:pt x="41" y="107"/>
                    </a:moveTo>
                    <a:lnTo>
                      <a:pt x="33" y="90"/>
                    </a:lnTo>
                    <a:lnTo>
                      <a:pt x="29" y="79"/>
                    </a:lnTo>
                    <a:lnTo>
                      <a:pt x="36" y="72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7" y="70"/>
                    </a:lnTo>
                    <a:lnTo>
                      <a:pt x="38" y="68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7" y="63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3" y="59"/>
                    </a:lnTo>
                    <a:lnTo>
                      <a:pt x="31" y="56"/>
                    </a:lnTo>
                    <a:lnTo>
                      <a:pt x="30" y="53"/>
                    </a:lnTo>
                    <a:lnTo>
                      <a:pt x="27" y="50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0" y="30"/>
                    </a:lnTo>
                    <a:lnTo>
                      <a:pt x="22" y="24"/>
                    </a:lnTo>
                    <a:lnTo>
                      <a:pt x="15" y="27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3" y="8"/>
                    </a:lnTo>
                    <a:lnTo>
                      <a:pt x="26" y="11"/>
                    </a:lnTo>
                    <a:lnTo>
                      <a:pt x="30" y="15"/>
                    </a:lnTo>
                    <a:lnTo>
                      <a:pt x="34" y="17"/>
                    </a:lnTo>
                    <a:lnTo>
                      <a:pt x="40" y="20"/>
                    </a:lnTo>
                    <a:lnTo>
                      <a:pt x="47" y="23"/>
                    </a:lnTo>
                    <a:lnTo>
                      <a:pt x="53" y="23"/>
                    </a:lnTo>
                    <a:lnTo>
                      <a:pt x="53" y="23"/>
                    </a:lnTo>
                    <a:lnTo>
                      <a:pt x="58" y="20"/>
                    </a:lnTo>
                    <a:lnTo>
                      <a:pt x="63" y="19"/>
                    </a:lnTo>
                    <a:lnTo>
                      <a:pt x="69" y="16"/>
                    </a:lnTo>
                    <a:lnTo>
                      <a:pt x="75" y="15"/>
                    </a:lnTo>
                    <a:lnTo>
                      <a:pt x="84" y="15"/>
                    </a:lnTo>
                    <a:lnTo>
                      <a:pt x="92" y="17"/>
                    </a:lnTo>
                    <a:lnTo>
                      <a:pt x="100" y="22"/>
                    </a:lnTo>
                    <a:lnTo>
                      <a:pt x="117" y="28"/>
                    </a:lnTo>
                    <a:lnTo>
                      <a:pt x="118" y="28"/>
                    </a:lnTo>
                    <a:lnTo>
                      <a:pt x="119" y="28"/>
                    </a:lnTo>
                    <a:lnTo>
                      <a:pt x="122" y="30"/>
                    </a:lnTo>
                    <a:lnTo>
                      <a:pt x="125" y="31"/>
                    </a:lnTo>
                    <a:lnTo>
                      <a:pt x="126" y="34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29" y="41"/>
                    </a:lnTo>
                    <a:lnTo>
                      <a:pt x="129" y="42"/>
                    </a:lnTo>
                    <a:lnTo>
                      <a:pt x="128" y="45"/>
                    </a:lnTo>
                    <a:lnTo>
                      <a:pt x="128" y="46"/>
                    </a:lnTo>
                    <a:lnTo>
                      <a:pt x="128" y="49"/>
                    </a:lnTo>
                    <a:lnTo>
                      <a:pt x="126" y="53"/>
                    </a:lnTo>
                    <a:lnTo>
                      <a:pt x="125" y="56"/>
                    </a:lnTo>
                    <a:lnTo>
                      <a:pt x="125" y="56"/>
                    </a:lnTo>
                    <a:lnTo>
                      <a:pt x="125" y="57"/>
                    </a:lnTo>
                    <a:lnTo>
                      <a:pt x="124" y="59"/>
                    </a:lnTo>
                    <a:lnTo>
                      <a:pt x="124" y="61"/>
                    </a:lnTo>
                    <a:lnTo>
                      <a:pt x="122" y="63"/>
                    </a:lnTo>
                    <a:lnTo>
                      <a:pt x="121" y="64"/>
                    </a:lnTo>
                    <a:lnTo>
                      <a:pt x="119" y="65"/>
                    </a:lnTo>
                    <a:lnTo>
                      <a:pt x="118" y="67"/>
                    </a:lnTo>
                    <a:lnTo>
                      <a:pt x="118" y="67"/>
                    </a:lnTo>
                    <a:lnTo>
                      <a:pt x="117" y="68"/>
                    </a:lnTo>
                    <a:lnTo>
                      <a:pt x="115" y="70"/>
                    </a:lnTo>
                    <a:lnTo>
                      <a:pt x="114" y="72"/>
                    </a:lnTo>
                    <a:lnTo>
                      <a:pt x="113" y="75"/>
                    </a:lnTo>
                    <a:lnTo>
                      <a:pt x="113" y="76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3" y="83"/>
                    </a:lnTo>
                    <a:lnTo>
                      <a:pt x="110" y="82"/>
                    </a:lnTo>
                    <a:lnTo>
                      <a:pt x="106" y="83"/>
                    </a:lnTo>
                    <a:lnTo>
                      <a:pt x="102" y="85"/>
                    </a:lnTo>
                    <a:lnTo>
                      <a:pt x="97" y="86"/>
                    </a:lnTo>
                    <a:lnTo>
                      <a:pt x="92" y="90"/>
                    </a:lnTo>
                    <a:lnTo>
                      <a:pt x="89" y="97"/>
                    </a:lnTo>
                    <a:lnTo>
                      <a:pt x="86" y="107"/>
                    </a:lnTo>
                    <a:lnTo>
                      <a:pt x="85" y="107"/>
                    </a:lnTo>
                    <a:lnTo>
                      <a:pt x="82" y="107"/>
                    </a:lnTo>
                    <a:lnTo>
                      <a:pt x="80" y="107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0" y="107"/>
                    </a:lnTo>
                    <a:lnTo>
                      <a:pt x="67" y="107"/>
                    </a:lnTo>
                    <a:lnTo>
                      <a:pt x="66" y="107"/>
                    </a:lnTo>
                    <a:lnTo>
                      <a:pt x="64" y="103"/>
                    </a:lnTo>
                    <a:lnTo>
                      <a:pt x="41" y="10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8" name="Freeform 900"/>
              <p:cNvSpPr>
                <a:spLocks/>
              </p:cNvSpPr>
              <p:nvPr/>
            </p:nvSpPr>
            <p:spPr bwMode="auto">
              <a:xfrm>
                <a:off x="3046" y="2130"/>
                <a:ext cx="129" cy="107"/>
              </a:xfrm>
              <a:custGeom>
                <a:avLst/>
                <a:gdLst>
                  <a:gd name="T0" fmla="*/ 33 w 129"/>
                  <a:gd name="T1" fmla="*/ 90 h 107"/>
                  <a:gd name="T2" fmla="*/ 36 w 129"/>
                  <a:gd name="T3" fmla="*/ 72 h 107"/>
                  <a:gd name="T4" fmla="*/ 37 w 129"/>
                  <a:gd name="T5" fmla="*/ 70 h 107"/>
                  <a:gd name="T6" fmla="*/ 38 w 129"/>
                  <a:gd name="T7" fmla="*/ 67 h 107"/>
                  <a:gd name="T8" fmla="*/ 37 w 129"/>
                  <a:gd name="T9" fmla="*/ 63 h 107"/>
                  <a:gd name="T10" fmla="*/ 34 w 129"/>
                  <a:gd name="T11" fmla="*/ 60 h 107"/>
                  <a:gd name="T12" fmla="*/ 31 w 129"/>
                  <a:gd name="T13" fmla="*/ 56 h 107"/>
                  <a:gd name="T14" fmla="*/ 27 w 129"/>
                  <a:gd name="T15" fmla="*/ 50 h 107"/>
                  <a:gd name="T16" fmla="*/ 26 w 129"/>
                  <a:gd name="T17" fmla="*/ 42 h 107"/>
                  <a:gd name="T18" fmla="*/ 20 w 129"/>
                  <a:gd name="T19" fmla="*/ 30 h 107"/>
                  <a:gd name="T20" fmla="*/ 15 w 129"/>
                  <a:gd name="T21" fmla="*/ 27 h 107"/>
                  <a:gd name="T22" fmla="*/ 4 w 129"/>
                  <a:gd name="T23" fmla="*/ 15 h 107"/>
                  <a:gd name="T24" fmla="*/ 5 w 129"/>
                  <a:gd name="T25" fmla="*/ 9 h 107"/>
                  <a:gd name="T26" fmla="*/ 4 w 129"/>
                  <a:gd name="T27" fmla="*/ 4 h 107"/>
                  <a:gd name="T28" fmla="*/ 0 w 129"/>
                  <a:gd name="T29" fmla="*/ 0 h 107"/>
                  <a:gd name="T30" fmla="*/ 1 w 129"/>
                  <a:gd name="T31" fmla="*/ 1 h 107"/>
                  <a:gd name="T32" fmla="*/ 5 w 129"/>
                  <a:gd name="T33" fmla="*/ 1 h 107"/>
                  <a:gd name="T34" fmla="*/ 12 w 129"/>
                  <a:gd name="T35" fmla="*/ 1 h 107"/>
                  <a:gd name="T36" fmla="*/ 20 w 129"/>
                  <a:gd name="T37" fmla="*/ 5 h 107"/>
                  <a:gd name="T38" fmla="*/ 26 w 129"/>
                  <a:gd name="T39" fmla="*/ 11 h 107"/>
                  <a:gd name="T40" fmla="*/ 34 w 129"/>
                  <a:gd name="T41" fmla="*/ 17 h 107"/>
                  <a:gd name="T42" fmla="*/ 47 w 129"/>
                  <a:gd name="T43" fmla="*/ 23 h 107"/>
                  <a:gd name="T44" fmla="*/ 58 w 129"/>
                  <a:gd name="T45" fmla="*/ 20 h 107"/>
                  <a:gd name="T46" fmla="*/ 69 w 129"/>
                  <a:gd name="T47" fmla="*/ 16 h 107"/>
                  <a:gd name="T48" fmla="*/ 84 w 129"/>
                  <a:gd name="T49" fmla="*/ 15 h 107"/>
                  <a:gd name="T50" fmla="*/ 100 w 129"/>
                  <a:gd name="T51" fmla="*/ 22 h 107"/>
                  <a:gd name="T52" fmla="*/ 118 w 129"/>
                  <a:gd name="T53" fmla="*/ 28 h 107"/>
                  <a:gd name="T54" fmla="*/ 122 w 129"/>
                  <a:gd name="T55" fmla="*/ 30 h 107"/>
                  <a:gd name="T56" fmla="*/ 126 w 129"/>
                  <a:gd name="T57" fmla="*/ 34 h 107"/>
                  <a:gd name="T58" fmla="*/ 129 w 129"/>
                  <a:gd name="T59" fmla="*/ 37 h 107"/>
                  <a:gd name="T60" fmla="*/ 129 w 129"/>
                  <a:gd name="T61" fmla="*/ 41 h 107"/>
                  <a:gd name="T62" fmla="*/ 128 w 129"/>
                  <a:gd name="T63" fmla="*/ 45 h 107"/>
                  <a:gd name="T64" fmla="*/ 128 w 129"/>
                  <a:gd name="T65" fmla="*/ 49 h 107"/>
                  <a:gd name="T66" fmla="*/ 125 w 129"/>
                  <a:gd name="T67" fmla="*/ 56 h 107"/>
                  <a:gd name="T68" fmla="*/ 124 w 129"/>
                  <a:gd name="T69" fmla="*/ 59 h 107"/>
                  <a:gd name="T70" fmla="*/ 122 w 129"/>
                  <a:gd name="T71" fmla="*/ 63 h 107"/>
                  <a:gd name="T72" fmla="*/ 119 w 129"/>
                  <a:gd name="T73" fmla="*/ 65 h 107"/>
                  <a:gd name="T74" fmla="*/ 117 w 129"/>
                  <a:gd name="T75" fmla="*/ 68 h 107"/>
                  <a:gd name="T76" fmla="*/ 114 w 129"/>
                  <a:gd name="T77" fmla="*/ 72 h 107"/>
                  <a:gd name="T78" fmla="*/ 113 w 129"/>
                  <a:gd name="T79" fmla="*/ 76 h 107"/>
                  <a:gd name="T80" fmla="*/ 113 w 129"/>
                  <a:gd name="T81" fmla="*/ 83 h 107"/>
                  <a:gd name="T82" fmla="*/ 106 w 129"/>
                  <a:gd name="T83" fmla="*/ 83 h 107"/>
                  <a:gd name="T84" fmla="*/ 97 w 129"/>
                  <a:gd name="T85" fmla="*/ 86 h 107"/>
                  <a:gd name="T86" fmla="*/ 89 w 129"/>
                  <a:gd name="T87" fmla="*/ 97 h 107"/>
                  <a:gd name="T88" fmla="*/ 85 w 129"/>
                  <a:gd name="T89" fmla="*/ 107 h 107"/>
                  <a:gd name="T90" fmla="*/ 80 w 129"/>
                  <a:gd name="T91" fmla="*/ 107 h 107"/>
                  <a:gd name="T92" fmla="*/ 73 w 129"/>
                  <a:gd name="T93" fmla="*/ 107 h 107"/>
                  <a:gd name="T94" fmla="*/ 67 w 129"/>
                  <a:gd name="T95" fmla="*/ 107 h 107"/>
                  <a:gd name="T96" fmla="*/ 64 w 129"/>
                  <a:gd name="T97" fmla="*/ 10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9" h="107">
                    <a:moveTo>
                      <a:pt x="41" y="107"/>
                    </a:moveTo>
                    <a:lnTo>
                      <a:pt x="33" y="90"/>
                    </a:lnTo>
                    <a:lnTo>
                      <a:pt x="29" y="79"/>
                    </a:lnTo>
                    <a:lnTo>
                      <a:pt x="36" y="72"/>
                    </a:lnTo>
                    <a:lnTo>
                      <a:pt x="36" y="71"/>
                    </a:lnTo>
                    <a:lnTo>
                      <a:pt x="37" y="70"/>
                    </a:lnTo>
                    <a:lnTo>
                      <a:pt x="38" y="68"/>
                    </a:lnTo>
                    <a:lnTo>
                      <a:pt x="38" y="67"/>
                    </a:lnTo>
                    <a:lnTo>
                      <a:pt x="38" y="65"/>
                    </a:lnTo>
                    <a:lnTo>
                      <a:pt x="37" y="63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3" y="59"/>
                    </a:lnTo>
                    <a:lnTo>
                      <a:pt x="31" y="56"/>
                    </a:lnTo>
                    <a:lnTo>
                      <a:pt x="30" y="53"/>
                    </a:lnTo>
                    <a:lnTo>
                      <a:pt x="27" y="50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0" y="30"/>
                    </a:lnTo>
                    <a:lnTo>
                      <a:pt x="22" y="24"/>
                    </a:lnTo>
                    <a:lnTo>
                      <a:pt x="15" y="27"/>
                    </a:lnTo>
                    <a:lnTo>
                      <a:pt x="4" y="16"/>
                    </a:lnTo>
                    <a:lnTo>
                      <a:pt x="4" y="15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2" y="1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3" y="8"/>
                    </a:lnTo>
                    <a:lnTo>
                      <a:pt x="26" y="11"/>
                    </a:lnTo>
                    <a:lnTo>
                      <a:pt x="30" y="15"/>
                    </a:lnTo>
                    <a:lnTo>
                      <a:pt x="34" y="17"/>
                    </a:lnTo>
                    <a:lnTo>
                      <a:pt x="40" y="20"/>
                    </a:lnTo>
                    <a:lnTo>
                      <a:pt x="47" y="23"/>
                    </a:lnTo>
                    <a:lnTo>
                      <a:pt x="53" y="23"/>
                    </a:lnTo>
                    <a:lnTo>
                      <a:pt x="58" y="20"/>
                    </a:lnTo>
                    <a:lnTo>
                      <a:pt x="63" y="19"/>
                    </a:lnTo>
                    <a:lnTo>
                      <a:pt x="69" y="16"/>
                    </a:lnTo>
                    <a:lnTo>
                      <a:pt x="75" y="15"/>
                    </a:lnTo>
                    <a:lnTo>
                      <a:pt x="84" y="15"/>
                    </a:lnTo>
                    <a:lnTo>
                      <a:pt x="92" y="17"/>
                    </a:lnTo>
                    <a:lnTo>
                      <a:pt x="100" y="22"/>
                    </a:lnTo>
                    <a:lnTo>
                      <a:pt x="117" y="28"/>
                    </a:lnTo>
                    <a:lnTo>
                      <a:pt x="118" y="28"/>
                    </a:lnTo>
                    <a:lnTo>
                      <a:pt x="119" y="28"/>
                    </a:lnTo>
                    <a:lnTo>
                      <a:pt x="122" y="30"/>
                    </a:lnTo>
                    <a:lnTo>
                      <a:pt x="125" y="31"/>
                    </a:lnTo>
                    <a:lnTo>
                      <a:pt x="126" y="34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29" y="39"/>
                    </a:lnTo>
                    <a:lnTo>
                      <a:pt x="129" y="41"/>
                    </a:lnTo>
                    <a:lnTo>
                      <a:pt x="129" y="42"/>
                    </a:lnTo>
                    <a:lnTo>
                      <a:pt x="128" y="45"/>
                    </a:lnTo>
                    <a:lnTo>
                      <a:pt x="128" y="46"/>
                    </a:lnTo>
                    <a:lnTo>
                      <a:pt x="128" y="49"/>
                    </a:lnTo>
                    <a:lnTo>
                      <a:pt x="126" y="53"/>
                    </a:lnTo>
                    <a:lnTo>
                      <a:pt x="125" y="56"/>
                    </a:lnTo>
                    <a:lnTo>
                      <a:pt x="125" y="57"/>
                    </a:lnTo>
                    <a:lnTo>
                      <a:pt x="124" y="59"/>
                    </a:lnTo>
                    <a:lnTo>
                      <a:pt x="124" y="61"/>
                    </a:lnTo>
                    <a:lnTo>
                      <a:pt x="122" y="63"/>
                    </a:lnTo>
                    <a:lnTo>
                      <a:pt x="121" y="64"/>
                    </a:lnTo>
                    <a:lnTo>
                      <a:pt x="119" y="65"/>
                    </a:lnTo>
                    <a:lnTo>
                      <a:pt x="118" y="67"/>
                    </a:lnTo>
                    <a:lnTo>
                      <a:pt x="117" y="68"/>
                    </a:lnTo>
                    <a:lnTo>
                      <a:pt x="115" y="70"/>
                    </a:lnTo>
                    <a:lnTo>
                      <a:pt x="114" y="72"/>
                    </a:lnTo>
                    <a:lnTo>
                      <a:pt x="113" y="75"/>
                    </a:lnTo>
                    <a:lnTo>
                      <a:pt x="113" y="76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0" y="82"/>
                    </a:lnTo>
                    <a:lnTo>
                      <a:pt x="106" y="83"/>
                    </a:lnTo>
                    <a:lnTo>
                      <a:pt x="102" y="85"/>
                    </a:lnTo>
                    <a:lnTo>
                      <a:pt x="97" y="86"/>
                    </a:lnTo>
                    <a:lnTo>
                      <a:pt x="92" y="90"/>
                    </a:lnTo>
                    <a:lnTo>
                      <a:pt x="89" y="97"/>
                    </a:lnTo>
                    <a:lnTo>
                      <a:pt x="86" y="107"/>
                    </a:lnTo>
                    <a:lnTo>
                      <a:pt x="85" y="107"/>
                    </a:lnTo>
                    <a:lnTo>
                      <a:pt x="82" y="107"/>
                    </a:lnTo>
                    <a:lnTo>
                      <a:pt x="80" y="107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0" y="107"/>
                    </a:lnTo>
                    <a:lnTo>
                      <a:pt x="67" y="107"/>
                    </a:lnTo>
                    <a:lnTo>
                      <a:pt x="66" y="107"/>
                    </a:lnTo>
                    <a:lnTo>
                      <a:pt x="64" y="103"/>
                    </a:lnTo>
                    <a:lnTo>
                      <a:pt x="41" y="10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69" name="Freeform 901"/>
              <p:cNvSpPr>
                <a:spLocks/>
              </p:cNvSpPr>
              <p:nvPr/>
            </p:nvSpPr>
            <p:spPr bwMode="auto">
              <a:xfrm>
                <a:off x="3031" y="2233"/>
                <a:ext cx="101" cy="100"/>
              </a:xfrm>
              <a:custGeom>
                <a:avLst/>
                <a:gdLst>
                  <a:gd name="T0" fmla="*/ 86 w 101"/>
                  <a:gd name="T1" fmla="*/ 4 h 100"/>
                  <a:gd name="T2" fmla="*/ 85 w 101"/>
                  <a:gd name="T3" fmla="*/ 4 h 100"/>
                  <a:gd name="T4" fmla="*/ 84 w 101"/>
                  <a:gd name="T5" fmla="*/ 4 h 100"/>
                  <a:gd name="T6" fmla="*/ 81 w 101"/>
                  <a:gd name="T7" fmla="*/ 2 h 100"/>
                  <a:gd name="T8" fmla="*/ 79 w 101"/>
                  <a:gd name="T9" fmla="*/ 0 h 100"/>
                  <a:gd name="T10" fmla="*/ 40 w 101"/>
                  <a:gd name="T11" fmla="*/ 8 h 100"/>
                  <a:gd name="T12" fmla="*/ 24 w 101"/>
                  <a:gd name="T13" fmla="*/ 11 h 100"/>
                  <a:gd name="T14" fmla="*/ 23 w 101"/>
                  <a:gd name="T15" fmla="*/ 12 h 100"/>
                  <a:gd name="T16" fmla="*/ 23 w 101"/>
                  <a:gd name="T17" fmla="*/ 15 h 100"/>
                  <a:gd name="T18" fmla="*/ 23 w 101"/>
                  <a:gd name="T19" fmla="*/ 17 h 100"/>
                  <a:gd name="T20" fmla="*/ 22 w 101"/>
                  <a:gd name="T21" fmla="*/ 19 h 100"/>
                  <a:gd name="T22" fmla="*/ 16 w 101"/>
                  <a:gd name="T23" fmla="*/ 23 h 100"/>
                  <a:gd name="T24" fmla="*/ 9 w 101"/>
                  <a:gd name="T25" fmla="*/ 28 h 100"/>
                  <a:gd name="T26" fmla="*/ 2 w 101"/>
                  <a:gd name="T27" fmla="*/ 37 h 100"/>
                  <a:gd name="T28" fmla="*/ 0 w 101"/>
                  <a:gd name="T29" fmla="*/ 42 h 100"/>
                  <a:gd name="T30" fmla="*/ 0 w 101"/>
                  <a:gd name="T31" fmla="*/ 44 h 100"/>
                  <a:gd name="T32" fmla="*/ 1 w 101"/>
                  <a:gd name="T33" fmla="*/ 46 h 100"/>
                  <a:gd name="T34" fmla="*/ 2 w 101"/>
                  <a:gd name="T35" fmla="*/ 50 h 100"/>
                  <a:gd name="T36" fmla="*/ 5 w 101"/>
                  <a:gd name="T37" fmla="*/ 55 h 100"/>
                  <a:gd name="T38" fmla="*/ 12 w 101"/>
                  <a:gd name="T39" fmla="*/ 64 h 100"/>
                  <a:gd name="T40" fmla="*/ 23 w 101"/>
                  <a:gd name="T41" fmla="*/ 79 h 100"/>
                  <a:gd name="T42" fmla="*/ 33 w 101"/>
                  <a:gd name="T43" fmla="*/ 94 h 100"/>
                  <a:gd name="T44" fmla="*/ 49 w 101"/>
                  <a:gd name="T45" fmla="*/ 100 h 100"/>
                  <a:gd name="T46" fmla="*/ 53 w 101"/>
                  <a:gd name="T47" fmla="*/ 78 h 100"/>
                  <a:gd name="T48" fmla="*/ 56 w 101"/>
                  <a:gd name="T49" fmla="*/ 77 h 100"/>
                  <a:gd name="T50" fmla="*/ 62 w 101"/>
                  <a:gd name="T51" fmla="*/ 72 h 100"/>
                  <a:gd name="T52" fmla="*/ 67 w 101"/>
                  <a:gd name="T53" fmla="*/ 64 h 100"/>
                  <a:gd name="T54" fmla="*/ 70 w 101"/>
                  <a:gd name="T55" fmla="*/ 57 h 100"/>
                  <a:gd name="T56" fmla="*/ 70 w 101"/>
                  <a:gd name="T57" fmla="*/ 53 h 100"/>
                  <a:gd name="T58" fmla="*/ 70 w 101"/>
                  <a:gd name="T59" fmla="*/ 46 h 100"/>
                  <a:gd name="T60" fmla="*/ 73 w 101"/>
                  <a:gd name="T61" fmla="*/ 37 h 100"/>
                  <a:gd name="T62" fmla="*/ 75 w 101"/>
                  <a:gd name="T63" fmla="*/ 30 h 100"/>
                  <a:gd name="T64" fmla="*/ 79 w 101"/>
                  <a:gd name="T65" fmla="*/ 26 h 100"/>
                  <a:gd name="T66" fmla="*/ 85 w 101"/>
                  <a:gd name="T67" fmla="*/ 20 h 100"/>
                  <a:gd name="T68" fmla="*/ 95 w 101"/>
                  <a:gd name="T69" fmla="*/ 20 h 100"/>
                  <a:gd name="T70" fmla="*/ 101 w 101"/>
                  <a:gd name="T71" fmla="*/ 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1" h="100">
                    <a:moveTo>
                      <a:pt x="101" y="4"/>
                    </a:moveTo>
                    <a:lnTo>
                      <a:pt x="86" y="4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5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9" y="0"/>
                    </a:lnTo>
                    <a:lnTo>
                      <a:pt x="56" y="4"/>
                    </a:lnTo>
                    <a:lnTo>
                      <a:pt x="40" y="8"/>
                    </a:lnTo>
                    <a:lnTo>
                      <a:pt x="24" y="11"/>
                    </a:lnTo>
                    <a:lnTo>
                      <a:pt x="24" y="11"/>
                    </a:lnTo>
                    <a:lnTo>
                      <a:pt x="24" y="12"/>
                    </a:lnTo>
                    <a:lnTo>
                      <a:pt x="23" y="12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2" y="19"/>
                    </a:lnTo>
                    <a:lnTo>
                      <a:pt x="20" y="20"/>
                    </a:lnTo>
                    <a:lnTo>
                      <a:pt x="16" y="23"/>
                    </a:lnTo>
                    <a:lnTo>
                      <a:pt x="13" y="26"/>
                    </a:lnTo>
                    <a:lnTo>
                      <a:pt x="9" y="28"/>
                    </a:lnTo>
                    <a:lnTo>
                      <a:pt x="5" y="33"/>
                    </a:lnTo>
                    <a:lnTo>
                      <a:pt x="2" y="37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1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5" y="55"/>
                    </a:lnTo>
                    <a:lnTo>
                      <a:pt x="8" y="59"/>
                    </a:lnTo>
                    <a:lnTo>
                      <a:pt x="12" y="64"/>
                    </a:lnTo>
                    <a:lnTo>
                      <a:pt x="18" y="71"/>
                    </a:lnTo>
                    <a:lnTo>
                      <a:pt x="23" y="79"/>
                    </a:lnTo>
                    <a:lnTo>
                      <a:pt x="29" y="88"/>
                    </a:lnTo>
                    <a:lnTo>
                      <a:pt x="33" y="94"/>
                    </a:lnTo>
                    <a:lnTo>
                      <a:pt x="37" y="100"/>
                    </a:lnTo>
                    <a:lnTo>
                      <a:pt x="49" y="100"/>
                    </a:lnTo>
                    <a:lnTo>
                      <a:pt x="53" y="78"/>
                    </a:lnTo>
                    <a:lnTo>
                      <a:pt x="53" y="78"/>
                    </a:lnTo>
                    <a:lnTo>
                      <a:pt x="55" y="78"/>
                    </a:lnTo>
                    <a:lnTo>
                      <a:pt x="56" y="77"/>
                    </a:lnTo>
                    <a:lnTo>
                      <a:pt x="59" y="75"/>
                    </a:lnTo>
                    <a:lnTo>
                      <a:pt x="62" y="72"/>
                    </a:lnTo>
                    <a:lnTo>
                      <a:pt x="64" y="68"/>
                    </a:lnTo>
                    <a:lnTo>
                      <a:pt x="67" y="64"/>
                    </a:lnTo>
                    <a:lnTo>
                      <a:pt x="71" y="57"/>
                    </a:lnTo>
                    <a:lnTo>
                      <a:pt x="70" y="57"/>
                    </a:lnTo>
                    <a:lnTo>
                      <a:pt x="70" y="56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0" y="46"/>
                    </a:lnTo>
                    <a:lnTo>
                      <a:pt x="71" y="42"/>
                    </a:lnTo>
                    <a:lnTo>
                      <a:pt x="73" y="37"/>
                    </a:lnTo>
                    <a:lnTo>
                      <a:pt x="75" y="30"/>
                    </a:lnTo>
                    <a:lnTo>
                      <a:pt x="75" y="30"/>
                    </a:lnTo>
                    <a:lnTo>
                      <a:pt x="77" y="27"/>
                    </a:lnTo>
                    <a:lnTo>
                      <a:pt x="79" y="26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9" y="19"/>
                    </a:lnTo>
                    <a:lnTo>
                      <a:pt x="95" y="20"/>
                    </a:lnTo>
                    <a:lnTo>
                      <a:pt x="100" y="22"/>
                    </a:lnTo>
                    <a:lnTo>
                      <a:pt x="101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0" name="Freeform 902"/>
              <p:cNvSpPr>
                <a:spLocks/>
              </p:cNvSpPr>
              <p:nvPr/>
            </p:nvSpPr>
            <p:spPr bwMode="auto">
              <a:xfrm>
                <a:off x="3031" y="2233"/>
                <a:ext cx="101" cy="100"/>
              </a:xfrm>
              <a:custGeom>
                <a:avLst/>
                <a:gdLst>
                  <a:gd name="T0" fmla="*/ 86 w 101"/>
                  <a:gd name="T1" fmla="*/ 4 h 100"/>
                  <a:gd name="T2" fmla="*/ 84 w 101"/>
                  <a:gd name="T3" fmla="*/ 4 h 100"/>
                  <a:gd name="T4" fmla="*/ 81 w 101"/>
                  <a:gd name="T5" fmla="*/ 2 h 100"/>
                  <a:gd name="T6" fmla="*/ 79 w 101"/>
                  <a:gd name="T7" fmla="*/ 0 h 100"/>
                  <a:gd name="T8" fmla="*/ 40 w 101"/>
                  <a:gd name="T9" fmla="*/ 8 h 100"/>
                  <a:gd name="T10" fmla="*/ 24 w 101"/>
                  <a:gd name="T11" fmla="*/ 12 h 100"/>
                  <a:gd name="T12" fmla="*/ 23 w 101"/>
                  <a:gd name="T13" fmla="*/ 13 h 100"/>
                  <a:gd name="T14" fmla="*/ 23 w 101"/>
                  <a:gd name="T15" fmla="*/ 16 h 100"/>
                  <a:gd name="T16" fmla="*/ 23 w 101"/>
                  <a:gd name="T17" fmla="*/ 19 h 100"/>
                  <a:gd name="T18" fmla="*/ 20 w 101"/>
                  <a:gd name="T19" fmla="*/ 20 h 100"/>
                  <a:gd name="T20" fmla="*/ 13 w 101"/>
                  <a:gd name="T21" fmla="*/ 26 h 100"/>
                  <a:gd name="T22" fmla="*/ 5 w 101"/>
                  <a:gd name="T23" fmla="*/ 33 h 100"/>
                  <a:gd name="T24" fmla="*/ 0 w 101"/>
                  <a:gd name="T25" fmla="*/ 42 h 100"/>
                  <a:gd name="T26" fmla="*/ 0 w 101"/>
                  <a:gd name="T27" fmla="*/ 45 h 100"/>
                  <a:gd name="T28" fmla="*/ 1 w 101"/>
                  <a:gd name="T29" fmla="*/ 48 h 100"/>
                  <a:gd name="T30" fmla="*/ 4 w 101"/>
                  <a:gd name="T31" fmla="*/ 53 h 100"/>
                  <a:gd name="T32" fmla="*/ 8 w 101"/>
                  <a:gd name="T33" fmla="*/ 59 h 100"/>
                  <a:gd name="T34" fmla="*/ 18 w 101"/>
                  <a:gd name="T35" fmla="*/ 71 h 100"/>
                  <a:gd name="T36" fmla="*/ 29 w 101"/>
                  <a:gd name="T37" fmla="*/ 88 h 100"/>
                  <a:gd name="T38" fmla="*/ 37 w 101"/>
                  <a:gd name="T39" fmla="*/ 100 h 100"/>
                  <a:gd name="T40" fmla="*/ 53 w 101"/>
                  <a:gd name="T41" fmla="*/ 78 h 100"/>
                  <a:gd name="T42" fmla="*/ 56 w 101"/>
                  <a:gd name="T43" fmla="*/ 77 h 100"/>
                  <a:gd name="T44" fmla="*/ 62 w 101"/>
                  <a:gd name="T45" fmla="*/ 72 h 100"/>
                  <a:gd name="T46" fmla="*/ 67 w 101"/>
                  <a:gd name="T47" fmla="*/ 64 h 100"/>
                  <a:gd name="T48" fmla="*/ 70 w 101"/>
                  <a:gd name="T49" fmla="*/ 57 h 100"/>
                  <a:gd name="T50" fmla="*/ 70 w 101"/>
                  <a:gd name="T51" fmla="*/ 53 h 100"/>
                  <a:gd name="T52" fmla="*/ 70 w 101"/>
                  <a:gd name="T53" fmla="*/ 46 h 100"/>
                  <a:gd name="T54" fmla="*/ 73 w 101"/>
                  <a:gd name="T55" fmla="*/ 37 h 100"/>
                  <a:gd name="T56" fmla="*/ 77 w 101"/>
                  <a:gd name="T57" fmla="*/ 27 h 100"/>
                  <a:gd name="T58" fmla="*/ 82 w 101"/>
                  <a:gd name="T59" fmla="*/ 23 h 100"/>
                  <a:gd name="T60" fmla="*/ 89 w 101"/>
                  <a:gd name="T61" fmla="*/ 19 h 100"/>
                  <a:gd name="T62" fmla="*/ 100 w 101"/>
                  <a:gd name="T63" fmla="*/ 2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1" h="100">
                    <a:moveTo>
                      <a:pt x="101" y="4"/>
                    </a:moveTo>
                    <a:lnTo>
                      <a:pt x="86" y="4"/>
                    </a:lnTo>
                    <a:lnTo>
                      <a:pt x="85" y="4"/>
                    </a:lnTo>
                    <a:lnTo>
                      <a:pt x="84" y="4"/>
                    </a:lnTo>
                    <a:lnTo>
                      <a:pt x="82" y="4"/>
                    </a:lnTo>
                    <a:lnTo>
                      <a:pt x="81" y="2"/>
                    </a:lnTo>
                    <a:lnTo>
                      <a:pt x="79" y="1"/>
                    </a:lnTo>
                    <a:lnTo>
                      <a:pt x="79" y="0"/>
                    </a:lnTo>
                    <a:lnTo>
                      <a:pt x="56" y="4"/>
                    </a:lnTo>
                    <a:lnTo>
                      <a:pt x="40" y="8"/>
                    </a:lnTo>
                    <a:lnTo>
                      <a:pt x="24" y="11"/>
                    </a:lnTo>
                    <a:lnTo>
                      <a:pt x="24" y="12"/>
                    </a:lnTo>
                    <a:lnTo>
                      <a:pt x="23" y="12"/>
                    </a:lnTo>
                    <a:lnTo>
                      <a:pt x="23" y="13"/>
                    </a:lnTo>
                    <a:lnTo>
                      <a:pt x="23" y="15"/>
                    </a:lnTo>
                    <a:lnTo>
                      <a:pt x="23" y="16"/>
                    </a:lnTo>
                    <a:lnTo>
                      <a:pt x="23" y="17"/>
                    </a:lnTo>
                    <a:lnTo>
                      <a:pt x="23" y="19"/>
                    </a:lnTo>
                    <a:lnTo>
                      <a:pt x="22" y="19"/>
                    </a:lnTo>
                    <a:lnTo>
                      <a:pt x="20" y="20"/>
                    </a:lnTo>
                    <a:lnTo>
                      <a:pt x="16" y="23"/>
                    </a:lnTo>
                    <a:lnTo>
                      <a:pt x="13" y="26"/>
                    </a:lnTo>
                    <a:lnTo>
                      <a:pt x="9" y="28"/>
                    </a:lnTo>
                    <a:lnTo>
                      <a:pt x="5" y="33"/>
                    </a:lnTo>
                    <a:lnTo>
                      <a:pt x="2" y="37"/>
                    </a:lnTo>
                    <a:lnTo>
                      <a:pt x="0" y="42"/>
                    </a:lnTo>
                    <a:lnTo>
                      <a:pt x="0" y="44"/>
                    </a:lnTo>
                    <a:lnTo>
                      <a:pt x="0" y="45"/>
                    </a:lnTo>
                    <a:lnTo>
                      <a:pt x="1" y="46"/>
                    </a:lnTo>
                    <a:lnTo>
                      <a:pt x="1" y="48"/>
                    </a:lnTo>
                    <a:lnTo>
                      <a:pt x="2" y="50"/>
                    </a:lnTo>
                    <a:lnTo>
                      <a:pt x="4" y="53"/>
                    </a:lnTo>
                    <a:lnTo>
                      <a:pt x="5" y="55"/>
                    </a:lnTo>
                    <a:lnTo>
                      <a:pt x="8" y="59"/>
                    </a:lnTo>
                    <a:lnTo>
                      <a:pt x="12" y="64"/>
                    </a:lnTo>
                    <a:lnTo>
                      <a:pt x="18" y="71"/>
                    </a:lnTo>
                    <a:lnTo>
                      <a:pt x="23" y="79"/>
                    </a:lnTo>
                    <a:lnTo>
                      <a:pt x="29" y="88"/>
                    </a:lnTo>
                    <a:lnTo>
                      <a:pt x="33" y="94"/>
                    </a:lnTo>
                    <a:lnTo>
                      <a:pt x="37" y="100"/>
                    </a:lnTo>
                    <a:lnTo>
                      <a:pt x="49" y="100"/>
                    </a:lnTo>
                    <a:lnTo>
                      <a:pt x="53" y="78"/>
                    </a:lnTo>
                    <a:lnTo>
                      <a:pt x="55" y="78"/>
                    </a:lnTo>
                    <a:lnTo>
                      <a:pt x="56" y="77"/>
                    </a:lnTo>
                    <a:lnTo>
                      <a:pt x="59" y="75"/>
                    </a:lnTo>
                    <a:lnTo>
                      <a:pt x="62" y="72"/>
                    </a:lnTo>
                    <a:lnTo>
                      <a:pt x="64" y="68"/>
                    </a:lnTo>
                    <a:lnTo>
                      <a:pt x="67" y="64"/>
                    </a:lnTo>
                    <a:lnTo>
                      <a:pt x="71" y="57"/>
                    </a:lnTo>
                    <a:lnTo>
                      <a:pt x="70" y="57"/>
                    </a:lnTo>
                    <a:lnTo>
                      <a:pt x="70" y="56"/>
                    </a:lnTo>
                    <a:lnTo>
                      <a:pt x="70" y="53"/>
                    </a:lnTo>
                    <a:lnTo>
                      <a:pt x="70" y="50"/>
                    </a:lnTo>
                    <a:lnTo>
                      <a:pt x="70" y="46"/>
                    </a:lnTo>
                    <a:lnTo>
                      <a:pt x="71" y="42"/>
                    </a:lnTo>
                    <a:lnTo>
                      <a:pt x="73" y="37"/>
                    </a:lnTo>
                    <a:lnTo>
                      <a:pt x="75" y="30"/>
                    </a:lnTo>
                    <a:lnTo>
                      <a:pt x="77" y="27"/>
                    </a:lnTo>
                    <a:lnTo>
                      <a:pt x="79" y="26"/>
                    </a:lnTo>
                    <a:lnTo>
                      <a:pt x="82" y="23"/>
                    </a:lnTo>
                    <a:lnTo>
                      <a:pt x="85" y="20"/>
                    </a:lnTo>
                    <a:lnTo>
                      <a:pt x="89" y="19"/>
                    </a:lnTo>
                    <a:lnTo>
                      <a:pt x="95" y="20"/>
                    </a:lnTo>
                    <a:lnTo>
                      <a:pt x="100" y="22"/>
                    </a:lnTo>
                    <a:lnTo>
                      <a:pt x="101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1" name="Freeform 903"/>
              <p:cNvSpPr>
                <a:spLocks/>
              </p:cNvSpPr>
              <p:nvPr/>
            </p:nvSpPr>
            <p:spPr bwMode="auto">
              <a:xfrm>
                <a:off x="3022" y="2200"/>
                <a:ext cx="33" cy="75"/>
              </a:xfrm>
              <a:custGeom>
                <a:avLst/>
                <a:gdLst>
                  <a:gd name="T0" fmla="*/ 10 w 33"/>
                  <a:gd name="T1" fmla="*/ 33 h 75"/>
                  <a:gd name="T2" fmla="*/ 11 w 33"/>
                  <a:gd name="T3" fmla="*/ 34 h 75"/>
                  <a:gd name="T4" fmla="*/ 13 w 33"/>
                  <a:gd name="T5" fmla="*/ 37 h 75"/>
                  <a:gd name="T6" fmla="*/ 14 w 33"/>
                  <a:gd name="T7" fmla="*/ 42 h 75"/>
                  <a:gd name="T8" fmla="*/ 13 w 33"/>
                  <a:gd name="T9" fmla="*/ 48 h 75"/>
                  <a:gd name="T10" fmla="*/ 13 w 33"/>
                  <a:gd name="T11" fmla="*/ 48 h 75"/>
                  <a:gd name="T12" fmla="*/ 11 w 33"/>
                  <a:gd name="T13" fmla="*/ 49 h 75"/>
                  <a:gd name="T14" fmla="*/ 10 w 33"/>
                  <a:gd name="T15" fmla="*/ 52 h 75"/>
                  <a:gd name="T16" fmla="*/ 10 w 33"/>
                  <a:gd name="T17" fmla="*/ 56 h 75"/>
                  <a:gd name="T18" fmla="*/ 10 w 33"/>
                  <a:gd name="T19" fmla="*/ 64 h 75"/>
                  <a:gd name="T20" fmla="*/ 10 w 33"/>
                  <a:gd name="T21" fmla="*/ 66 h 75"/>
                  <a:gd name="T22" fmla="*/ 9 w 33"/>
                  <a:gd name="T23" fmla="*/ 70 h 75"/>
                  <a:gd name="T24" fmla="*/ 9 w 33"/>
                  <a:gd name="T25" fmla="*/ 74 h 75"/>
                  <a:gd name="T26" fmla="*/ 9 w 33"/>
                  <a:gd name="T27" fmla="*/ 75 h 75"/>
                  <a:gd name="T28" fmla="*/ 10 w 33"/>
                  <a:gd name="T29" fmla="*/ 71 h 75"/>
                  <a:gd name="T30" fmla="*/ 14 w 33"/>
                  <a:gd name="T31" fmla="*/ 66 h 75"/>
                  <a:gd name="T32" fmla="*/ 24 w 33"/>
                  <a:gd name="T33" fmla="*/ 57 h 75"/>
                  <a:gd name="T34" fmla="*/ 32 w 33"/>
                  <a:gd name="T35" fmla="*/ 52 h 75"/>
                  <a:gd name="T36" fmla="*/ 32 w 33"/>
                  <a:gd name="T37" fmla="*/ 49 h 75"/>
                  <a:gd name="T38" fmla="*/ 32 w 33"/>
                  <a:gd name="T39" fmla="*/ 46 h 75"/>
                  <a:gd name="T40" fmla="*/ 32 w 33"/>
                  <a:gd name="T41" fmla="*/ 44 h 75"/>
                  <a:gd name="T42" fmla="*/ 33 w 33"/>
                  <a:gd name="T43" fmla="*/ 44 h 75"/>
                  <a:gd name="T44" fmla="*/ 31 w 33"/>
                  <a:gd name="T45" fmla="*/ 41 h 75"/>
                  <a:gd name="T46" fmla="*/ 29 w 33"/>
                  <a:gd name="T47" fmla="*/ 37 h 75"/>
                  <a:gd name="T48" fmla="*/ 31 w 33"/>
                  <a:gd name="T49" fmla="*/ 31 h 75"/>
                  <a:gd name="T50" fmla="*/ 32 w 33"/>
                  <a:gd name="T51" fmla="*/ 27 h 75"/>
                  <a:gd name="T52" fmla="*/ 31 w 33"/>
                  <a:gd name="T53" fmla="*/ 23 h 75"/>
                  <a:gd name="T54" fmla="*/ 29 w 33"/>
                  <a:gd name="T55" fmla="*/ 16 h 75"/>
                  <a:gd name="T56" fmla="*/ 25 w 33"/>
                  <a:gd name="T57" fmla="*/ 8 h 75"/>
                  <a:gd name="T58" fmla="*/ 24 w 33"/>
                  <a:gd name="T59" fmla="*/ 4 h 75"/>
                  <a:gd name="T60" fmla="*/ 21 w 33"/>
                  <a:gd name="T61" fmla="*/ 2 h 75"/>
                  <a:gd name="T62" fmla="*/ 17 w 33"/>
                  <a:gd name="T63" fmla="*/ 0 h 75"/>
                  <a:gd name="T64" fmla="*/ 11 w 33"/>
                  <a:gd name="T65" fmla="*/ 0 h 75"/>
                  <a:gd name="T66" fmla="*/ 9 w 33"/>
                  <a:gd name="T67" fmla="*/ 1 h 75"/>
                  <a:gd name="T68" fmla="*/ 9 w 33"/>
                  <a:gd name="T69" fmla="*/ 1 h 75"/>
                  <a:gd name="T70" fmla="*/ 7 w 33"/>
                  <a:gd name="T71" fmla="*/ 2 h 75"/>
                  <a:gd name="T72" fmla="*/ 7 w 33"/>
                  <a:gd name="T73" fmla="*/ 2 h 75"/>
                  <a:gd name="T74" fmla="*/ 0 w 33"/>
                  <a:gd name="T75" fmla="*/ 2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3" h="75">
                    <a:moveTo>
                      <a:pt x="0" y="23"/>
                    </a:moveTo>
                    <a:lnTo>
                      <a:pt x="10" y="33"/>
                    </a:lnTo>
                    <a:lnTo>
                      <a:pt x="10" y="33"/>
                    </a:lnTo>
                    <a:lnTo>
                      <a:pt x="11" y="34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4" y="39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1" y="49"/>
                    </a:lnTo>
                    <a:lnTo>
                      <a:pt x="11" y="49"/>
                    </a:lnTo>
                    <a:lnTo>
                      <a:pt x="10" y="52"/>
                    </a:lnTo>
                    <a:lnTo>
                      <a:pt x="10" y="53"/>
                    </a:lnTo>
                    <a:lnTo>
                      <a:pt x="10" y="56"/>
                    </a:lnTo>
                    <a:lnTo>
                      <a:pt x="10" y="63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9" y="70"/>
                    </a:lnTo>
                    <a:lnTo>
                      <a:pt x="9" y="72"/>
                    </a:lnTo>
                    <a:lnTo>
                      <a:pt x="9" y="74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10" y="74"/>
                    </a:lnTo>
                    <a:lnTo>
                      <a:pt x="10" y="71"/>
                    </a:lnTo>
                    <a:lnTo>
                      <a:pt x="11" y="68"/>
                    </a:lnTo>
                    <a:lnTo>
                      <a:pt x="14" y="66"/>
                    </a:lnTo>
                    <a:lnTo>
                      <a:pt x="18" y="61"/>
                    </a:lnTo>
                    <a:lnTo>
                      <a:pt x="24" y="57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0"/>
                    </a:lnTo>
                    <a:lnTo>
                      <a:pt x="32" y="49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2" y="45"/>
                    </a:lnTo>
                    <a:lnTo>
                      <a:pt x="32" y="44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2" y="42"/>
                    </a:lnTo>
                    <a:lnTo>
                      <a:pt x="31" y="41"/>
                    </a:lnTo>
                    <a:lnTo>
                      <a:pt x="31" y="39"/>
                    </a:lnTo>
                    <a:lnTo>
                      <a:pt x="29" y="37"/>
                    </a:lnTo>
                    <a:lnTo>
                      <a:pt x="29" y="34"/>
                    </a:lnTo>
                    <a:lnTo>
                      <a:pt x="31" y="31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3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8" y="12"/>
                    </a:lnTo>
                    <a:lnTo>
                      <a:pt x="25" y="8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2" name="Freeform 904"/>
              <p:cNvSpPr>
                <a:spLocks/>
              </p:cNvSpPr>
              <p:nvPr/>
            </p:nvSpPr>
            <p:spPr bwMode="auto">
              <a:xfrm>
                <a:off x="3022" y="2200"/>
                <a:ext cx="33" cy="75"/>
              </a:xfrm>
              <a:custGeom>
                <a:avLst/>
                <a:gdLst>
                  <a:gd name="T0" fmla="*/ 0 w 33"/>
                  <a:gd name="T1" fmla="*/ 23 h 75"/>
                  <a:gd name="T2" fmla="*/ 10 w 33"/>
                  <a:gd name="T3" fmla="*/ 33 h 75"/>
                  <a:gd name="T4" fmla="*/ 11 w 33"/>
                  <a:gd name="T5" fmla="*/ 34 h 75"/>
                  <a:gd name="T6" fmla="*/ 11 w 33"/>
                  <a:gd name="T7" fmla="*/ 35 h 75"/>
                  <a:gd name="T8" fmla="*/ 13 w 33"/>
                  <a:gd name="T9" fmla="*/ 37 h 75"/>
                  <a:gd name="T10" fmla="*/ 14 w 33"/>
                  <a:gd name="T11" fmla="*/ 39 h 75"/>
                  <a:gd name="T12" fmla="*/ 14 w 33"/>
                  <a:gd name="T13" fmla="*/ 42 h 75"/>
                  <a:gd name="T14" fmla="*/ 14 w 33"/>
                  <a:gd name="T15" fmla="*/ 44 h 75"/>
                  <a:gd name="T16" fmla="*/ 13 w 33"/>
                  <a:gd name="T17" fmla="*/ 48 h 75"/>
                  <a:gd name="T18" fmla="*/ 11 w 33"/>
                  <a:gd name="T19" fmla="*/ 49 h 75"/>
                  <a:gd name="T20" fmla="*/ 10 w 33"/>
                  <a:gd name="T21" fmla="*/ 52 h 75"/>
                  <a:gd name="T22" fmla="*/ 10 w 33"/>
                  <a:gd name="T23" fmla="*/ 53 h 75"/>
                  <a:gd name="T24" fmla="*/ 10 w 33"/>
                  <a:gd name="T25" fmla="*/ 56 h 75"/>
                  <a:gd name="T26" fmla="*/ 10 w 33"/>
                  <a:gd name="T27" fmla="*/ 63 h 75"/>
                  <a:gd name="T28" fmla="*/ 10 w 33"/>
                  <a:gd name="T29" fmla="*/ 64 h 75"/>
                  <a:gd name="T30" fmla="*/ 10 w 33"/>
                  <a:gd name="T31" fmla="*/ 66 h 75"/>
                  <a:gd name="T32" fmla="*/ 9 w 33"/>
                  <a:gd name="T33" fmla="*/ 68 h 75"/>
                  <a:gd name="T34" fmla="*/ 9 w 33"/>
                  <a:gd name="T35" fmla="*/ 70 h 75"/>
                  <a:gd name="T36" fmla="*/ 9 w 33"/>
                  <a:gd name="T37" fmla="*/ 72 h 75"/>
                  <a:gd name="T38" fmla="*/ 9 w 33"/>
                  <a:gd name="T39" fmla="*/ 74 h 75"/>
                  <a:gd name="T40" fmla="*/ 9 w 33"/>
                  <a:gd name="T41" fmla="*/ 75 h 75"/>
                  <a:gd name="T42" fmla="*/ 10 w 33"/>
                  <a:gd name="T43" fmla="*/ 74 h 75"/>
                  <a:gd name="T44" fmla="*/ 10 w 33"/>
                  <a:gd name="T45" fmla="*/ 71 h 75"/>
                  <a:gd name="T46" fmla="*/ 11 w 33"/>
                  <a:gd name="T47" fmla="*/ 68 h 75"/>
                  <a:gd name="T48" fmla="*/ 14 w 33"/>
                  <a:gd name="T49" fmla="*/ 66 h 75"/>
                  <a:gd name="T50" fmla="*/ 18 w 33"/>
                  <a:gd name="T51" fmla="*/ 61 h 75"/>
                  <a:gd name="T52" fmla="*/ 24 w 33"/>
                  <a:gd name="T53" fmla="*/ 57 h 75"/>
                  <a:gd name="T54" fmla="*/ 32 w 33"/>
                  <a:gd name="T55" fmla="*/ 52 h 75"/>
                  <a:gd name="T56" fmla="*/ 32 w 33"/>
                  <a:gd name="T57" fmla="*/ 50 h 75"/>
                  <a:gd name="T58" fmla="*/ 32 w 33"/>
                  <a:gd name="T59" fmla="*/ 49 h 75"/>
                  <a:gd name="T60" fmla="*/ 32 w 33"/>
                  <a:gd name="T61" fmla="*/ 48 h 75"/>
                  <a:gd name="T62" fmla="*/ 32 w 33"/>
                  <a:gd name="T63" fmla="*/ 46 h 75"/>
                  <a:gd name="T64" fmla="*/ 32 w 33"/>
                  <a:gd name="T65" fmla="*/ 45 h 75"/>
                  <a:gd name="T66" fmla="*/ 32 w 33"/>
                  <a:gd name="T67" fmla="*/ 44 h 75"/>
                  <a:gd name="T68" fmla="*/ 33 w 33"/>
                  <a:gd name="T69" fmla="*/ 44 h 75"/>
                  <a:gd name="T70" fmla="*/ 32 w 33"/>
                  <a:gd name="T71" fmla="*/ 42 h 75"/>
                  <a:gd name="T72" fmla="*/ 31 w 33"/>
                  <a:gd name="T73" fmla="*/ 41 h 75"/>
                  <a:gd name="T74" fmla="*/ 31 w 33"/>
                  <a:gd name="T75" fmla="*/ 39 h 75"/>
                  <a:gd name="T76" fmla="*/ 29 w 33"/>
                  <a:gd name="T77" fmla="*/ 37 h 75"/>
                  <a:gd name="T78" fmla="*/ 29 w 33"/>
                  <a:gd name="T79" fmla="*/ 34 h 75"/>
                  <a:gd name="T80" fmla="*/ 31 w 33"/>
                  <a:gd name="T81" fmla="*/ 31 h 75"/>
                  <a:gd name="T82" fmla="*/ 32 w 33"/>
                  <a:gd name="T83" fmla="*/ 28 h 75"/>
                  <a:gd name="T84" fmla="*/ 32 w 33"/>
                  <a:gd name="T85" fmla="*/ 27 h 75"/>
                  <a:gd name="T86" fmla="*/ 31 w 33"/>
                  <a:gd name="T87" fmla="*/ 26 h 75"/>
                  <a:gd name="T88" fmla="*/ 31 w 33"/>
                  <a:gd name="T89" fmla="*/ 23 h 75"/>
                  <a:gd name="T90" fmla="*/ 29 w 33"/>
                  <a:gd name="T91" fmla="*/ 19 h 75"/>
                  <a:gd name="T92" fmla="*/ 29 w 33"/>
                  <a:gd name="T93" fmla="*/ 16 h 75"/>
                  <a:gd name="T94" fmla="*/ 28 w 33"/>
                  <a:gd name="T95" fmla="*/ 12 h 75"/>
                  <a:gd name="T96" fmla="*/ 25 w 33"/>
                  <a:gd name="T97" fmla="*/ 8 h 75"/>
                  <a:gd name="T98" fmla="*/ 24 w 33"/>
                  <a:gd name="T99" fmla="*/ 5 h 75"/>
                  <a:gd name="T100" fmla="*/ 24 w 33"/>
                  <a:gd name="T101" fmla="*/ 4 h 75"/>
                  <a:gd name="T102" fmla="*/ 22 w 33"/>
                  <a:gd name="T103" fmla="*/ 4 h 75"/>
                  <a:gd name="T104" fmla="*/ 21 w 33"/>
                  <a:gd name="T105" fmla="*/ 2 h 75"/>
                  <a:gd name="T106" fmla="*/ 20 w 33"/>
                  <a:gd name="T107" fmla="*/ 1 h 75"/>
                  <a:gd name="T108" fmla="*/ 17 w 33"/>
                  <a:gd name="T109" fmla="*/ 0 h 75"/>
                  <a:gd name="T110" fmla="*/ 14 w 33"/>
                  <a:gd name="T111" fmla="*/ 0 h 75"/>
                  <a:gd name="T112" fmla="*/ 11 w 33"/>
                  <a:gd name="T113" fmla="*/ 0 h 75"/>
                  <a:gd name="T114" fmla="*/ 9 w 33"/>
                  <a:gd name="T115" fmla="*/ 1 h 75"/>
                  <a:gd name="T116" fmla="*/ 7 w 33"/>
                  <a:gd name="T117" fmla="*/ 2 h 75"/>
                  <a:gd name="T118" fmla="*/ 7 w 33"/>
                  <a:gd name="T119" fmla="*/ 4 h 75"/>
                  <a:gd name="T120" fmla="*/ 0 w 33"/>
                  <a:gd name="T121" fmla="*/ 2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" h="75">
                    <a:moveTo>
                      <a:pt x="0" y="23"/>
                    </a:moveTo>
                    <a:lnTo>
                      <a:pt x="10" y="33"/>
                    </a:lnTo>
                    <a:lnTo>
                      <a:pt x="11" y="34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4" y="39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3" y="48"/>
                    </a:lnTo>
                    <a:lnTo>
                      <a:pt x="11" y="49"/>
                    </a:lnTo>
                    <a:lnTo>
                      <a:pt x="10" y="52"/>
                    </a:lnTo>
                    <a:lnTo>
                      <a:pt x="10" y="53"/>
                    </a:lnTo>
                    <a:lnTo>
                      <a:pt x="10" y="56"/>
                    </a:lnTo>
                    <a:lnTo>
                      <a:pt x="10" y="63"/>
                    </a:lnTo>
                    <a:lnTo>
                      <a:pt x="10" y="64"/>
                    </a:lnTo>
                    <a:lnTo>
                      <a:pt x="10" y="66"/>
                    </a:lnTo>
                    <a:lnTo>
                      <a:pt x="9" y="68"/>
                    </a:lnTo>
                    <a:lnTo>
                      <a:pt x="9" y="70"/>
                    </a:lnTo>
                    <a:lnTo>
                      <a:pt x="9" y="72"/>
                    </a:lnTo>
                    <a:lnTo>
                      <a:pt x="9" y="74"/>
                    </a:lnTo>
                    <a:lnTo>
                      <a:pt x="9" y="75"/>
                    </a:lnTo>
                    <a:lnTo>
                      <a:pt x="10" y="74"/>
                    </a:lnTo>
                    <a:lnTo>
                      <a:pt x="10" y="71"/>
                    </a:lnTo>
                    <a:lnTo>
                      <a:pt x="11" y="68"/>
                    </a:lnTo>
                    <a:lnTo>
                      <a:pt x="14" y="66"/>
                    </a:lnTo>
                    <a:lnTo>
                      <a:pt x="18" y="61"/>
                    </a:lnTo>
                    <a:lnTo>
                      <a:pt x="24" y="57"/>
                    </a:lnTo>
                    <a:lnTo>
                      <a:pt x="32" y="52"/>
                    </a:lnTo>
                    <a:lnTo>
                      <a:pt x="32" y="50"/>
                    </a:lnTo>
                    <a:lnTo>
                      <a:pt x="32" y="49"/>
                    </a:lnTo>
                    <a:lnTo>
                      <a:pt x="32" y="48"/>
                    </a:lnTo>
                    <a:lnTo>
                      <a:pt x="32" y="46"/>
                    </a:lnTo>
                    <a:lnTo>
                      <a:pt x="32" y="45"/>
                    </a:lnTo>
                    <a:lnTo>
                      <a:pt x="32" y="44"/>
                    </a:lnTo>
                    <a:lnTo>
                      <a:pt x="33" y="44"/>
                    </a:lnTo>
                    <a:lnTo>
                      <a:pt x="32" y="42"/>
                    </a:lnTo>
                    <a:lnTo>
                      <a:pt x="31" y="41"/>
                    </a:lnTo>
                    <a:lnTo>
                      <a:pt x="31" y="39"/>
                    </a:lnTo>
                    <a:lnTo>
                      <a:pt x="29" y="37"/>
                    </a:lnTo>
                    <a:lnTo>
                      <a:pt x="29" y="34"/>
                    </a:lnTo>
                    <a:lnTo>
                      <a:pt x="31" y="31"/>
                    </a:lnTo>
                    <a:lnTo>
                      <a:pt x="32" y="28"/>
                    </a:lnTo>
                    <a:lnTo>
                      <a:pt x="32" y="27"/>
                    </a:lnTo>
                    <a:lnTo>
                      <a:pt x="31" y="26"/>
                    </a:lnTo>
                    <a:lnTo>
                      <a:pt x="31" y="23"/>
                    </a:lnTo>
                    <a:lnTo>
                      <a:pt x="29" y="19"/>
                    </a:lnTo>
                    <a:lnTo>
                      <a:pt x="29" y="16"/>
                    </a:lnTo>
                    <a:lnTo>
                      <a:pt x="28" y="12"/>
                    </a:lnTo>
                    <a:lnTo>
                      <a:pt x="25" y="8"/>
                    </a:lnTo>
                    <a:lnTo>
                      <a:pt x="24" y="5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1" y="2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0" y="2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3" name="Freeform 905"/>
              <p:cNvSpPr>
                <a:spLocks/>
              </p:cNvSpPr>
              <p:nvPr/>
            </p:nvSpPr>
            <p:spPr bwMode="auto">
              <a:xfrm>
                <a:off x="2919" y="2106"/>
                <a:ext cx="168" cy="138"/>
              </a:xfrm>
              <a:custGeom>
                <a:avLst/>
                <a:gdLst>
                  <a:gd name="T0" fmla="*/ 25 w 168"/>
                  <a:gd name="T1" fmla="*/ 52 h 138"/>
                  <a:gd name="T2" fmla="*/ 25 w 168"/>
                  <a:gd name="T3" fmla="*/ 48 h 138"/>
                  <a:gd name="T4" fmla="*/ 24 w 168"/>
                  <a:gd name="T5" fmla="*/ 47 h 138"/>
                  <a:gd name="T6" fmla="*/ 22 w 168"/>
                  <a:gd name="T7" fmla="*/ 47 h 138"/>
                  <a:gd name="T8" fmla="*/ 21 w 168"/>
                  <a:gd name="T9" fmla="*/ 47 h 138"/>
                  <a:gd name="T10" fmla="*/ 22 w 168"/>
                  <a:gd name="T11" fmla="*/ 43 h 138"/>
                  <a:gd name="T12" fmla="*/ 14 w 168"/>
                  <a:gd name="T13" fmla="*/ 40 h 138"/>
                  <a:gd name="T14" fmla="*/ 6 w 168"/>
                  <a:gd name="T15" fmla="*/ 35 h 138"/>
                  <a:gd name="T16" fmla="*/ 2 w 168"/>
                  <a:gd name="T17" fmla="*/ 32 h 138"/>
                  <a:gd name="T18" fmla="*/ 2 w 168"/>
                  <a:gd name="T19" fmla="*/ 30 h 138"/>
                  <a:gd name="T20" fmla="*/ 13 w 168"/>
                  <a:gd name="T21" fmla="*/ 26 h 138"/>
                  <a:gd name="T22" fmla="*/ 26 w 168"/>
                  <a:gd name="T23" fmla="*/ 21 h 138"/>
                  <a:gd name="T24" fmla="*/ 37 w 168"/>
                  <a:gd name="T25" fmla="*/ 17 h 138"/>
                  <a:gd name="T26" fmla="*/ 66 w 168"/>
                  <a:gd name="T27" fmla="*/ 13 h 138"/>
                  <a:gd name="T28" fmla="*/ 66 w 168"/>
                  <a:gd name="T29" fmla="*/ 8 h 138"/>
                  <a:gd name="T30" fmla="*/ 68 w 168"/>
                  <a:gd name="T31" fmla="*/ 4 h 138"/>
                  <a:gd name="T32" fmla="*/ 70 w 168"/>
                  <a:gd name="T33" fmla="*/ 2 h 138"/>
                  <a:gd name="T34" fmla="*/ 70 w 168"/>
                  <a:gd name="T35" fmla="*/ 0 h 138"/>
                  <a:gd name="T36" fmla="*/ 80 w 168"/>
                  <a:gd name="T37" fmla="*/ 29 h 138"/>
                  <a:gd name="T38" fmla="*/ 101 w 168"/>
                  <a:gd name="T39" fmla="*/ 30 h 138"/>
                  <a:gd name="T40" fmla="*/ 106 w 168"/>
                  <a:gd name="T41" fmla="*/ 28 h 138"/>
                  <a:gd name="T42" fmla="*/ 114 w 168"/>
                  <a:gd name="T43" fmla="*/ 25 h 138"/>
                  <a:gd name="T44" fmla="*/ 123 w 168"/>
                  <a:gd name="T45" fmla="*/ 24 h 138"/>
                  <a:gd name="T46" fmla="*/ 128 w 168"/>
                  <a:gd name="T47" fmla="*/ 25 h 138"/>
                  <a:gd name="T48" fmla="*/ 131 w 168"/>
                  <a:gd name="T49" fmla="*/ 30 h 138"/>
                  <a:gd name="T50" fmla="*/ 132 w 168"/>
                  <a:gd name="T51" fmla="*/ 36 h 138"/>
                  <a:gd name="T52" fmla="*/ 131 w 168"/>
                  <a:gd name="T53" fmla="*/ 40 h 138"/>
                  <a:gd name="T54" fmla="*/ 142 w 168"/>
                  <a:gd name="T55" fmla="*/ 51 h 138"/>
                  <a:gd name="T56" fmla="*/ 147 w 168"/>
                  <a:gd name="T57" fmla="*/ 54 h 138"/>
                  <a:gd name="T58" fmla="*/ 153 w 168"/>
                  <a:gd name="T59" fmla="*/ 66 h 138"/>
                  <a:gd name="T60" fmla="*/ 154 w 168"/>
                  <a:gd name="T61" fmla="*/ 74 h 138"/>
                  <a:gd name="T62" fmla="*/ 158 w 168"/>
                  <a:gd name="T63" fmla="*/ 80 h 138"/>
                  <a:gd name="T64" fmla="*/ 161 w 168"/>
                  <a:gd name="T65" fmla="*/ 84 h 138"/>
                  <a:gd name="T66" fmla="*/ 164 w 168"/>
                  <a:gd name="T67" fmla="*/ 87 h 138"/>
                  <a:gd name="T68" fmla="*/ 165 w 168"/>
                  <a:gd name="T69" fmla="*/ 91 h 138"/>
                  <a:gd name="T70" fmla="*/ 164 w 168"/>
                  <a:gd name="T71" fmla="*/ 94 h 138"/>
                  <a:gd name="T72" fmla="*/ 163 w 168"/>
                  <a:gd name="T73" fmla="*/ 95 h 138"/>
                  <a:gd name="T74" fmla="*/ 156 w 168"/>
                  <a:gd name="T75" fmla="*/ 103 h 138"/>
                  <a:gd name="T76" fmla="*/ 168 w 168"/>
                  <a:gd name="T77" fmla="*/ 131 h 138"/>
                  <a:gd name="T78" fmla="*/ 136 w 168"/>
                  <a:gd name="T79" fmla="*/ 138 h 138"/>
                  <a:gd name="T80" fmla="*/ 132 w 168"/>
                  <a:gd name="T81" fmla="*/ 132 h 138"/>
                  <a:gd name="T82" fmla="*/ 132 w 168"/>
                  <a:gd name="T83" fmla="*/ 127 h 138"/>
                  <a:gd name="T84" fmla="*/ 134 w 168"/>
                  <a:gd name="T85" fmla="*/ 124 h 138"/>
                  <a:gd name="T86" fmla="*/ 135 w 168"/>
                  <a:gd name="T87" fmla="*/ 122 h 138"/>
                  <a:gd name="T88" fmla="*/ 134 w 168"/>
                  <a:gd name="T89" fmla="*/ 114 h 138"/>
                  <a:gd name="T90" fmla="*/ 131 w 168"/>
                  <a:gd name="T91" fmla="*/ 106 h 138"/>
                  <a:gd name="T92" fmla="*/ 128 w 168"/>
                  <a:gd name="T93" fmla="*/ 100 h 138"/>
                  <a:gd name="T94" fmla="*/ 127 w 168"/>
                  <a:gd name="T95" fmla="*/ 99 h 138"/>
                  <a:gd name="T96" fmla="*/ 119 w 168"/>
                  <a:gd name="T97" fmla="*/ 94 h 138"/>
                  <a:gd name="T98" fmla="*/ 114 w 168"/>
                  <a:gd name="T99" fmla="*/ 94 h 138"/>
                  <a:gd name="T100" fmla="*/ 110 w 168"/>
                  <a:gd name="T101" fmla="*/ 96 h 138"/>
                  <a:gd name="T102" fmla="*/ 110 w 168"/>
                  <a:gd name="T103" fmla="*/ 98 h 138"/>
                  <a:gd name="T104" fmla="*/ 76 w 168"/>
                  <a:gd name="T105" fmla="*/ 92 h 138"/>
                  <a:gd name="T106" fmla="*/ 69 w 168"/>
                  <a:gd name="T107" fmla="*/ 91 h 138"/>
                  <a:gd name="T108" fmla="*/ 65 w 168"/>
                  <a:gd name="T109" fmla="*/ 87 h 138"/>
                  <a:gd name="T110" fmla="*/ 59 w 168"/>
                  <a:gd name="T111" fmla="*/ 80 h 138"/>
                  <a:gd name="T112" fmla="*/ 55 w 168"/>
                  <a:gd name="T113" fmla="*/ 72 h 138"/>
                  <a:gd name="T114" fmla="*/ 46 w 168"/>
                  <a:gd name="T115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8" h="138">
                    <a:moveTo>
                      <a:pt x="33" y="63"/>
                    </a:moveTo>
                    <a:lnTo>
                      <a:pt x="25" y="52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2" y="47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5" y="43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4" y="40"/>
                    </a:lnTo>
                    <a:lnTo>
                      <a:pt x="10" y="37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6" y="28"/>
                    </a:lnTo>
                    <a:lnTo>
                      <a:pt x="13" y="26"/>
                    </a:lnTo>
                    <a:lnTo>
                      <a:pt x="19" y="24"/>
                    </a:lnTo>
                    <a:lnTo>
                      <a:pt x="26" y="21"/>
                    </a:lnTo>
                    <a:lnTo>
                      <a:pt x="33" y="18"/>
                    </a:lnTo>
                    <a:lnTo>
                      <a:pt x="37" y="17"/>
                    </a:lnTo>
                    <a:lnTo>
                      <a:pt x="39" y="17"/>
                    </a:lnTo>
                    <a:lnTo>
                      <a:pt x="66" y="13"/>
                    </a:lnTo>
                    <a:lnTo>
                      <a:pt x="66" y="10"/>
                    </a:lnTo>
                    <a:lnTo>
                      <a:pt x="66" y="8"/>
                    </a:lnTo>
                    <a:lnTo>
                      <a:pt x="66" y="6"/>
                    </a:lnTo>
                    <a:lnTo>
                      <a:pt x="68" y="4"/>
                    </a:lnTo>
                    <a:lnTo>
                      <a:pt x="69" y="3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74" y="13"/>
                    </a:lnTo>
                    <a:lnTo>
                      <a:pt x="80" y="29"/>
                    </a:lnTo>
                    <a:lnTo>
                      <a:pt x="101" y="30"/>
                    </a:lnTo>
                    <a:lnTo>
                      <a:pt x="101" y="30"/>
                    </a:lnTo>
                    <a:lnTo>
                      <a:pt x="103" y="29"/>
                    </a:lnTo>
                    <a:lnTo>
                      <a:pt x="106" y="28"/>
                    </a:lnTo>
                    <a:lnTo>
                      <a:pt x="110" y="26"/>
                    </a:lnTo>
                    <a:lnTo>
                      <a:pt x="114" y="25"/>
                    </a:lnTo>
                    <a:lnTo>
                      <a:pt x="119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8" y="25"/>
                    </a:lnTo>
                    <a:lnTo>
                      <a:pt x="130" y="28"/>
                    </a:lnTo>
                    <a:lnTo>
                      <a:pt x="131" y="30"/>
                    </a:lnTo>
                    <a:lnTo>
                      <a:pt x="132" y="33"/>
                    </a:lnTo>
                    <a:lnTo>
                      <a:pt x="132" y="36"/>
                    </a:lnTo>
                    <a:lnTo>
                      <a:pt x="131" y="39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42" y="51"/>
                    </a:lnTo>
                    <a:lnTo>
                      <a:pt x="149" y="48"/>
                    </a:lnTo>
                    <a:lnTo>
                      <a:pt x="147" y="54"/>
                    </a:lnTo>
                    <a:lnTo>
                      <a:pt x="153" y="62"/>
                    </a:lnTo>
                    <a:lnTo>
                      <a:pt x="153" y="66"/>
                    </a:lnTo>
                    <a:lnTo>
                      <a:pt x="153" y="70"/>
                    </a:lnTo>
                    <a:lnTo>
                      <a:pt x="154" y="74"/>
                    </a:lnTo>
                    <a:lnTo>
                      <a:pt x="157" y="77"/>
                    </a:lnTo>
                    <a:lnTo>
                      <a:pt x="158" y="80"/>
                    </a:lnTo>
                    <a:lnTo>
                      <a:pt x="160" y="83"/>
                    </a:lnTo>
                    <a:lnTo>
                      <a:pt x="161" y="84"/>
                    </a:lnTo>
                    <a:lnTo>
                      <a:pt x="163" y="84"/>
                    </a:lnTo>
                    <a:lnTo>
                      <a:pt x="164" y="87"/>
                    </a:lnTo>
                    <a:lnTo>
                      <a:pt x="165" y="89"/>
                    </a:lnTo>
                    <a:lnTo>
                      <a:pt x="165" y="91"/>
                    </a:lnTo>
                    <a:lnTo>
                      <a:pt x="165" y="92"/>
                    </a:lnTo>
                    <a:lnTo>
                      <a:pt x="164" y="94"/>
                    </a:lnTo>
                    <a:lnTo>
                      <a:pt x="163" y="95"/>
                    </a:lnTo>
                    <a:lnTo>
                      <a:pt x="163" y="95"/>
                    </a:lnTo>
                    <a:lnTo>
                      <a:pt x="163" y="96"/>
                    </a:lnTo>
                    <a:lnTo>
                      <a:pt x="156" y="103"/>
                    </a:lnTo>
                    <a:lnTo>
                      <a:pt x="160" y="114"/>
                    </a:lnTo>
                    <a:lnTo>
                      <a:pt x="168" y="131"/>
                    </a:lnTo>
                    <a:lnTo>
                      <a:pt x="152" y="135"/>
                    </a:lnTo>
                    <a:lnTo>
                      <a:pt x="136" y="138"/>
                    </a:lnTo>
                    <a:lnTo>
                      <a:pt x="134" y="135"/>
                    </a:lnTo>
                    <a:lnTo>
                      <a:pt x="132" y="132"/>
                    </a:lnTo>
                    <a:lnTo>
                      <a:pt x="132" y="129"/>
                    </a:lnTo>
                    <a:lnTo>
                      <a:pt x="132" y="127"/>
                    </a:lnTo>
                    <a:lnTo>
                      <a:pt x="134" y="125"/>
                    </a:lnTo>
                    <a:lnTo>
                      <a:pt x="134" y="124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18"/>
                    </a:lnTo>
                    <a:lnTo>
                      <a:pt x="134" y="114"/>
                    </a:lnTo>
                    <a:lnTo>
                      <a:pt x="132" y="110"/>
                    </a:lnTo>
                    <a:lnTo>
                      <a:pt x="131" y="106"/>
                    </a:lnTo>
                    <a:lnTo>
                      <a:pt x="130" y="103"/>
                    </a:lnTo>
                    <a:lnTo>
                      <a:pt x="128" y="100"/>
                    </a:lnTo>
                    <a:lnTo>
                      <a:pt x="127" y="99"/>
                    </a:lnTo>
                    <a:lnTo>
                      <a:pt x="127" y="99"/>
                    </a:lnTo>
                    <a:lnTo>
                      <a:pt x="123" y="95"/>
                    </a:lnTo>
                    <a:lnTo>
                      <a:pt x="119" y="94"/>
                    </a:lnTo>
                    <a:lnTo>
                      <a:pt x="116" y="94"/>
                    </a:lnTo>
                    <a:lnTo>
                      <a:pt x="114" y="94"/>
                    </a:lnTo>
                    <a:lnTo>
                      <a:pt x="112" y="95"/>
                    </a:lnTo>
                    <a:lnTo>
                      <a:pt x="110" y="96"/>
                    </a:lnTo>
                    <a:lnTo>
                      <a:pt x="110" y="96"/>
                    </a:lnTo>
                    <a:lnTo>
                      <a:pt x="110" y="98"/>
                    </a:lnTo>
                    <a:lnTo>
                      <a:pt x="103" y="117"/>
                    </a:lnTo>
                    <a:lnTo>
                      <a:pt x="76" y="92"/>
                    </a:lnTo>
                    <a:lnTo>
                      <a:pt x="69" y="91"/>
                    </a:lnTo>
                    <a:lnTo>
                      <a:pt x="69" y="91"/>
                    </a:lnTo>
                    <a:lnTo>
                      <a:pt x="68" y="89"/>
                    </a:lnTo>
                    <a:lnTo>
                      <a:pt x="65" y="87"/>
                    </a:lnTo>
                    <a:lnTo>
                      <a:pt x="62" y="84"/>
                    </a:lnTo>
                    <a:lnTo>
                      <a:pt x="59" y="80"/>
                    </a:lnTo>
                    <a:lnTo>
                      <a:pt x="57" y="76"/>
                    </a:lnTo>
                    <a:lnTo>
                      <a:pt x="55" y="72"/>
                    </a:lnTo>
                    <a:lnTo>
                      <a:pt x="54" y="69"/>
                    </a:lnTo>
                    <a:lnTo>
                      <a:pt x="46" y="73"/>
                    </a:lnTo>
                    <a:lnTo>
                      <a:pt x="33" y="6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4" name="Freeform 906"/>
              <p:cNvSpPr>
                <a:spLocks/>
              </p:cNvSpPr>
              <p:nvPr/>
            </p:nvSpPr>
            <p:spPr bwMode="auto">
              <a:xfrm>
                <a:off x="2919" y="2106"/>
                <a:ext cx="168" cy="138"/>
              </a:xfrm>
              <a:custGeom>
                <a:avLst/>
                <a:gdLst>
                  <a:gd name="T0" fmla="*/ 25 w 168"/>
                  <a:gd name="T1" fmla="*/ 52 h 138"/>
                  <a:gd name="T2" fmla="*/ 25 w 168"/>
                  <a:gd name="T3" fmla="*/ 48 h 138"/>
                  <a:gd name="T4" fmla="*/ 24 w 168"/>
                  <a:gd name="T5" fmla="*/ 47 h 138"/>
                  <a:gd name="T6" fmla="*/ 21 w 168"/>
                  <a:gd name="T7" fmla="*/ 47 h 138"/>
                  <a:gd name="T8" fmla="*/ 22 w 168"/>
                  <a:gd name="T9" fmla="*/ 43 h 138"/>
                  <a:gd name="T10" fmla="*/ 14 w 168"/>
                  <a:gd name="T11" fmla="*/ 40 h 138"/>
                  <a:gd name="T12" fmla="*/ 6 w 168"/>
                  <a:gd name="T13" fmla="*/ 35 h 138"/>
                  <a:gd name="T14" fmla="*/ 2 w 168"/>
                  <a:gd name="T15" fmla="*/ 32 h 138"/>
                  <a:gd name="T16" fmla="*/ 2 w 168"/>
                  <a:gd name="T17" fmla="*/ 30 h 138"/>
                  <a:gd name="T18" fmla="*/ 13 w 168"/>
                  <a:gd name="T19" fmla="*/ 26 h 138"/>
                  <a:gd name="T20" fmla="*/ 26 w 168"/>
                  <a:gd name="T21" fmla="*/ 21 h 138"/>
                  <a:gd name="T22" fmla="*/ 37 w 168"/>
                  <a:gd name="T23" fmla="*/ 17 h 138"/>
                  <a:gd name="T24" fmla="*/ 66 w 168"/>
                  <a:gd name="T25" fmla="*/ 13 h 138"/>
                  <a:gd name="T26" fmla="*/ 66 w 168"/>
                  <a:gd name="T27" fmla="*/ 8 h 138"/>
                  <a:gd name="T28" fmla="*/ 68 w 168"/>
                  <a:gd name="T29" fmla="*/ 4 h 138"/>
                  <a:gd name="T30" fmla="*/ 70 w 168"/>
                  <a:gd name="T31" fmla="*/ 2 h 138"/>
                  <a:gd name="T32" fmla="*/ 74 w 168"/>
                  <a:gd name="T33" fmla="*/ 13 h 138"/>
                  <a:gd name="T34" fmla="*/ 101 w 168"/>
                  <a:gd name="T35" fmla="*/ 30 h 138"/>
                  <a:gd name="T36" fmla="*/ 106 w 168"/>
                  <a:gd name="T37" fmla="*/ 28 h 138"/>
                  <a:gd name="T38" fmla="*/ 114 w 168"/>
                  <a:gd name="T39" fmla="*/ 25 h 138"/>
                  <a:gd name="T40" fmla="*/ 123 w 168"/>
                  <a:gd name="T41" fmla="*/ 24 h 138"/>
                  <a:gd name="T42" fmla="*/ 128 w 168"/>
                  <a:gd name="T43" fmla="*/ 25 h 138"/>
                  <a:gd name="T44" fmla="*/ 131 w 168"/>
                  <a:gd name="T45" fmla="*/ 30 h 138"/>
                  <a:gd name="T46" fmla="*/ 132 w 168"/>
                  <a:gd name="T47" fmla="*/ 36 h 138"/>
                  <a:gd name="T48" fmla="*/ 131 w 168"/>
                  <a:gd name="T49" fmla="*/ 40 h 138"/>
                  <a:gd name="T50" fmla="*/ 149 w 168"/>
                  <a:gd name="T51" fmla="*/ 48 h 138"/>
                  <a:gd name="T52" fmla="*/ 153 w 168"/>
                  <a:gd name="T53" fmla="*/ 62 h 138"/>
                  <a:gd name="T54" fmla="*/ 153 w 168"/>
                  <a:gd name="T55" fmla="*/ 70 h 138"/>
                  <a:gd name="T56" fmla="*/ 157 w 168"/>
                  <a:gd name="T57" fmla="*/ 77 h 138"/>
                  <a:gd name="T58" fmla="*/ 160 w 168"/>
                  <a:gd name="T59" fmla="*/ 83 h 138"/>
                  <a:gd name="T60" fmla="*/ 163 w 168"/>
                  <a:gd name="T61" fmla="*/ 84 h 138"/>
                  <a:gd name="T62" fmla="*/ 165 w 168"/>
                  <a:gd name="T63" fmla="*/ 89 h 138"/>
                  <a:gd name="T64" fmla="*/ 165 w 168"/>
                  <a:gd name="T65" fmla="*/ 92 h 138"/>
                  <a:gd name="T66" fmla="*/ 163 w 168"/>
                  <a:gd name="T67" fmla="*/ 95 h 138"/>
                  <a:gd name="T68" fmla="*/ 156 w 168"/>
                  <a:gd name="T69" fmla="*/ 103 h 138"/>
                  <a:gd name="T70" fmla="*/ 168 w 168"/>
                  <a:gd name="T71" fmla="*/ 131 h 138"/>
                  <a:gd name="T72" fmla="*/ 136 w 168"/>
                  <a:gd name="T73" fmla="*/ 138 h 138"/>
                  <a:gd name="T74" fmla="*/ 132 w 168"/>
                  <a:gd name="T75" fmla="*/ 132 h 138"/>
                  <a:gd name="T76" fmla="*/ 132 w 168"/>
                  <a:gd name="T77" fmla="*/ 127 h 138"/>
                  <a:gd name="T78" fmla="*/ 134 w 168"/>
                  <a:gd name="T79" fmla="*/ 124 h 138"/>
                  <a:gd name="T80" fmla="*/ 134 w 168"/>
                  <a:gd name="T81" fmla="*/ 118 h 138"/>
                  <a:gd name="T82" fmla="*/ 132 w 168"/>
                  <a:gd name="T83" fmla="*/ 110 h 138"/>
                  <a:gd name="T84" fmla="*/ 130 w 168"/>
                  <a:gd name="T85" fmla="*/ 103 h 138"/>
                  <a:gd name="T86" fmla="*/ 127 w 168"/>
                  <a:gd name="T87" fmla="*/ 99 h 138"/>
                  <a:gd name="T88" fmla="*/ 119 w 168"/>
                  <a:gd name="T89" fmla="*/ 94 h 138"/>
                  <a:gd name="T90" fmla="*/ 114 w 168"/>
                  <a:gd name="T91" fmla="*/ 94 h 138"/>
                  <a:gd name="T92" fmla="*/ 110 w 168"/>
                  <a:gd name="T93" fmla="*/ 96 h 138"/>
                  <a:gd name="T94" fmla="*/ 103 w 168"/>
                  <a:gd name="T95" fmla="*/ 117 h 138"/>
                  <a:gd name="T96" fmla="*/ 69 w 168"/>
                  <a:gd name="T97" fmla="*/ 91 h 138"/>
                  <a:gd name="T98" fmla="*/ 65 w 168"/>
                  <a:gd name="T99" fmla="*/ 87 h 138"/>
                  <a:gd name="T100" fmla="*/ 59 w 168"/>
                  <a:gd name="T101" fmla="*/ 80 h 138"/>
                  <a:gd name="T102" fmla="*/ 55 w 168"/>
                  <a:gd name="T103" fmla="*/ 72 h 138"/>
                  <a:gd name="T104" fmla="*/ 46 w 168"/>
                  <a:gd name="T105" fmla="*/ 73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8" h="138">
                    <a:moveTo>
                      <a:pt x="33" y="63"/>
                    </a:moveTo>
                    <a:lnTo>
                      <a:pt x="25" y="52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1" y="47"/>
                    </a:lnTo>
                    <a:lnTo>
                      <a:pt x="25" y="43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4" y="40"/>
                    </a:lnTo>
                    <a:lnTo>
                      <a:pt x="10" y="37"/>
                    </a:lnTo>
                    <a:lnTo>
                      <a:pt x="6" y="35"/>
                    </a:lnTo>
                    <a:lnTo>
                      <a:pt x="3" y="33"/>
                    </a:lnTo>
                    <a:lnTo>
                      <a:pt x="2" y="32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6" y="28"/>
                    </a:lnTo>
                    <a:lnTo>
                      <a:pt x="13" y="26"/>
                    </a:lnTo>
                    <a:lnTo>
                      <a:pt x="19" y="24"/>
                    </a:lnTo>
                    <a:lnTo>
                      <a:pt x="26" y="21"/>
                    </a:lnTo>
                    <a:lnTo>
                      <a:pt x="33" y="18"/>
                    </a:lnTo>
                    <a:lnTo>
                      <a:pt x="37" y="17"/>
                    </a:lnTo>
                    <a:lnTo>
                      <a:pt x="39" y="17"/>
                    </a:lnTo>
                    <a:lnTo>
                      <a:pt x="66" y="13"/>
                    </a:lnTo>
                    <a:lnTo>
                      <a:pt x="66" y="10"/>
                    </a:lnTo>
                    <a:lnTo>
                      <a:pt x="66" y="8"/>
                    </a:lnTo>
                    <a:lnTo>
                      <a:pt x="66" y="6"/>
                    </a:lnTo>
                    <a:lnTo>
                      <a:pt x="68" y="4"/>
                    </a:lnTo>
                    <a:lnTo>
                      <a:pt x="69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74" y="13"/>
                    </a:lnTo>
                    <a:lnTo>
                      <a:pt x="80" y="29"/>
                    </a:lnTo>
                    <a:lnTo>
                      <a:pt x="101" y="30"/>
                    </a:lnTo>
                    <a:lnTo>
                      <a:pt x="103" y="29"/>
                    </a:lnTo>
                    <a:lnTo>
                      <a:pt x="106" y="28"/>
                    </a:lnTo>
                    <a:lnTo>
                      <a:pt x="110" y="26"/>
                    </a:lnTo>
                    <a:lnTo>
                      <a:pt x="114" y="25"/>
                    </a:lnTo>
                    <a:lnTo>
                      <a:pt x="119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8" y="25"/>
                    </a:lnTo>
                    <a:lnTo>
                      <a:pt x="130" y="28"/>
                    </a:lnTo>
                    <a:lnTo>
                      <a:pt x="131" y="30"/>
                    </a:lnTo>
                    <a:lnTo>
                      <a:pt x="132" y="33"/>
                    </a:lnTo>
                    <a:lnTo>
                      <a:pt x="132" y="36"/>
                    </a:lnTo>
                    <a:lnTo>
                      <a:pt x="131" y="39"/>
                    </a:lnTo>
                    <a:lnTo>
                      <a:pt x="131" y="40"/>
                    </a:lnTo>
                    <a:lnTo>
                      <a:pt x="142" y="51"/>
                    </a:lnTo>
                    <a:lnTo>
                      <a:pt x="149" y="48"/>
                    </a:lnTo>
                    <a:lnTo>
                      <a:pt x="147" y="54"/>
                    </a:lnTo>
                    <a:lnTo>
                      <a:pt x="153" y="62"/>
                    </a:lnTo>
                    <a:lnTo>
                      <a:pt x="153" y="66"/>
                    </a:lnTo>
                    <a:lnTo>
                      <a:pt x="153" y="70"/>
                    </a:lnTo>
                    <a:lnTo>
                      <a:pt x="154" y="74"/>
                    </a:lnTo>
                    <a:lnTo>
                      <a:pt x="157" y="77"/>
                    </a:lnTo>
                    <a:lnTo>
                      <a:pt x="158" y="80"/>
                    </a:lnTo>
                    <a:lnTo>
                      <a:pt x="160" y="83"/>
                    </a:lnTo>
                    <a:lnTo>
                      <a:pt x="161" y="84"/>
                    </a:lnTo>
                    <a:lnTo>
                      <a:pt x="163" y="84"/>
                    </a:lnTo>
                    <a:lnTo>
                      <a:pt x="164" y="87"/>
                    </a:lnTo>
                    <a:lnTo>
                      <a:pt x="165" y="89"/>
                    </a:lnTo>
                    <a:lnTo>
                      <a:pt x="165" y="91"/>
                    </a:lnTo>
                    <a:lnTo>
                      <a:pt x="165" y="92"/>
                    </a:lnTo>
                    <a:lnTo>
                      <a:pt x="164" y="94"/>
                    </a:lnTo>
                    <a:lnTo>
                      <a:pt x="163" y="95"/>
                    </a:lnTo>
                    <a:lnTo>
                      <a:pt x="163" y="96"/>
                    </a:lnTo>
                    <a:lnTo>
                      <a:pt x="156" y="103"/>
                    </a:lnTo>
                    <a:lnTo>
                      <a:pt x="160" y="114"/>
                    </a:lnTo>
                    <a:lnTo>
                      <a:pt x="168" y="131"/>
                    </a:lnTo>
                    <a:lnTo>
                      <a:pt x="152" y="135"/>
                    </a:lnTo>
                    <a:lnTo>
                      <a:pt x="136" y="138"/>
                    </a:lnTo>
                    <a:lnTo>
                      <a:pt x="134" y="135"/>
                    </a:lnTo>
                    <a:lnTo>
                      <a:pt x="132" y="132"/>
                    </a:lnTo>
                    <a:lnTo>
                      <a:pt x="132" y="129"/>
                    </a:lnTo>
                    <a:lnTo>
                      <a:pt x="132" y="127"/>
                    </a:lnTo>
                    <a:lnTo>
                      <a:pt x="134" y="125"/>
                    </a:lnTo>
                    <a:lnTo>
                      <a:pt x="134" y="124"/>
                    </a:lnTo>
                    <a:lnTo>
                      <a:pt x="135" y="122"/>
                    </a:lnTo>
                    <a:lnTo>
                      <a:pt x="134" y="118"/>
                    </a:lnTo>
                    <a:lnTo>
                      <a:pt x="134" y="114"/>
                    </a:lnTo>
                    <a:lnTo>
                      <a:pt x="132" y="110"/>
                    </a:lnTo>
                    <a:lnTo>
                      <a:pt x="131" y="106"/>
                    </a:lnTo>
                    <a:lnTo>
                      <a:pt x="130" y="103"/>
                    </a:lnTo>
                    <a:lnTo>
                      <a:pt x="128" y="100"/>
                    </a:lnTo>
                    <a:lnTo>
                      <a:pt x="127" y="99"/>
                    </a:lnTo>
                    <a:lnTo>
                      <a:pt x="123" y="95"/>
                    </a:lnTo>
                    <a:lnTo>
                      <a:pt x="119" y="94"/>
                    </a:lnTo>
                    <a:lnTo>
                      <a:pt x="116" y="94"/>
                    </a:lnTo>
                    <a:lnTo>
                      <a:pt x="114" y="94"/>
                    </a:lnTo>
                    <a:lnTo>
                      <a:pt x="112" y="95"/>
                    </a:lnTo>
                    <a:lnTo>
                      <a:pt x="110" y="96"/>
                    </a:lnTo>
                    <a:lnTo>
                      <a:pt x="110" y="98"/>
                    </a:lnTo>
                    <a:lnTo>
                      <a:pt x="103" y="117"/>
                    </a:lnTo>
                    <a:lnTo>
                      <a:pt x="76" y="92"/>
                    </a:lnTo>
                    <a:lnTo>
                      <a:pt x="69" y="91"/>
                    </a:lnTo>
                    <a:lnTo>
                      <a:pt x="68" y="89"/>
                    </a:lnTo>
                    <a:lnTo>
                      <a:pt x="65" y="87"/>
                    </a:lnTo>
                    <a:lnTo>
                      <a:pt x="62" y="84"/>
                    </a:lnTo>
                    <a:lnTo>
                      <a:pt x="59" y="80"/>
                    </a:lnTo>
                    <a:lnTo>
                      <a:pt x="57" y="76"/>
                    </a:lnTo>
                    <a:lnTo>
                      <a:pt x="55" y="72"/>
                    </a:lnTo>
                    <a:lnTo>
                      <a:pt x="54" y="69"/>
                    </a:lnTo>
                    <a:lnTo>
                      <a:pt x="46" y="73"/>
                    </a:lnTo>
                    <a:lnTo>
                      <a:pt x="33" y="6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5" name="Freeform 907"/>
              <p:cNvSpPr>
                <a:spLocks/>
              </p:cNvSpPr>
              <p:nvPr/>
            </p:nvSpPr>
            <p:spPr bwMode="auto">
              <a:xfrm>
                <a:off x="2989" y="2066"/>
                <a:ext cx="93" cy="70"/>
              </a:xfrm>
              <a:custGeom>
                <a:avLst/>
                <a:gdLst>
                  <a:gd name="T0" fmla="*/ 51 w 93"/>
                  <a:gd name="T1" fmla="*/ 22 h 70"/>
                  <a:gd name="T2" fmla="*/ 49 w 93"/>
                  <a:gd name="T3" fmla="*/ 22 h 70"/>
                  <a:gd name="T4" fmla="*/ 43 w 93"/>
                  <a:gd name="T5" fmla="*/ 22 h 70"/>
                  <a:gd name="T6" fmla="*/ 39 w 93"/>
                  <a:gd name="T7" fmla="*/ 25 h 70"/>
                  <a:gd name="T8" fmla="*/ 36 w 93"/>
                  <a:gd name="T9" fmla="*/ 26 h 70"/>
                  <a:gd name="T10" fmla="*/ 36 w 93"/>
                  <a:gd name="T11" fmla="*/ 26 h 70"/>
                  <a:gd name="T12" fmla="*/ 33 w 93"/>
                  <a:gd name="T13" fmla="*/ 28 h 70"/>
                  <a:gd name="T14" fmla="*/ 29 w 93"/>
                  <a:gd name="T15" fmla="*/ 28 h 70"/>
                  <a:gd name="T16" fmla="*/ 17 w 93"/>
                  <a:gd name="T17" fmla="*/ 28 h 70"/>
                  <a:gd name="T18" fmla="*/ 15 w 93"/>
                  <a:gd name="T19" fmla="*/ 26 h 70"/>
                  <a:gd name="T20" fmla="*/ 14 w 93"/>
                  <a:gd name="T21" fmla="*/ 25 h 70"/>
                  <a:gd name="T22" fmla="*/ 11 w 93"/>
                  <a:gd name="T23" fmla="*/ 24 h 70"/>
                  <a:gd name="T24" fmla="*/ 9 w 93"/>
                  <a:gd name="T25" fmla="*/ 21 h 70"/>
                  <a:gd name="T26" fmla="*/ 7 w 93"/>
                  <a:gd name="T27" fmla="*/ 22 h 70"/>
                  <a:gd name="T28" fmla="*/ 4 w 93"/>
                  <a:gd name="T29" fmla="*/ 25 h 70"/>
                  <a:gd name="T30" fmla="*/ 2 w 93"/>
                  <a:gd name="T31" fmla="*/ 31 h 70"/>
                  <a:gd name="T32" fmla="*/ 2 w 93"/>
                  <a:gd name="T33" fmla="*/ 39 h 70"/>
                  <a:gd name="T34" fmla="*/ 2 w 93"/>
                  <a:gd name="T35" fmla="*/ 42 h 70"/>
                  <a:gd name="T36" fmla="*/ 3 w 93"/>
                  <a:gd name="T37" fmla="*/ 48 h 70"/>
                  <a:gd name="T38" fmla="*/ 7 w 93"/>
                  <a:gd name="T39" fmla="*/ 59 h 70"/>
                  <a:gd name="T40" fmla="*/ 10 w 93"/>
                  <a:gd name="T41" fmla="*/ 68 h 70"/>
                  <a:gd name="T42" fmla="*/ 31 w 93"/>
                  <a:gd name="T43" fmla="*/ 70 h 70"/>
                  <a:gd name="T44" fmla="*/ 32 w 93"/>
                  <a:gd name="T45" fmla="*/ 70 h 70"/>
                  <a:gd name="T46" fmla="*/ 38 w 93"/>
                  <a:gd name="T47" fmla="*/ 68 h 70"/>
                  <a:gd name="T48" fmla="*/ 43 w 93"/>
                  <a:gd name="T49" fmla="*/ 65 h 70"/>
                  <a:gd name="T50" fmla="*/ 47 w 93"/>
                  <a:gd name="T51" fmla="*/ 64 h 70"/>
                  <a:gd name="T52" fmla="*/ 57 w 93"/>
                  <a:gd name="T53" fmla="*/ 64 h 70"/>
                  <a:gd name="T54" fmla="*/ 61 w 93"/>
                  <a:gd name="T55" fmla="*/ 65 h 70"/>
                  <a:gd name="T56" fmla="*/ 65 w 93"/>
                  <a:gd name="T57" fmla="*/ 65 h 70"/>
                  <a:gd name="T58" fmla="*/ 69 w 93"/>
                  <a:gd name="T59" fmla="*/ 65 h 70"/>
                  <a:gd name="T60" fmla="*/ 69 w 93"/>
                  <a:gd name="T61" fmla="*/ 64 h 70"/>
                  <a:gd name="T62" fmla="*/ 75 w 93"/>
                  <a:gd name="T63" fmla="*/ 59 h 70"/>
                  <a:gd name="T64" fmla="*/ 82 w 93"/>
                  <a:gd name="T65" fmla="*/ 54 h 70"/>
                  <a:gd name="T66" fmla="*/ 86 w 93"/>
                  <a:gd name="T67" fmla="*/ 43 h 70"/>
                  <a:gd name="T68" fmla="*/ 87 w 93"/>
                  <a:gd name="T69" fmla="*/ 35 h 70"/>
                  <a:gd name="T70" fmla="*/ 88 w 93"/>
                  <a:gd name="T71" fmla="*/ 29 h 70"/>
                  <a:gd name="T72" fmla="*/ 88 w 93"/>
                  <a:gd name="T73" fmla="*/ 20 h 70"/>
                  <a:gd name="T74" fmla="*/ 91 w 93"/>
                  <a:gd name="T75" fmla="*/ 14 h 70"/>
                  <a:gd name="T76" fmla="*/ 86 w 93"/>
                  <a:gd name="T77" fmla="*/ 0 h 70"/>
                  <a:gd name="T78" fmla="*/ 84 w 93"/>
                  <a:gd name="T79" fmla="*/ 2 h 70"/>
                  <a:gd name="T80" fmla="*/ 82 w 93"/>
                  <a:gd name="T81" fmla="*/ 3 h 70"/>
                  <a:gd name="T82" fmla="*/ 77 w 93"/>
                  <a:gd name="T83" fmla="*/ 4 h 70"/>
                  <a:gd name="T84" fmla="*/ 69 w 93"/>
                  <a:gd name="T85" fmla="*/ 3 h 70"/>
                  <a:gd name="T86" fmla="*/ 69 w 93"/>
                  <a:gd name="T87" fmla="*/ 3 h 70"/>
                  <a:gd name="T88" fmla="*/ 68 w 93"/>
                  <a:gd name="T89" fmla="*/ 4 h 70"/>
                  <a:gd name="T90" fmla="*/ 66 w 93"/>
                  <a:gd name="T91" fmla="*/ 4 h 70"/>
                  <a:gd name="T92" fmla="*/ 64 w 93"/>
                  <a:gd name="T93" fmla="*/ 6 h 70"/>
                  <a:gd name="T94" fmla="*/ 57 w 93"/>
                  <a:gd name="T95" fmla="*/ 11 h 70"/>
                  <a:gd name="T96" fmla="*/ 57 w 93"/>
                  <a:gd name="T97" fmla="*/ 15 h 70"/>
                  <a:gd name="T98" fmla="*/ 55 w 93"/>
                  <a:gd name="T99" fmla="*/ 20 h 70"/>
                  <a:gd name="T100" fmla="*/ 53 w 93"/>
                  <a:gd name="T101" fmla="*/ 2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3" h="70">
                    <a:moveTo>
                      <a:pt x="51" y="22"/>
                    </a:moveTo>
                    <a:lnTo>
                      <a:pt x="51" y="22"/>
                    </a:lnTo>
                    <a:lnTo>
                      <a:pt x="50" y="22"/>
                    </a:lnTo>
                    <a:lnTo>
                      <a:pt x="49" y="22"/>
                    </a:lnTo>
                    <a:lnTo>
                      <a:pt x="46" y="22"/>
                    </a:lnTo>
                    <a:lnTo>
                      <a:pt x="43" y="22"/>
                    </a:lnTo>
                    <a:lnTo>
                      <a:pt x="42" y="24"/>
                    </a:lnTo>
                    <a:lnTo>
                      <a:pt x="39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5" y="26"/>
                    </a:lnTo>
                    <a:lnTo>
                      <a:pt x="33" y="28"/>
                    </a:lnTo>
                    <a:lnTo>
                      <a:pt x="32" y="28"/>
                    </a:lnTo>
                    <a:lnTo>
                      <a:pt x="29" y="28"/>
                    </a:lnTo>
                    <a:lnTo>
                      <a:pt x="26" y="28"/>
                    </a:lnTo>
                    <a:lnTo>
                      <a:pt x="17" y="28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10" y="22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6" y="24"/>
                    </a:lnTo>
                    <a:lnTo>
                      <a:pt x="4" y="25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2" y="35"/>
                    </a:lnTo>
                    <a:lnTo>
                      <a:pt x="2" y="39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4"/>
                    </a:lnTo>
                    <a:lnTo>
                      <a:pt x="7" y="59"/>
                    </a:lnTo>
                    <a:lnTo>
                      <a:pt x="9" y="64"/>
                    </a:lnTo>
                    <a:lnTo>
                      <a:pt x="10" y="68"/>
                    </a:lnTo>
                    <a:lnTo>
                      <a:pt x="10" y="69"/>
                    </a:lnTo>
                    <a:lnTo>
                      <a:pt x="31" y="70"/>
                    </a:lnTo>
                    <a:lnTo>
                      <a:pt x="31" y="70"/>
                    </a:lnTo>
                    <a:lnTo>
                      <a:pt x="32" y="70"/>
                    </a:lnTo>
                    <a:lnTo>
                      <a:pt x="35" y="69"/>
                    </a:lnTo>
                    <a:lnTo>
                      <a:pt x="38" y="68"/>
                    </a:lnTo>
                    <a:lnTo>
                      <a:pt x="40" y="66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7" y="64"/>
                    </a:lnTo>
                    <a:lnTo>
                      <a:pt x="55" y="64"/>
                    </a:lnTo>
                    <a:lnTo>
                      <a:pt x="57" y="64"/>
                    </a:lnTo>
                    <a:lnTo>
                      <a:pt x="58" y="64"/>
                    </a:lnTo>
                    <a:lnTo>
                      <a:pt x="61" y="65"/>
                    </a:lnTo>
                    <a:lnTo>
                      <a:pt x="62" y="65"/>
                    </a:lnTo>
                    <a:lnTo>
                      <a:pt x="65" y="65"/>
                    </a:lnTo>
                    <a:lnTo>
                      <a:pt x="68" y="65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69" y="64"/>
                    </a:lnTo>
                    <a:lnTo>
                      <a:pt x="72" y="62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2" y="54"/>
                    </a:lnTo>
                    <a:lnTo>
                      <a:pt x="84" y="48"/>
                    </a:lnTo>
                    <a:lnTo>
                      <a:pt x="86" y="43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8" y="24"/>
                    </a:lnTo>
                    <a:lnTo>
                      <a:pt x="88" y="20"/>
                    </a:lnTo>
                    <a:lnTo>
                      <a:pt x="90" y="17"/>
                    </a:lnTo>
                    <a:lnTo>
                      <a:pt x="91" y="14"/>
                    </a:lnTo>
                    <a:lnTo>
                      <a:pt x="93" y="13"/>
                    </a:lnTo>
                    <a:lnTo>
                      <a:pt x="86" y="0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3" y="2"/>
                    </a:lnTo>
                    <a:lnTo>
                      <a:pt x="82" y="3"/>
                    </a:lnTo>
                    <a:lnTo>
                      <a:pt x="80" y="3"/>
                    </a:lnTo>
                    <a:lnTo>
                      <a:pt x="77" y="4"/>
                    </a:lnTo>
                    <a:lnTo>
                      <a:pt x="73" y="4"/>
                    </a:lnTo>
                    <a:lnTo>
                      <a:pt x="69" y="3"/>
                    </a:lnTo>
                    <a:lnTo>
                      <a:pt x="69" y="3"/>
                    </a:lnTo>
                    <a:lnTo>
                      <a:pt x="69" y="3"/>
                    </a:lnTo>
                    <a:lnTo>
                      <a:pt x="69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5" y="4"/>
                    </a:lnTo>
                    <a:lnTo>
                      <a:pt x="64" y="6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5" y="20"/>
                    </a:lnTo>
                    <a:lnTo>
                      <a:pt x="54" y="21"/>
                    </a:lnTo>
                    <a:lnTo>
                      <a:pt x="53" y="22"/>
                    </a:lnTo>
                    <a:lnTo>
                      <a:pt x="51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6" name="Freeform 908"/>
              <p:cNvSpPr>
                <a:spLocks/>
              </p:cNvSpPr>
              <p:nvPr/>
            </p:nvSpPr>
            <p:spPr bwMode="auto">
              <a:xfrm>
                <a:off x="2989" y="2066"/>
                <a:ext cx="93" cy="70"/>
              </a:xfrm>
              <a:custGeom>
                <a:avLst/>
                <a:gdLst>
                  <a:gd name="T0" fmla="*/ 50 w 93"/>
                  <a:gd name="T1" fmla="*/ 22 h 70"/>
                  <a:gd name="T2" fmla="*/ 46 w 93"/>
                  <a:gd name="T3" fmla="*/ 22 h 70"/>
                  <a:gd name="T4" fmla="*/ 42 w 93"/>
                  <a:gd name="T5" fmla="*/ 24 h 70"/>
                  <a:gd name="T6" fmla="*/ 36 w 93"/>
                  <a:gd name="T7" fmla="*/ 26 h 70"/>
                  <a:gd name="T8" fmla="*/ 33 w 93"/>
                  <a:gd name="T9" fmla="*/ 28 h 70"/>
                  <a:gd name="T10" fmla="*/ 29 w 93"/>
                  <a:gd name="T11" fmla="*/ 28 h 70"/>
                  <a:gd name="T12" fmla="*/ 17 w 93"/>
                  <a:gd name="T13" fmla="*/ 28 h 70"/>
                  <a:gd name="T14" fmla="*/ 14 w 93"/>
                  <a:gd name="T15" fmla="*/ 26 h 70"/>
                  <a:gd name="T16" fmla="*/ 13 w 93"/>
                  <a:gd name="T17" fmla="*/ 24 h 70"/>
                  <a:gd name="T18" fmla="*/ 10 w 93"/>
                  <a:gd name="T19" fmla="*/ 22 h 70"/>
                  <a:gd name="T20" fmla="*/ 7 w 93"/>
                  <a:gd name="T21" fmla="*/ 22 h 70"/>
                  <a:gd name="T22" fmla="*/ 4 w 93"/>
                  <a:gd name="T23" fmla="*/ 25 h 70"/>
                  <a:gd name="T24" fmla="*/ 2 w 93"/>
                  <a:gd name="T25" fmla="*/ 31 h 70"/>
                  <a:gd name="T26" fmla="*/ 2 w 93"/>
                  <a:gd name="T27" fmla="*/ 39 h 70"/>
                  <a:gd name="T28" fmla="*/ 2 w 93"/>
                  <a:gd name="T29" fmla="*/ 42 h 70"/>
                  <a:gd name="T30" fmla="*/ 3 w 93"/>
                  <a:gd name="T31" fmla="*/ 48 h 70"/>
                  <a:gd name="T32" fmla="*/ 7 w 93"/>
                  <a:gd name="T33" fmla="*/ 59 h 70"/>
                  <a:gd name="T34" fmla="*/ 10 w 93"/>
                  <a:gd name="T35" fmla="*/ 68 h 70"/>
                  <a:gd name="T36" fmla="*/ 31 w 93"/>
                  <a:gd name="T37" fmla="*/ 70 h 70"/>
                  <a:gd name="T38" fmla="*/ 35 w 93"/>
                  <a:gd name="T39" fmla="*/ 69 h 70"/>
                  <a:gd name="T40" fmla="*/ 40 w 93"/>
                  <a:gd name="T41" fmla="*/ 66 h 70"/>
                  <a:gd name="T42" fmla="*/ 44 w 93"/>
                  <a:gd name="T43" fmla="*/ 65 h 70"/>
                  <a:gd name="T44" fmla="*/ 55 w 93"/>
                  <a:gd name="T45" fmla="*/ 64 h 70"/>
                  <a:gd name="T46" fmla="*/ 58 w 93"/>
                  <a:gd name="T47" fmla="*/ 64 h 70"/>
                  <a:gd name="T48" fmla="*/ 62 w 93"/>
                  <a:gd name="T49" fmla="*/ 65 h 70"/>
                  <a:gd name="T50" fmla="*/ 68 w 93"/>
                  <a:gd name="T51" fmla="*/ 65 h 70"/>
                  <a:gd name="T52" fmla="*/ 69 w 93"/>
                  <a:gd name="T53" fmla="*/ 64 h 70"/>
                  <a:gd name="T54" fmla="*/ 75 w 93"/>
                  <a:gd name="T55" fmla="*/ 59 h 70"/>
                  <a:gd name="T56" fmla="*/ 82 w 93"/>
                  <a:gd name="T57" fmla="*/ 54 h 70"/>
                  <a:gd name="T58" fmla="*/ 86 w 93"/>
                  <a:gd name="T59" fmla="*/ 43 h 70"/>
                  <a:gd name="T60" fmla="*/ 87 w 93"/>
                  <a:gd name="T61" fmla="*/ 35 h 70"/>
                  <a:gd name="T62" fmla="*/ 88 w 93"/>
                  <a:gd name="T63" fmla="*/ 29 h 70"/>
                  <a:gd name="T64" fmla="*/ 88 w 93"/>
                  <a:gd name="T65" fmla="*/ 20 h 70"/>
                  <a:gd name="T66" fmla="*/ 91 w 93"/>
                  <a:gd name="T67" fmla="*/ 14 h 70"/>
                  <a:gd name="T68" fmla="*/ 86 w 93"/>
                  <a:gd name="T69" fmla="*/ 0 h 70"/>
                  <a:gd name="T70" fmla="*/ 83 w 93"/>
                  <a:gd name="T71" fmla="*/ 2 h 70"/>
                  <a:gd name="T72" fmla="*/ 80 w 93"/>
                  <a:gd name="T73" fmla="*/ 3 h 70"/>
                  <a:gd name="T74" fmla="*/ 73 w 93"/>
                  <a:gd name="T75" fmla="*/ 4 h 70"/>
                  <a:gd name="T76" fmla="*/ 69 w 93"/>
                  <a:gd name="T77" fmla="*/ 4 h 70"/>
                  <a:gd name="T78" fmla="*/ 66 w 93"/>
                  <a:gd name="T79" fmla="*/ 4 h 70"/>
                  <a:gd name="T80" fmla="*/ 64 w 93"/>
                  <a:gd name="T81" fmla="*/ 6 h 70"/>
                  <a:gd name="T82" fmla="*/ 57 w 93"/>
                  <a:gd name="T83" fmla="*/ 13 h 70"/>
                  <a:gd name="T84" fmla="*/ 57 w 93"/>
                  <a:gd name="T85" fmla="*/ 17 h 70"/>
                  <a:gd name="T86" fmla="*/ 54 w 93"/>
                  <a:gd name="T87" fmla="*/ 21 h 70"/>
                  <a:gd name="T88" fmla="*/ 51 w 93"/>
                  <a:gd name="T89" fmla="*/ 2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" h="70">
                    <a:moveTo>
                      <a:pt x="51" y="22"/>
                    </a:moveTo>
                    <a:lnTo>
                      <a:pt x="50" y="22"/>
                    </a:lnTo>
                    <a:lnTo>
                      <a:pt x="49" y="22"/>
                    </a:lnTo>
                    <a:lnTo>
                      <a:pt x="46" y="22"/>
                    </a:lnTo>
                    <a:lnTo>
                      <a:pt x="43" y="22"/>
                    </a:lnTo>
                    <a:lnTo>
                      <a:pt x="42" y="24"/>
                    </a:lnTo>
                    <a:lnTo>
                      <a:pt x="39" y="25"/>
                    </a:lnTo>
                    <a:lnTo>
                      <a:pt x="36" y="26"/>
                    </a:lnTo>
                    <a:lnTo>
                      <a:pt x="35" y="26"/>
                    </a:lnTo>
                    <a:lnTo>
                      <a:pt x="33" y="28"/>
                    </a:lnTo>
                    <a:lnTo>
                      <a:pt x="32" y="28"/>
                    </a:lnTo>
                    <a:lnTo>
                      <a:pt x="29" y="28"/>
                    </a:lnTo>
                    <a:lnTo>
                      <a:pt x="26" y="28"/>
                    </a:lnTo>
                    <a:lnTo>
                      <a:pt x="17" y="28"/>
                    </a:lnTo>
                    <a:lnTo>
                      <a:pt x="15" y="26"/>
                    </a:lnTo>
                    <a:lnTo>
                      <a:pt x="14" y="26"/>
                    </a:lnTo>
                    <a:lnTo>
                      <a:pt x="14" y="25"/>
                    </a:lnTo>
                    <a:lnTo>
                      <a:pt x="13" y="24"/>
                    </a:lnTo>
                    <a:lnTo>
                      <a:pt x="11" y="24"/>
                    </a:lnTo>
                    <a:lnTo>
                      <a:pt x="10" y="22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6" y="24"/>
                    </a:lnTo>
                    <a:lnTo>
                      <a:pt x="4" y="25"/>
                    </a:lnTo>
                    <a:lnTo>
                      <a:pt x="3" y="28"/>
                    </a:lnTo>
                    <a:lnTo>
                      <a:pt x="2" y="31"/>
                    </a:lnTo>
                    <a:lnTo>
                      <a:pt x="2" y="35"/>
                    </a:lnTo>
                    <a:lnTo>
                      <a:pt x="2" y="39"/>
                    </a:lnTo>
                    <a:lnTo>
                      <a:pt x="0" y="40"/>
                    </a:lnTo>
                    <a:lnTo>
                      <a:pt x="2" y="42"/>
                    </a:lnTo>
                    <a:lnTo>
                      <a:pt x="2" y="44"/>
                    </a:lnTo>
                    <a:lnTo>
                      <a:pt x="3" y="48"/>
                    </a:lnTo>
                    <a:lnTo>
                      <a:pt x="4" y="54"/>
                    </a:lnTo>
                    <a:lnTo>
                      <a:pt x="7" y="59"/>
                    </a:lnTo>
                    <a:lnTo>
                      <a:pt x="9" y="64"/>
                    </a:lnTo>
                    <a:lnTo>
                      <a:pt x="10" y="68"/>
                    </a:lnTo>
                    <a:lnTo>
                      <a:pt x="10" y="69"/>
                    </a:lnTo>
                    <a:lnTo>
                      <a:pt x="31" y="70"/>
                    </a:lnTo>
                    <a:lnTo>
                      <a:pt x="32" y="70"/>
                    </a:lnTo>
                    <a:lnTo>
                      <a:pt x="35" y="69"/>
                    </a:lnTo>
                    <a:lnTo>
                      <a:pt x="38" y="68"/>
                    </a:lnTo>
                    <a:lnTo>
                      <a:pt x="40" y="66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7" y="64"/>
                    </a:lnTo>
                    <a:lnTo>
                      <a:pt x="55" y="64"/>
                    </a:lnTo>
                    <a:lnTo>
                      <a:pt x="57" y="64"/>
                    </a:lnTo>
                    <a:lnTo>
                      <a:pt x="58" y="64"/>
                    </a:lnTo>
                    <a:lnTo>
                      <a:pt x="61" y="65"/>
                    </a:lnTo>
                    <a:lnTo>
                      <a:pt x="62" y="65"/>
                    </a:lnTo>
                    <a:lnTo>
                      <a:pt x="65" y="65"/>
                    </a:lnTo>
                    <a:lnTo>
                      <a:pt x="68" y="65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72" y="62"/>
                    </a:lnTo>
                    <a:lnTo>
                      <a:pt x="75" y="59"/>
                    </a:lnTo>
                    <a:lnTo>
                      <a:pt x="77" y="57"/>
                    </a:lnTo>
                    <a:lnTo>
                      <a:pt x="82" y="54"/>
                    </a:lnTo>
                    <a:lnTo>
                      <a:pt x="84" y="48"/>
                    </a:lnTo>
                    <a:lnTo>
                      <a:pt x="86" y="43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7" y="32"/>
                    </a:lnTo>
                    <a:lnTo>
                      <a:pt x="88" y="29"/>
                    </a:lnTo>
                    <a:lnTo>
                      <a:pt x="88" y="24"/>
                    </a:lnTo>
                    <a:lnTo>
                      <a:pt x="88" y="20"/>
                    </a:lnTo>
                    <a:lnTo>
                      <a:pt x="90" y="17"/>
                    </a:lnTo>
                    <a:lnTo>
                      <a:pt x="91" y="14"/>
                    </a:lnTo>
                    <a:lnTo>
                      <a:pt x="93" y="13"/>
                    </a:lnTo>
                    <a:lnTo>
                      <a:pt x="86" y="0"/>
                    </a:lnTo>
                    <a:lnTo>
                      <a:pt x="84" y="2"/>
                    </a:lnTo>
                    <a:lnTo>
                      <a:pt x="83" y="2"/>
                    </a:lnTo>
                    <a:lnTo>
                      <a:pt x="82" y="3"/>
                    </a:lnTo>
                    <a:lnTo>
                      <a:pt x="80" y="3"/>
                    </a:lnTo>
                    <a:lnTo>
                      <a:pt x="77" y="4"/>
                    </a:lnTo>
                    <a:lnTo>
                      <a:pt x="73" y="4"/>
                    </a:lnTo>
                    <a:lnTo>
                      <a:pt x="69" y="3"/>
                    </a:lnTo>
                    <a:lnTo>
                      <a:pt x="69" y="4"/>
                    </a:lnTo>
                    <a:lnTo>
                      <a:pt x="68" y="4"/>
                    </a:lnTo>
                    <a:lnTo>
                      <a:pt x="66" y="4"/>
                    </a:lnTo>
                    <a:lnTo>
                      <a:pt x="65" y="4"/>
                    </a:lnTo>
                    <a:lnTo>
                      <a:pt x="64" y="6"/>
                    </a:lnTo>
                    <a:lnTo>
                      <a:pt x="57" y="11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7" y="17"/>
                    </a:lnTo>
                    <a:lnTo>
                      <a:pt x="55" y="20"/>
                    </a:lnTo>
                    <a:lnTo>
                      <a:pt x="54" y="21"/>
                    </a:lnTo>
                    <a:lnTo>
                      <a:pt x="53" y="22"/>
                    </a:lnTo>
                    <a:lnTo>
                      <a:pt x="51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7" name="Freeform 909"/>
              <p:cNvSpPr>
                <a:spLocks/>
              </p:cNvSpPr>
              <p:nvPr/>
            </p:nvSpPr>
            <p:spPr bwMode="auto">
              <a:xfrm>
                <a:off x="2923" y="2017"/>
                <a:ext cx="164" cy="78"/>
              </a:xfrm>
              <a:custGeom>
                <a:avLst/>
                <a:gdLst>
                  <a:gd name="T0" fmla="*/ 157 w 164"/>
                  <a:gd name="T1" fmla="*/ 25 h 78"/>
                  <a:gd name="T2" fmla="*/ 150 w 164"/>
                  <a:gd name="T3" fmla="*/ 18 h 78"/>
                  <a:gd name="T4" fmla="*/ 137 w 164"/>
                  <a:gd name="T5" fmla="*/ 15 h 78"/>
                  <a:gd name="T6" fmla="*/ 124 w 164"/>
                  <a:gd name="T7" fmla="*/ 22 h 78"/>
                  <a:gd name="T8" fmla="*/ 123 w 164"/>
                  <a:gd name="T9" fmla="*/ 25 h 78"/>
                  <a:gd name="T10" fmla="*/ 121 w 164"/>
                  <a:gd name="T11" fmla="*/ 27 h 78"/>
                  <a:gd name="T12" fmla="*/ 115 w 164"/>
                  <a:gd name="T13" fmla="*/ 27 h 78"/>
                  <a:gd name="T14" fmla="*/ 106 w 164"/>
                  <a:gd name="T15" fmla="*/ 27 h 78"/>
                  <a:gd name="T16" fmla="*/ 92 w 164"/>
                  <a:gd name="T17" fmla="*/ 27 h 78"/>
                  <a:gd name="T18" fmla="*/ 69 w 164"/>
                  <a:gd name="T19" fmla="*/ 8 h 78"/>
                  <a:gd name="T20" fmla="*/ 39 w 164"/>
                  <a:gd name="T21" fmla="*/ 1 h 78"/>
                  <a:gd name="T22" fmla="*/ 33 w 164"/>
                  <a:gd name="T23" fmla="*/ 3 h 78"/>
                  <a:gd name="T24" fmla="*/ 32 w 164"/>
                  <a:gd name="T25" fmla="*/ 7 h 78"/>
                  <a:gd name="T26" fmla="*/ 26 w 164"/>
                  <a:gd name="T27" fmla="*/ 5 h 78"/>
                  <a:gd name="T28" fmla="*/ 25 w 164"/>
                  <a:gd name="T29" fmla="*/ 3 h 78"/>
                  <a:gd name="T30" fmla="*/ 20 w 164"/>
                  <a:gd name="T31" fmla="*/ 0 h 78"/>
                  <a:gd name="T32" fmla="*/ 21 w 164"/>
                  <a:gd name="T33" fmla="*/ 1 h 78"/>
                  <a:gd name="T34" fmla="*/ 21 w 164"/>
                  <a:gd name="T35" fmla="*/ 4 h 78"/>
                  <a:gd name="T36" fmla="*/ 15 w 164"/>
                  <a:gd name="T37" fmla="*/ 7 h 78"/>
                  <a:gd name="T38" fmla="*/ 11 w 164"/>
                  <a:gd name="T39" fmla="*/ 7 h 78"/>
                  <a:gd name="T40" fmla="*/ 7 w 164"/>
                  <a:gd name="T41" fmla="*/ 8 h 78"/>
                  <a:gd name="T42" fmla="*/ 4 w 164"/>
                  <a:gd name="T43" fmla="*/ 9 h 78"/>
                  <a:gd name="T44" fmla="*/ 2 w 164"/>
                  <a:gd name="T45" fmla="*/ 9 h 78"/>
                  <a:gd name="T46" fmla="*/ 9 w 164"/>
                  <a:gd name="T47" fmla="*/ 23 h 78"/>
                  <a:gd name="T48" fmla="*/ 17 w 164"/>
                  <a:gd name="T49" fmla="*/ 49 h 78"/>
                  <a:gd name="T50" fmla="*/ 20 w 164"/>
                  <a:gd name="T51" fmla="*/ 51 h 78"/>
                  <a:gd name="T52" fmla="*/ 21 w 164"/>
                  <a:gd name="T53" fmla="*/ 53 h 78"/>
                  <a:gd name="T54" fmla="*/ 21 w 164"/>
                  <a:gd name="T55" fmla="*/ 55 h 78"/>
                  <a:gd name="T56" fmla="*/ 25 w 164"/>
                  <a:gd name="T57" fmla="*/ 55 h 78"/>
                  <a:gd name="T58" fmla="*/ 36 w 164"/>
                  <a:gd name="T59" fmla="*/ 55 h 78"/>
                  <a:gd name="T60" fmla="*/ 48 w 164"/>
                  <a:gd name="T61" fmla="*/ 51 h 78"/>
                  <a:gd name="T62" fmla="*/ 51 w 164"/>
                  <a:gd name="T63" fmla="*/ 58 h 78"/>
                  <a:gd name="T64" fmla="*/ 69 w 164"/>
                  <a:gd name="T65" fmla="*/ 60 h 78"/>
                  <a:gd name="T66" fmla="*/ 76 w 164"/>
                  <a:gd name="T67" fmla="*/ 70 h 78"/>
                  <a:gd name="T68" fmla="*/ 83 w 164"/>
                  <a:gd name="T69" fmla="*/ 77 h 78"/>
                  <a:gd name="T70" fmla="*/ 92 w 164"/>
                  <a:gd name="T71" fmla="*/ 78 h 78"/>
                  <a:gd name="T72" fmla="*/ 101 w 164"/>
                  <a:gd name="T73" fmla="*/ 75 h 78"/>
                  <a:gd name="T74" fmla="*/ 108 w 164"/>
                  <a:gd name="T75" fmla="*/ 73 h 78"/>
                  <a:gd name="T76" fmla="*/ 119 w 164"/>
                  <a:gd name="T77" fmla="*/ 71 h 78"/>
                  <a:gd name="T78" fmla="*/ 123 w 164"/>
                  <a:gd name="T79" fmla="*/ 64 h 78"/>
                  <a:gd name="T80" fmla="*/ 124 w 164"/>
                  <a:gd name="T81" fmla="*/ 60 h 78"/>
                  <a:gd name="T82" fmla="*/ 130 w 164"/>
                  <a:gd name="T83" fmla="*/ 55 h 78"/>
                  <a:gd name="T84" fmla="*/ 138 w 164"/>
                  <a:gd name="T85" fmla="*/ 53 h 78"/>
                  <a:gd name="T86" fmla="*/ 146 w 164"/>
                  <a:gd name="T87" fmla="*/ 52 h 78"/>
                  <a:gd name="T88" fmla="*/ 152 w 164"/>
                  <a:gd name="T89" fmla="*/ 48 h 78"/>
                  <a:gd name="T90" fmla="*/ 159 w 164"/>
                  <a:gd name="T91" fmla="*/ 45 h 78"/>
                  <a:gd name="T92" fmla="*/ 164 w 164"/>
                  <a:gd name="T93" fmla="*/ 47 h 78"/>
                  <a:gd name="T94" fmla="*/ 160 w 164"/>
                  <a:gd name="T95" fmla="*/ 41 h 78"/>
                  <a:gd name="T96" fmla="*/ 163 w 164"/>
                  <a:gd name="T97" fmla="*/ 2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4" h="78">
                    <a:moveTo>
                      <a:pt x="163" y="29"/>
                    </a:moveTo>
                    <a:lnTo>
                      <a:pt x="160" y="27"/>
                    </a:lnTo>
                    <a:lnTo>
                      <a:pt x="159" y="26"/>
                    </a:lnTo>
                    <a:lnTo>
                      <a:pt x="157" y="25"/>
                    </a:lnTo>
                    <a:lnTo>
                      <a:pt x="154" y="22"/>
                    </a:lnTo>
                    <a:lnTo>
                      <a:pt x="153" y="20"/>
                    </a:lnTo>
                    <a:lnTo>
                      <a:pt x="152" y="19"/>
                    </a:lnTo>
                    <a:lnTo>
                      <a:pt x="150" y="18"/>
                    </a:lnTo>
                    <a:lnTo>
                      <a:pt x="150" y="18"/>
                    </a:lnTo>
                    <a:lnTo>
                      <a:pt x="146" y="15"/>
                    </a:lnTo>
                    <a:lnTo>
                      <a:pt x="142" y="15"/>
                    </a:lnTo>
                    <a:lnTo>
                      <a:pt x="137" y="15"/>
                    </a:lnTo>
                    <a:lnTo>
                      <a:pt x="132" y="16"/>
                    </a:lnTo>
                    <a:lnTo>
                      <a:pt x="128" y="18"/>
                    </a:lnTo>
                    <a:lnTo>
                      <a:pt x="126" y="20"/>
                    </a:lnTo>
                    <a:lnTo>
                      <a:pt x="124" y="22"/>
                    </a:lnTo>
                    <a:lnTo>
                      <a:pt x="123" y="22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6"/>
                    </a:lnTo>
                    <a:lnTo>
                      <a:pt x="123" y="26"/>
                    </a:lnTo>
                    <a:lnTo>
                      <a:pt x="121" y="27"/>
                    </a:lnTo>
                    <a:lnTo>
                      <a:pt x="121" y="27"/>
                    </a:lnTo>
                    <a:lnTo>
                      <a:pt x="120" y="27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5" y="27"/>
                    </a:lnTo>
                    <a:lnTo>
                      <a:pt x="112" y="27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6" y="27"/>
                    </a:lnTo>
                    <a:lnTo>
                      <a:pt x="106" y="29"/>
                    </a:lnTo>
                    <a:lnTo>
                      <a:pt x="99" y="31"/>
                    </a:lnTo>
                    <a:lnTo>
                      <a:pt x="99" y="27"/>
                    </a:lnTo>
                    <a:lnTo>
                      <a:pt x="92" y="27"/>
                    </a:lnTo>
                    <a:lnTo>
                      <a:pt x="90" y="23"/>
                    </a:lnTo>
                    <a:lnTo>
                      <a:pt x="79" y="18"/>
                    </a:lnTo>
                    <a:lnTo>
                      <a:pt x="70" y="18"/>
                    </a:lnTo>
                    <a:lnTo>
                      <a:pt x="69" y="8"/>
                    </a:lnTo>
                    <a:lnTo>
                      <a:pt x="53" y="8"/>
                    </a:lnTo>
                    <a:lnTo>
                      <a:pt x="50" y="4"/>
                    </a:lnTo>
                    <a:lnTo>
                      <a:pt x="42" y="4"/>
                    </a:lnTo>
                    <a:lnTo>
                      <a:pt x="39" y="1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3" y="3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2" y="5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3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2" y="4"/>
                    </a:lnTo>
                    <a:lnTo>
                      <a:pt x="21" y="4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22"/>
                    </a:lnTo>
                    <a:lnTo>
                      <a:pt x="9" y="23"/>
                    </a:lnTo>
                    <a:lnTo>
                      <a:pt x="13" y="31"/>
                    </a:lnTo>
                    <a:lnTo>
                      <a:pt x="17" y="48"/>
                    </a:lnTo>
                    <a:lnTo>
                      <a:pt x="17" y="49"/>
                    </a:lnTo>
                    <a:lnTo>
                      <a:pt x="17" y="49"/>
                    </a:lnTo>
                    <a:lnTo>
                      <a:pt x="18" y="49"/>
                    </a:lnTo>
                    <a:lnTo>
                      <a:pt x="18" y="49"/>
                    </a:lnTo>
                    <a:lnTo>
                      <a:pt x="20" y="51"/>
                    </a:lnTo>
                    <a:lnTo>
                      <a:pt x="20" y="51"/>
                    </a:lnTo>
                    <a:lnTo>
                      <a:pt x="21" y="52"/>
                    </a:lnTo>
                    <a:lnTo>
                      <a:pt x="21" y="52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2" y="55"/>
                    </a:lnTo>
                    <a:lnTo>
                      <a:pt x="24" y="55"/>
                    </a:lnTo>
                    <a:lnTo>
                      <a:pt x="24" y="55"/>
                    </a:lnTo>
                    <a:lnTo>
                      <a:pt x="25" y="55"/>
                    </a:lnTo>
                    <a:lnTo>
                      <a:pt x="28" y="56"/>
                    </a:lnTo>
                    <a:lnTo>
                      <a:pt x="31" y="56"/>
                    </a:lnTo>
                    <a:lnTo>
                      <a:pt x="33" y="56"/>
                    </a:lnTo>
                    <a:lnTo>
                      <a:pt x="36" y="55"/>
                    </a:lnTo>
                    <a:lnTo>
                      <a:pt x="37" y="53"/>
                    </a:lnTo>
                    <a:lnTo>
                      <a:pt x="40" y="51"/>
                    </a:lnTo>
                    <a:lnTo>
                      <a:pt x="48" y="51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8" y="53"/>
                    </a:lnTo>
                    <a:lnTo>
                      <a:pt x="48" y="56"/>
                    </a:lnTo>
                    <a:lnTo>
                      <a:pt x="51" y="58"/>
                    </a:lnTo>
                    <a:lnTo>
                      <a:pt x="54" y="59"/>
                    </a:lnTo>
                    <a:lnTo>
                      <a:pt x="61" y="60"/>
                    </a:lnTo>
                    <a:lnTo>
                      <a:pt x="69" y="60"/>
                    </a:lnTo>
                    <a:lnTo>
                      <a:pt x="69" y="60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3" y="67"/>
                    </a:lnTo>
                    <a:lnTo>
                      <a:pt x="76" y="70"/>
                    </a:lnTo>
                    <a:lnTo>
                      <a:pt x="79" y="73"/>
                    </a:lnTo>
                    <a:lnTo>
                      <a:pt x="80" y="75"/>
                    </a:lnTo>
                    <a:lnTo>
                      <a:pt x="83" y="77"/>
                    </a:lnTo>
                    <a:lnTo>
                      <a:pt x="83" y="77"/>
                    </a:lnTo>
                    <a:lnTo>
                      <a:pt x="84" y="77"/>
                    </a:lnTo>
                    <a:lnTo>
                      <a:pt x="87" y="77"/>
                    </a:lnTo>
                    <a:lnTo>
                      <a:pt x="90" y="78"/>
                    </a:lnTo>
                    <a:lnTo>
                      <a:pt x="92" y="78"/>
                    </a:lnTo>
                    <a:lnTo>
                      <a:pt x="97" y="78"/>
                    </a:lnTo>
                    <a:lnTo>
                      <a:pt x="98" y="77"/>
                    </a:lnTo>
                    <a:lnTo>
                      <a:pt x="101" y="75"/>
                    </a:lnTo>
                    <a:lnTo>
                      <a:pt x="101" y="75"/>
                    </a:lnTo>
                    <a:lnTo>
                      <a:pt x="102" y="75"/>
                    </a:lnTo>
                    <a:lnTo>
                      <a:pt x="104" y="74"/>
                    </a:lnTo>
                    <a:lnTo>
                      <a:pt x="105" y="73"/>
                    </a:lnTo>
                    <a:lnTo>
                      <a:pt x="108" y="73"/>
                    </a:lnTo>
                    <a:lnTo>
                      <a:pt x="110" y="71"/>
                    </a:lnTo>
                    <a:lnTo>
                      <a:pt x="113" y="71"/>
                    </a:lnTo>
                    <a:lnTo>
                      <a:pt x="116" y="71"/>
                    </a:lnTo>
                    <a:lnTo>
                      <a:pt x="119" y="71"/>
                    </a:lnTo>
                    <a:lnTo>
                      <a:pt x="120" y="70"/>
                    </a:lnTo>
                    <a:lnTo>
                      <a:pt x="121" y="69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2"/>
                    </a:lnTo>
                    <a:lnTo>
                      <a:pt x="123" y="60"/>
                    </a:lnTo>
                    <a:lnTo>
                      <a:pt x="123" y="60"/>
                    </a:lnTo>
                    <a:lnTo>
                      <a:pt x="124" y="60"/>
                    </a:lnTo>
                    <a:lnTo>
                      <a:pt x="124" y="59"/>
                    </a:lnTo>
                    <a:lnTo>
                      <a:pt x="126" y="58"/>
                    </a:lnTo>
                    <a:lnTo>
                      <a:pt x="128" y="56"/>
                    </a:lnTo>
                    <a:lnTo>
                      <a:pt x="130" y="55"/>
                    </a:lnTo>
                    <a:lnTo>
                      <a:pt x="132" y="53"/>
                    </a:lnTo>
                    <a:lnTo>
                      <a:pt x="134" y="52"/>
                    </a:lnTo>
                    <a:lnTo>
                      <a:pt x="135" y="52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45" y="53"/>
                    </a:lnTo>
                    <a:lnTo>
                      <a:pt x="146" y="52"/>
                    </a:lnTo>
                    <a:lnTo>
                      <a:pt x="149" y="52"/>
                    </a:lnTo>
                    <a:lnTo>
                      <a:pt x="150" y="51"/>
                    </a:lnTo>
                    <a:lnTo>
                      <a:pt x="152" y="49"/>
                    </a:lnTo>
                    <a:lnTo>
                      <a:pt x="152" y="48"/>
                    </a:lnTo>
                    <a:lnTo>
                      <a:pt x="153" y="48"/>
                    </a:lnTo>
                    <a:lnTo>
                      <a:pt x="154" y="47"/>
                    </a:lnTo>
                    <a:lnTo>
                      <a:pt x="157" y="45"/>
                    </a:lnTo>
                    <a:lnTo>
                      <a:pt x="159" y="45"/>
                    </a:lnTo>
                    <a:lnTo>
                      <a:pt x="161" y="45"/>
                    </a:lnTo>
                    <a:lnTo>
                      <a:pt x="163" y="45"/>
                    </a:lnTo>
                    <a:lnTo>
                      <a:pt x="164" y="45"/>
                    </a:lnTo>
                    <a:lnTo>
                      <a:pt x="164" y="47"/>
                    </a:lnTo>
                    <a:lnTo>
                      <a:pt x="164" y="45"/>
                    </a:lnTo>
                    <a:lnTo>
                      <a:pt x="163" y="45"/>
                    </a:lnTo>
                    <a:lnTo>
                      <a:pt x="161" y="42"/>
                    </a:lnTo>
                    <a:lnTo>
                      <a:pt x="160" y="41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3" y="31"/>
                    </a:lnTo>
                    <a:lnTo>
                      <a:pt x="163" y="2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8" name="Freeform 910"/>
              <p:cNvSpPr>
                <a:spLocks/>
              </p:cNvSpPr>
              <p:nvPr/>
            </p:nvSpPr>
            <p:spPr bwMode="auto">
              <a:xfrm>
                <a:off x="2923" y="2017"/>
                <a:ext cx="164" cy="78"/>
              </a:xfrm>
              <a:custGeom>
                <a:avLst/>
                <a:gdLst>
                  <a:gd name="T0" fmla="*/ 159 w 164"/>
                  <a:gd name="T1" fmla="*/ 26 h 78"/>
                  <a:gd name="T2" fmla="*/ 153 w 164"/>
                  <a:gd name="T3" fmla="*/ 20 h 78"/>
                  <a:gd name="T4" fmla="*/ 146 w 164"/>
                  <a:gd name="T5" fmla="*/ 15 h 78"/>
                  <a:gd name="T6" fmla="*/ 132 w 164"/>
                  <a:gd name="T7" fmla="*/ 16 h 78"/>
                  <a:gd name="T8" fmla="*/ 124 w 164"/>
                  <a:gd name="T9" fmla="*/ 22 h 78"/>
                  <a:gd name="T10" fmla="*/ 123 w 164"/>
                  <a:gd name="T11" fmla="*/ 25 h 78"/>
                  <a:gd name="T12" fmla="*/ 120 w 164"/>
                  <a:gd name="T13" fmla="*/ 27 h 78"/>
                  <a:gd name="T14" fmla="*/ 115 w 164"/>
                  <a:gd name="T15" fmla="*/ 27 h 78"/>
                  <a:gd name="T16" fmla="*/ 108 w 164"/>
                  <a:gd name="T17" fmla="*/ 27 h 78"/>
                  <a:gd name="T18" fmla="*/ 99 w 164"/>
                  <a:gd name="T19" fmla="*/ 31 h 78"/>
                  <a:gd name="T20" fmla="*/ 90 w 164"/>
                  <a:gd name="T21" fmla="*/ 23 h 78"/>
                  <a:gd name="T22" fmla="*/ 69 w 164"/>
                  <a:gd name="T23" fmla="*/ 8 h 78"/>
                  <a:gd name="T24" fmla="*/ 42 w 164"/>
                  <a:gd name="T25" fmla="*/ 4 h 78"/>
                  <a:gd name="T26" fmla="*/ 35 w 164"/>
                  <a:gd name="T27" fmla="*/ 0 h 78"/>
                  <a:gd name="T28" fmla="*/ 32 w 164"/>
                  <a:gd name="T29" fmla="*/ 4 h 78"/>
                  <a:gd name="T30" fmla="*/ 31 w 164"/>
                  <a:gd name="T31" fmla="*/ 8 h 78"/>
                  <a:gd name="T32" fmla="*/ 26 w 164"/>
                  <a:gd name="T33" fmla="*/ 5 h 78"/>
                  <a:gd name="T34" fmla="*/ 22 w 164"/>
                  <a:gd name="T35" fmla="*/ 0 h 78"/>
                  <a:gd name="T36" fmla="*/ 20 w 164"/>
                  <a:gd name="T37" fmla="*/ 1 h 78"/>
                  <a:gd name="T38" fmla="*/ 22 w 164"/>
                  <a:gd name="T39" fmla="*/ 4 h 78"/>
                  <a:gd name="T40" fmla="*/ 18 w 164"/>
                  <a:gd name="T41" fmla="*/ 5 h 78"/>
                  <a:gd name="T42" fmla="*/ 14 w 164"/>
                  <a:gd name="T43" fmla="*/ 7 h 78"/>
                  <a:gd name="T44" fmla="*/ 10 w 164"/>
                  <a:gd name="T45" fmla="*/ 7 h 78"/>
                  <a:gd name="T46" fmla="*/ 6 w 164"/>
                  <a:gd name="T47" fmla="*/ 8 h 78"/>
                  <a:gd name="T48" fmla="*/ 3 w 164"/>
                  <a:gd name="T49" fmla="*/ 9 h 78"/>
                  <a:gd name="T50" fmla="*/ 0 w 164"/>
                  <a:gd name="T51" fmla="*/ 8 h 78"/>
                  <a:gd name="T52" fmla="*/ 13 w 164"/>
                  <a:gd name="T53" fmla="*/ 31 h 78"/>
                  <a:gd name="T54" fmla="*/ 18 w 164"/>
                  <a:gd name="T55" fmla="*/ 49 h 78"/>
                  <a:gd name="T56" fmla="*/ 21 w 164"/>
                  <a:gd name="T57" fmla="*/ 53 h 78"/>
                  <a:gd name="T58" fmla="*/ 24 w 164"/>
                  <a:gd name="T59" fmla="*/ 55 h 78"/>
                  <a:gd name="T60" fmla="*/ 31 w 164"/>
                  <a:gd name="T61" fmla="*/ 56 h 78"/>
                  <a:gd name="T62" fmla="*/ 37 w 164"/>
                  <a:gd name="T63" fmla="*/ 53 h 78"/>
                  <a:gd name="T64" fmla="*/ 48 w 164"/>
                  <a:gd name="T65" fmla="*/ 52 h 78"/>
                  <a:gd name="T66" fmla="*/ 51 w 164"/>
                  <a:gd name="T67" fmla="*/ 58 h 78"/>
                  <a:gd name="T68" fmla="*/ 69 w 164"/>
                  <a:gd name="T69" fmla="*/ 60 h 78"/>
                  <a:gd name="T70" fmla="*/ 73 w 164"/>
                  <a:gd name="T71" fmla="*/ 67 h 78"/>
                  <a:gd name="T72" fmla="*/ 80 w 164"/>
                  <a:gd name="T73" fmla="*/ 75 h 78"/>
                  <a:gd name="T74" fmla="*/ 87 w 164"/>
                  <a:gd name="T75" fmla="*/ 77 h 78"/>
                  <a:gd name="T76" fmla="*/ 97 w 164"/>
                  <a:gd name="T77" fmla="*/ 78 h 78"/>
                  <a:gd name="T78" fmla="*/ 102 w 164"/>
                  <a:gd name="T79" fmla="*/ 75 h 78"/>
                  <a:gd name="T80" fmla="*/ 108 w 164"/>
                  <a:gd name="T81" fmla="*/ 73 h 78"/>
                  <a:gd name="T82" fmla="*/ 116 w 164"/>
                  <a:gd name="T83" fmla="*/ 71 h 78"/>
                  <a:gd name="T84" fmla="*/ 121 w 164"/>
                  <a:gd name="T85" fmla="*/ 69 h 78"/>
                  <a:gd name="T86" fmla="*/ 123 w 164"/>
                  <a:gd name="T87" fmla="*/ 62 h 78"/>
                  <a:gd name="T88" fmla="*/ 124 w 164"/>
                  <a:gd name="T89" fmla="*/ 59 h 78"/>
                  <a:gd name="T90" fmla="*/ 130 w 164"/>
                  <a:gd name="T91" fmla="*/ 55 h 78"/>
                  <a:gd name="T92" fmla="*/ 135 w 164"/>
                  <a:gd name="T93" fmla="*/ 52 h 78"/>
                  <a:gd name="T94" fmla="*/ 142 w 164"/>
                  <a:gd name="T95" fmla="*/ 53 h 78"/>
                  <a:gd name="T96" fmla="*/ 149 w 164"/>
                  <a:gd name="T97" fmla="*/ 52 h 78"/>
                  <a:gd name="T98" fmla="*/ 152 w 164"/>
                  <a:gd name="T99" fmla="*/ 48 h 78"/>
                  <a:gd name="T100" fmla="*/ 157 w 164"/>
                  <a:gd name="T101" fmla="*/ 45 h 78"/>
                  <a:gd name="T102" fmla="*/ 163 w 164"/>
                  <a:gd name="T103" fmla="*/ 45 h 78"/>
                  <a:gd name="T104" fmla="*/ 164 w 164"/>
                  <a:gd name="T105" fmla="*/ 45 h 78"/>
                  <a:gd name="T106" fmla="*/ 160 w 164"/>
                  <a:gd name="T107" fmla="*/ 41 h 78"/>
                  <a:gd name="T108" fmla="*/ 163 w 164"/>
                  <a:gd name="T109" fmla="*/ 31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64" h="78">
                    <a:moveTo>
                      <a:pt x="163" y="29"/>
                    </a:moveTo>
                    <a:lnTo>
                      <a:pt x="160" y="27"/>
                    </a:lnTo>
                    <a:lnTo>
                      <a:pt x="159" y="26"/>
                    </a:lnTo>
                    <a:lnTo>
                      <a:pt x="157" y="25"/>
                    </a:lnTo>
                    <a:lnTo>
                      <a:pt x="154" y="22"/>
                    </a:lnTo>
                    <a:lnTo>
                      <a:pt x="153" y="20"/>
                    </a:lnTo>
                    <a:lnTo>
                      <a:pt x="152" y="19"/>
                    </a:lnTo>
                    <a:lnTo>
                      <a:pt x="150" y="18"/>
                    </a:lnTo>
                    <a:lnTo>
                      <a:pt x="146" y="15"/>
                    </a:lnTo>
                    <a:lnTo>
                      <a:pt x="142" y="15"/>
                    </a:lnTo>
                    <a:lnTo>
                      <a:pt x="137" y="15"/>
                    </a:lnTo>
                    <a:lnTo>
                      <a:pt x="132" y="16"/>
                    </a:lnTo>
                    <a:lnTo>
                      <a:pt x="128" y="18"/>
                    </a:lnTo>
                    <a:lnTo>
                      <a:pt x="126" y="20"/>
                    </a:lnTo>
                    <a:lnTo>
                      <a:pt x="124" y="22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6"/>
                    </a:lnTo>
                    <a:lnTo>
                      <a:pt x="121" y="27"/>
                    </a:lnTo>
                    <a:lnTo>
                      <a:pt x="120" y="27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5" y="27"/>
                    </a:lnTo>
                    <a:lnTo>
                      <a:pt x="112" y="27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6" y="27"/>
                    </a:lnTo>
                    <a:lnTo>
                      <a:pt x="106" y="29"/>
                    </a:lnTo>
                    <a:lnTo>
                      <a:pt x="99" y="31"/>
                    </a:lnTo>
                    <a:lnTo>
                      <a:pt x="99" y="27"/>
                    </a:lnTo>
                    <a:lnTo>
                      <a:pt x="92" y="27"/>
                    </a:lnTo>
                    <a:lnTo>
                      <a:pt x="90" y="23"/>
                    </a:lnTo>
                    <a:lnTo>
                      <a:pt x="79" y="18"/>
                    </a:lnTo>
                    <a:lnTo>
                      <a:pt x="70" y="18"/>
                    </a:lnTo>
                    <a:lnTo>
                      <a:pt x="69" y="8"/>
                    </a:lnTo>
                    <a:lnTo>
                      <a:pt x="53" y="8"/>
                    </a:lnTo>
                    <a:lnTo>
                      <a:pt x="50" y="4"/>
                    </a:lnTo>
                    <a:lnTo>
                      <a:pt x="42" y="4"/>
                    </a:lnTo>
                    <a:lnTo>
                      <a:pt x="39" y="1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3" y="3"/>
                    </a:lnTo>
                    <a:lnTo>
                      <a:pt x="32" y="4"/>
                    </a:lnTo>
                    <a:lnTo>
                      <a:pt x="32" y="5"/>
                    </a:lnTo>
                    <a:lnTo>
                      <a:pt x="32" y="7"/>
                    </a:lnTo>
                    <a:lnTo>
                      <a:pt x="31" y="8"/>
                    </a:lnTo>
                    <a:lnTo>
                      <a:pt x="29" y="8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5" y="4"/>
                    </a:lnTo>
                    <a:lnTo>
                      <a:pt x="25" y="3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2" y="4"/>
                    </a:lnTo>
                    <a:lnTo>
                      <a:pt x="21" y="4"/>
                    </a:lnTo>
                    <a:lnTo>
                      <a:pt x="20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5" y="7"/>
                    </a:lnTo>
                    <a:lnTo>
                      <a:pt x="14" y="7"/>
                    </a:lnTo>
                    <a:lnTo>
                      <a:pt x="13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9"/>
                    </a:lnTo>
                    <a:lnTo>
                      <a:pt x="3" y="9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22"/>
                    </a:lnTo>
                    <a:lnTo>
                      <a:pt x="9" y="23"/>
                    </a:lnTo>
                    <a:lnTo>
                      <a:pt x="13" y="31"/>
                    </a:lnTo>
                    <a:lnTo>
                      <a:pt x="17" y="48"/>
                    </a:lnTo>
                    <a:lnTo>
                      <a:pt x="17" y="49"/>
                    </a:lnTo>
                    <a:lnTo>
                      <a:pt x="18" y="49"/>
                    </a:lnTo>
                    <a:lnTo>
                      <a:pt x="20" y="51"/>
                    </a:lnTo>
                    <a:lnTo>
                      <a:pt x="21" y="52"/>
                    </a:lnTo>
                    <a:lnTo>
                      <a:pt x="21" y="53"/>
                    </a:lnTo>
                    <a:lnTo>
                      <a:pt x="21" y="55"/>
                    </a:lnTo>
                    <a:lnTo>
                      <a:pt x="22" y="55"/>
                    </a:lnTo>
                    <a:lnTo>
                      <a:pt x="24" y="55"/>
                    </a:lnTo>
                    <a:lnTo>
                      <a:pt x="25" y="55"/>
                    </a:lnTo>
                    <a:lnTo>
                      <a:pt x="28" y="56"/>
                    </a:lnTo>
                    <a:lnTo>
                      <a:pt x="31" y="56"/>
                    </a:lnTo>
                    <a:lnTo>
                      <a:pt x="33" y="56"/>
                    </a:lnTo>
                    <a:lnTo>
                      <a:pt x="36" y="55"/>
                    </a:lnTo>
                    <a:lnTo>
                      <a:pt x="37" y="53"/>
                    </a:lnTo>
                    <a:lnTo>
                      <a:pt x="40" y="51"/>
                    </a:lnTo>
                    <a:lnTo>
                      <a:pt x="48" y="51"/>
                    </a:lnTo>
                    <a:lnTo>
                      <a:pt x="48" y="52"/>
                    </a:lnTo>
                    <a:lnTo>
                      <a:pt x="48" y="53"/>
                    </a:lnTo>
                    <a:lnTo>
                      <a:pt x="48" y="56"/>
                    </a:lnTo>
                    <a:lnTo>
                      <a:pt x="51" y="58"/>
                    </a:lnTo>
                    <a:lnTo>
                      <a:pt x="54" y="59"/>
                    </a:lnTo>
                    <a:lnTo>
                      <a:pt x="61" y="60"/>
                    </a:lnTo>
                    <a:lnTo>
                      <a:pt x="69" y="60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3" y="67"/>
                    </a:lnTo>
                    <a:lnTo>
                      <a:pt x="76" y="70"/>
                    </a:lnTo>
                    <a:lnTo>
                      <a:pt x="79" y="73"/>
                    </a:lnTo>
                    <a:lnTo>
                      <a:pt x="80" y="75"/>
                    </a:lnTo>
                    <a:lnTo>
                      <a:pt x="83" y="77"/>
                    </a:lnTo>
                    <a:lnTo>
                      <a:pt x="84" y="77"/>
                    </a:lnTo>
                    <a:lnTo>
                      <a:pt x="87" y="77"/>
                    </a:lnTo>
                    <a:lnTo>
                      <a:pt x="90" y="78"/>
                    </a:lnTo>
                    <a:lnTo>
                      <a:pt x="92" y="78"/>
                    </a:lnTo>
                    <a:lnTo>
                      <a:pt x="97" y="78"/>
                    </a:lnTo>
                    <a:lnTo>
                      <a:pt x="98" y="77"/>
                    </a:lnTo>
                    <a:lnTo>
                      <a:pt x="101" y="75"/>
                    </a:lnTo>
                    <a:lnTo>
                      <a:pt x="102" y="75"/>
                    </a:lnTo>
                    <a:lnTo>
                      <a:pt x="104" y="74"/>
                    </a:lnTo>
                    <a:lnTo>
                      <a:pt x="105" y="73"/>
                    </a:lnTo>
                    <a:lnTo>
                      <a:pt x="108" y="73"/>
                    </a:lnTo>
                    <a:lnTo>
                      <a:pt x="110" y="71"/>
                    </a:lnTo>
                    <a:lnTo>
                      <a:pt x="113" y="71"/>
                    </a:lnTo>
                    <a:lnTo>
                      <a:pt x="116" y="71"/>
                    </a:lnTo>
                    <a:lnTo>
                      <a:pt x="119" y="71"/>
                    </a:lnTo>
                    <a:lnTo>
                      <a:pt x="120" y="70"/>
                    </a:lnTo>
                    <a:lnTo>
                      <a:pt x="121" y="69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2"/>
                    </a:lnTo>
                    <a:lnTo>
                      <a:pt x="123" y="60"/>
                    </a:lnTo>
                    <a:lnTo>
                      <a:pt x="124" y="60"/>
                    </a:lnTo>
                    <a:lnTo>
                      <a:pt x="124" y="59"/>
                    </a:lnTo>
                    <a:lnTo>
                      <a:pt x="126" y="58"/>
                    </a:lnTo>
                    <a:lnTo>
                      <a:pt x="128" y="56"/>
                    </a:lnTo>
                    <a:lnTo>
                      <a:pt x="130" y="55"/>
                    </a:lnTo>
                    <a:lnTo>
                      <a:pt x="132" y="53"/>
                    </a:lnTo>
                    <a:lnTo>
                      <a:pt x="134" y="52"/>
                    </a:lnTo>
                    <a:lnTo>
                      <a:pt x="135" y="52"/>
                    </a:lnTo>
                    <a:lnTo>
                      <a:pt x="138" y="53"/>
                    </a:lnTo>
                    <a:lnTo>
                      <a:pt x="139" y="53"/>
                    </a:lnTo>
                    <a:lnTo>
                      <a:pt x="142" y="53"/>
                    </a:lnTo>
                    <a:lnTo>
                      <a:pt x="145" y="53"/>
                    </a:lnTo>
                    <a:lnTo>
                      <a:pt x="146" y="52"/>
                    </a:lnTo>
                    <a:lnTo>
                      <a:pt x="149" y="52"/>
                    </a:lnTo>
                    <a:lnTo>
                      <a:pt x="150" y="51"/>
                    </a:lnTo>
                    <a:lnTo>
                      <a:pt x="152" y="49"/>
                    </a:lnTo>
                    <a:lnTo>
                      <a:pt x="152" y="48"/>
                    </a:lnTo>
                    <a:lnTo>
                      <a:pt x="153" y="48"/>
                    </a:lnTo>
                    <a:lnTo>
                      <a:pt x="154" y="47"/>
                    </a:lnTo>
                    <a:lnTo>
                      <a:pt x="157" y="45"/>
                    </a:lnTo>
                    <a:lnTo>
                      <a:pt x="159" y="45"/>
                    </a:lnTo>
                    <a:lnTo>
                      <a:pt x="161" y="45"/>
                    </a:lnTo>
                    <a:lnTo>
                      <a:pt x="163" y="45"/>
                    </a:lnTo>
                    <a:lnTo>
                      <a:pt x="164" y="45"/>
                    </a:lnTo>
                    <a:lnTo>
                      <a:pt x="164" y="47"/>
                    </a:lnTo>
                    <a:lnTo>
                      <a:pt x="164" y="45"/>
                    </a:lnTo>
                    <a:lnTo>
                      <a:pt x="163" y="45"/>
                    </a:lnTo>
                    <a:lnTo>
                      <a:pt x="161" y="42"/>
                    </a:lnTo>
                    <a:lnTo>
                      <a:pt x="160" y="41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3" y="31"/>
                    </a:lnTo>
                    <a:lnTo>
                      <a:pt x="163" y="2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79" name="Freeform 911"/>
              <p:cNvSpPr>
                <a:spLocks/>
              </p:cNvSpPr>
              <p:nvPr/>
            </p:nvSpPr>
            <p:spPr bwMode="auto">
              <a:xfrm>
                <a:off x="2943" y="1903"/>
                <a:ext cx="178" cy="145"/>
              </a:xfrm>
              <a:custGeom>
                <a:avLst/>
                <a:gdLst>
                  <a:gd name="T0" fmla="*/ 97 w 178"/>
                  <a:gd name="T1" fmla="*/ 4 h 145"/>
                  <a:gd name="T2" fmla="*/ 92 w 178"/>
                  <a:gd name="T3" fmla="*/ 12 h 145"/>
                  <a:gd name="T4" fmla="*/ 67 w 178"/>
                  <a:gd name="T5" fmla="*/ 22 h 145"/>
                  <a:gd name="T6" fmla="*/ 60 w 178"/>
                  <a:gd name="T7" fmla="*/ 20 h 145"/>
                  <a:gd name="T8" fmla="*/ 56 w 178"/>
                  <a:gd name="T9" fmla="*/ 18 h 145"/>
                  <a:gd name="T10" fmla="*/ 39 w 178"/>
                  <a:gd name="T11" fmla="*/ 26 h 145"/>
                  <a:gd name="T12" fmla="*/ 2 w 178"/>
                  <a:gd name="T13" fmla="*/ 37 h 145"/>
                  <a:gd name="T14" fmla="*/ 2 w 178"/>
                  <a:gd name="T15" fmla="*/ 44 h 145"/>
                  <a:gd name="T16" fmla="*/ 4 w 178"/>
                  <a:gd name="T17" fmla="*/ 56 h 145"/>
                  <a:gd name="T18" fmla="*/ 4 w 178"/>
                  <a:gd name="T19" fmla="*/ 57 h 145"/>
                  <a:gd name="T20" fmla="*/ 2 w 178"/>
                  <a:gd name="T21" fmla="*/ 60 h 145"/>
                  <a:gd name="T22" fmla="*/ 2 w 178"/>
                  <a:gd name="T23" fmla="*/ 62 h 145"/>
                  <a:gd name="T24" fmla="*/ 0 w 178"/>
                  <a:gd name="T25" fmla="*/ 64 h 145"/>
                  <a:gd name="T26" fmla="*/ 0 w 178"/>
                  <a:gd name="T27" fmla="*/ 67 h 145"/>
                  <a:gd name="T28" fmla="*/ 6 w 178"/>
                  <a:gd name="T29" fmla="*/ 74 h 145"/>
                  <a:gd name="T30" fmla="*/ 11 w 178"/>
                  <a:gd name="T31" fmla="*/ 79 h 145"/>
                  <a:gd name="T32" fmla="*/ 11 w 178"/>
                  <a:gd name="T33" fmla="*/ 85 h 145"/>
                  <a:gd name="T34" fmla="*/ 6 w 178"/>
                  <a:gd name="T35" fmla="*/ 88 h 145"/>
                  <a:gd name="T36" fmla="*/ 5 w 178"/>
                  <a:gd name="T37" fmla="*/ 93 h 145"/>
                  <a:gd name="T38" fmla="*/ 6 w 178"/>
                  <a:gd name="T39" fmla="*/ 95 h 145"/>
                  <a:gd name="T40" fmla="*/ 8 w 178"/>
                  <a:gd name="T41" fmla="*/ 97 h 145"/>
                  <a:gd name="T42" fmla="*/ 5 w 178"/>
                  <a:gd name="T43" fmla="*/ 100 h 145"/>
                  <a:gd name="T44" fmla="*/ 6 w 178"/>
                  <a:gd name="T45" fmla="*/ 104 h 145"/>
                  <a:gd name="T46" fmla="*/ 6 w 178"/>
                  <a:gd name="T47" fmla="*/ 106 h 145"/>
                  <a:gd name="T48" fmla="*/ 6 w 178"/>
                  <a:gd name="T49" fmla="*/ 107 h 145"/>
                  <a:gd name="T50" fmla="*/ 6 w 178"/>
                  <a:gd name="T51" fmla="*/ 114 h 145"/>
                  <a:gd name="T52" fmla="*/ 5 w 178"/>
                  <a:gd name="T53" fmla="*/ 118 h 145"/>
                  <a:gd name="T54" fmla="*/ 8 w 178"/>
                  <a:gd name="T55" fmla="*/ 121 h 145"/>
                  <a:gd name="T56" fmla="*/ 12 w 178"/>
                  <a:gd name="T57" fmla="*/ 119 h 145"/>
                  <a:gd name="T58" fmla="*/ 13 w 178"/>
                  <a:gd name="T59" fmla="*/ 115 h 145"/>
                  <a:gd name="T60" fmla="*/ 22 w 178"/>
                  <a:gd name="T61" fmla="*/ 118 h 145"/>
                  <a:gd name="T62" fmla="*/ 50 w 178"/>
                  <a:gd name="T63" fmla="*/ 132 h 145"/>
                  <a:gd name="T64" fmla="*/ 79 w 178"/>
                  <a:gd name="T65" fmla="*/ 141 h 145"/>
                  <a:gd name="T66" fmla="*/ 88 w 178"/>
                  <a:gd name="T67" fmla="*/ 141 h 145"/>
                  <a:gd name="T68" fmla="*/ 97 w 178"/>
                  <a:gd name="T69" fmla="*/ 141 h 145"/>
                  <a:gd name="T70" fmla="*/ 101 w 178"/>
                  <a:gd name="T71" fmla="*/ 141 h 145"/>
                  <a:gd name="T72" fmla="*/ 103 w 178"/>
                  <a:gd name="T73" fmla="*/ 137 h 145"/>
                  <a:gd name="T74" fmla="*/ 106 w 178"/>
                  <a:gd name="T75" fmla="*/ 134 h 145"/>
                  <a:gd name="T76" fmla="*/ 122 w 178"/>
                  <a:gd name="T77" fmla="*/ 129 h 145"/>
                  <a:gd name="T78" fmla="*/ 132 w 178"/>
                  <a:gd name="T79" fmla="*/ 133 h 145"/>
                  <a:gd name="T80" fmla="*/ 139 w 178"/>
                  <a:gd name="T81" fmla="*/ 140 h 145"/>
                  <a:gd name="T82" fmla="*/ 145 w 178"/>
                  <a:gd name="T83" fmla="*/ 143 h 145"/>
                  <a:gd name="T84" fmla="*/ 150 w 178"/>
                  <a:gd name="T85" fmla="*/ 143 h 145"/>
                  <a:gd name="T86" fmla="*/ 176 w 178"/>
                  <a:gd name="T87" fmla="*/ 123 h 145"/>
                  <a:gd name="T88" fmla="*/ 178 w 178"/>
                  <a:gd name="T89" fmla="*/ 119 h 145"/>
                  <a:gd name="T90" fmla="*/ 172 w 178"/>
                  <a:gd name="T91" fmla="*/ 100 h 145"/>
                  <a:gd name="T92" fmla="*/ 161 w 178"/>
                  <a:gd name="T93" fmla="*/ 81 h 145"/>
                  <a:gd name="T94" fmla="*/ 148 w 178"/>
                  <a:gd name="T95" fmla="*/ 70 h 145"/>
                  <a:gd name="T96" fmla="*/ 156 w 178"/>
                  <a:gd name="T97" fmla="*/ 62 h 145"/>
                  <a:gd name="T98" fmla="*/ 156 w 178"/>
                  <a:gd name="T99" fmla="*/ 46 h 145"/>
                  <a:gd name="T100" fmla="*/ 151 w 178"/>
                  <a:gd name="T101" fmla="*/ 30 h 145"/>
                  <a:gd name="T102" fmla="*/ 141 w 178"/>
                  <a:gd name="T103" fmla="*/ 18 h 145"/>
                  <a:gd name="T104" fmla="*/ 133 w 178"/>
                  <a:gd name="T105" fmla="*/ 11 h 145"/>
                  <a:gd name="T106" fmla="*/ 130 w 178"/>
                  <a:gd name="T107" fmla="*/ 7 h 145"/>
                  <a:gd name="T108" fmla="*/ 123 w 178"/>
                  <a:gd name="T109" fmla="*/ 8 h 145"/>
                  <a:gd name="T110" fmla="*/ 114 w 178"/>
                  <a:gd name="T111" fmla="*/ 8 h 145"/>
                  <a:gd name="T112" fmla="*/ 110 w 178"/>
                  <a:gd name="T113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8" h="145">
                    <a:moveTo>
                      <a:pt x="106" y="5"/>
                    </a:moveTo>
                    <a:lnTo>
                      <a:pt x="97" y="0"/>
                    </a:lnTo>
                    <a:lnTo>
                      <a:pt x="97" y="1"/>
                    </a:lnTo>
                    <a:lnTo>
                      <a:pt x="97" y="4"/>
                    </a:lnTo>
                    <a:lnTo>
                      <a:pt x="96" y="5"/>
                    </a:lnTo>
                    <a:lnTo>
                      <a:pt x="95" y="8"/>
                    </a:lnTo>
                    <a:lnTo>
                      <a:pt x="93" y="11"/>
                    </a:lnTo>
                    <a:lnTo>
                      <a:pt x="92" y="12"/>
                    </a:lnTo>
                    <a:lnTo>
                      <a:pt x="92" y="13"/>
                    </a:lnTo>
                    <a:lnTo>
                      <a:pt x="90" y="15"/>
                    </a:lnTo>
                    <a:lnTo>
                      <a:pt x="70" y="22"/>
                    </a:lnTo>
                    <a:lnTo>
                      <a:pt x="67" y="22"/>
                    </a:lnTo>
                    <a:lnTo>
                      <a:pt x="64" y="22"/>
                    </a:lnTo>
                    <a:lnTo>
                      <a:pt x="61" y="22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59" y="20"/>
                    </a:lnTo>
                    <a:lnTo>
                      <a:pt x="59" y="19"/>
                    </a:lnTo>
                    <a:lnTo>
                      <a:pt x="59" y="19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20"/>
                    </a:lnTo>
                    <a:lnTo>
                      <a:pt x="44" y="23"/>
                    </a:lnTo>
                    <a:lnTo>
                      <a:pt x="39" y="26"/>
                    </a:lnTo>
                    <a:lnTo>
                      <a:pt x="35" y="29"/>
                    </a:lnTo>
                    <a:lnTo>
                      <a:pt x="34" y="31"/>
                    </a:lnTo>
                    <a:lnTo>
                      <a:pt x="33" y="31"/>
                    </a:lnTo>
                    <a:lnTo>
                      <a:pt x="2" y="37"/>
                    </a:lnTo>
                    <a:lnTo>
                      <a:pt x="2" y="37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2" y="48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9"/>
                    </a:lnTo>
                    <a:lnTo>
                      <a:pt x="2" y="59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2" y="63"/>
                    </a:lnTo>
                    <a:lnTo>
                      <a:pt x="1" y="63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7"/>
                    </a:lnTo>
                    <a:lnTo>
                      <a:pt x="1" y="68"/>
                    </a:lnTo>
                    <a:lnTo>
                      <a:pt x="1" y="70"/>
                    </a:lnTo>
                    <a:lnTo>
                      <a:pt x="4" y="71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8" y="75"/>
                    </a:lnTo>
                    <a:lnTo>
                      <a:pt x="9" y="77"/>
                    </a:lnTo>
                    <a:lnTo>
                      <a:pt x="11" y="79"/>
                    </a:lnTo>
                    <a:lnTo>
                      <a:pt x="11" y="81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1" y="85"/>
                    </a:lnTo>
                    <a:lnTo>
                      <a:pt x="9" y="85"/>
                    </a:lnTo>
                    <a:lnTo>
                      <a:pt x="9" y="85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5" y="89"/>
                    </a:lnTo>
                    <a:lnTo>
                      <a:pt x="5" y="90"/>
                    </a:lnTo>
                    <a:lnTo>
                      <a:pt x="4" y="92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5" y="93"/>
                    </a:lnTo>
                    <a:lnTo>
                      <a:pt x="6" y="95"/>
                    </a:lnTo>
                    <a:lnTo>
                      <a:pt x="6" y="95"/>
                    </a:lnTo>
                    <a:lnTo>
                      <a:pt x="6" y="96"/>
                    </a:lnTo>
                    <a:lnTo>
                      <a:pt x="6" y="96"/>
                    </a:lnTo>
                    <a:lnTo>
                      <a:pt x="8" y="97"/>
                    </a:lnTo>
                    <a:lnTo>
                      <a:pt x="6" y="97"/>
                    </a:lnTo>
                    <a:lnTo>
                      <a:pt x="6" y="99"/>
                    </a:lnTo>
                    <a:lnTo>
                      <a:pt x="6" y="99"/>
                    </a:lnTo>
                    <a:lnTo>
                      <a:pt x="5" y="100"/>
                    </a:lnTo>
                    <a:lnTo>
                      <a:pt x="5" y="101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6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7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6" y="118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6" y="119"/>
                    </a:lnTo>
                    <a:lnTo>
                      <a:pt x="6" y="119"/>
                    </a:lnTo>
                    <a:lnTo>
                      <a:pt x="8" y="121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12" y="121"/>
                    </a:lnTo>
                    <a:lnTo>
                      <a:pt x="12" y="119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3" y="117"/>
                    </a:lnTo>
                    <a:lnTo>
                      <a:pt x="13" y="115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9" y="115"/>
                    </a:lnTo>
                    <a:lnTo>
                      <a:pt x="22" y="118"/>
                    </a:lnTo>
                    <a:lnTo>
                      <a:pt x="30" y="118"/>
                    </a:lnTo>
                    <a:lnTo>
                      <a:pt x="33" y="122"/>
                    </a:lnTo>
                    <a:lnTo>
                      <a:pt x="49" y="122"/>
                    </a:lnTo>
                    <a:lnTo>
                      <a:pt x="50" y="132"/>
                    </a:lnTo>
                    <a:lnTo>
                      <a:pt x="59" y="132"/>
                    </a:lnTo>
                    <a:lnTo>
                      <a:pt x="70" y="137"/>
                    </a:lnTo>
                    <a:lnTo>
                      <a:pt x="72" y="141"/>
                    </a:lnTo>
                    <a:lnTo>
                      <a:pt x="79" y="141"/>
                    </a:lnTo>
                    <a:lnTo>
                      <a:pt x="79" y="145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8" y="141"/>
                    </a:lnTo>
                    <a:lnTo>
                      <a:pt x="90" y="141"/>
                    </a:lnTo>
                    <a:lnTo>
                      <a:pt x="92" y="141"/>
                    </a:lnTo>
                    <a:lnTo>
                      <a:pt x="95" y="141"/>
                    </a:lnTo>
                    <a:lnTo>
                      <a:pt x="97" y="141"/>
                    </a:lnTo>
                    <a:lnTo>
                      <a:pt x="99" y="141"/>
                    </a:lnTo>
                    <a:lnTo>
                      <a:pt x="100" y="141"/>
                    </a:lnTo>
                    <a:lnTo>
                      <a:pt x="101" y="141"/>
                    </a:lnTo>
                    <a:lnTo>
                      <a:pt x="101" y="141"/>
                    </a:lnTo>
                    <a:lnTo>
                      <a:pt x="103" y="140"/>
                    </a:lnTo>
                    <a:lnTo>
                      <a:pt x="103" y="140"/>
                    </a:lnTo>
                    <a:lnTo>
                      <a:pt x="103" y="139"/>
                    </a:lnTo>
                    <a:lnTo>
                      <a:pt x="103" y="137"/>
                    </a:lnTo>
                    <a:lnTo>
                      <a:pt x="103" y="136"/>
                    </a:lnTo>
                    <a:lnTo>
                      <a:pt x="103" y="136"/>
                    </a:lnTo>
                    <a:lnTo>
                      <a:pt x="104" y="136"/>
                    </a:lnTo>
                    <a:lnTo>
                      <a:pt x="106" y="134"/>
                    </a:lnTo>
                    <a:lnTo>
                      <a:pt x="108" y="132"/>
                    </a:lnTo>
                    <a:lnTo>
                      <a:pt x="112" y="130"/>
                    </a:lnTo>
                    <a:lnTo>
                      <a:pt x="117" y="12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30" y="132"/>
                    </a:lnTo>
                    <a:lnTo>
                      <a:pt x="130" y="132"/>
                    </a:lnTo>
                    <a:lnTo>
                      <a:pt x="132" y="133"/>
                    </a:lnTo>
                    <a:lnTo>
                      <a:pt x="133" y="134"/>
                    </a:lnTo>
                    <a:lnTo>
                      <a:pt x="134" y="136"/>
                    </a:lnTo>
                    <a:lnTo>
                      <a:pt x="137" y="139"/>
                    </a:lnTo>
                    <a:lnTo>
                      <a:pt x="139" y="140"/>
                    </a:lnTo>
                    <a:lnTo>
                      <a:pt x="140" y="141"/>
                    </a:lnTo>
                    <a:lnTo>
                      <a:pt x="143" y="143"/>
                    </a:lnTo>
                    <a:lnTo>
                      <a:pt x="144" y="143"/>
                    </a:lnTo>
                    <a:lnTo>
                      <a:pt x="145" y="143"/>
                    </a:lnTo>
                    <a:lnTo>
                      <a:pt x="147" y="143"/>
                    </a:lnTo>
                    <a:lnTo>
                      <a:pt x="148" y="143"/>
                    </a:lnTo>
                    <a:lnTo>
                      <a:pt x="150" y="143"/>
                    </a:lnTo>
                    <a:lnTo>
                      <a:pt x="150" y="143"/>
                    </a:lnTo>
                    <a:lnTo>
                      <a:pt x="151" y="141"/>
                    </a:lnTo>
                    <a:lnTo>
                      <a:pt x="151" y="140"/>
                    </a:lnTo>
                    <a:lnTo>
                      <a:pt x="176" y="123"/>
                    </a:lnTo>
                    <a:lnTo>
                      <a:pt x="176" y="123"/>
                    </a:lnTo>
                    <a:lnTo>
                      <a:pt x="177" y="123"/>
                    </a:lnTo>
                    <a:lnTo>
                      <a:pt x="177" y="123"/>
                    </a:lnTo>
                    <a:lnTo>
                      <a:pt x="178" y="122"/>
                    </a:lnTo>
                    <a:lnTo>
                      <a:pt x="178" y="119"/>
                    </a:lnTo>
                    <a:lnTo>
                      <a:pt x="177" y="115"/>
                    </a:lnTo>
                    <a:lnTo>
                      <a:pt x="176" y="110"/>
                    </a:lnTo>
                    <a:lnTo>
                      <a:pt x="172" y="101"/>
                    </a:lnTo>
                    <a:lnTo>
                      <a:pt x="172" y="100"/>
                    </a:lnTo>
                    <a:lnTo>
                      <a:pt x="169" y="97"/>
                    </a:lnTo>
                    <a:lnTo>
                      <a:pt x="167" y="92"/>
                    </a:lnTo>
                    <a:lnTo>
                      <a:pt x="163" y="86"/>
                    </a:lnTo>
                    <a:lnTo>
                      <a:pt x="161" y="81"/>
                    </a:lnTo>
                    <a:lnTo>
                      <a:pt x="156" y="75"/>
                    </a:lnTo>
                    <a:lnTo>
                      <a:pt x="152" y="71"/>
                    </a:lnTo>
                    <a:lnTo>
                      <a:pt x="148" y="70"/>
                    </a:lnTo>
                    <a:lnTo>
                      <a:pt x="148" y="70"/>
                    </a:lnTo>
                    <a:lnTo>
                      <a:pt x="150" y="68"/>
                    </a:lnTo>
                    <a:lnTo>
                      <a:pt x="152" y="67"/>
                    </a:lnTo>
                    <a:lnTo>
                      <a:pt x="155" y="64"/>
                    </a:lnTo>
                    <a:lnTo>
                      <a:pt x="156" y="62"/>
                    </a:lnTo>
                    <a:lnTo>
                      <a:pt x="158" y="57"/>
                    </a:lnTo>
                    <a:lnTo>
                      <a:pt x="159" y="53"/>
                    </a:lnTo>
                    <a:lnTo>
                      <a:pt x="158" y="48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55" y="40"/>
                    </a:lnTo>
                    <a:lnTo>
                      <a:pt x="152" y="34"/>
                    </a:lnTo>
                    <a:lnTo>
                      <a:pt x="151" y="30"/>
                    </a:lnTo>
                    <a:lnTo>
                      <a:pt x="148" y="26"/>
                    </a:lnTo>
                    <a:lnTo>
                      <a:pt x="145" y="22"/>
                    </a:lnTo>
                    <a:lnTo>
                      <a:pt x="144" y="19"/>
                    </a:lnTo>
                    <a:lnTo>
                      <a:pt x="141" y="18"/>
                    </a:lnTo>
                    <a:lnTo>
                      <a:pt x="140" y="16"/>
                    </a:lnTo>
                    <a:lnTo>
                      <a:pt x="137" y="15"/>
                    </a:lnTo>
                    <a:lnTo>
                      <a:pt x="134" y="12"/>
                    </a:lnTo>
                    <a:lnTo>
                      <a:pt x="133" y="11"/>
                    </a:lnTo>
                    <a:lnTo>
                      <a:pt x="132" y="8"/>
                    </a:lnTo>
                    <a:lnTo>
                      <a:pt x="130" y="8"/>
                    </a:lnTo>
                    <a:lnTo>
                      <a:pt x="130" y="7"/>
                    </a:lnTo>
                    <a:lnTo>
                      <a:pt x="130" y="7"/>
                    </a:lnTo>
                    <a:lnTo>
                      <a:pt x="129" y="8"/>
                    </a:lnTo>
                    <a:lnTo>
                      <a:pt x="128" y="8"/>
                    </a:lnTo>
                    <a:lnTo>
                      <a:pt x="126" y="8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18" y="9"/>
                    </a:lnTo>
                    <a:lnTo>
                      <a:pt x="115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2" y="8"/>
                    </a:lnTo>
                    <a:lnTo>
                      <a:pt x="111" y="8"/>
                    </a:lnTo>
                    <a:lnTo>
                      <a:pt x="110" y="8"/>
                    </a:lnTo>
                    <a:lnTo>
                      <a:pt x="107" y="8"/>
                    </a:lnTo>
                    <a:lnTo>
                      <a:pt x="107" y="7"/>
                    </a:lnTo>
                    <a:lnTo>
                      <a:pt x="106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0" name="Freeform 912"/>
              <p:cNvSpPr>
                <a:spLocks/>
              </p:cNvSpPr>
              <p:nvPr/>
            </p:nvSpPr>
            <p:spPr bwMode="auto">
              <a:xfrm>
                <a:off x="2943" y="1903"/>
                <a:ext cx="178" cy="145"/>
              </a:xfrm>
              <a:custGeom>
                <a:avLst/>
                <a:gdLst>
                  <a:gd name="T0" fmla="*/ 97 w 178"/>
                  <a:gd name="T1" fmla="*/ 1 h 145"/>
                  <a:gd name="T2" fmla="*/ 95 w 178"/>
                  <a:gd name="T3" fmla="*/ 8 h 145"/>
                  <a:gd name="T4" fmla="*/ 92 w 178"/>
                  <a:gd name="T5" fmla="*/ 13 h 145"/>
                  <a:gd name="T6" fmla="*/ 67 w 178"/>
                  <a:gd name="T7" fmla="*/ 22 h 145"/>
                  <a:gd name="T8" fmla="*/ 60 w 178"/>
                  <a:gd name="T9" fmla="*/ 20 h 145"/>
                  <a:gd name="T10" fmla="*/ 56 w 178"/>
                  <a:gd name="T11" fmla="*/ 18 h 145"/>
                  <a:gd name="T12" fmla="*/ 44 w 178"/>
                  <a:gd name="T13" fmla="*/ 23 h 145"/>
                  <a:gd name="T14" fmla="*/ 34 w 178"/>
                  <a:gd name="T15" fmla="*/ 31 h 145"/>
                  <a:gd name="T16" fmla="*/ 2 w 178"/>
                  <a:gd name="T17" fmla="*/ 38 h 145"/>
                  <a:gd name="T18" fmla="*/ 2 w 178"/>
                  <a:gd name="T19" fmla="*/ 48 h 145"/>
                  <a:gd name="T20" fmla="*/ 4 w 178"/>
                  <a:gd name="T21" fmla="*/ 56 h 145"/>
                  <a:gd name="T22" fmla="*/ 2 w 178"/>
                  <a:gd name="T23" fmla="*/ 59 h 145"/>
                  <a:gd name="T24" fmla="*/ 2 w 178"/>
                  <a:gd name="T25" fmla="*/ 63 h 145"/>
                  <a:gd name="T26" fmla="*/ 0 w 178"/>
                  <a:gd name="T27" fmla="*/ 64 h 145"/>
                  <a:gd name="T28" fmla="*/ 1 w 178"/>
                  <a:gd name="T29" fmla="*/ 68 h 145"/>
                  <a:gd name="T30" fmla="*/ 6 w 178"/>
                  <a:gd name="T31" fmla="*/ 74 h 145"/>
                  <a:gd name="T32" fmla="*/ 11 w 178"/>
                  <a:gd name="T33" fmla="*/ 79 h 145"/>
                  <a:gd name="T34" fmla="*/ 12 w 178"/>
                  <a:gd name="T35" fmla="*/ 84 h 145"/>
                  <a:gd name="T36" fmla="*/ 8 w 178"/>
                  <a:gd name="T37" fmla="*/ 86 h 145"/>
                  <a:gd name="T38" fmla="*/ 5 w 178"/>
                  <a:gd name="T39" fmla="*/ 90 h 145"/>
                  <a:gd name="T40" fmla="*/ 6 w 178"/>
                  <a:gd name="T41" fmla="*/ 95 h 145"/>
                  <a:gd name="T42" fmla="*/ 6 w 178"/>
                  <a:gd name="T43" fmla="*/ 97 h 145"/>
                  <a:gd name="T44" fmla="*/ 5 w 178"/>
                  <a:gd name="T45" fmla="*/ 101 h 145"/>
                  <a:gd name="T46" fmla="*/ 6 w 178"/>
                  <a:gd name="T47" fmla="*/ 106 h 145"/>
                  <a:gd name="T48" fmla="*/ 6 w 178"/>
                  <a:gd name="T49" fmla="*/ 110 h 145"/>
                  <a:gd name="T50" fmla="*/ 6 w 178"/>
                  <a:gd name="T51" fmla="*/ 115 h 145"/>
                  <a:gd name="T52" fmla="*/ 5 w 178"/>
                  <a:gd name="T53" fmla="*/ 118 h 145"/>
                  <a:gd name="T54" fmla="*/ 9 w 178"/>
                  <a:gd name="T55" fmla="*/ 122 h 145"/>
                  <a:gd name="T56" fmla="*/ 12 w 178"/>
                  <a:gd name="T57" fmla="*/ 119 h 145"/>
                  <a:gd name="T58" fmla="*/ 13 w 178"/>
                  <a:gd name="T59" fmla="*/ 115 h 145"/>
                  <a:gd name="T60" fmla="*/ 19 w 178"/>
                  <a:gd name="T61" fmla="*/ 115 h 145"/>
                  <a:gd name="T62" fmla="*/ 33 w 178"/>
                  <a:gd name="T63" fmla="*/ 122 h 145"/>
                  <a:gd name="T64" fmla="*/ 59 w 178"/>
                  <a:gd name="T65" fmla="*/ 132 h 145"/>
                  <a:gd name="T66" fmla="*/ 79 w 178"/>
                  <a:gd name="T67" fmla="*/ 141 h 145"/>
                  <a:gd name="T68" fmla="*/ 86 w 178"/>
                  <a:gd name="T69" fmla="*/ 141 h 145"/>
                  <a:gd name="T70" fmla="*/ 92 w 178"/>
                  <a:gd name="T71" fmla="*/ 141 h 145"/>
                  <a:gd name="T72" fmla="*/ 99 w 178"/>
                  <a:gd name="T73" fmla="*/ 141 h 145"/>
                  <a:gd name="T74" fmla="*/ 103 w 178"/>
                  <a:gd name="T75" fmla="*/ 140 h 145"/>
                  <a:gd name="T76" fmla="*/ 103 w 178"/>
                  <a:gd name="T77" fmla="*/ 136 h 145"/>
                  <a:gd name="T78" fmla="*/ 108 w 178"/>
                  <a:gd name="T79" fmla="*/ 132 h 145"/>
                  <a:gd name="T80" fmla="*/ 122 w 178"/>
                  <a:gd name="T81" fmla="*/ 129 h 145"/>
                  <a:gd name="T82" fmla="*/ 132 w 178"/>
                  <a:gd name="T83" fmla="*/ 133 h 145"/>
                  <a:gd name="T84" fmla="*/ 137 w 178"/>
                  <a:gd name="T85" fmla="*/ 139 h 145"/>
                  <a:gd name="T86" fmla="*/ 143 w 178"/>
                  <a:gd name="T87" fmla="*/ 143 h 145"/>
                  <a:gd name="T88" fmla="*/ 147 w 178"/>
                  <a:gd name="T89" fmla="*/ 143 h 145"/>
                  <a:gd name="T90" fmla="*/ 151 w 178"/>
                  <a:gd name="T91" fmla="*/ 141 h 145"/>
                  <a:gd name="T92" fmla="*/ 177 w 178"/>
                  <a:gd name="T93" fmla="*/ 123 h 145"/>
                  <a:gd name="T94" fmla="*/ 177 w 178"/>
                  <a:gd name="T95" fmla="*/ 115 h 145"/>
                  <a:gd name="T96" fmla="*/ 172 w 178"/>
                  <a:gd name="T97" fmla="*/ 100 h 145"/>
                  <a:gd name="T98" fmla="*/ 163 w 178"/>
                  <a:gd name="T99" fmla="*/ 86 h 145"/>
                  <a:gd name="T100" fmla="*/ 152 w 178"/>
                  <a:gd name="T101" fmla="*/ 71 h 145"/>
                  <a:gd name="T102" fmla="*/ 152 w 178"/>
                  <a:gd name="T103" fmla="*/ 67 h 145"/>
                  <a:gd name="T104" fmla="*/ 158 w 178"/>
                  <a:gd name="T105" fmla="*/ 57 h 145"/>
                  <a:gd name="T106" fmla="*/ 156 w 178"/>
                  <a:gd name="T107" fmla="*/ 46 h 145"/>
                  <a:gd name="T108" fmla="*/ 152 w 178"/>
                  <a:gd name="T109" fmla="*/ 34 h 145"/>
                  <a:gd name="T110" fmla="*/ 145 w 178"/>
                  <a:gd name="T111" fmla="*/ 22 h 145"/>
                  <a:gd name="T112" fmla="*/ 140 w 178"/>
                  <a:gd name="T113" fmla="*/ 16 h 145"/>
                  <a:gd name="T114" fmla="*/ 133 w 178"/>
                  <a:gd name="T115" fmla="*/ 11 h 145"/>
                  <a:gd name="T116" fmla="*/ 130 w 178"/>
                  <a:gd name="T117" fmla="*/ 7 h 145"/>
                  <a:gd name="T118" fmla="*/ 126 w 178"/>
                  <a:gd name="T119" fmla="*/ 8 h 145"/>
                  <a:gd name="T120" fmla="*/ 118 w 178"/>
                  <a:gd name="T121" fmla="*/ 9 h 145"/>
                  <a:gd name="T122" fmla="*/ 112 w 178"/>
                  <a:gd name="T123" fmla="*/ 8 h 145"/>
                  <a:gd name="T124" fmla="*/ 107 w 178"/>
                  <a:gd name="T125" fmla="*/ 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78" h="145">
                    <a:moveTo>
                      <a:pt x="106" y="5"/>
                    </a:moveTo>
                    <a:lnTo>
                      <a:pt x="97" y="0"/>
                    </a:lnTo>
                    <a:lnTo>
                      <a:pt x="97" y="1"/>
                    </a:lnTo>
                    <a:lnTo>
                      <a:pt x="97" y="4"/>
                    </a:lnTo>
                    <a:lnTo>
                      <a:pt x="96" y="5"/>
                    </a:lnTo>
                    <a:lnTo>
                      <a:pt x="95" y="8"/>
                    </a:lnTo>
                    <a:lnTo>
                      <a:pt x="93" y="11"/>
                    </a:lnTo>
                    <a:lnTo>
                      <a:pt x="92" y="12"/>
                    </a:lnTo>
                    <a:lnTo>
                      <a:pt x="92" y="13"/>
                    </a:lnTo>
                    <a:lnTo>
                      <a:pt x="90" y="15"/>
                    </a:lnTo>
                    <a:lnTo>
                      <a:pt x="70" y="22"/>
                    </a:lnTo>
                    <a:lnTo>
                      <a:pt x="67" y="22"/>
                    </a:lnTo>
                    <a:lnTo>
                      <a:pt x="64" y="22"/>
                    </a:lnTo>
                    <a:lnTo>
                      <a:pt x="61" y="22"/>
                    </a:lnTo>
                    <a:lnTo>
                      <a:pt x="60" y="20"/>
                    </a:lnTo>
                    <a:lnTo>
                      <a:pt x="59" y="20"/>
                    </a:lnTo>
                    <a:lnTo>
                      <a:pt x="59" y="19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20"/>
                    </a:lnTo>
                    <a:lnTo>
                      <a:pt x="44" y="23"/>
                    </a:lnTo>
                    <a:lnTo>
                      <a:pt x="39" y="26"/>
                    </a:lnTo>
                    <a:lnTo>
                      <a:pt x="35" y="29"/>
                    </a:lnTo>
                    <a:lnTo>
                      <a:pt x="34" y="31"/>
                    </a:lnTo>
                    <a:lnTo>
                      <a:pt x="33" y="31"/>
                    </a:lnTo>
                    <a:lnTo>
                      <a:pt x="2" y="37"/>
                    </a:lnTo>
                    <a:lnTo>
                      <a:pt x="2" y="38"/>
                    </a:lnTo>
                    <a:lnTo>
                      <a:pt x="2" y="41"/>
                    </a:lnTo>
                    <a:lnTo>
                      <a:pt x="2" y="44"/>
                    </a:lnTo>
                    <a:lnTo>
                      <a:pt x="2" y="48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6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9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3"/>
                    </a:lnTo>
                    <a:lnTo>
                      <a:pt x="1" y="63"/>
                    </a:lnTo>
                    <a:lnTo>
                      <a:pt x="1" y="64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7"/>
                    </a:lnTo>
                    <a:lnTo>
                      <a:pt x="1" y="68"/>
                    </a:lnTo>
                    <a:lnTo>
                      <a:pt x="1" y="70"/>
                    </a:lnTo>
                    <a:lnTo>
                      <a:pt x="4" y="71"/>
                    </a:lnTo>
                    <a:lnTo>
                      <a:pt x="6" y="74"/>
                    </a:lnTo>
                    <a:lnTo>
                      <a:pt x="8" y="75"/>
                    </a:lnTo>
                    <a:lnTo>
                      <a:pt x="9" y="77"/>
                    </a:lnTo>
                    <a:lnTo>
                      <a:pt x="11" y="79"/>
                    </a:lnTo>
                    <a:lnTo>
                      <a:pt x="11" y="81"/>
                    </a:lnTo>
                    <a:lnTo>
                      <a:pt x="12" y="82"/>
                    </a:lnTo>
                    <a:lnTo>
                      <a:pt x="12" y="84"/>
                    </a:lnTo>
                    <a:lnTo>
                      <a:pt x="11" y="85"/>
                    </a:lnTo>
                    <a:lnTo>
                      <a:pt x="9" y="85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5" y="89"/>
                    </a:lnTo>
                    <a:lnTo>
                      <a:pt x="5" y="90"/>
                    </a:lnTo>
                    <a:lnTo>
                      <a:pt x="4" y="92"/>
                    </a:lnTo>
                    <a:lnTo>
                      <a:pt x="5" y="93"/>
                    </a:lnTo>
                    <a:lnTo>
                      <a:pt x="6" y="95"/>
                    </a:lnTo>
                    <a:lnTo>
                      <a:pt x="6" y="96"/>
                    </a:lnTo>
                    <a:lnTo>
                      <a:pt x="8" y="97"/>
                    </a:lnTo>
                    <a:lnTo>
                      <a:pt x="6" y="97"/>
                    </a:lnTo>
                    <a:lnTo>
                      <a:pt x="6" y="99"/>
                    </a:lnTo>
                    <a:lnTo>
                      <a:pt x="5" y="100"/>
                    </a:lnTo>
                    <a:lnTo>
                      <a:pt x="5" y="101"/>
                    </a:lnTo>
                    <a:lnTo>
                      <a:pt x="5" y="103"/>
                    </a:lnTo>
                    <a:lnTo>
                      <a:pt x="6" y="104"/>
                    </a:lnTo>
                    <a:lnTo>
                      <a:pt x="6" y="106"/>
                    </a:lnTo>
                    <a:lnTo>
                      <a:pt x="6" y="107"/>
                    </a:lnTo>
                    <a:lnTo>
                      <a:pt x="6" y="108"/>
                    </a:lnTo>
                    <a:lnTo>
                      <a:pt x="6" y="110"/>
                    </a:lnTo>
                    <a:lnTo>
                      <a:pt x="6" y="111"/>
                    </a:lnTo>
                    <a:lnTo>
                      <a:pt x="6" y="114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6" y="118"/>
                    </a:lnTo>
                    <a:lnTo>
                      <a:pt x="5" y="118"/>
                    </a:lnTo>
                    <a:lnTo>
                      <a:pt x="6" y="119"/>
                    </a:lnTo>
                    <a:lnTo>
                      <a:pt x="8" y="121"/>
                    </a:lnTo>
                    <a:lnTo>
                      <a:pt x="9" y="122"/>
                    </a:lnTo>
                    <a:lnTo>
                      <a:pt x="11" y="122"/>
                    </a:lnTo>
                    <a:lnTo>
                      <a:pt x="12" y="121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3" y="117"/>
                    </a:lnTo>
                    <a:lnTo>
                      <a:pt x="13" y="115"/>
                    </a:lnTo>
                    <a:lnTo>
                      <a:pt x="15" y="114"/>
                    </a:lnTo>
                    <a:lnTo>
                      <a:pt x="17" y="114"/>
                    </a:lnTo>
                    <a:lnTo>
                      <a:pt x="19" y="115"/>
                    </a:lnTo>
                    <a:lnTo>
                      <a:pt x="22" y="118"/>
                    </a:lnTo>
                    <a:lnTo>
                      <a:pt x="30" y="118"/>
                    </a:lnTo>
                    <a:lnTo>
                      <a:pt x="33" y="122"/>
                    </a:lnTo>
                    <a:lnTo>
                      <a:pt x="49" y="122"/>
                    </a:lnTo>
                    <a:lnTo>
                      <a:pt x="50" y="132"/>
                    </a:lnTo>
                    <a:lnTo>
                      <a:pt x="59" y="132"/>
                    </a:lnTo>
                    <a:lnTo>
                      <a:pt x="70" y="137"/>
                    </a:lnTo>
                    <a:lnTo>
                      <a:pt x="72" y="141"/>
                    </a:lnTo>
                    <a:lnTo>
                      <a:pt x="79" y="141"/>
                    </a:lnTo>
                    <a:lnTo>
                      <a:pt x="79" y="145"/>
                    </a:lnTo>
                    <a:lnTo>
                      <a:pt x="86" y="143"/>
                    </a:lnTo>
                    <a:lnTo>
                      <a:pt x="86" y="141"/>
                    </a:lnTo>
                    <a:lnTo>
                      <a:pt x="88" y="141"/>
                    </a:lnTo>
                    <a:lnTo>
                      <a:pt x="90" y="141"/>
                    </a:lnTo>
                    <a:lnTo>
                      <a:pt x="92" y="141"/>
                    </a:lnTo>
                    <a:lnTo>
                      <a:pt x="95" y="141"/>
                    </a:lnTo>
                    <a:lnTo>
                      <a:pt x="97" y="141"/>
                    </a:lnTo>
                    <a:lnTo>
                      <a:pt x="99" y="141"/>
                    </a:lnTo>
                    <a:lnTo>
                      <a:pt x="100" y="141"/>
                    </a:lnTo>
                    <a:lnTo>
                      <a:pt x="101" y="141"/>
                    </a:lnTo>
                    <a:lnTo>
                      <a:pt x="103" y="140"/>
                    </a:lnTo>
                    <a:lnTo>
                      <a:pt x="103" y="139"/>
                    </a:lnTo>
                    <a:lnTo>
                      <a:pt x="103" y="137"/>
                    </a:lnTo>
                    <a:lnTo>
                      <a:pt x="103" y="136"/>
                    </a:lnTo>
                    <a:lnTo>
                      <a:pt x="104" y="136"/>
                    </a:lnTo>
                    <a:lnTo>
                      <a:pt x="106" y="134"/>
                    </a:lnTo>
                    <a:lnTo>
                      <a:pt x="108" y="132"/>
                    </a:lnTo>
                    <a:lnTo>
                      <a:pt x="112" y="130"/>
                    </a:lnTo>
                    <a:lnTo>
                      <a:pt x="117" y="129"/>
                    </a:lnTo>
                    <a:lnTo>
                      <a:pt x="122" y="129"/>
                    </a:lnTo>
                    <a:lnTo>
                      <a:pt x="126" y="129"/>
                    </a:lnTo>
                    <a:lnTo>
                      <a:pt x="130" y="132"/>
                    </a:lnTo>
                    <a:lnTo>
                      <a:pt x="132" y="133"/>
                    </a:lnTo>
                    <a:lnTo>
                      <a:pt x="133" y="134"/>
                    </a:lnTo>
                    <a:lnTo>
                      <a:pt x="134" y="136"/>
                    </a:lnTo>
                    <a:lnTo>
                      <a:pt x="137" y="139"/>
                    </a:lnTo>
                    <a:lnTo>
                      <a:pt x="139" y="140"/>
                    </a:lnTo>
                    <a:lnTo>
                      <a:pt x="140" y="141"/>
                    </a:lnTo>
                    <a:lnTo>
                      <a:pt x="143" y="143"/>
                    </a:lnTo>
                    <a:lnTo>
                      <a:pt x="144" y="143"/>
                    </a:lnTo>
                    <a:lnTo>
                      <a:pt x="145" y="143"/>
                    </a:lnTo>
                    <a:lnTo>
                      <a:pt x="147" y="143"/>
                    </a:lnTo>
                    <a:lnTo>
                      <a:pt x="148" y="143"/>
                    </a:lnTo>
                    <a:lnTo>
                      <a:pt x="150" y="143"/>
                    </a:lnTo>
                    <a:lnTo>
                      <a:pt x="151" y="141"/>
                    </a:lnTo>
                    <a:lnTo>
                      <a:pt x="151" y="140"/>
                    </a:lnTo>
                    <a:lnTo>
                      <a:pt x="176" y="123"/>
                    </a:lnTo>
                    <a:lnTo>
                      <a:pt x="177" y="123"/>
                    </a:lnTo>
                    <a:lnTo>
                      <a:pt x="178" y="122"/>
                    </a:lnTo>
                    <a:lnTo>
                      <a:pt x="178" y="119"/>
                    </a:lnTo>
                    <a:lnTo>
                      <a:pt x="177" y="115"/>
                    </a:lnTo>
                    <a:lnTo>
                      <a:pt x="176" y="110"/>
                    </a:lnTo>
                    <a:lnTo>
                      <a:pt x="172" y="101"/>
                    </a:lnTo>
                    <a:lnTo>
                      <a:pt x="172" y="100"/>
                    </a:lnTo>
                    <a:lnTo>
                      <a:pt x="169" y="97"/>
                    </a:lnTo>
                    <a:lnTo>
                      <a:pt x="167" y="92"/>
                    </a:lnTo>
                    <a:lnTo>
                      <a:pt x="163" y="86"/>
                    </a:lnTo>
                    <a:lnTo>
                      <a:pt x="161" y="81"/>
                    </a:lnTo>
                    <a:lnTo>
                      <a:pt x="156" y="75"/>
                    </a:lnTo>
                    <a:lnTo>
                      <a:pt x="152" y="71"/>
                    </a:lnTo>
                    <a:lnTo>
                      <a:pt x="148" y="70"/>
                    </a:lnTo>
                    <a:lnTo>
                      <a:pt x="150" y="68"/>
                    </a:lnTo>
                    <a:lnTo>
                      <a:pt x="152" y="67"/>
                    </a:lnTo>
                    <a:lnTo>
                      <a:pt x="155" y="64"/>
                    </a:lnTo>
                    <a:lnTo>
                      <a:pt x="156" y="62"/>
                    </a:lnTo>
                    <a:lnTo>
                      <a:pt x="158" y="57"/>
                    </a:lnTo>
                    <a:lnTo>
                      <a:pt x="159" y="53"/>
                    </a:lnTo>
                    <a:lnTo>
                      <a:pt x="158" y="48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55" y="40"/>
                    </a:lnTo>
                    <a:lnTo>
                      <a:pt x="152" y="34"/>
                    </a:lnTo>
                    <a:lnTo>
                      <a:pt x="151" y="30"/>
                    </a:lnTo>
                    <a:lnTo>
                      <a:pt x="148" y="26"/>
                    </a:lnTo>
                    <a:lnTo>
                      <a:pt x="145" y="22"/>
                    </a:lnTo>
                    <a:lnTo>
                      <a:pt x="144" y="19"/>
                    </a:lnTo>
                    <a:lnTo>
                      <a:pt x="141" y="18"/>
                    </a:lnTo>
                    <a:lnTo>
                      <a:pt x="140" y="16"/>
                    </a:lnTo>
                    <a:lnTo>
                      <a:pt x="137" y="15"/>
                    </a:lnTo>
                    <a:lnTo>
                      <a:pt x="134" y="12"/>
                    </a:lnTo>
                    <a:lnTo>
                      <a:pt x="133" y="11"/>
                    </a:lnTo>
                    <a:lnTo>
                      <a:pt x="132" y="8"/>
                    </a:lnTo>
                    <a:lnTo>
                      <a:pt x="130" y="8"/>
                    </a:lnTo>
                    <a:lnTo>
                      <a:pt x="130" y="7"/>
                    </a:lnTo>
                    <a:lnTo>
                      <a:pt x="129" y="8"/>
                    </a:lnTo>
                    <a:lnTo>
                      <a:pt x="128" y="8"/>
                    </a:lnTo>
                    <a:lnTo>
                      <a:pt x="126" y="8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18" y="9"/>
                    </a:lnTo>
                    <a:lnTo>
                      <a:pt x="115" y="8"/>
                    </a:lnTo>
                    <a:lnTo>
                      <a:pt x="114" y="8"/>
                    </a:lnTo>
                    <a:lnTo>
                      <a:pt x="112" y="8"/>
                    </a:lnTo>
                    <a:lnTo>
                      <a:pt x="111" y="8"/>
                    </a:lnTo>
                    <a:lnTo>
                      <a:pt x="110" y="8"/>
                    </a:lnTo>
                    <a:lnTo>
                      <a:pt x="107" y="8"/>
                    </a:lnTo>
                    <a:lnTo>
                      <a:pt x="107" y="7"/>
                    </a:lnTo>
                    <a:lnTo>
                      <a:pt x="106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1" name="Freeform 913"/>
              <p:cNvSpPr>
                <a:spLocks/>
              </p:cNvSpPr>
              <p:nvPr/>
            </p:nvSpPr>
            <p:spPr bwMode="auto">
              <a:xfrm>
                <a:off x="3058" y="2068"/>
                <a:ext cx="121" cy="99"/>
              </a:xfrm>
              <a:custGeom>
                <a:avLst/>
                <a:gdLst>
                  <a:gd name="T0" fmla="*/ 24 w 121"/>
                  <a:gd name="T1" fmla="*/ 7 h 99"/>
                  <a:gd name="T2" fmla="*/ 29 w 121"/>
                  <a:gd name="T3" fmla="*/ 2 h 99"/>
                  <a:gd name="T4" fmla="*/ 40 w 121"/>
                  <a:gd name="T5" fmla="*/ 0 h 99"/>
                  <a:gd name="T6" fmla="*/ 51 w 121"/>
                  <a:gd name="T7" fmla="*/ 1 h 99"/>
                  <a:gd name="T8" fmla="*/ 58 w 121"/>
                  <a:gd name="T9" fmla="*/ 5 h 99"/>
                  <a:gd name="T10" fmla="*/ 66 w 121"/>
                  <a:gd name="T11" fmla="*/ 5 h 99"/>
                  <a:gd name="T12" fmla="*/ 77 w 121"/>
                  <a:gd name="T13" fmla="*/ 5 h 99"/>
                  <a:gd name="T14" fmla="*/ 84 w 121"/>
                  <a:gd name="T15" fmla="*/ 2 h 99"/>
                  <a:gd name="T16" fmla="*/ 85 w 121"/>
                  <a:gd name="T17" fmla="*/ 0 h 99"/>
                  <a:gd name="T18" fmla="*/ 91 w 121"/>
                  <a:gd name="T19" fmla="*/ 1 h 99"/>
                  <a:gd name="T20" fmla="*/ 99 w 121"/>
                  <a:gd name="T21" fmla="*/ 5 h 99"/>
                  <a:gd name="T22" fmla="*/ 106 w 121"/>
                  <a:gd name="T23" fmla="*/ 11 h 99"/>
                  <a:gd name="T24" fmla="*/ 109 w 121"/>
                  <a:gd name="T25" fmla="*/ 18 h 99"/>
                  <a:gd name="T26" fmla="*/ 112 w 121"/>
                  <a:gd name="T27" fmla="*/ 23 h 99"/>
                  <a:gd name="T28" fmla="*/ 114 w 121"/>
                  <a:gd name="T29" fmla="*/ 31 h 99"/>
                  <a:gd name="T30" fmla="*/ 116 w 121"/>
                  <a:gd name="T31" fmla="*/ 42 h 99"/>
                  <a:gd name="T32" fmla="*/ 113 w 121"/>
                  <a:gd name="T33" fmla="*/ 53 h 99"/>
                  <a:gd name="T34" fmla="*/ 113 w 121"/>
                  <a:gd name="T35" fmla="*/ 62 h 99"/>
                  <a:gd name="T36" fmla="*/ 114 w 121"/>
                  <a:gd name="T37" fmla="*/ 68 h 99"/>
                  <a:gd name="T38" fmla="*/ 117 w 121"/>
                  <a:gd name="T39" fmla="*/ 71 h 99"/>
                  <a:gd name="T40" fmla="*/ 121 w 121"/>
                  <a:gd name="T41" fmla="*/ 74 h 99"/>
                  <a:gd name="T42" fmla="*/ 121 w 121"/>
                  <a:gd name="T43" fmla="*/ 75 h 99"/>
                  <a:gd name="T44" fmla="*/ 120 w 121"/>
                  <a:gd name="T45" fmla="*/ 77 h 99"/>
                  <a:gd name="T46" fmla="*/ 118 w 121"/>
                  <a:gd name="T47" fmla="*/ 79 h 99"/>
                  <a:gd name="T48" fmla="*/ 117 w 121"/>
                  <a:gd name="T49" fmla="*/ 82 h 99"/>
                  <a:gd name="T50" fmla="*/ 118 w 121"/>
                  <a:gd name="T51" fmla="*/ 85 h 99"/>
                  <a:gd name="T52" fmla="*/ 118 w 121"/>
                  <a:gd name="T53" fmla="*/ 89 h 99"/>
                  <a:gd name="T54" fmla="*/ 118 w 121"/>
                  <a:gd name="T55" fmla="*/ 95 h 99"/>
                  <a:gd name="T56" fmla="*/ 118 w 121"/>
                  <a:gd name="T57" fmla="*/ 99 h 99"/>
                  <a:gd name="T58" fmla="*/ 117 w 121"/>
                  <a:gd name="T59" fmla="*/ 97 h 99"/>
                  <a:gd name="T60" fmla="*/ 112 w 121"/>
                  <a:gd name="T61" fmla="*/ 93 h 99"/>
                  <a:gd name="T62" fmla="*/ 106 w 121"/>
                  <a:gd name="T63" fmla="*/ 90 h 99"/>
                  <a:gd name="T64" fmla="*/ 101 w 121"/>
                  <a:gd name="T65" fmla="*/ 88 h 99"/>
                  <a:gd name="T66" fmla="*/ 87 w 121"/>
                  <a:gd name="T67" fmla="*/ 84 h 99"/>
                  <a:gd name="T68" fmla="*/ 84 w 121"/>
                  <a:gd name="T69" fmla="*/ 81 h 99"/>
                  <a:gd name="T70" fmla="*/ 80 w 121"/>
                  <a:gd name="T71" fmla="*/ 79 h 99"/>
                  <a:gd name="T72" fmla="*/ 74 w 121"/>
                  <a:gd name="T73" fmla="*/ 77 h 99"/>
                  <a:gd name="T74" fmla="*/ 70 w 121"/>
                  <a:gd name="T75" fmla="*/ 77 h 99"/>
                  <a:gd name="T76" fmla="*/ 66 w 121"/>
                  <a:gd name="T77" fmla="*/ 77 h 99"/>
                  <a:gd name="T78" fmla="*/ 57 w 121"/>
                  <a:gd name="T79" fmla="*/ 78 h 99"/>
                  <a:gd name="T80" fmla="*/ 46 w 121"/>
                  <a:gd name="T81" fmla="*/ 82 h 99"/>
                  <a:gd name="T82" fmla="*/ 40 w 121"/>
                  <a:gd name="T83" fmla="*/ 85 h 99"/>
                  <a:gd name="T84" fmla="*/ 36 w 121"/>
                  <a:gd name="T85" fmla="*/ 85 h 99"/>
                  <a:gd name="T86" fmla="*/ 29 w 121"/>
                  <a:gd name="T87" fmla="*/ 82 h 99"/>
                  <a:gd name="T88" fmla="*/ 17 w 121"/>
                  <a:gd name="T89" fmla="*/ 75 h 99"/>
                  <a:gd name="T90" fmla="*/ 10 w 121"/>
                  <a:gd name="T91" fmla="*/ 68 h 99"/>
                  <a:gd name="T92" fmla="*/ 8 w 121"/>
                  <a:gd name="T93" fmla="*/ 67 h 99"/>
                  <a:gd name="T94" fmla="*/ 6 w 121"/>
                  <a:gd name="T95" fmla="*/ 66 h 99"/>
                  <a:gd name="T96" fmla="*/ 2 w 121"/>
                  <a:gd name="T97" fmla="*/ 63 h 99"/>
                  <a:gd name="T98" fmla="*/ 0 w 121"/>
                  <a:gd name="T99" fmla="*/ 62 h 99"/>
                  <a:gd name="T100" fmla="*/ 4 w 121"/>
                  <a:gd name="T101" fmla="*/ 59 h 99"/>
                  <a:gd name="T102" fmla="*/ 11 w 121"/>
                  <a:gd name="T103" fmla="*/ 53 h 99"/>
                  <a:gd name="T104" fmla="*/ 17 w 121"/>
                  <a:gd name="T105" fmla="*/ 46 h 99"/>
                  <a:gd name="T106" fmla="*/ 18 w 121"/>
                  <a:gd name="T107" fmla="*/ 41 h 99"/>
                  <a:gd name="T108" fmla="*/ 18 w 121"/>
                  <a:gd name="T109" fmla="*/ 31 h 99"/>
                  <a:gd name="T110" fmla="*/ 21 w 121"/>
                  <a:gd name="T111" fmla="*/ 20 h 99"/>
                  <a:gd name="T112" fmla="*/ 22 w 121"/>
                  <a:gd name="T113" fmla="*/ 12 h 99"/>
                  <a:gd name="T114" fmla="*/ 22 w 121"/>
                  <a:gd name="T115" fmla="*/ 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1" h="99">
                    <a:moveTo>
                      <a:pt x="22" y="7"/>
                    </a:moveTo>
                    <a:lnTo>
                      <a:pt x="24" y="7"/>
                    </a:lnTo>
                    <a:lnTo>
                      <a:pt x="26" y="5"/>
                    </a:lnTo>
                    <a:lnTo>
                      <a:pt x="29" y="2"/>
                    </a:lnTo>
                    <a:lnTo>
                      <a:pt x="35" y="1"/>
                    </a:lnTo>
                    <a:lnTo>
                      <a:pt x="40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7" y="4"/>
                    </a:lnTo>
                    <a:lnTo>
                      <a:pt x="58" y="5"/>
                    </a:lnTo>
                    <a:lnTo>
                      <a:pt x="62" y="5"/>
                    </a:lnTo>
                    <a:lnTo>
                      <a:pt x="66" y="5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81" y="4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91" y="1"/>
                    </a:lnTo>
                    <a:lnTo>
                      <a:pt x="94" y="2"/>
                    </a:lnTo>
                    <a:lnTo>
                      <a:pt x="99" y="5"/>
                    </a:lnTo>
                    <a:lnTo>
                      <a:pt x="102" y="8"/>
                    </a:lnTo>
                    <a:lnTo>
                      <a:pt x="106" y="11"/>
                    </a:lnTo>
                    <a:lnTo>
                      <a:pt x="109" y="16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2" y="23"/>
                    </a:lnTo>
                    <a:lnTo>
                      <a:pt x="113" y="27"/>
                    </a:lnTo>
                    <a:lnTo>
                      <a:pt x="114" y="31"/>
                    </a:lnTo>
                    <a:lnTo>
                      <a:pt x="116" y="37"/>
                    </a:lnTo>
                    <a:lnTo>
                      <a:pt x="116" y="42"/>
                    </a:lnTo>
                    <a:lnTo>
                      <a:pt x="114" y="46"/>
                    </a:lnTo>
                    <a:lnTo>
                      <a:pt x="113" y="53"/>
                    </a:lnTo>
                    <a:lnTo>
                      <a:pt x="113" y="57"/>
                    </a:lnTo>
                    <a:lnTo>
                      <a:pt x="113" y="62"/>
                    </a:lnTo>
                    <a:lnTo>
                      <a:pt x="113" y="66"/>
                    </a:lnTo>
                    <a:lnTo>
                      <a:pt x="114" y="68"/>
                    </a:lnTo>
                    <a:lnTo>
                      <a:pt x="116" y="70"/>
                    </a:lnTo>
                    <a:lnTo>
                      <a:pt x="117" y="71"/>
                    </a:lnTo>
                    <a:lnTo>
                      <a:pt x="118" y="73"/>
                    </a:lnTo>
                    <a:lnTo>
                      <a:pt x="121" y="74"/>
                    </a:lnTo>
                    <a:lnTo>
                      <a:pt x="121" y="74"/>
                    </a:lnTo>
                    <a:lnTo>
                      <a:pt x="121" y="75"/>
                    </a:lnTo>
                    <a:lnTo>
                      <a:pt x="120" y="75"/>
                    </a:lnTo>
                    <a:lnTo>
                      <a:pt x="120" y="77"/>
                    </a:lnTo>
                    <a:lnTo>
                      <a:pt x="118" y="78"/>
                    </a:lnTo>
                    <a:lnTo>
                      <a:pt x="118" y="79"/>
                    </a:lnTo>
                    <a:lnTo>
                      <a:pt x="118" y="81"/>
                    </a:lnTo>
                    <a:lnTo>
                      <a:pt x="117" y="82"/>
                    </a:lnTo>
                    <a:lnTo>
                      <a:pt x="117" y="84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18" y="89"/>
                    </a:lnTo>
                    <a:lnTo>
                      <a:pt x="118" y="92"/>
                    </a:lnTo>
                    <a:lnTo>
                      <a:pt x="118" y="95"/>
                    </a:lnTo>
                    <a:lnTo>
                      <a:pt x="118" y="97"/>
                    </a:lnTo>
                    <a:lnTo>
                      <a:pt x="118" y="99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4" y="95"/>
                    </a:lnTo>
                    <a:lnTo>
                      <a:pt x="112" y="93"/>
                    </a:lnTo>
                    <a:lnTo>
                      <a:pt x="109" y="92"/>
                    </a:lnTo>
                    <a:lnTo>
                      <a:pt x="106" y="90"/>
                    </a:lnTo>
                    <a:lnTo>
                      <a:pt x="103" y="89"/>
                    </a:lnTo>
                    <a:lnTo>
                      <a:pt x="101" y="88"/>
                    </a:lnTo>
                    <a:lnTo>
                      <a:pt x="88" y="84"/>
                    </a:lnTo>
                    <a:lnTo>
                      <a:pt x="87" y="84"/>
                    </a:lnTo>
                    <a:lnTo>
                      <a:pt x="85" y="82"/>
                    </a:lnTo>
                    <a:lnTo>
                      <a:pt x="84" y="81"/>
                    </a:lnTo>
                    <a:lnTo>
                      <a:pt x="83" y="81"/>
                    </a:lnTo>
                    <a:lnTo>
                      <a:pt x="80" y="79"/>
                    </a:lnTo>
                    <a:lnTo>
                      <a:pt x="77" y="78"/>
                    </a:lnTo>
                    <a:lnTo>
                      <a:pt x="74" y="77"/>
                    </a:lnTo>
                    <a:lnTo>
                      <a:pt x="72" y="77"/>
                    </a:lnTo>
                    <a:lnTo>
                      <a:pt x="70" y="77"/>
                    </a:lnTo>
                    <a:lnTo>
                      <a:pt x="69" y="77"/>
                    </a:lnTo>
                    <a:lnTo>
                      <a:pt x="66" y="77"/>
                    </a:lnTo>
                    <a:lnTo>
                      <a:pt x="62" y="78"/>
                    </a:lnTo>
                    <a:lnTo>
                      <a:pt x="57" y="78"/>
                    </a:lnTo>
                    <a:lnTo>
                      <a:pt x="51" y="79"/>
                    </a:lnTo>
                    <a:lnTo>
                      <a:pt x="46" y="82"/>
                    </a:lnTo>
                    <a:lnTo>
                      <a:pt x="41" y="85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6" y="85"/>
                    </a:lnTo>
                    <a:lnTo>
                      <a:pt x="33" y="85"/>
                    </a:lnTo>
                    <a:lnTo>
                      <a:pt x="29" y="82"/>
                    </a:lnTo>
                    <a:lnTo>
                      <a:pt x="24" y="79"/>
                    </a:lnTo>
                    <a:lnTo>
                      <a:pt x="17" y="75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6"/>
                    </a:lnTo>
                    <a:lnTo>
                      <a:pt x="6" y="66"/>
                    </a:lnTo>
                    <a:lnTo>
                      <a:pt x="4" y="64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8" y="56"/>
                    </a:lnTo>
                    <a:lnTo>
                      <a:pt x="11" y="53"/>
                    </a:lnTo>
                    <a:lnTo>
                      <a:pt x="14" y="49"/>
                    </a:lnTo>
                    <a:lnTo>
                      <a:pt x="17" y="46"/>
                    </a:lnTo>
                    <a:lnTo>
                      <a:pt x="18" y="42"/>
                    </a:lnTo>
                    <a:lnTo>
                      <a:pt x="18" y="41"/>
                    </a:lnTo>
                    <a:lnTo>
                      <a:pt x="18" y="37"/>
                    </a:lnTo>
                    <a:lnTo>
                      <a:pt x="18" y="31"/>
                    </a:lnTo>
                    <a:lnTo>
                      <a:pt x="19" y="26"/>
                    </a:lnTo>
                    <a:lnTo>
                      <a:pt x="21" y="20"/>
                    </a:lnTo>
                    <a:lnTo>
                      <a:pt x="21" y="15"/>
                    </a:lnTo>
                    <a:lnTo>
                      <a:pt x="22" y="12"/>
                    </a:lnTo>
                    <a:lnTo>
                      <a:pt x="24" y="11"/>
                    </a:lnTo>
                    <a:lnTo>
                      <a:pt x="22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2" name="Freeform 914"/>
              <p:cNvSpPr>
                <a:spLocks/>
              </p:cNvSpPr>
              <p:nvPr/>
            </p:nvSpPr>
            <p:spPr bwMode="auto">
              <a:xfrm>
                <a:off x="3058" y="2068"/>
                <a:ext cx="121" cy="99"/>
              </a:xfrm>
              <a:custGeom>
                <a:avLst/>
                <a:gdLst>
                  <a:gd name="T0" fmla="*/ 24 w 121"/>
                  <a:gd name="T1" fmla="*/ 7 h 99"/>
                  <a:gd name="T2" fmla="*/ 29 w 121"/>
                  <a:gd name="T3" fmla="*/ 2 h 99"/>
                  <a:gd name="T4" fmla="*/ 40 w 121"/>
                  <a:gd name="T5" fmla="*/ 0 h 99"/>
                  <a:gd name="T6" fmla="*/ 51 w 121"/>
                  <a:gd name="T7" fmla="*/ 1 h 99"/>
                  <a:gd name="T8" fmla="*/ 58 w 121"/>
                  <a:gd name="T9" fmla="*/ 5 h 99"/>
                  <a:gd name="T10" fmla="*/ 66 w 121"/>
                  <a:gd name="T11" fmla="*/ 5 h 99"/>
                  <a:gd name="T12" fmla="*/ 77 w 121"/>
                  <a:gd name="T13" fmla="*/ 5 h 99"/>
                  <a:gd name="T14" fmla="*/ 84 w 121"/>
                  <a:gd name="T15" fmla="*/ 2 h 99"/>
                  <a:gd name="T16" fmla="*/ 85 w 121"/>
                  <a:gd name="T17" fmla="*/ 0 h 99"/>
                  <a:gd name="T18" fmla="*/ 91 w 121"/>
                  <a:gd name="T19" fmla="*/ 1 h 99"/>
                  <a:gd name="T20" fmla="*/ 99 w 121"/>
                  <a:gd name="T21" fmla="*/ 5 h 99"/>
                  <a:gd name="T22" fmla="*/ 106 w 121"/>
                  <a:gd name="T23" fmla="*/ 11 h 99"/>
                  <a:gd name="T24" fmla="*/ 109 w 121"/>
                  <a:gd name="T25" fmla="*/ 18 h 99"/>
                  <a:gd name="T26" fmla="*/ 112 w 121"/>
                  <a:gd name="T27" fmla="*/ 23 h 99"/>
                  <a:gd name="T28" fmla="*/ 114 w 121"/>
                  <a:gd name="T29" fmla="*/ 31 h 99"/>
                  <a:gd name="T30" fmla="*/ 116 w 121"/>
                  <a:gd name="T31" fmla="*/ 42 h 99"/>
                  <a:gd name="T32" fmla="*/ 113 w 121"/>
                  <a:gd name="T33" fmla="*/ 53 h 99"/>
                  <a:gd name="T34" fmla="*/ 113 w 121"/>
                  <a:gd name="T35" fmla="*/ 62 h 99"/>
                  <a:gd name="T36" fmla="*/ 114 w 121"/>
                  <a:gd name="T37" fmla="*/ 68 h 99"/>
                  <a:gd name="T38" fmla="*/ 117 w 121"/>
                  <a:gd name="T39" fmla="*/ 71 h 99"/>
                  <a:gd name="T40" fmla="*/ 121 w 121"/>
                  <a:gd name="T41" fmla="*/ 74 h 99"/>
                  <a:gd name="T42" fmla="*/ 120 w 121"/>
                  <a:gd name="T43" fmla="*/ 75 h 99"/>
                  <a:gd name="T44" fmla="*/ 118 w 121"/>
                  <a:gd name="T45" fmla="*/ 78 h 99"/>
                  <a:gd name="T46" fmla="*/ 118 w 121"/>
                  <a:gd name="T47" fmla="*/ 81 h 99"/>
                  <a:gd name="T48" fmla="*/ 117 w 121"/>
                  <a:gd name="T49" fmla="*/ 84 h 99"/>
                  <a:gd name="T50" fmla="*/ 118 w 121"/>
                  <a:gd name="T51" fmla="*/ 86 h 99"/>
                  <a:gd name="T52" fmla="*/ 118 w 121"/>
                  <a:gd name="T53" fmla="*/ 92 h 99"/>
                  <a:gd name="T54" fmla="*/ 118 w 121"/>
                  <a:gd name="T55" fmla="*/ 97 h 99"/>
                  <a:gd name="T56" fmla="*/ 118 w 121"/>
                  <a:gd name="T57" fmla="*/ 97 h 99"/>
                  <a:gd name="T58" fmla="*/ 114 w 121"/>
                  <a:gd name="T59" fmla="*/ 95 h 99"/>
                  <a:gd name="T60" fmla="*/ 109 w 121"/>
                  <a:gd name="T61" fmla="*/ 92 h 99"/>
                  <a:gd name="T62" fmla="*/ 103 w 121"/>
                  <a:gd name="T63" fmla="*/ 89 h 99"/>
                  <a:gd name="T64" fmla="*/ 88 w 121"/>
                  <a:gd name="T65" fmla="*/ 84 h 99"/>
                  <a:gd name="T66" fmla="*/ 85 w 121"/>
                  <a:gd name="T67" fmla="*/ 82 h 99"/>
                  <a:gd name="T68" fmla="*/ 83 w 121"/>
                  <a:gd name="T69" fmla="*/ 81 h 99"/>
                  <a:gd name="T70" fmla="*/ 77 w 121"/>
                  <a:gd name="T71" fmla="*/ 78 h 99"/>
                  <a:gd name="T72" fmla="*/ 72 w 121"/>
                  <a:gd name="T73" fmla="*/ 77 h 99"/>
                  <a:gd name="T74" fmla="*/ 69 w 121"/>
                  <a:gd name="T75" fmla="*/ 77 h 99"/>
                  <a:gd name="T76" fmla="*/ 62 w 121"/>
                  <a:gd name="T77" fmla="*/ 78 h 99"/>
                  <a:gd name="T78" fmla="*/ 51 w 121"/>
                  <a:gd name="T79" fmla="*/ 79 h 99"/>
                  <a:gd name="T80" fmla="*/ 41 w 121"/>
                  <a:gd name="T81" fmla="*/ 85 h 99"/>
                  <a:gd name="T82" fmla="*/ 39 w 121"/>
                  <a:gd name="T83" fmla="*/ 85 h 99"/>
                  <a:gd name="T84" fmla="*/ 33 w 121"/>
                  <a:gd name="T85" fmla="*/ 85 h 99"/>
                  <a:gd name="T86" fmla="*/ 24 w 121"/>
                  <a:gd name="T87" fmla="*/ 79 h 99"/>
                  <a:gd name="T88" fmla="*/ 10 w 121"/>
                  <a:gd name="T89" fmla="*/ 68 h 99"/>
                  <a:gd name="T90" fmla="*/ 7 w 121"/>
                  <a:gd name="T91" fmla="*/ 66 h 99"/>
                  <a:gd name="T92" fmla="*/ 4 w 121"/>
                  <a:gd name="T93" fmla="*/ 64 h 99"/>
                  <a:gd name="T94" fmla="*/ 0 w 121"/>
                  <a:gd name="T95" fmla="*/ 63 h 99"/>
                  <a:gd name="T96" fmla="*/ 3 w 121"/>
                  <a:gd name="T97" fmla="*/ 60 h 99"/>
                  <a:gd name="T98" fmla="*/ 8 w 121"/>
                  <a:gd name="T99" fmla="*/ 56 h 99"/>
                  <a:gd name="T100" fmla="*/ 14 w 121"/>
                  <a:gd name="T101" fmla="*/ 49 h 99"/>
                  <a:gd name="T102" fmla="*/ 18 w 121"/>
                  <a:gd name="T103" fmla="*/ 42 h 99"/>
                  <a:gd name="T104" fmla="*/ 18 w 121"/>
                  <a:gd name="T105" fmla="*/ 37 h 99"/>
                  <a:gd name="T106" fmla="*/ 19 w 121"/>
                  <a:gd name="T107" fmla="*/ 26 h 99"/>
                  <a:gd name="T108" fmla="*/ 21 w 121"/>
                  <a:gd name="T109" fmla="*/ 15 h 99"/>
                  <a:gd name="T110" fmla="*/ 24 w 121"/>
                  <a:gd name="T111" fmla="*/ 11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1" h="99">
                    <a:moveTo>
                      <a:pt x="22" y="7"/>
                    </a:moveTo>
                    <a:lnTo>
                      <a:pt x="24" y="7"/>
                    </a:lnTo>
                    <a:lnTo>
                      <a:pt x="26" y="5"/>
                    </a:lnTo>
                    <a:lnTo>
                      <a:pt x="29" y="2"/>
                    </a:lnTo>
                    <a:lnTo>
                      <a:pt x="35" y="1"/>
                    </a:lnTo>
                    <a:lnTo>
                      <a:pt x="40" y="0"/>
                    </a:lnTo>
                    <a:lnTo>
                      <a:pt x="46" y="0"/>
                    </a:lnTo>
                    <a:lnTo>
                      <a:pt x="51" y="1"/>
                    </a:lnTo>
                    <a:lnTo>
                      <a:pt x="57" y="4"/>
                    </a:lnTo>
                    <a:lnTo>
                      <a:pt x="58" y="5"/>
                    </a:lnTo>
                    <a:lnTo>
                      <a:pt x="62" y="5"/>
                    </a:lnTo>
                    <a:lnTo>
                      <a:pt x="66" y="5"/>
                    </a:lnTo>
                    <a:lnTo>
                      <a:pt x="72" y="5"/>
                    </a:lnTo>
                    <a:lnTo>
                      <a:pt x="77" y="5"/>
                    </a:lnTo>
                    <a:lnTo>
                      <a:pt x="81" y="4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91" y="1"/>
                    </a:lnTo>
                    <a:lnTo>
                      <a:pt x="94" y="2"/>
                    </a:lnTo>
                    <a:lnTo>
                      <a:pt x="99" y="5"/>
                    </a:lnTo>
                    <a:lnTo>
                      <a:pt x="102" y="8"/>
                    </a:lnTo>
                    <a:lnTo>
                      <a:pt x="106" y="11"/>
                    </a:lnTo>
                    <a:lnTo>
                      <a:pt x="109" y="16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2" y="23"/>
                    </a:lnTo>
                    <a:lnTo>
                      <a:pt x="113" y="27"/>
                    </a:lnTo>
                    <a:lnTo>
                      <a:pt x="114" y="31"/>
                    </a:lnTo>
                    <a:lnTo>
                      <a:pt x="116" y="37"/>
                    </a:lnTo>
                    <a:lnTo>
                      <a:pt x="116" y="42"/>
                    </a:lnTo>
                    <a:lnTo>
                      <a:pt x="114" y="46"/>
                    </a:lnTo>
                    <a:lnTo>
                      <a:pt x="113" y="53"/>
                    </a:lnTo>
                    <a:lnTo>
                      <a:pt x="113" y="57"/>
                    </a:lnTo>
                    <a:lnTo>
                      <a:pt x="113" y="62"/>
                    </a:lnTo>
                    <a:lnTo>
                      <a:pt x="113" y="66"/>
                    </a:lnTo>
                    <a:lnTo>
                      <a:pt x="114" y="68"/>
                    </a:lnTo>
                    <a:lnTo>
                      <a:pt x="116" y="70"/>
                    </a:lnTo>
                    <a:lnTo>
                      <a:pt x="117" y="71"/>
                    </a:lnTo>
                    <a:lnTo>
                      <a:pt x="118" y="73"/>
                    </a:lnTo>
                    <a:lnTo>
                      <a:pt x="121" y="74"/>
                    </a:lnTo>
                    <a:lnTo>
                      <a:pt x="121" y="75"/>
                    </a:lnTo>
                    <a:lnTo>
                      <a:pt x="120" y="75"/>
                    </a:lnTo>
                    <a:lnTo>
                      <a:pt x="120" y="77"/>
                    </a:lnTo>
                    <a:lnTo>
                      <a:pt x="118" y="78"/>
                    </a:lnTo>
                    <a:lnTo>
                      <a:pt x="118" y="79"/>
                    </a:lnTo>
                    <a:lnTo>
                      <a:pt x="118" y="81"/>
                    </a:lnTo>
                    <a:lnTo>
                      <a:pt x="117" y="82"/>
                    </a:lnTo>
                    <a:lnTo>
                      <a:pt x="117" y="84"/>
                    </a:lnTo>
                    <a:lnTo>
                      <a:pt x="118" y="85"/>
                    </a:lnTo>
                    <a:lnTo>
                      <a:pt x="118" y="86"/>
                    </a:lnTo>
                    <a:lnTo>
                      <a:pt x="118" y="89"/>
                    </a:lnTo>
                    <a:lnTo>
                      <a:pt x="118" y="92"/>
                    </a:lnTo>
                    <a:lnTo>
                      <a:pt x="118" y="95"/>
                    </a:lnTo>
                    <a:lnTo>
                      <a:pt x="118" y="97"/>
                    </a:lnTo>
                    <a:lnTo>
                      <a:pt x="118" y="99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4" y="95"/>
                    </a:lnTo>
                    <a:lnTo>
                      <a:pt x="112" y="93"/>
                    </a:lnTo>
                    <a:lnTo>
                      <a:pt x="109" y="92"/>
                    </a:lnTo>
                    <a:lnTo>
                      <a:pt x="106" y="90"/>
                    </a:lnTo>
                    <a:lnTo>
                      <a:pt x="103" y="89"/>
                    </a:lnTo>
                    <a:lnTo>
                      <a:pt x="101" y="88"/>
                    </a:lnTo>
                    <a:lnTo>
                      <a:pt x="88" y="84"/>
                    </a:lnTo>
                    <a:lnTo>
                      <a:pt x="87" y="84"/>
                    </a:lnTo>
                    <a:lnTo>
                      <a:pt x="85" y="82"/>
                    </a:lnTo>
                    <a:lnTo>
                      <a:pt x="84" y="81"/>
                    </a:lnTo>
                    <a:lnTo>
                      <a:pt x="83" y="81"/>
                    </a:lnTo>
                    <a:lnTo>
                      <a:pt x="80" y="79"/>
                    </a:lnTo>
                    <a:lnTo>
                      <a:pt x="77" y="78"/>
                    </a:lnTo>
                    <a:lnTo>
                      <a:pt x="74" y="77"/>
                    </a:lnTo>
                    <a:lnTo>
                      <a:pt x="72" y="77"/>
                    </a:lnTo>
                    <a:lnTo>
                      <a:pt x="70" y="77"/>
                    </a:lnTo>
                    <a:lnTo>
                      <a:pt x="69" y="77"/>
                    </a:lnTo>
                    <a:lnTo>
                      <a:pt x="66" y="77"/>
                    </a:lnTo>
                    <a:lnTo>
                      <a:pt x="62" y="78"/>
                    </a:lnTo>
                    <a:lnTo>
                      <a:pt x="57" y="78"/>
                    </a:lnTo>
                    <a:lnTo>
                      <a:pt x="51" y="79"/>
                    </a:lnTo>
                    <a:lnTo>
                      <a:pt x="46" y="82"/>
                    </a:lnTo>
                    <a:lnTo>
                      <a:pt x="41" y="85"/>
                    </a:lnTo>
                    <a:lnTo>
                      <a:pt x="40" y="85"/>
                    </a:lnTo>
                    <a:lnTo>
                      <a:pt x="39" y="85"/>
                    </a:lnTo>
                    <a:lnTo>
                      <a:pt x="36" y="85"/>
                    </a:lnTo>
                    <a:lnTo>
                      <a:pt x="33" y="85"/>
                    </a:lnTo>
                    <a:lnTo>
                      <a:pt x="29" y="82"/>
                    </a:lnTo>
                    <a:lnTo>
                      <a:pt x="24" y="79"/>
                    </a:lnTo>
                    <a:lnTo>
                      <a:pt x="17" y="75"/>
                    </a:lnTo>
                    <a:lnTo>
                      <a:pt x="10" y="68"/>
                    </a:lnTo>
                    <a:lnTo>
                      <a:pt x="8" y="67"/>
                    </a:lnTo>
                    <a:lnTo>
                      <a:pt x="7" y="66"/>
                    </a:lnTo>
                    <a:lnTo>
                      <a:pt x="6" y="66"/>
                    </a:lnTo>
                    <a:lnTo>
                      <a:pt x="4" y="64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8" y="56"/>
                    </a:lnTo>
                    <a:lnTo>
                      <a:pt x="11" y="53"/>
                    </a:lnTo>
                    <a:lnTo>
                      <a:pt x="14" y="49"/>
                    </a:lnTo>
                    <a:lnTo>
                      <a:pt x="17" y="46"/>
                    </a:lnTo>
                    <a:lnTo>
                      <a:pt x="18" y="42"/>
                    </a:lnTo>
                    <a:lnTo>
                      <a:pt x="18" y="41"/>
                    </a:lnTo>
                    <a:lnTo>
                      <a:pt x="18" y="37"/>
                    </a:lnTo>
                    <a:lnTo>
                      <a:pt x="18" y="31"/>
                    </a:lnTo>
                    <a:lnTo>
                      <a:pt x="19" y="26"/>
                    </a:lnTo>
                    <a:lnTo>
                      <a:pt x="21" y="20"/>
                    </a:lnTo>
                    <a:lnTo>
                      <a:pt x="21" y="15"/>
                    </a:lnTo>
                    <a:lnTo>
                      <a:pt x="22" y="12"/>
                    </a:lnTo>
                    <a:lnTo>
                      <a:pt x="24" y="11"/>
                    </a:lnTo>
                    <a:lnTo>
                      <a:pt x="22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3" name="Freeform 915"/>
              <p:cNvSpPr>
                <a:spLocks/>
              </p:cNvSpPr>
              <p:nvPr/>
            </p:nvSpPr>
            <p:spPr bwMode="auto">
              <a:xfrm>
                <a:off x="3130" y="2212"/>
                <a:ext cx="48" cy="54"/>
              </a:xfrm>
              <a:custGeom>
                <a:avLst/>
                <a:gdLst>
                  <a:gd name="T0" fmla="*/ 29 w 48"/>
                  <a:gd name="T1" fmla="*/ 1 h 54"/>
                  <a:gd name="T2" fmla="*/ 30 w 48"/>
                  <a:gd name="T3" fmla="*/ 3 h 54"/>
                  <a:gd name="T4" fmla="*/ 34 w 48"/>
                  <a:gd name="T5" fmla="*/ 8 h 54"/>
                  <a:gd name="T6" fmla="*/ 41 w 48"/>
                  <a:gd name="T7" fmla="*/ 18 h 54"/>
                  <a:gd name="T8" fmla="*/ 48 w 48"/>
                  <a:gd name="T9" fmla="*/ 26 h 54"/>
                  <a:gd name="T10" fmla="*/ 46 w 48"/>
                  <a:gd name="T11" fmla="*/ 29 h 54"/>
                  <a:gd name="T12" fmla="*/ 44 w 48"/>
                  <a:gd name="T13" fmla="*/ 33 h 54"/>
                  <a:gd name="T14" fmla="*/ 41 w 48"/>
                  <a:gd name="T15" fmla="*/ 36 h 54"/>
                  <a:gd name="T16" fmla="*/ 40 w 48"/>
                  <a:gd name="T17" fmla="*/ 36 h 54"/>
                  <a:gd name="T18" fmla="*/ 35 w 48"/>
                  <a:gd name="T19" fmla="*/ 36 h 54"/>
                  <a:gd name="T20" fmla="*/ 31 w 48"/>
                  <a:gd name="T21" fmla="*/ 37 h 54"/>
                  <a:gd name="T22" fmla="*/ 27 w 48"/>
                  <a:gd name="T23" fmla="*/ 37 h 54"/>
                  <a:gd name="T24" fmla="*/ 24 w 48"/>
                  <a:gd name="T25" fmla="*/ 38 h 54"/>
                  <a:gd name="T26" fmla="*/ 23 w 48"/>
                  <a:gd name="T27" fmla="*/ 40 h 54"/>
                  <a:gd name="T28" fmla="*/ 20 w 48"/>
                  <a:gd name="T29" fmla="*/ 41 h 54"/>
                  <a:gd name="T30" fmla="*/ 19 w 48"/>
                  <a:gd name="T31" fmla="*/ 43 h 54"/>
                  <a:gd name="T32" fmla="*/ 18 w 48"/>
                  <a:gd name="T33" fmla="*/ 45 h 54"/>
                  <a:gd name="T34" fmla="*/ 16 w 48"/>
                  <a:gd name="T35" fmla="*/ 45 h 54"/>
                  <a:gd name="T36" fmla="*/ 15 w 48"/>
                  <a:gd name="T37" fmla="*/ 48 h 54"/>
                  <a:gd name="T38" fmla="*/ 12 w 48"/>
                  <a:gd name="T39" fmla="*/ 49 h 54"/>
                  <a:gd name="T40" fmla="*/ 11 w 48"/>
                  <a:gd name="T41" fmla="*/ 51 h 54"/>
                  <a:gd name="T42" fmla="*/ 8 w 48"/>
                  <a:gd name="T43" fmla="*/ 52 h 54"/>
                  <a:gd name="T44" fmla="*/ 4 w 48"/>
                  <a:gd name="T45" fmla="*/ 54 h 54"/>
                  <a:gd name="T46" fmla="*/ 1 w 48"/>
                  <a:gd name="T47" fmla="*/ 52 h 54"/>
                  <a:gd name="T48" fmla="*/ 1 w 48"/>
                  <a:gd name="T49" fmla="*/ 43 h 54"/>
                  <a:gd name="T50" fmla="*/ 2 w 48"/>
                  <a:gd name="T51" fmla="*/ 23 h 54"/>
                  <a:gd name="T52" fmla="*/ 2 w 48"/>
                  <a:gd name="T53" fmla="*/ 19 h 54"/>
                  <a:gd name="T54" fmla="*/ 5 w 48"/>
                  <a:gd name="T55" fmla="*/ 14 h 54"/>
                  <a:gd name="T56" fmla="*/ 9 w 48"/>
                  <a:gd name="T57" fmla="*/ 7 h 54"/>
                  <a:gd name="T58" fmla="*/ 13 w 48"/>
                  <a:gd name="T59" fmla="*/ 4 h 54"/>
                  <a:gd name="T60" fmla="*/ 16 w 48"/>
                  <a:gd name="T61" fmla="*/ 3 h 54"/>
                  <a:gd name="T62" fmla="*/ 20 w 48"/>
                  <a:gd name="T63" fmla="*/ 1 h 54"/>
                  <a:gd name="T64" fmla="*/ 26 w 48"/>
                  <a:gd name="T65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54">
                    <a:moveTo>
                      <a:pt x="29" y="1"/>
                    </a:moveTo>
                    <a:lnTo>
                      <a:pt x="29" y="1"/>
                    </a:lnTo>
                    <a:lnTo>
                      <a:pt x="30" y="1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4" y="8"/>
                    </a:lnTo>
                    <a:lnTo>
                      <a:pt x="37" y="12"/>
                    </a:lnTo>
                    <a:lnTo>
                      <a:pt x="41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5" y="30"/>
                    </a:lnTo>
                    <a:lnTo>
                      <a:pt x="44" y="33"/>
                    </a:lnTo>
                    <a:lnTo>
                      <a:pt x="42" y="34"/>
                    </a:lnTo>
                    <a:lnTo>
                      <a:pt x="41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1" y="37"/>
                    </a:lnTo>
                    <a:lnTo>
                      <a:pt x="29" y="37"/>
                    </a:lnTo>
                    <a:lnTo>
                      <a:pt x="27" y="37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3" y="40"/>
                    </a:lnTo>
                    <a:lnTo>
                      <a:pt x="22" y="40"/>
                    </a:lnTo>
                    <a:lnTo>
                      <a:pt x="20" y="41"/>
                    </a:lnTo>
                    <a:lnTo>
                      <a:pt x="19" y="43"/>
                    </a:lnTo>
                    <a:lnTo>
                      <a:pt x="19" y="43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6" y="45"/>
                    </a:lnTo>
                    <a:lnTo>
                      <a:pt x="16" y="47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2" y="49"/>
                    </a:lnTo>
                    <a:lnTo>
                      <a:pt x="11" y="49"/>
                    </a:lnTo>
                    <a:lnTo>
                      <a:pt x="11" y="51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7" y="52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1" y="52"/>
                    </a:lnTo>
                    <a:lnTo>
                      <a:pt x="0" y="51"/>
                    </a:lnTo>
                    <a:lnTo>
                      <a:pt x="1" y="43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2"/>
                    </a:lnTo>
                    <a:lnTo>
                      <a:pt x="2" y="19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7" y="11"/>
                    </a:lnTo>
                    <a:lnTo>
                      <a:pt x="9" y="7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6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4" name="Freeform 916"/>
              <p:cNvSpPr>
                <a:spLocks/>
              </p:cNvSpPr>
              <p:nvPr/>
            </p:nvSpPr>
            <p:spPr bwMode="auto">
              <a:xfrm>
                <a:off x="3130" y="2212"/>
                <a:ext cx="48" cy="54"/>
              </a:xfrm>
              <a:custGeom>
                <a:avLst/>
                <a:gdLst>
                  <a:gd name="T0" fmla="*/ 29 w 48"/>
                  <a:gd name="T1" fmla="*/ 1 h 54"/>
                  <a:gd name="T2" fmla="*/ 30 w 48"/>
                  <a:gd name="T3" fmla="*/ 1 h 54"/>
                  <a:gd name="T4" fmla="*/ 30 w 48"/>
                  <a:gd name="T5" fmla="*/ 3 h 54"/>
                  <a:gd name="T6" fmla="*/ 31 w 48"/>
                  <a:gd name="T7" fmla="*/ 5 h 54"/>
                  <a:gd name="T8" fmla="*/ 34 w 48"/>
                  <a:gd name="T9" fmla="*/ 8 h 54"/>
                  <a:gd name="T10" fmla="*/ 37 w 48"/>
                  <a:gd name="T11" fmla="*/ 12 h 54"/>
                  <a:gd name="T12" fmla="*/ 41 w 48"/>
                  <a:gd name="T13" fmla="*/ 18 h 54"/>
                  <a:gd name="T14" fmla="*/ 48 w 48"/>
                  <a:gd name="T15" fmla="*/ 26 h 54"/>
                  <a:gd name="T16" fmla="*/ 46 w 48"/>
                  <a:gd name="T17" fmla="*/ 27 h 54"/>
                  <a:gd name="T18" fmla="*/ 46 w 48"/>
                  <a:gd name="T19" fmla="*/ 29 h 54"/>
                  <a:gd name="T20" fmla="*/ 45 w 48"/>
                  <a:gd name="T21" fmla="*/ 30 h 54"/>
                  <a:gd name="T22" fmla="*/ 44 w 48"/>
                  <a:gd name="T23" fmla="*/ 33 h 54"/>
                  <a:gd name="T24" fmla="*/ 42 w 48"/>
                  <a:gd name="T25" fmla="*/ 34 h 54"/>
                  <a:gd name="T26" fmla="*/ 41 w 48"/>
                  <a:gd name="T27" fmla="*/ 36 h 54"/>
                  <a:gd name="T28" fmla="*/ 40 w 48"/>
                  <a:gd name="T29" fmla="*/ 36 h 54"/>
                  <a:gd name="T30" fmla="*/ 38 w 48"/>
                  <a:gd name="T31" fmla="*/ 36 h 54"/>
                  <a:gd name="T32" fmla="*/ 35 w 48"/>
                  <a:gd name="T33" fmla="*/ 36 h 54"/>
                  <a:gd name="T34" fmla="*/ 34 w 48"/>
                  <a:gd name="T35" fmla="*/ 36 h 54"/>
                  <a:gd name="T36" fmla="*/ 31 w 48"/>
                  <a:gd name="T37" fmla="*/ 37 h 54"/>
                  <a:gd name="T38" fmla="*/ 29 w 48"/>
                  <a:gd name="T39" fmla="*/ 37 h 54"/>
                  <a:gd name="T40" fmla="*/ 27 w 48"/>
                  <a:gd name="T41" fmla="*/ 37 h 54"/>
                  <a:gd name="T42" fmla="*/ 24 w 48"/>
                  <a:gd name="T43" fmla="*/ 38 h 54"/>
                  <a:gd name="T44" fmla="*/ 23 w 48"/>
                  <a:gd name="T45" fmla="*/ 40 h 54"/>
                  <a:gd name="T46" fmla="*/ 22 w 48"/>
                  <a:gd name="T47" fmla="*/ 40 h 54"/>
                  <a:gd name="T48" fmla="*/ 20 w 48"/>
                  <a:gd name="T49" fmla="*/ 41 h 54"/>
                  <a:gd name="T50" fmla="*/ 19 w 48"/>
                  <a:gd name="T51" fmla="*/ 43 h 54"/>
                  <a:gd name="T52" fmla="*/ 18 w 48"/>
                  <a:gd name="T53" fmla="*/ 44 h 54"/>
                  <a:gd name="T54" fmla="*/ 18 w 48"/>
                  <a:gd name="T55" fmla="*/ 45 h 54"/>
                  <a:gd name="T56" fmla="*/ 16 w 48"/>
                  <a:gd name="T57" fmla="*/ 45 h 54"/>
                  <a:gd name="T58" fmla="*/ 16 w 48"/>
                  <a:gd name="T59" fmla="*/ 47 h 54"/>
                  <a:gd name="T60" fmla="*/ 15 w 48"/>
                  <a:gd name="T61" fmla="*/ 48 h 54"/>
                  <a:gd name="T62" fmla="*/ 13 w 48"/>
                  <a:gd name="T63" fmla="*/ 48 h 54"/>
                  <a:gd name="T64" fmla="*/ 12 w 48"/>
                  <a:gd name="T65" fmla="*/ 49 h 54"/>
                  <a:gd name="T66" fmla="*/ 11 w 48"/>
                  <a:gd name="T67" fmla="*/ 49 h 54"/>
                  <a:gd name="T68" fmla="*/ 11 w 48"/>
                  <a:gd name="T69" fmla="*/ 51 h 54"/>
                  <a:gd name="T70" fmla="*/ 9 w 48"/>
                  <a:gd name="T71" fmla="*/ 51 h 54"/>
                  <a:gd name="T72" fmla="*/ 8 w 48"/>
                  <a:gd name="T73" fmla="*/ 52 h 54"/>
                  <a:gd name="T74" fmla="*/ 7 w 48"/>
                  <a:gd name="T75" fmla="*/ 52 h 54"/>
                  <a:gd name="T76" fmla="*/ 4 w 48"/>
                  <a:gd name="T77" fmla="*/ 54 h 54"/>
                  <a:gd name="T78" fmla="*/ 2 w 48"/>
                  <a:gd name="T79" fmla="*/ 54 h 54"/>
                  <a:gd name="T80" fmla="*/ 1 w 48"/>
                  <a:gd name="T81" fmla="*/ 52 h 54"/>
                  <a:gd name="T82" fmla="*/ 0 w 48"/>
                  <a:gd name="T83" fmla="*/ 51 h 54"/>
                  <a:gd name="T84" fmla="*/ 1 w 48"/>
                  <a:gd name="T85" fmla="*/ 43 h 54"/>
                  <a:gd name="T86" fmla="*/ 2 w 48"/>
                  <a:gd name="T87" fmla="*/ 25 h 54"/>
                  <a:gd name="T88" fmla="*/ 2 w 48"/>
                  <a:gd name="T89" fmla="*/ 23 h 54"/>
                  <a:gd name="T90" fmla="*/ 2 w 48"/>
                  <a:gd name="T91" fmla="*/ 22 h 54"/>
                  <a:gd name="T92" fmla="*/ 2 w 48"/>
                  <a:gd name="T93" fmla="*/ 19 h 54"/>
                  <a:gd name="T94" fmla="*/ 4 w 48"/>
                  <a:gd name="T95" fmla="*/ 16 h 54"/>
                  <a:gd name="T96" fmla="*/ 5 w 48"/>
                  <a:gd name="T97" fmla="*/ 14 h 54"/>
                  <a:gd name="T98" fmla="*/ 7 w 48"/>
                  <a:gd name="T99" fmla="*/ 11 h 54"/>
                  <a:gd name="T100" fmla="*/ 9 w 48"/>
                  <a:gd name="T101" fmla="*/ 7 h 54"/>
                  <a:gd name="T102" fmla="*/ 13 w 48"/>
                  <a:gd name="T103" fmla="*/ 4 h 54"/>
                  <a:gd name="T104" fmla="*/ 15 w 48"/>
                  <a:gd name="T105" fmla="*/ 4 h 54"/>
                  <a:gd name="T106" fmla="*/ 16 w 48"/>
                  <a:gd name="T107" fmla="*/ 3 h 54"/>
                  <a:gd name="T108" fmla="*/ 18 w 48"/>
                  <a:gd name="T109" fmla="*/ 1 h 54"/>
                  <a:gd name="T110" fmla="*/ 20 w 48"/>
                  <a:gd name="T111" fmla="*/ 1 h 54"/>
                  <a:gd name="T112" fmla="*/ 23 w 48"/>
                  <a:gd name="T113" fmla="*/ 1 h 54"/>
                  <a:gd name="T114" fmla="*/ 26 w 48"/>
                  <a:gd name="T115" fmla="*/ 0 h 54"/>
                  <a:gd name="T116" fmla="*/ 29 w 48"/>
                  <a:gd name="T117" fmla="*/ 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8" h="54">
                    <a:moveTo>
                      <a:pt x="29" y="1"/>
                    </a:moveTo>
                    <a:lnTo>
                      <a:pt x="30" y="1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4" y="8"/>
                    </a:lnTo>
                    <a:lnTo>
                      <a:pt x="37" y="12"/>
                    </a:lnTo>
                    <a:lnTo>
                      <a:pt x="41" y="18"/>
                    </a:lnTo>
                    <a:lnTo>
                      <a:pt x="48" y="26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5" y="30"/>
                    </a:lnTo>
                    <a:lnTo>
                      <a:pt x="44" y="33"/>
                    </a:lnTo>
                    <a:lnTo>
                      <a:pt x="42" y="34"/>
                    </a:lnTo>
                    <a:lnTo>
                      <a:pt x="41" y="36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5" y="36"/>
                    </a:lnTo>
                    <a:lnTo>
                      <a:pt x="34" y="36"/>
                    </a:lnTo>
                    <a:lnTo>
                      <a:pt x="31" y="37"/>
                    </a:lnTo>
                    <a:lnTo>
                      <a:pt x="29" y="37"/>
                    </a:lnTo>
                    <a:lnTo>
                      <a:pt x="27" y="37"/>
                    </a:lnTo>
                    <a:lnTo>
                      <a:pt x="24" y="38"/>
                    </a:lnTo>
                    <a:lnTo>
                      <a:pt x="23" y="40"/>
                    </a:lnTo>
                    <a:lnTo>
                      <a:pt x="22" y="40"/>
                    </a:lnTo>
                    <a:lnTo>
                      <a:pt x="20" y="41"/>
                    </a:lnTo>
                    <a:lnTo>
                      <a:pt x="19" y="43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6" y="45"/>
                    </a:lnTo>
                    <a:lnTo>
                      <a:pt x="16" y="47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2" y="49"/>
                    </a:lnTo>
                    <a:lnTo>
                      <a:pt x="11" y="49"/>
                    </a:lnTo>
                    <a:lnTo>
                      <a:pt x="11" y="51"/>
                    </a:lnTo>
                    <a:lnTo>
                      <a:pt x="9" y="51"/>
                    </a:lnTo>
                    <a:lnTo>
                      <a:pt x="8" y="52"/>
                    </a:lnTo>
                    <a:lnTo>
                      <a:pt x="7" y="52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1" y="52"/>
                    </a:lnTo>
                    <a:lnTo>
                      <a:pt x="0" y="51"/>
                    </a:lnTo>
                    <a:lnTo>
                      <a:pt x="1" y="43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2"/>
                    </a:lnTo>
                    <a:lnTo>
                      <a:pt x="2" y="19"/>
                    </a:lnTo>
                    <a:lnTo>
                      <a:pt x="4" y="16"/>
                    </a:lnTo>
                    <a:lnTo>
                      <a:pt x="5" y="14"/>
                    </a:lnTo>
                    <a:lnTo>
                      <a:pt x="7" y="11"/>
                    </a:lnTo>
                    <a:lnTo>
                      <a:pt x="9" y="7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6" y="3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5" name="Freeform 917"/>
              <p:cNvSpPr>
                <a:spLocks/>
              </p:cNvSpPr>
              <p:nvPr/>
            </p:nvSpPr>
            <p:spPr bwMode="auto">
              <a:xfrm>
                <a:off x="3255" y="2424"/>
                <a:ext cx="322" cy="275"/>
              </a:xfrm>
              <a:custGeom>
                <a:avLst/>
                <a:gdLst>
                  <a:gd name="T0" fmla="*/ 49 w 322"/>
                  <a:gd name="T1" fmla="*/ 24 h 275"/>
                  <a:gd name="T2" fmla="*/ 44 w 322"/>
                  <a:gd name="T3" fmla="*/ 35 h 275"/>
                  <a:gd name="T4" fmla="*/ 33 w 322"/>
                  <a:gd name="T5" fmla="*/ 45 h 275"/>
                  <a:gd name="T6" fmla="*/ 0 w 322"/>
                  <a:gd name="T7" fmla="*/ 48 h 275"/>
                  <a:gd name="T8" fmla="*/ 7 w 322"/>
                  <a:gd name="T9" fmla="*/ 67 h 275"/>
                  <a:gd name="T10" fmla="*/ 14 w 322"/>
                  <a:gd name="T11" fmla="*/ 78 h 275"/>
                  <a:gd name="T12" fmla="*/ 23 w 322"/>
                  <a:gd name="T13" fmla="*/ 92 h 275"/>
                  <a:gd name="T14" fmla="*/ 31 w 322"/>
                  <a:gd name="T15" fmla="*/ 105 h 275"/>
                  <a:gd name="T16" fmla="*/ 42 w 322"/>
                  <a:gd name="T17" fmla="*/ 125 h 275"/>
                  <a:gd name="T18" fmla="*/ 49 w 322"/>
                  <a:gd name="T19" fmla="*/ 134 h 275"/>
                  <a:gd name="T20" fmla="*/ 52 w 322"/>
                  <a:gd name="T21" fmla="*/ 144 h 275"/>
                  <a:gd name="T22" fmla="*/ 62 w 322"/>
                  <a:gd name="T23" fmla="*/ 165 h 275"/>
                  <a:gd name="T24" fmla="*/ 81 w 322"/>
                  <a:gd name="T25" fmla="*/ 200 h 275"/>
                  <a:gd name="T26" fmla="*/ 93 w 322"/>
                  <a:gd name="T27" fmla="*/ 222 h 275"/>
                  <a:gd name="T28" fmla="*/ 107 w 322"/>
                  <a:gd name="T29" fmla="*/ 248 h 275"/>
                  <a:gd name="T30" fmla="*/ 113 w 322"/>
                  <a:gd name="T31" fmla="*/ 254 h 275"/>
                  <a:gd name="T32" fmla="*/ 118 w 322"/>
                  <a:gd name="T33" fmla="*/ 251 h 275"/>
                  <a:gd name="T34" fmla="*/ 121 w 322"/>
                  <a:gd name="T35" fmla="*/ 250 h 275"/>
                  <a:gd name="T36" fmla="*/ 124 w 322"/>
                  <a:gd name="T37" fmla="*/ 240 h 275"/>
                  <a:gd name="T38" fmla="*/ 125 w 322"/>
                  <a:gd name="T39" fmla="*/ 240 h 275"/>
                  <a:gd name="T40" fmla="*/ 128 w 322"/>
                  <a:gd name="T41" fmla="*/ 242 h 275"/>
                  <a:gd name="T42" fmla="*/ 136 w 322"/>
                  <a:gd name="T43" fmla="*/ 242 h 275"/>
                  <a:gd name="T44" fmla="*/ 166 w 322"/>
                  <a:gd name="T45" fmla="*/ 269 h 275"/>
                  <a:gd name="T46" fmla="*/ 176 w 322"/>
                  <a:gd name="T47" fmla="*/ 257 h 275"/>
                  <a:gd name="T48" fmla="*/ 188 w 322"/>
                  <a:gd name="T49" fmla="*/ 242 h 275"/>
                  <a:gd name="T50" fmla="*/ 201 w 322"/>
                  <a:gd name="T51" fmla="*/ 235 h 275"/>
                  <a:gd name="T52" fmla="*/ 232 w 322"/>
                  <a:gd name="T53" fmla="*/ 224 h 275"/>
                  <a:gd name="T54" fmla="*/ 261 w 322"/>
                  <a:gd name="T55" fmla="*/ 217 h 275"/>
                  <a:gd name="T56" fmla="*/ 274 w 322"/>
                  <a:gd name="T57" fmla="*/ 213 h 275"/>
                  <a:gd name="T58" fmla="*/ 301 w 322"/>
                  <a:gd name="T59" fmla="*/ 198 h 275"/>
                  <a:gd name="T60" fmla="*/ 315 w 322"/>
                  <a:gd name="T61" fmla="*/ 184 h 275"/>
                  <a:gd name="T62" fmla="*/ 322 w 322"/>
                  <a:gd name="T63" fmla="*/ 165 h 275"/>
                  <a:gd name="T64" fmla="*/ 319 w 322"/>
                  <a:gd name="T65" fmla="*/ 155 h 275"/>
                  <a:gd name="T66" fmla="*/ 319 w 322"/>
                  <a:gd name="T67" fmla="*/ 149 h 275"/>
                  <a:gd name="T68" fmla="*/ 320 w 322"/>
                  <a:gd name="T69" fmla="*/ 145 h 275"/>
                  <a:gd name="T70" fmla="*/ 278 w 322"/>
                  <a:gd name="T71" fmla="*/ 147 h 275"/>
                  <a:gd name="T72" fmla="*/ 274 w 322"/>
                  <a:gd name="T73" fmla="*/ 144 h 275"/>
                  <a:gd name="T74" fmla="*/ 272 w 322"/>
                  <a:gd name="T75" fmla="*/ 136 h 275"/>
                  <a:gd name="T76" fmla="*/ 261 w 322"/>
                  <a:gd name="T77" fmla="*/ 127 h 275"/>
                  <a:gd name="T78" fmla="*/ 253 w 322"/>
                  <a:gd name="T79" fmla="*/ 130 h 275"/>
                  <a:gd name="T80" fmla="*/ 246 w 322"/>
                  <a:gd name="T81" fmla="*/ 129 h 275"/>
                  <a:gd name="T82" fmla="*/ 241 w 322"/>
                  <a:gd name="T83" fmla="*/ 116 h 275"/>
                  <a:gd name="T84" fmla="*/ 232 w 322"/>
                  <a:gd name="T85" fmla="*/ 101 h 275"/>
                  <a:gd name="T86" fmla="*/ 228 w 322"/>
                  <a:gd name="T87" fmla="*/ 93 h 275"/>
                  <a:gd name="T88" fmla="*/ 183 w 322"/>
                  <a:gd name="T89" fmla="*/ 63 h 275"/>
                  <a:gd name="T90" fmla="*/ 180 w 322"/>
                  <a:gd name="T91" fmla="*/ 60 h 275"/>
                  <a:gd name="T92" fmla="*/ 175 w 322"/>
                  <a:gd name="T93" fmla="*/ 56 h 275"/>
                  <a:gd name="T94" fmla="*/ 169 w 322"/>
                  <a:gd name="T95" fmla="*/ 51 h 275"/>
                  <a:gd name="T96" fmla="*/ 154 w 322"/>
                  <a:gd name="T97" fmla="*/ 40 h 275"/>
                  <a:gd name="T98" fmla="*/ 136 w 322"/>
                  <a:gd name="T99" fmla="*/ 31 h 275"/>
                  <a:gd name="T100" fmla="*/ 81 w 322"/>
                  <a:gd name="T101" fmla="*/ 4 h 275"/>
                  <a:gd name="T102" fmla="*/ 73 w 322"/>
                  <a:gd name="T103" fmla="*/ 0 h 275"/>
                  <a:gd name="T104" fmla="*/ 70 w 322"/>
                  <a:gd name="T105" fmla="*/ 1 h 275"/>
                  <a:gd name="T106" fmla="*/ 65 w 322"/>
                  <a:gd name="T107" fmla="*/ 4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22" h="275">
                    <a:moveTo>
                      <a:pt x="65" y="4"/>
                    </a:moveTo>
                    <a:lnTo>
                      <a:pt x="41" y="9"/>
                    </a:lnTo>
                    <a:lnTo>
                      <a:pt x="49" y="24"/>
                    </a:lnTo>
                    <a:lnTo>
                      <a:pt x="49" y="27"/>
                    </a:lnTo>
                    <a:lnTo>
                      <a:pt x="47" y="31"/>
                    </a:lnTo>
                    <a:lnTo>
                      <a:pt x="44" y="35"/>
                    </a:lnTo>
                    <a:lnTo>
                      <a:pt x="40" y="38"/>
                    </a:lnTo>
                    <a:lnTo>
                      <a:pt x="37" y="42"/>
                    </a:lnTo>
                    <a:lnTo>
                      <a:pt x="33" y="45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0" y="48"/>
                    </a:lnTo>
                    <a:lnTo>
                      <a:pt x="3" y="55"/>
                    </a:lnTo>
                    <a:lnTo>
                      <a:pt x="7" y="66"/>
                    </a:lnTo>
                    <a:lnTo>
                      <a:pt x="7" y="67"/>
                    </a:lnTo>
                    <a:lnTo>
                      <a:pt x="8" y="70"/>
                    </a:lnTo>
                    <a:lnTo>
                      <a:pt x="11" y="74"/>
                    </a:lnTo>
                    <a:lnTo>
                      <a:pt x="14" y="78"/>
                    </a:lnTo>
                    <a:lnTo>
                      <a:pt x="16" y="83"/>
                    </a:lnTo>
                    <a:lnTo>
                      <a:pt x="19" y="88"/>
                    </a:lnTo>
                    <a:lnTo>
                      <a:pt x="23" y="92"/>
                    </a:lnTo>
                    <a:lnTo>
                      <a:pt x="26" y="96"/>
                    </a:lnTo>
                    <a:lnTo>
                      <a:pt x="29" y="100"/>
                    </a:lnTo>
                    <a:lnTo>
                      <a:pt x="31" y="105"/>
                    </a:lnTo>
                    <a:lnTo>
                      <a:pt x="36" y="112"/>
                    </a:lnTo>
                    <a:lnTo>
                      <a:pt x="40" y="118"/>
                    </a:lnTo>
                    <a:lnTo>
                      <a:pt x="42" y="125"/>
                    </a:lnTo>
                    <a:lnTo>
                      <a:pt x="47" y="130"/>
                    </a:lnTo>
                    <a:lnTo>
                      <a:pt x="48" y="133"/>
                    </a:lnTo>
                    <a:lnTo>
                      <a:pt x="49" y="134"/>
                    </a:lnTo>
                    <a:lnTo>
                      <a:pt x="49" y="136"/>
                    </a:lnTo>
                    <a:lnTo>
                      <a:pt x="51" y="140"/>
                    </a:lnTo>
                    <a:lnTo>
                      <a:pt x="52" y="144"/>
                    </a:lnTo>
                    <a:lnTo>
                      <a:pt x="55" y="151"/>
                    </a:lnTo>
                    <a:lnTo>
                      <a:pt x="59" y="158"/>
                    </a:lnTo>
                    <a:lnTo>
                      <a:pt x="62" y="165"/>
                    </a:lnTo>
                    <a:lnTo>
                      <a:pt x="66" y="173"/>
                    </a:lnTo>
                    <a:lnTo>
                      <a:pt x="69" y="180"/>
                    </a:lnTo>
                    <a:lnTo>
                      <a:pt x="81" y="200"/>
                    </a:lnTo>
                    <a:lnTo>
                      <a:pt x="84" y="206"/>
                    </a:lnTo>
                    <a:lnTo>
                      <a:pt x="88" y="213"/>
                    </a:lnTo>
                    <a:lnTo>
                      <a:pt x="93" y="222"/>
                    </a:lnTo>
                    <a:lnTo>
                      <a:pt x="99" y="232"/>
                    </a:lnTo>
                    <a:lnTo>
                      <a:pt x="103" y="242"/>
                    </a:lnTo>
                    <a:lnTo>
                      <a:pt x="107" y="248"/>
                    </a:lnTo>
                    <a:lnTo>
                      <a:pt x="110" y="254"/>
                    </a:lnTo>
                    <a:lnTo>
                      <a:pt x="111" y="257"/>
                    </a:lnTo>
                    <a:lnTo>
                      <a:pt x="113" y="254"/>
                    </a:lnTo>
                    <a:lnTo>
                      <a:pt x="114" y="253"/>
                    </a:lnTo>
                    <a:lnTo>
                      <a:pt x="115" y="251"/>
                    </a:lnTo>
                    <a:lnTo>
                      <a:pt x="118" y="251"/>
                    </a:lnTo>
                    <a:lnTo>
                      <a:pt x="118" y="250"/>
                    </a:lnTo>
                    <a:lnTo>
                      <a:pt x="120" y="250"/>
                    </a:lnTo>
                    <a:lnTo>
                      <a:pt x="121" y="250"/>
                    </a:lnTo>
                    <a:lnTo>
                      <a:pt x="121" y="250"/>
                    </a:lnTo>
                    <a:lnTo>
                      <a:pt x="124" y="244"/>
                    </a:lnTo>
                    <a:lnTo>
                      <a:pt x="124" y="240"/>
                    </a:lnTo>
                    <a:lnTo>
                      <a:pt x="124" y="240"/>
                    </a:lnTo>
                    <a:lnTo>
                      <a:pt x="124" y="240"/>
                    </a:lnTo>
                    <a:lnTo>
                      <a:pt x="125" y="240"/>
                    </a:lnTo>
                    <a:lnTo>
                      <a:pt x="125" y="242"/>
                    </a:lnTo>
                    <a:lnTo>
                      <a:pt x="126" y="242"/>
                    </a:lnTo>
                    <a:lnTo>
                      <a:pt x="128" y="242"/>
                    </a:lnTo>
                    <a:lnTo>
                      <a:pt x="131" y="242"/>
                    </a:lnTo>
                    <a:lnTo>
                      <a:pt x="133" y="242"/>
                    </a:lnTo>
                    <a:lnTo>
                      <a:pt x="136" y="242"/>
                    </a:lnTo>
                    <a:lnTo>
                      <a:pt x="162" y="275"/>
                    </a:lnTo>
                    <a:lnTo>
                      <a:pt x="166" y="270"/>
                    </a:lnTo>
                    <a:lnTo>
                      <a:pt x="166" y="269"/>
                    </a:lnTo>
                    <a:lnTo>
                      <a:pt x="169" y="266"/>
                    </a:lnTo>
                    <a:lnTo>
                      <a:pt x="173" y="262"/>
                    </a:lnTo>
                    <a:lnTo>
                      <a:pt x="176" y="257"/>
                    </a:lnTo>
                    <a:lnTo>
                      <a:pt x="181" y="250"/>
                    </a:lnTo>
                    <a:lnTo>
                      <a:pt x="186" y="246"/>
                    </a:lnTo>
                    <a:lnTo>
                      <a:pt x="188" y="242"/>
                    </a:lnTo>
                    <a:lnTo>
                      <a:pt x="191" y="239"/>
                    </a:lnTo>
                    <a:lnTo>
                      <a:pt x="194" y="237"/>
                    </a:lnTo>
                    <a:lnTo>
                      <a:pt x="201" y="235"/>
                    </a:lnTo>
                    <a:lnTo>
                      <a:pt x="209" y="232"/>
                    </a:lnTo>
                    <a:lnTo>
                      <a:pt x="220" y="228"/>
                    </a:lnTo>
                    <a:lnTo>
                      <a:pt x="232" y="224"/>
                    </a:lnTo>
                    <a:lnTo>
                      <a:pt x="243" y="220"/>
                    </a:lnTo>
                    <a:lnTo>
                      <a:pt x="253" y="218"/>
                    </a:lnTo>
                    <a:lnTo>
                      <a:pt x="261" y="217"/>
                    </a:lnTo>
                    <a:lnTo>
                      <a:pt x="263" y="217"/>
                    </a:lnTo>
                    <a:lnTo>
                      <a:pt x="265" y="215"/>
                    </a:lnTo>
                    <a:lnTo>
                      <a:pt x="274" y="213"/>
                    </a:lnTo>
                    <a:lnTo>
                      <a:pt x="283" y="209"/>
                    </a:lnTo>
                    <a:lnTo>
                      <a:pt x="296" y="202"/>
                    </a:lnTo>
                    <a:lnTo>
                      <a:pt x="301" y="198"/>
                    </a:lnTo>
                    <a:lnTo>
                      <a:pt x="307" y="193"/>
                    </a:lnTo>
                    <a:lnTo>
                      <a:pt x="311" y="189"/>
                    </a:lnTo>
                    <a:lnTo>
                      <a:pt x="315" y="184"/>
                    </a:lnTo>
                    <a:lnTo>
                      <a:pt x="319" y="177"/>
                    </a:lnTo>
                    <a:lnTo>
                      <a:pt x="320" y="171"/>
                    </a:lnTo>
                    <a:lnTo>
                      <a:pt x="322" y="165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9" y="155"/>
                    </a:lnTo>
                    <a:lnTo>
                      <a:pt x="319" y="154"/>
                    </a:lnTo>
                    <a:lnTo>
                      <a:pt x="319" y="152"/>
                    </a:lnTo>
                    <a:lnTo>
                      <a:pt x="319" y="149"/>
                    </a:lnTo>
                    <a:lnTo>
                      <a:pt x="319" y="148"/>
                    </a:lnTo>
                    <a:lnTo>
                      <a:pt x="319" y="147"/>
                    </a:lnTo>
                    <a:lnTo>
                      <a:pt x="320" y="145"/>
                    </a:lnTo>
                    <a:lnTo>
                      <a:pt x="302" y="147"/>
                    </a:lnTo>
                    <a:lnTo>
                      <a:pt x="278" y="147"/>
                    </a:lnTo>
                    <a:lnTo>
                      <a:pt x="278" y="147"/>
                    </a:lnTo>
                    <a:lnTo>
                      <a:pt x="276" y="145"/>
                    </a:lnTo>
                    <a:lnTo>
                      <a:pt x="275" y="145"/>
                    </a:lnTo>
                    <a:lnTo>
                      <a:pt x="274" y="144"/>
                    </a:lnTo>
                    <a:lnTo>
                      <a:pt x="272" y="141"/>
                    </a:lnTo>
                    <a:lnTo>
                      <a:pt x="271" y="138"/>
                    </a:lnTo>
                    <a:lnTo>
                      <a:pt x="272" y="136"/>
                    </a:lnTo>
                    <a:lnTo>
                      <a:pt x="274" y="132"/>
                    </a:lnTo>
                    <a:lnTo>
                      <a:pt x="261" y="127"/>
                    </a:lnTo>
                    <a:lnTo>
                      <a:pt x="261" y="127"/>
                    </a:lnTo>
                    <a:lnTo>
                      <a:pt x="258" y="129"/>
                    </a:lnTo>
                    <a:lnTo>
                      <a:pt x="256" y="129"/>
                    </a:lnTo>
                    <a:lnTo>
                      <a:pt x="253" y="130"/>
                    </a:lnTo>
                    <a:lnTo>
                      <a:pt x="250" y="130"/>
                    </a:lnTo>
                    <a:lnTo>
                      <a:pt x="247" y="129"/>
                    </a:lnTo>
                    <a:lnTo>
                      <a:pt x="246" y="129"/>
                    </a:lnTo>
                    <a:lnTo>
                      <a:pt x="245" y="126"/>
                    </a:lnTo>
                    <a:lnTo>
                      <a:pt x="243" y="122"/>
                    </a:lnTo>
                    <a:lnTo>
                      <a:pt x="241" y="116"/>
                    </a:lnTo>
                    <a:lnTo>
                      <a:pt x="238" y="111"/>
                    </a:lnTo>
                    <a:lnTo>
                      <a:pt x="235" y="107"/>
                    </a:lnTo>
                    <a:lnTo>
                      <a:pt x="232" y="101"/>
                    </a:lnTo>
                    <a:lnTo>
                      <a:pt x="230" y="97"/>
                    </a:lnTo>
                    <a:lnTo>
                      <a:pt x="228" y="94"/>
                    </a:lnTo>
                    <a:lnTo>
                      <a:pt x="228" y="93"/>
                    </a:lnTo>
                    <a:lnTo>
                      <a:pt x="205" y="63"/>
                    </a:lnTo>
                    <a:lnTo>
                      <a:pt x="183" y="63"/>
                    </a:lnTo>
                    <a:lnTo>
                      <a:pt x="183" y="63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0"/>
                    </a:lnTo>
                    <a:lnTo>
                      <a:pt x="179" y="59"/>
                    </a:lnTo>
                    <a:lnTo>
                      <a:pt x="177" y="57"/>
                    </a:lnTo>
                    <a:lnTo>
                      <a:pt x="175" y="56"/>
                    </a:lnTo>
                    <a:lnTo>
                      <a:pt x="172" y="55"/>
                    </a:lnTo>
                    <a:lnTo>
                      <a:pt x="172" y="53"/>
                    </a:lnTo>
                    <a:lnTo>
                      <a:pt x="169" y="51"/>
                    </a:lnTo>
                    <a:lnTo>
                      <a:pt x="165" y="48"/>
                    </a:lnTo>
                    <a:lnTo>
                      <a:pt x="159" y="44"/>
                    </a:lnTo>
                    <a:lnTo>
                      <a:pt x="154" y="40"/>
                    </a:lnTo>
                    <a:lnTo>
                      <a:pt x="148" y="35"/>
                    </a:lnTo>
                    <a:lnTo>
                      <a:pt x="142" y="33"/>
                    </a:lnTo>
                    <a:lnTo>
                      <a:pt x="136" y="31"/>
                    </a:lnTo>
                    <a:lnTo>
                      <a:pt x="122" y="19"/>
                    </a:lnTo>
                    <a:lnTo>
                      <a:pt x="113" y="19"/>
                    </a:lnTo>
                    <a:lnTo>
                      <a:pt x="81" y="4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3" y="0"/>
                    </a:lnTo>
                    <a:lnTo>
                      <a:pt x="71" y="1"/>
                    </a:lnTo>
                    <a:lnTo>
                      <a:pt x="70" y="1"/>
                    </a:lnTo>
                    <a:lnTo>
                      <a:pt x="69" y="2"/>
                    </a:lnTo>
                    <a:lnTo>
                      <a:pt x="67" y="2"/>
                    </a:lnTo>
                    <a:lnTo>
                      <a:pt x="65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6" name="Freeform 918"/>
              <p:cNvSpPr>
                <a:spLocks/>
              </p:cNvSpPr>
              <p:nvPr/>
            </p:nvSpPr>
            <p:spPr bwMode="auto">
              <a:xfrm>
                <a:off x="3255" y="2424"/>
                <a:ext cx="322" cy="275"/>
              </a:xfrm>
              <a:custGeom>
                <a:avLst/>
                <a:gdLst>
                  <a:gd name="T0" fmla="*/ 49 w 322"/>
                  <a:gd name="T1" fmla="*/ 24 h 275"/>
                  <a:gd name="T2" fmla="*/ 44 w 322"/>
                  <a:gd name="T3" fmla="*/ 35 h 275"/>
                  <a:gd name="T4" fmla="*/ 33 w 322"/>
                  <a:gd name="T5" fmla="*/ 45 h 275"/>
                  <a:gd name="T6" fmla="*/ 3 w 322"/>
                  <a:gd name="T7" fmla="*/ 55 h 275"/>
                  <a:gd name="T8" fmla="*/ 8 w 322"/>
                  <a:gd name="T9" fmla="*/ 70 h 275"/>
                  <a:gd name="T10" fmla="*/ 16 w 322"/>
                  <a:gd name="T11" fmla="*/ 83 h 275"/>
                  <a:gd name="T12" fmla="*/ 26 w 322"/>
                  <a:gd name="T13" fmla="*/ 96 h 275"/>
                  <a:gd name="T14" fmla="*/ 36 w 322"/>
                  <a:gd name="T15" fmla="*/ 112 h 275"/>
                  <a:gd name="T16" fmla="*/ 47 w 322"/>
                  <a:gd name="T17" fmla="*/ 130 h 275"/>
                  <a:gd name="T18" fmla="*/ 49 w 322"/>
                  <a:gd name="T19" fmla="*/ 136 h 275"/>
                  <a:gd name="T20" fmla="*/ 55 w 322"/>
                  <a:gd name="T21" fmla="*/ 151 h 275"/>
                  <a:gd name="T22" fmla="*/ 66 w 322"/>
                  <a:gd name="T23" fmla="*/ 173 h 275"/>
                  <a:gd name="T24" fmla="*/ 84 w 322"/>
                  <a:gd name="T25" fmla="*/ 206 h 275"/>
                  <a:gd name="T26" fmla="*/ 99 w 322"/>
                  <a:gd name="T27" fmla="*/ 232 h 275"/>
                  <a:gd name="T28" fmla="*/ 110 w 322"/>
                  <a:gd name="T29" fmla="*/ 254 h 275"/>
                  <a:gd name="T30" fmla="*/ 114 w 322"/>
                  <a:gd name="T31" fmla="*/ 253 h 275"/>
                  <a:gd name="T32" fmla="*/ 118 w 322"/>
                  <a:gd name="T33" fmla="*/ 250 h 275"/>
                  <a:gd name="T34" fmla="*/ 124 w 322"/>
                  <a:gd name="T35" fmla="*/ 244 h 275"/>
                  <a:gd name="T36" fmla="*/ 125 w 322"/>
                  <a:gd name="T37" fmla="*/ 242 h 275"/>
                  <a:gd name="T38" fmla="*/ 131 w 322"/>
                  <a:gd name="T39" fmla="*/ 242 h 275"/>
                  <a:gd name="T40" fmla="*/ 162 w 322"/>
                  <a:gd name="T41" fmla="*/ 275 h 275"/>
                  <a:gd name="T42" fmla="*/ 169 w 322"/>
                  <a:gd name="T43" fmla="*/ 266 h 275"/>
                  <a:gd name="T44" fmla="*/ 181 w 322"/>
                  <a:gd name="T45" fmla="*/ 250 h 275"/>
                  <a:gd name="T46" fmla="*/ 191 w 322"/>
                  <a:gd name="T47" fmla="*/ 239 h 275"/>
                  <a:gd name="T48" fmla="*/ 209 w 322"/>
                  <a:gd name="T49" fmla="*/ 232 h 275"/>
                  <a:gd name="T50" fmla="*/ 243 w 322"/>
                  <a:gd name="T51" fmla="*/ 220 h 275"/>
                  <a:gd name="T52" fmla="*/ 263 w 322"/>
                  <a:gd name="T53" fmla="*/ 217 h 275"/>
                  <a:gd name="T54" fmla="*/ 283 w 322"/>
                  <a:gd name="T55" fmla="*/ 209 h 275"/>
                  <a:gd name="T56" fmla="*/ 307 w 322"/>
                  <a:gd name="T57" fmla="*/ 193 h 275"/>
                  <a:gd name="T58" fmla="*/ 319 w 322"/>
                  <a:gd name="T59" fmla="*/ 177 h 275"/>
                  <a:gd name="T60" fmla="*/ 320 w 322"/>
                  <a:gd name="T61" fmla="*/ 156 h 275"/>
                  <a:gd name="T62" fmla="*/ 319 w 322"/>
                  <a:gd name="T63" fmla="*/ 152 h 275"/>
                  <a:gd name="T64" fmla="*/ 319 w 322"/>
                  <a:gd name="T65" fmla="*/ 147 h 275"/>
                  <a:gd name="T66" fmla="*/ 278 w 322"/>
                  <a:gd name="T67" fmla="*/ 147 h 275"/>
                  <a:gd name="T68" fmla="*/ 274 w 322"/>
                  <a:gd name="T69" fmla="*/ 144 h 275"/>
                  <a:gd name="T70" fmla="*/ 272 w 322"/>
                  <a:gd name="T71" fmla="*/ 136 h 275"/>
                  <a:gd name="T72" fmla="*/ 258 w 322"/>
                  <a:gd name="T73" fmla="*/ 129 h 275"/>
                  <a:gd name="T74" fmla="*/ 250 w 322"/>
                  <a:gd name="T75" fmla="*/ 130 h 275"/>
                  <a:gd name="T76" fmla="*/ 245 w 322"/>
                  <a:gd name="T77" fmla="*/ 126 h 275"/>
                  <a:gd name="T78" fmla="*/ 238 w 322"/>
                  <a:gd name="T79" fmla="*/ 111 h 275"/>
                  <a:gd name="T80" fmla="*/ 230 w 322"/>
                  <a:gd name="T81" fmla="*/ 97 h 275"/>
                  <a:gd name="T82" fmla="*/ 205 w 322"/>
                  <a:gd name="T83" fmla="*/ 63 h 275"/>
                  <a:gd name="T84" fmla="*/ 181 w 322"/>
                  <a:gd name="T85" fmla="*/ 62 h 275"/>
                  <a:gd name="T86" fmla="*/ 177 w 322"/>
                  <a:gd name="T87" fmla="*/ 57 h 275"/>
                  <a:gd name="T88" fmla="*/ 172 w 322"/>
                  <a:gd name="T89" fmla="*/ 53 h 275"/>
                  <a:gd name="T90" fmla="*/ 159 w 322"/>
                  <a:gd name="T91" fmla="*/ 44 h 275"/>
                  <a:gd name="T92" fmla="*/ 142 w 322"/>
                  <a:gd name="T93" fmla="*/ 33 h 275"/>
                  <a:gd name="T94" fmla="*/ 113 w 322"/>
                  <a:gd name="T95" fmla="*/ 19 h 275"/>
                  <a:gd name="T96" fmla="*/ 73 w 322"/>
                  <a:gd name="T97" fmla="*/ 0 h 275"/>
                  <a:gd name="T98" fmla="*/ 69 w 322"/>
                  <a:gd name="T99" fmla="*/ 2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22" h="275">
                    <a:moveTo>
                      <a:pt x="65" y="4"/>
                    </a:moveTo>
                    <a:lnTo>
                      <a:pt x="41" y="9"/>
                    </a:lnTo>
                    <a:lnTo>
                      <a:pt x="49" y="24"/>
                    </a:lnTo>
                    <a:lnTo>
                      <a:pt x="49" y="27"/>
                    </a:lnTo>
                    <a:lnTo>
                      <a:pt x="47" y="31"/>
                    </a:lnTo>
                    <a:lnTo>
                      <a:pt x="44" y="35"/>
                    </a:lnTo>
                    <a:lnTo>
                      <a:pt x="40" y="38"/>
                    </a:lnTo>
                    <a:lnTo>
                      <a:pt x="37" y="42"/>
                    </a:lnTo>
                    <a:lnTo>
                      <a:pt x="33" y="45"/>
                    </a:lnTo>
                    <a:lnTo>
                      <a:pt x="30" y="48"/>
                    </a:lnTo>
                    <a:lnTo>
                      <a:pt x="0" y="48"/>
                    </a:lnTo>
                    <a:lnTo>
                      <a:pt x="3" y="55"/>
                    </a:lnTo>
                    <a:lnTo>
                      <a:pt x="7" y="66"/>
                    </a:lnTo>
                    <a:lnTo>
                      <a:pt x="7" y="67"/>
                    </a:lnTo>
                    <a:lnTo>
                      <a:pt x="8" y="70"/>
                    </a:lnTo>
                    <a:lnTo>
                      <a:pt x="11" y="74"/>
                    </a:lnTo>
                    <a:lnTo>
                      <a:pt x="14" y="78"/>
                    </a:lnTo>
                    <a:lnTo>
                      <a:pt x="16" y="83"/>
                    </a:lnTo>
                    <a:lnTo>
                      <a:pt x="19" y="88"/>
                    </a:lnTo>
                    <a:lnTo>
                      <a:pt x="23" y="92"/>
                    </a:lnTo>
                    <a:lnTo>
                      <a:pt x="26" y="96"/>
                    </a:lnTo>
                    <a:lnTo>
                      <a:pt x="29" y="100"/>
                    </a:lnTo>
                    <a:lnTo>
                      <a:pt x="31" y="105"/>
                    </a:lnTo>
                    <a:lnTo>
                      <a:pt x="36" y="112"/>
                    </a:lnTo>
                    <a:lnTo>
                      <a:pt x="40" y="118"/>
                    </a:lnTo>
                    <a:lnTo>
                      <a:pt x="42" y="125"/>
                    </a:lnTo>
                    <a:lnTo>
                      <a:pt x="47" y="130"/>
                    </a:lnTo>
                    <a:lnTo>
                      <a:pt x="48" y="133"/>
                    </a:lnTo>
                    <a:lnTo>
                      <a:pt x="49" y="134"/>
                    </a:lnTo>
                    <a:lnTo>
                      <a:pt x="49" y="136"/>
                    </a:lnTo>
                    <a:lnTo>
                      <a:pt x="51" y="140"/>
                    </a:lnTo>
                    <a:lnTo>
                      <a:pt x="52" y="144"/>
                    </a:lnTo>
                    <a:lnTo>
                      <a:pt x="55" y="151"/>
                    </a:lnTo>
                    <a:lnTo>
                      <a:pt x="59" y="158"/>
                    </a:lnTo>
                    <a:lnTo>
                      <a:pt x="62" y="165"/>
                    </a:lnTo>
                    <a:lnTo>
                      <a:pt x="66" y="173"/>
                    </a:lnTo>
                    <a:lnTo>
                      <a:pt x="69" y="180"/>
                    </a:lnTo>
                    <a:lnTo>
                      <a:pt x="81" y="200"/>
                    </a:lnTo>
                    <a:lnTo>
                      <a:pt x="84" y="206"/>
                    </a:lnTo>
                    <a:lnTo>
                      <a:pt x="88" y="213"/>
                    </a:lnTo>
                    <a:lnTo>
                      <a:pt x="93" y="222"/>
                    </a:lnTo>
                    <a:lnTo>
                      <a:pt x="99" y="232"/>
                    </a:lnTo>
                    <a:lnTo>
                      <a:pt x="103" y="242"/>
                    </a:lnTo>
                    <a:lnTo>
                      <a:pt x="107" y="248"/>
                    </a:lnTo>
                    <a:lnTo>
                      <a:pt x="110" y="254"/>
                    </a:lnTo>
                    <a:lnTo>
                      <a:pt x="111" y="257"/>
                    </a:lnTo>
                    <a:lnTo>
                      <a:pt x="113" y="254"/>
                    </a:lnTo>
                    <a:lnTo>
                      <a:pt x="114" y="253"/>
                    </a:lnTo>
                    <a:lnTo>
                      <a:pt x="115" y="251"/>
                    </a:lnTo>
                    <a:lnTo>
                      <a:pt x="118" y="251"/>
                    </a:lnTo>
                    <a:lnTo>
                      <a:pt x="118" y="250"/>
                    </a:lnTo>
                    <a:lnTo>
                      <a:pt x="120" y="250"/>
                    </a:lnTo>
                    <a:lnTo>
                      <a:pt x="121" y="250"/>
                    </a:lnTo>
                    <a:lnTo>
                      <a:pt x="124" y="244"/>
                    </a:lnTo>
                    <a:lnTo>
                      <a:pt x="124" y="240"/>
                    </a:lnTo>
                    <a:lnTo>
                      <a:pt x="125" y="240"/>
                    </a:lnTo>
                    <a:lnTo>
                      <a:pt x="125" y="242"/>
                    </a:lnTo>
                    <a:lnTo>
                      <a:pt x="126" y="242"/>
                    </a:lnTo>
                    <a:lnTo>
                      <a:pt x="128" y="242"/>
                    </a:lnTo>
                    <a:lnTo>
                      <a:pt x="131" y="242"/>
                    </a:lnTo>
                    <a:lnTo>
                      <a:pt x="133" y="242"/>
                    </a:lnTo>
                    <a:lnTo>
                      <a:pt x="136" y="242"/>
                    </a:lnTo>
                    <a:lnTo>
                      <a:pt x="162" y="275"/>
                    </a:lnTo>
                    <a:lnTo>
                      <a:pt x="166" y="270"/>
                    </a:lnTo>
                    <a:lnTo>
                      <a:pt x="166" y="269"/>
                    </a:lnTo>
                    <a:lnTo>
                      <a:pt x="169" y="266"/>
                    </a:lnTo>
                    <a:lnTo>
                      <a:pt x="173" y="262"/>
                    </a:lnTo>
                    <a:lnTo>
                      <a:pt x="176" y="257"/>
                    </a:lnTo>
                    <a:lnTo>
                      <a:pt x="181" y="250"/>
                    </a:lnTo>
                    <a:lnTo>
                      <a:pt x="186" y="246"/>
                    </a:lnTo>
                    <a:lnTo>
                      <a:pt x="188" y="242"/>
                    </a:lnTo>
                    <a:lnTo>
                      <a:pt x="191" y="239"/>
                    </a:lnTo>
                    <a:lnTo>
                      <a:pt x="194" y="237"/>
                    </a:lnTo>
                    <a:lnTo>
                      <a:pt x="201" y="235"/>
                    </a:lnTo>
                    <a:lnTo>
                      <a:pt x="209" y="232"/>
                    </a:lnTo>
                    <a:lnTo>
                      <a:pt x="220" y="228"/>
                    </a:lnTo>
                    <a:lnTo>
                      <a:pt x="232" y="224"/>
                    </a:lnTo>
                    <a:lnTo>
                      <a:pt x="243" y="220"/>
                    </a:lnTo>
                    <a:lnTo>
                      <a:pt x="253" y="218"/>
                    </a:lnTo>
                    <a:lnTo>
                      <a:pt x="261" y="217"/>
                    </a:lnTo>
                    <a:lnTo>
                      <a:pt x="263" y="217"/>
                    </a:lnTo>
                    <a:lnTo>
                      <a:pt x="265" y="215"/>
                    </a:lnTo>
                    <a:lnTo>
                      <a:pt x="274" y="213"/>
                    </a:lnTo>
                    <a:lnTo>
                      <a:pt x="283" y="209"/>
                    </a:lnTo>
                    <a:lnTo>
                      <a:pt x="296" y="202"/>
                    </a:lnTo>
                    <a:lnTo>
                      <a:pt x="301" y="198"/>
                    </a:lnTo>
                    <a:lnTo>
                      <a:pt x="307" y="193"/>
                    </a:lnTo>
                    <a:lnTo>
                      <a:pt x="311" y="189"/>
                    </a:lnTo>
                    <a:lnTo>
                      <a:pt x="315" y="184"/>
                    </a:lnTo>
                    <a:lnTo>
                      <a:pt x="319" y="177"/>
                    </a:lnTo>
                    <a:lnTo>
                      <a:pt x="320" y="171"/>
                    </a:lnTo>
                    <a:lnTo>
                      <a:pt x="322" y="165"/>
                    </a:lnTo>
                    <a:lnTo>
                      <a:pt x="320" y="156"/>
                    </a:lnTo>
                    <a:lnTo>
                      <a:pt x="319" y="155"/>
                    </a:lnTo>
                    <a:lnTo>
                      <a:pt x="319" y="154"/>
                    </a:lnTo>
                    <a:lnTo>
                      <a:pt x="319" y="152"/>
                    </a:lnTo>
                    <a:lnTo>
                      <a:pt x="319" y="149"/>
                    </a:lnTo>
                    <a:lnTo>
                      <a:pt x="319" y="148"/>
                    </a:lnTo>
                    <a:lnTo>
                      <a:pt x="319" y="147"/>
                    </a:lnTo>
                    <a:lnTo>
                      <a:pt x="320" y="145"/>
                    </a:lnTo>
                    <a:lnTo>
                      <a:pt x="302" y="147"/>
                    </a:lnTo>
                    <a:lnTo>
                      <a:pt x="278" y="147"/>
                    </a:lnTo>
                    <a:lnTo>
                      <a:pt x="276" y="145"/>
                    </a:lnTo>
                    <a:lnTo>
                      <a:pt x="275" y="145"/>
                    </a:lnTo>
                    <a:lnTo>
                      <a:pt x="274" y="144"/>
                    </a:lnTo>
                    <a:lnTo>
                      <a:pt x="272" y="141"/>
                    </a:lnTo>
                    <a:lnTo>
                      <a:pt x="271" y="138"/>
                    </a:lnTo>
                    <a:lnTo>
                      <a:pt x="272" y="136"/>
                    </a:lnTo>
                    <a:lnTo>
                      <a:pt x="274" y="132"/>
                    </a:lnTo>
                    <a:lnTo>
                      <a:pt x="261" y="127"/>
                    </a:lnTo>
                    <a:lnTo>
                      <a:pt x="258" y="129"/>
                    </a:lnTo>
                    <a:lnTo>
                      <a:pt x="256" y="129"/>
                    </a:lnTo>
                    <a:lnTo>
                      <a:pt x="253" y="130"/>
                    </a:lnTo>
                    <a:lnTo>
                      <a:pt x="250" y="130"/>
                    </a:lnTo>
                    <a:lnTo>
                      <a:pt x="247" y="129"/>
                    </a:lnTo>
                    <a:lnTo>
                      <a:pt x="246" y="129"/>
                    </a:lnTo>
                    <a:lnTo>
                      <a:pt x="245" y="126"/>
                    </a:lnTo>
                    <a:lnTo>
                      <a:pt x="243" y="122"/>
                    </a:lnTo>
                    <a:lnTo>
                      <a:pt x="241" y="116"/>
                    </a:lnTo>
                    <a:lnTo>
                      <a:pt x="238" y="111"/>
                    </a:lnTo>
                    <a:lnTo>
                      <a:pt x="235" y="107"/>
                    </a:lnTo>
                    <a:lnTo>
                      <a:pt x="232" y="101"/>
                    </a:lnTo>
                    <a:lnTo>
                      <a:pt x="230" y="97"/>
                    </a:lnTo>
                    <a:lnTo>
                      <a:pt x="228" y="94"/>
                    </a:lnTo>
                    <a:lnTo>
                      <a:pt x="228" y="93"/>
                    </a:lnTo>
                    <a:lnTo>
                      <a:pt x="205" y="63"/>
                    </a:lnTo>
                    <a:lnTo>
                      <a:pt x="183" y="63"/>
                    </a:lnTo>
                    <a:lnTo>
                      <a:pt x="183" y="62"/>
                    </a:lnTo>
                    <a:lnTo>
                      <a:pt x="181" y="62"/>
                    </a:lnTo>
                    <a:lnTo>
                      <a:pt x="180" y="60"/>
                    </a:lnTo>
                    <a:lnTo>
                      <a:pt x="179" y="59"/>
                    </a:lnTo>
                    <a:lnTo>
                      <a:pt x="177" y="57"/>
                    </a:lnTo>
                    <a:lnTo>
                      <a:pt x="175" y="56"/>
                    </a:lnTo>
                    <a:lnTo>
                      <a:pt x="172" y="55"/>
                    </a:lnTo>
                    <a:lnTo>
                      <a:pt x="172" y="53"/>
                    </a:lnTo>
                    <a:lnTo>
                      <a:pt x="169" y="51"/>
                    </a:lnTo>
                    <a:lnTo>
                      <a:pt x="165" y="48"/>
                    </a:lnTo>
                    <a:lnTo>
                      <a:pt x="159" y="44"/>
                    </a:lnTo>
                    <a:lnTo>
                      <a:pt x="154" y="40"/>
                    </a:lnTo>
                    <a:lnTo>
                      <a:pt x="148" y="35"/>
                    </a:lnTo>
                    <a:lnTo>
                      <a:pt x="142" y="33"/>
                    </a:lnTo>
                    <a:lnTo>
                      <a:pt x="136" y="31"/>
                    </a:lnTo>
                    <a:lnTo>
                      <a:pt x="122" y="19"/>
                    </a:lnTo>
                    <a:lnTo>
                      <a:pt x="113" y="19"/>
                    </a:lnTo>
                    <a:lnTo>
                      <a:pt x="81" y="4"/>
                    </a:lnTo>
                    <a:lnTo>
                      <a:pt x="74" y="0"/>
                    </a:lnTo>
                    <a:lnTo>
                      <a:pt x="73" y="0"/>
                    </a:lnTo>
                    <a:lnTo>
                      <a:pt x="71" y="1"/>
                    </a:lnTo>
                    <a:lnTo>
                      <a:pt x="70" y="1"/>
                    </a:lnTo>
                    <a:lnTo>
                      <a:pt x="69" y="2"/>
                    </a:lnTo>
                    <a:lnTo>
                      <a:pt x="67" y="2"/>
                    </a:lnTo>
                    <a:lnTo>
                      <a:pt x="65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7" name="Freeform 919"/>
              <p:cNvSpPr>
                <a:spLocks/>
              </p:cNvSpPr>
              <p:nvPr/>
            </p:nvSpPr>
            <p:spPr bwMode="auto">
              <a:xfrm>
                <a:off x="3366" y="2664"/>
                <a:ext cx="51" cy="79"/>
              </a:xfrm>
              <a:custGeom>
                <a:avLst/>
                <a:gdLst>
                  <a:gd name="T0" fmla="*/ 21 w 51"/>
                  <a:gd name="T1" fmla="*/ 77 h 79"/>
                  <a:gd name="T2" fmla="*/ 17 w 51"/>
                  <a:gd name="T3" fmla="*/ 74 h 79"/>
                  <a:gd name="T4" fmla="*/ 14 w 51"/>
                  <a:gd name="T5" fmla="*/ 73 h 79"/>
                  <a:gd name="T6" fmla="*/ 13 w 51"/>
                  <a:gd name="T7" fmla="*/ 72 h 79"/>
                  <a:gd name="T8" fmla="*/ 10 w 51"/>
                  <a:gd name="T9" fmla="*/ 55 h 79"/>
                  <a:gd name="T10" fmla="*/ 4 w 51"/>
                  <a:gd name="T11" fmla="*/ 44 h 79"/>
                  <a:gd name="T12" fmla="*/ 4 w 51"/>
                  <a:gd name="T13" fmla="*/ 39 h 79"/>
                  <a:gd name="T14" fmla="*/ 3 w 51"/>
                  <a:gd name="T15" fmla="*/ 30 h 79"/>
                  <a:gd name="T16" fmla="*/ 2 w 51"/>
                  <a:gd name="T17" fmla="*/ 21 h 79"/>
                  <a:gd name="T18" fmla="*/ 0 w 51"/>
                  <a:gd name="T19" fmla="*/ 17 h 79"/>
                  <a:gd name="T20" fmla="*/ 2 w 51"/>
                  <a:gd name="T21" fmla="*/ 14 h 79"/>
                  <a:gd name="T22" fmla="*/ 6 w 51"/>
                  <a:gd name="T23" fmla="*/ 11 h 79"/>
                  <a:gd name="T24" fmla="*/ 9 w 51"/>
                  <a:gd name="T25" fmla="*/ 10 h 79"/>
                  <a:gd name="T26" fmla="*/ 10 w 51"/>
                  <a:gd name="T27" fmla="*/ 10 h 79"/>
                  <a:gd name="T28" fmla="*/ 11 w 51"/>
                  <a:gd name="T29" fmla="*/ 8 h 79"/>
                  <a:gd name="T30" fmla="*/ 11 w 51"/>
                  <a:gd name="T31" fmla="*/ 6 h 79"/>
                  <a:gd name="T32" fmla="*/ 13 w 51"/>
                  <a:gd name="T33" fmla="*/ 4 h 79"/>
                  <a:gd name="T34" fmla="*/ 13 w 51"/>
                  <a:gd name="T35" fmla="*/ 2 h 79"/>
                  <a:gd name="T36" fmla="*/ 13 w 51"/>
                  <a:gd name="T37" fmla="*/ 0 h 79"/>
                  <a:gd name="T38" fmla="*/ 13 w 51"/>
                  <a:gd name="T39" fmla="*/ 0 h 79"/>
                  <a:gd name="T40" fmla="*/ 15 w 51"/>
                  <a:gd name="T41" fmla="*/ 0 h 79"/>
                  <a:gd name="T42" fmla="*/ 17 w 51"/>
                  <a:gd name="T43" fmla="*/ 2 h 79"/>
                  <a:gd name="T44" fmla="*/ 18 w 51"/>
                  <a:gd name="T45" fmla="*/ 2 h 79"/>
                  <a:gd name="T46" fmla="*/ 21 w 51"/>
                  <a:gd name="T47" fmla="*/ 2 h 79"/>
                  <a:gd name="T48" fmla="*/ 24 w 51"/>
                  <a:gd name="T49" fmla="*/ 3 h 79"/>
                  <a:gd name="T50" fmla="*/ 51 w 51"/>
                  <a:gd name="T51" fmla="*/ 35 h 79"/>
                  <a:gd name="T52" fmla="*/ 50 w 51"/>
                  <a:gd name="T53" fmla="*/ 36 h 79"/>
                  <a:gd name="T54" fmla="*/ 47 w 51"/>
                  <a:gd name="T55" fmla="*/ 37 h 79"/>
                  <a:gd name="T56" fmla="*/ 46 w 51"/>
                  <a:gd name="T57" fmla="*/ 41 h 79"/>
                  <a:gd name="T58" fmla="*/ 47 w 51"/>
                  <a:gd name="T59" fmla="*/ 46 h 79"/>
                  <a:gd name="T60" fmla="*/ 47 w 51"/>
                  <a:gd name="T61" fmla="*/ 47 h 79"/>
                  <a:gd name="T62" fmla="*/ 50 w 51"/>
                  <a:gd name="T63" fmla="*/ 50 h 79"/>
                  <a:gd name="T64" fmla="*/ 50 w 51"/>
                  <a:gd name="T65" fmla="*/ 54 h 79"/>
                  <a:gd name="T66" fmla="*/ 47 w 51"/>
                  <a:gd name="T67" fmla="*/ 55 h 79"/>
                  <a:gd name="T68" fmla="*/ 47 w 51"/>
                  <a:gd name="T69" fmla="*/ 55 h 79"/>
                  <a:gd name="T70" fmla="*/ 44 w 51"/>
                  <a:gd name="T71" fmla="*/ 55 h 79"/>
                  <a:gd name="T72" fmla="*/ 43 w 51"/>
                  <a:gd name="T73" fmla="*/ 55 h 79"/>
                  <a:gd name="T74" fmla="*/ 42 w 51"/>
                  <a:gd name="T75" fmla="*/ 57 h 79"/>
                  <a:gd name="T76" fmla="*/ 40 w 51"/>
                  <a:gd name="T77" fmla="*/ 59 h 79"/>
                  <a:gd name="T78" fmla="*/ 37 w 51"/>
                  <a:gd name="T79" fmla="*/ 63 h 79"/>
                  <a:gd name="T80" fmla="*/ 36 w 51"/>
                  <a:gd name="T81" fmla="*/ 66 h 79"/>
                  <a:gd name="T82" fmla="*/ 35 w 51"/>
                  <a:gd name="T83" fmla="*/ 68 h 79"/>
                  <a:gd name="T84" fmla="*/ 35 w 51"/>
                  <a:gd name="T85" fmla="*/ 73 h 79"/>
                  <a:gd name="T86" fmla="*/ 33 w 51"/>
                  <a:gd name="T87" fmla="*/ 73 h 79"/>
                  <a:gd name="T88" fmla="*/ 32 w 51"/>
                  <a:gd name="T89" fmla="*/ 72 h 79"/>
                  <a:gd name="T90" fmla="*/ 29 w 51"/>
                  <a:gd name="T91" fmla="*/ 72 h 79"/>
                  <a:gd name="T92" fmla="*/ 28 w 51"/>
                  <a:gd name="T93" fmla="*/ 73 h 79"/>
                  <a:gd name="T94" fmla="*/ 26 w 51"/>
                  <a:gd name="T95" fmla="*/ 74 h 79"/>
                  <a:gd name="T96" fmla="*/ 25 w 51"/>
                  <a:gd name="T97" fmla="*/ 76 h 79"/>
                  <a:gd name="T98" fmla="*/ 24 w 51"/>
                  <a:gd name="T99" fmla="*/ 77 h 79"/>
                  <a:gd name="T100" fmla="*/ 24 w 51"/>
                  <a:gd name="T101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1" h="79">
                    <a:moveTo>
                      <a:pt x="24" y="79"/>
                    </a:moveTo>
                    <a:lnTo>
                      <a:pt x="21" y="77"/>
                    </a:lnTo>
                    <a:lnTo>
                      <a:pt x="18" y="76"/>
                    </a:lnTo>
                    <a:lnTo>
                      <a:pt x="17" y="74"/>
                    </a:lnTo>
                    <a:lnTo>
                      <a:pt x="15" y="74"/>
                    </a:lnTo>
                    <a:lnTo>
                      <a:pt x="14" y="73"/>
                    </a:lnTo>
                    <a:lnTo>
                      <a:pt x="13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0" y="55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5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3"/>
                    </a:lnTo>
                    <a:lnTo>
                      <a:pt x="25" y="2"/>
                    </a:lnTo>
                    <a:lnTo>
                      <a:pt x="51" y="35"/>
                    </a:lnTo>
                    <a:lnTo>
                      <a:pt x="50" y="35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7" y="37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43"/>
                    </a:lnTo>
                    <a:lnTo>
                      <a:pt x="47" y="46"/>
                    </a:lnTo>
                    <a:lnTo>
                      <a:pt x="47" y="47"/>
                    </a:lnTo>
                    <a:lnTo>
                      <a:pt x="47" y="47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0" y="51"/>
                    </a:lnTo>
                    <a:lnTo>
                      <a:pt x="50" y="54"/>
                    </a:lnTo>
                    <a:lnTo>
                      <a:pt x="48" y="55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47" y="55"/>
                    </a:lnTo>
                    <a:lnTo>
                      <a:pt x="46" y="55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3" y="55"/>
                    </a:lnTo>
                    <a:lnTo>
                      <a:pt x="42" y="57"/>
                    </a:lnTo>
                    <a:lnTo>
                      <a:pt x="42" y="57"/>
                    </a:lnTo>
                    <a:lnTo>
                      <a:pt x="40" y="58"/>
                    </a:lnTo>
                    <a:lnTo>
                      <a:pt x="40" y="59"/>
                    </a:lnTo>
                    <a:lnTo>
                      <a:pt x="39" y="61"/>
                    </a:lnTo>
                    <a:lnTo>
                      <a:pt x="37" y="63"/>
                    </a:lnTo>
                    <a:lnTo>
                      <a:pt x="36" y="65"/>
                    </a:lnTo>
                    <a:lnTo>
                      <a:pt x="36" y="66"/>
                    </a:lnTo>
                    <a:lnTo>
                      <a:pt x="35" y="66"/>
                    </a:lnTo>
                    <a:lnTo>
                      <a:pt x="35" y="68"/>
                    </a:lnTo>
                    <a:lnTo>
                      <a:pt x="36" y="70"/>
                    </a:lnTo>
                    <a:lnTo>
                      <a:pt x="35" y="73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3" y="72"/>
                    </a:lnTo>
                    <a:lnTo>
                      <a:pt x="32" y="72"/>
                    </a:lnTo>
                    <a:lnTo>
                      <a:pt x="31" y="72"/>
                    </a:lnTo>
                    <a:lnTo>
                      <a:pt x="29" y="72"/>
                    </a:lnTo>
                    <a:lnTo>
                      <a:pt x="29" y="72"/>
                    </a:lnTo>
                    <a:lnTo>
                      <a:pt x="28" y="73"/>
                    </a:lnTo>
                    <a:lnTo>
                      <a:pt x="28" y="73"/>
                    </a:lnTo>
                    <a:lnTo>
                      <a:pt x="26" y="74"/>
                    </a:lnTo>
                    <a:lnTo>
                      <a:pt x="26" y="76"/>
                    </a:lnTo>
                    <a:lnTo>
                      <a:pt x="25" y="76"/>
                    </a:lnTo>
                    <a:lnTo>
                      <a:pt x="25" y="77"/>
                    </a:lnTo>
                    <a:lnTo>
                      <a:pt x="24" y="77"/>
                    </a:lnTo>
                    <a:lnTo>
                      <a:pt x="24" y="79"/>
                    </a:lnTo>
                    <a:lnTo>
                      <a:pt x="24" y="7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8" name="Freeform 920"/>
              <p:cNvSpPr>
                <a:spLocks/>
              </p:cNvSpPr>
              <p:nvPr/>
            </p:nvSpPr>
            <p:spPr bwMode="auto">
              <a:xfrm>
                <a:off x="3366" y="2664"/>
                <a:ext cx="51" cy="79"/>
              </a:xfrm>
              <a:custGeom>
                <a:avLst/>
                <a:gdLst>
                  <a:gd name="T0" fmla="*/ 21 w 51"/>
                  <a:gd name="T1" fmla="*/ 77 h 79"/>
                  <a:gd name="T2" fmla="*/ 17 w 51"/>
                  <a:gd name="T3" fmla="*/ 74 h 79"/>
                  <a:gd name="T4" fmla="*/ 14 w 51"/>
                  <a:gd name="T5" fmla="*/ 73 h 79"/>
                  <a:gd name="T6" fmla="*/ 13 w 51"/>
                  <a:gd name="T7" fmla="*/ 72 h 79"/>
                  <a:gd name="T8" fmla="*/ 4 w 51"/>
                  <a:gd name="T9" fmla="*/ 44 h 79"/>
                  <a:gd name="T10" fmla="*/ 4 w 51"/>
                  <a:gd name="T11" fmla="*/ 39 h 79"/>
                  <a:gd name="T12" fmla="*/ 3 w 51"/>
                  <a:gd name="T13" fmla="*/ 30 h 79"/>
                  <a:gd name="T14" fmla="*/ 2 w 51"/>
                  <a:gd name="T15" fmla="*/ 21 h 79"/>
                  <a:gd name="T16" fmla="*/ 2 w 51"/>
                  <a:gd name="T17" fmla="*/ 15 h 79"/>
                  <a:gd name="T18" fmla="*/ 3 w 51"/>
                  <a:gd name="T19" fmla="*/ 13 h 79"/>
                  <a:gd name="T20" fmla="*/ 7 w 51"/>
                  <a:gd name="T21" fmla="*/ 10 h 79"/>
                  <a:gd name="T22" fmla="*/ 10 w 51"/>
                  <a:gd name="T23" fmla="*/ 10 h 79"/>
                  <a:gd name="T24" fmla="*/ 11 w 51"/>
                  <a:gd name="T25" fmla="*/ 8 h 79"/>
                  <a:gd name="T26" fmla="*/ 11 w 51"/>
                  <a:gd name="T27" fmla="*/ 6 h 79"/>
                  <a:gd name="T28" fmla="*/ 13 w 51"/>
                  <a:gd name="T29" fmla="*/ 3 h 79"/>
                  <a:gd name="T30" fmla="*/ 13 w 51"/>
                  <a:gd name="T31" fmla="*/ 0 h 79"/>
                  <a:gd name="T32" fmla="*/ 15 w 51"/>
                  <a:gd name="T33" fmla="*/ 0 h 79"/>
                  <a:gd name="T34" fmla="*/ 18 w 51"/>
                  <a:gd name="T35" fmla="*/ 2 h 79"/>
                  <a:gd name="T36" fmla="*/ 21 w 51"/>
                  <a:gd name="T37" fmla="*/ 2 h 79"/>
                  <a:gd name="T38" fmla="*/ 24 w 51"/>
                  <a:gd name="T39" fmla="*/ 3 h 79"/>
                  <a:gd name="T40" fmla="*/ 51 w 51"/>
                  <a:gd name="T41" fmla="*/ 35 h 79"/>
                  <a:gd name="T42" fmla="*/ 50 w 51"/>
                  <a:gd name="T43" fmla="*/ 36 h 79"/>
                  <a:gd name="T44" fmla="*/ 47 w 51"/>
                  <a:gd name="T45" fmla="*/ 37 h 79"/>
                  <a:gd name="T46" fmla="*/ 46 w 51"/>
                  <a:gd name="T47" fmla="*/ 41 h 79"/>
                  <a:gd name="T48" fmla="*/ 47 w 51"/>
                  <a:gd name="T49" fmla="*/ 46 h 79"/>
                  <a:gd name="T50" fmla="*/ 48 w 51"/>
                  <a:gd name="T51" fmla="*/ 48 h 79"/>
                  <a:gd name="T52" fmla="*/ 50 w 51"/>
                  <a:gd name="T53" fmla="*/ 51 h 79"/>
                  <a:gd name="T54" fmla="*/ 48 w 51"/>
                  <a:gd name="T55" fmla="*/ 55 h 79"/>
                  <a:gd name="T56" fmla="*/ 46 w 51"/>
                  <a:gd name="T57" fmla="*/ 55 h 79"/>
                  <a:gd name="T58" fmla="*/ 43 w 51"/>
                  <a:gd name="T59" fmla="*/ 55 h 79"/>
                  <a:gd name="T60" fmla="*/ 40 w 51"/>
                  <a:gd name="T61" fmla="*/ 58 h 79"/>
                  <a:gd name="T62" fmla="*/ 39 w 51"/>
                  <a:gd name="T63" fmla="*/ 61 h 79"/>
                  <a:gd name="T64" fmla="*/ 36 w 51"/>
                  <a:gd name="T65" fmla="*/ 65 h 79"/>
                  <a:gd name="T66" fmla="*/ 35 w 51"/>
                  <a:gd name="T67" fmla="*/ 66 h 79"/>
                  <a:gd name="T68" fmla="*/ 36 w 51"/>
                  <a:gd name="T69" fmla="*/ 70 h 79"/>
                  <a:gd name="T70" fmla="*/ 33 w 51"/>
                  <a:gd name="T71" fmla="*/ 73 h 79"/>
                  <a:gd name="T72" fmla="*/ 32 w 51"/>
                  <a:gd name="T73" fmla="*/ 72 h 79"/>
                  <a:gd name="T74" fmla="*/ 29 w 51"/>
                  <a:gd name="T75" fmla="*/ 72 h 79"/>
                  <a:gd name="T76" fmla="*/ 26 w 51"/>
                  <a:gd name="T77" fmla="*/ 74 h 79"/>
                  <a:gd name="T78" fmla="*/ 25 w 51"/>
                  <a:gd name="T79" fmla="*/ 76 h 79"/>
                  <a:gd name="T80" fmla="*/ 24 w 51"/>
                  <a:gd name="T81" fmla="*/ 77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1" h="79">
                    <a:moveTo>
                      <a:pt x="24" y="79"/>
                    </a:moveTo>
                    <a:lnTo>
                      <a:pt x="21" y="77"/>
                    </a:lnTo>
                    <a:lnTo>
                      <a:pt x="18" y="76"/>
                    </a:lnTo>
                    <a:lnTo>
                      <a:pt x="17" y="74"/>
                    </a:lnTo>
                    <a:lnTo>
                      <a:pt x="15" y="74"/>
                    </a:lnTo>
                    <a:lnTo>
                      <a:pt x="14" y="73"/>
                    </a:lnTo>
                    <a:lnTo>
                      <a:pt x="13" y="73"/>
                    </a:lnTo>
                    <a:lnTo>
                      <a:pt x="13" y="72"/>
                    </a:lnTo>
                    <a:lnTo>
                      <a:pt x="10" y="55"/>
                    </a:lnTo>
                    <a:lnTo>
                      <a:pt x="4" y="44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5"/>
                    </a:lnTo>
                    <a:lnTo>
                      <a:pt x="3" y="30"/>
                    </a:lnTo>
                    <a:lnTo>
                      <a:pt x="3" y="25"/>
                    </a:lnTo>
                    <a:lnTo>
                      <a:pt x="2" y="21"/>
                    </a:lnTo>
                    <a:lnTo>
                      <a:pt x="0" y="17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3" y="13"/>
                    </a:lnTo>
                    <a:lnTo>
                      <a:pt x="6" y="11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1" y="7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3"/>
                    </a:lnTo>
                    <a:lnTo>
                      <a:pt x="25" y="2"/>
                    </a:lnTo>
                    <a:lnTo>
                      <a:pt x="51" y="35"/>
                    </a:lnTo>
                    <a:lnTo>
                      <a:pt x="50" y="35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7" y="37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43"/>
                    </a:lnTo>
                    <a:lnTo>
                      <a:pt x="47" y="46"/>
                    </a:lnTo>
                    <a:lnTo>
                      <a:pt x="47" y="47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0" y="51"/>
                    </a:lnTo>
                    <a:lnTo>
                      <a:pt x="50" y="54"/>
                    </a:lnTo>
                    <a:lnTo>
                      <a:pt x="48" y="55"/>
                    </a:lnTo>
                    <a:lnTo>
                      <a:pt x="47" y="55"/>
                    </a:lnTo>
                    <a:lnTo>
                      <a:pt x="46" y="55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7"/>
                    </a:lnTo>
                    <a:lnTo>
                      <a:pt x="40" y="58"/>
                    </a:lnTo>
                    <a:lnTo>
                      <a:pt x="40" y="59"/>
                    </a:lnTo>
                    <a:lnTo>
                      <a:pt x="39" y="61"/>
                    </a:lnTo>
                    <a:lnTo>
                      <a:pt x="37" y="63"/>
                    </a:lnTo>
                    <a:lnTo>
                      <a:pt x="36" y="65"/>
                    </a:lnTo>
                    <a:lnTo>
                      <a:pt x="36" y="66"/>
                    </a:lnTo>
                    <a:lnTo>
                      <a:pt x="35" y="66"/>
                    </a:lnTo>
                    <a:lnTo>
                      <a:pt x="35" y="68"/>
                    </a:lnTo>
                    <a:lnTo>
                      <a:pt x="36" y="70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3" y="72"/>
                    </a:lnTo>
                    <a:lnTo>
                      <a:pt x="32" y="72"/>
                    </a:lnTo>
                    <a:lnTo>
                      <a:pt x="31" y="72"/>
                    </a:lnTo>
                    <a:lnTo>
                      <a:pt x="29" y="72"/>
                    </a:lnTo>
                    <a:lnTo>
                      <a:pt x="28" y="73"/>
                    </a:lnTo>
                    <a:lnTo>
                      <a:pt x="26" y="74"/>
                    </a:lnTo>
                    <a:lnTo>
                      <a:pt x="26" y="76"/>
                    </a:lnTo>
                    <a:lnTo>
                      <a:pt x="25" y="76"/>
                    </a:lnTo>
                    <a:lnTo>
                      <a:pt x="25" y="77"/>
                    </a:lnTo>
                    <a:lnTo>
                      <a:pt x="24" y="77"/>
                    </a:lnTo>
                    <a:lnTo>
                      <a:pt x="24" y="7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89" name="Freeform 921"/>
              <p:cNvSpPr>
                <a:spLocks/>
              </p:cNvSpPr>
              <p:nvPr/>
            </p:nvSpPr>
            <p:spPr bwMode="auto">
              <a:xfrm>
                <a:off x="3390" y="2641"/>
                <a:ext cx="141" cy="103"/>
              </a:xfrm>
              <a:custGeom>
                <a:avLst/>
                <a:gdLst>
                  <a:gd name="T0" fmla="*/ 132 w 141"/>
                  <a:gd name="T1" fmla="*/ 37 h 103"/>
                  <a:gd name="T2" fmla="*/ 117 w 141"/>
                  <a:gd name="T3" fmla="*/ 44 h 103"/>
                  <a:gd name="T4" fmla="*/ 107 w 141"/>
                  <a:gd name="T5" fmla="*/ 52 h 103"/>
                  <a:gd name="T6" fmla="*/ 99 w 141"/>
                  <a:gd name="T7" fmla="*/ 60 h 103"/>
                  <a:gd name="T8" fmla="*/ 89 w 141"/>
                  <a:gd name="T9" fmla="*/ 69 h 103"/>
                  <a:gd name="T10" fmla="*/ 79 w 141"/>
                  <a:gd name="T11" fmla="*/ 74 h 103"/>
                  <a:gd name="T12" fmla="*/ 70 w 141"/>
                  <a:gd name="T13" fmla="*/ 77 h 103"/>
                  <a:gd name="T14" fmla="*/ 64 w 141"/>
                  <a:gd name="T15" fmla="*/ 78 h 103"/>
                  <a:gd name="T16" fmla="*/ 44 w 141"/>
                  <a:gd name="T17" fmla="*/ 95 h 103"/>
                  <a:gd name="T18" fmla="*/ 7 w 141"/>
                  <a:gd name="T19" fmla="*/ 103 h 103"/>
                  <a:gd name="T20" fmla="*/ 5 w 141"/>
                  <a:gd name="T21" fmla="*/ 103 h 103"/>
                  <a:gd name="T22" fmla="*/ 2 w 141"/>
                  <a:gd name="T23" fmla="*/ 102 h 103"/>
                  <a:gd name="T24" fmla="*/ 1 w 141"/>
                  <a:gd name="T25" fmla="*/ 102 h 103"/>
                  <a:gd name="T26" fmla="*/ 0 w 141"/>
                  <a:gd name="T27" fmla="*/ 102 h 103"/>
                  <a:gd name="T28" fmla="*/ 0 w 141"/>
                  <a:gd name="T29" fmla="*/ 102 h 103"/>
                  <a:gd name="T30" fmla="*/ 1 w 141"/>
                  <a:gd name="T31" fmla="*/ 100 h 103"/>
                  <a:gd name="T32" fmla="*/ 4 w 141"/>
                  <a:gd name="T33" fmla="*/ 99 h 103"/>
                  <a:gd name="T34" fmla="*/ 4 w 141"/>
                  <a:gd name="T35" fmla="*/ 96 h 103"/>
                  <a:gd name="T36" fmla="*/ 5 w 141"/>
                  <a:gd name="T37" fmla="*/ 96 h 103"/>
                  <a:gd name="T38" fmla="*/ 8 w 141"/>
                  <a:gd name="T39" fmla="*/ 96 h 103"/>
                  <a:gd name="T40" fmla="*/ 9 w 141"/>
                  <a:gd name="T41" fmla="*/ 96 h 103"/>
                  <a:gd name="T42" fmla="*/ 12 w 141"/>
                  <a:gd name="T43" fmla="*/ 93 h 103"/>
                  <a:gd name="T44" fmla="*/ 16 w 141"/>
                  <a:gd name="T45" fmla="*/ 82 h 103"/>
                  <a:gd name="T46" fmla="*/ 16 w 141"/>
                  <a:gd name="T47" fmla="*/ 82 h 103"/>
                  <a:gd name="T48" fmla="*/ 18 w 141"/>
                  <a:gd name="T49" fmla="*/ 81 h 103"/>
                  <a:gd name="T50" fmla="*/ 19 w 141"/>
                  <a:gd name="T51" fmla="*/ 80 h 103"/>
                  <a:gd name="T52" fmla="*/ 23 w 141"/>
                  <a:gd name="T53" fmla="*/ 80 h 103"/>
                  <a:gd name="T54" fmla="*/ 23 w 141"/>
                  <a:gd name="T55" fmla="*/ 80 h 103"/>
                  <a:gd name="T56" fmla="*/ 24 w 141"/>
                  <a:gd name="T57" fmla="*/ 78 h 103"/>
                  <a:gd name="T58" fmla="*/ 26 w 141"/>
                  <a:gd name="T59" fmla="*/ 77 h 103"/>
                  <a:gd name="T60" fmla="*/ 26 w 141"/>
                  <a:gd name="T61" fmla="*/ 74 h 103"/>
                  <a:gd name="T62" fmla="*/ 24 w 141"/>
                  <a:gd name="T63" fmla="*/ 73 h 103"/>
                  <a:gd name="T64" fmla="*/ 22 w 141"/>
                  <a:gd name="T65" fmla="*/ 69 h 103"/>
                  <a:gd name="T66" fmla="*/ 22 w 141"/>
                  <a:gd name="T67" fmla="*/ 63 h 103"/>
                  <a:gd name="T68" fmla="*/ 27 w 141"/>
                  <a:gd name="T69" fmla="*/ 59 h 103"/>
                  <a:gd name="T70" fmla="*/ 27 w 141"/>
                  <a:gd name="T71" fmla="*/ 59 h 103"/>
                  <a:gd name="T72" fmla="*/ 29 w 141"/>
                  <a:gd name="T73" fmla="*/ 58 h 103"/>
                  <a:gd name="T74" fmla="*/ 30 w 141"/>
                  <a:gd name="T75" fmla="*/ 56 h 103"/>
                  <a:gd name="T76" fmla="*/ 31 w 141"/>
                  <a:gd name="T77" fmla="*/ 55 h 103"/>
                  <a:gd name="T78" fmla="*/ 34 w 141"/>
                  <a:gd name="T79" fmla="*/ 49 h 103"/>
                  <a:gd name="T80" fmla="*/ 42 w 141"/>
                  <a:gd name="T81" fmla="*/ 38 h 103"/>
                  <a:gd name="T82" fmla="*/ 52 w 141"/>
                  <a:gd name="T83" fmla="*/ 27 h 103"/>
                  <a:gd name="T84" fmla="*/ 60 w 141"/>
                  <a:gd name="T85" fmla="*/ 20 h 103"/>
                  <a:gd name="T86" fmla="*/ 68 w 141"/>
                  <a:gd name="T87" fmla="*/ 18 h 103"/>
                  <a:gd name="T88" fmla="*/ 88 w 141"/>
                  <a:gd name="T89" fmla="*/ 11 h 103"/>
                  <a:gd name="T90" fmla="*/ 108 w 141"/>
                  <a:gd name="T91" fmla="*/ 4 h 103"/>
                  <a:gd name="T92" fmla="*/ 125 w 141"/>
                  <a:gd name="T93" fmla="*/ 0 h 103"/>
                  <a:gd name="T94" fmla="*/ 125 w 141"/>
                  <a:gd name="T95" fmla="*/ 0 h 103"/>
                  <a:gd name="T96" fmla="*/ 126 w 141"/>
                  <a:gd name="T97" fmla="*/ 0 h 103"/>
                  <a:gd name="T98" fmla="*/ 128 w 141"/>
                  <a:gd name="T99" fmla="*/ 1 h 103"/>
                  <a:gd name="T100" fmla="*/ 128 w 141"/>
                  <a:gd name="T101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41" h="103">
                    <a:moveTo>
                      <a:pt x="141" y="36"/>
                    </a:moveTo>
                    <a:lnTo>
                      <a:pt x="132" y="37"/>
                    </a:lnTo>
                    <a:lnTo>
                      <a:pt x="123" y="40"/>
                    </a:lnTo>
                    <a:lnTo>
                      <a:pt x="117" y="44"/>
                    </a:lnTo>
                    <a:lnTo>
                      <a:pt x="111" y="48"/>
                    </a:lnTo>
                    <a:lnTo>
                      <a:pt x="107" y="52"/>
                    </a:lnTo>
                    <a:lnTo>
                      <a:pt x="103" y="56"/>
                    </a:lnTo>
                    <a:lnTo>
                      <a:pt x="99" y="60"/>
                    </a:lnTo>
                    <a:lnTo>
                      <a:pt x="95" y="64"/>
                    </a:lnTo>
                    <a:lnTo>
                      <a:pt x="89" y="69"/>
                    </a:lnTo>
                    <a:lnTo>
                      <a:pt x="85" y="71"/>
                    </a:lnTo>
                    <a:lnTo>
                      <a:pt x="79" y="74"/>
                    </a:lnTo>
                    <a:lnTo>
                      <a:pt x="74" y="75"/>
                    </a:lnTo>
                    <a:lnTo>
                      <a:pt x="70" y="77"/>
                    </a:lnTo>
                    <a:lnTo>
                      <a:pt x="66" y="77"/>
                    </a:lnTo>
                    <a:lnTo>
                      <a:pt x="64" y="78"/>
                    </a:lnTo>
                    <a:lnTo>
                      <a:pt x="63" y="78"/>
                    </a:lnTo>
                    <a:lnTo>
                      <a:pt x="44" y="95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5" y="103"/>
                    </a:lnTo>
                    <a:lnTo>
                      <a:pt x="5" y="103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1" y="102"/>
                    </a:lnTo>
                    <a:lnTo>
                      <a:pt x="1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0" y="102"/>
                    </a:lnTo>
                    <a:lnTo>
                      <a:pt x="1" y="100"/>
                    </a:lnTo>
                    <a:lnTo>
                      <a:pt x="1" y="100"/>
                    </a:lnTo>
                    <a:lnTo>
                      <a:pt x="2" y="99"/>
                    </a:lnTo>
                    <a:lnTo>
                      <a:pt x="4" y="99"/>
                    </a:lnTo>
                    <a:lnTo>
                      <a:pt x="4" y="96"/>
                    </a:lnTo>
                    <a:lnTo>
                      <a:pt x="4" y="96"/>
                    </a:lnTo>
                    <a:lnTo>
                      <a:pt x="5" y="96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2" y="93"/>
                    </a:lnTo>
                    <a:lnTo>
                      <a:pt x="11" y="91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8" y="80"/>
                    </a:lnTo>
                    <a:lnTo>
                      <a:pt x="19" y="80"/>
                    </a:lnTo>
                    <a:lnTo>
                      <a:pt x="20" y="80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3" y="80"/>
                    </a:lnTo>
                    <a:lnTo>
                      <a:pt x="24" y="80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6" y="77"/>
                    </a:lnTo>
                    <a:lnTo>
                      <a:pt x="26" y="75"/>
                    </a:lnTo>
                    <a:lnTo>
                      <a:pt x="26" y="74"/>
                    </a:lnTo>
                    <a:lnTo>
                      <a:pt x="24" y="73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2" y="69"/>
                    </a:lnTo>
                    <a:lnTo>
                      <a:pt x="22" y="66"/>
                    </a:lnTo>
                    <a:lnTo>
                      <a:pt x="22" y="63"/>
                    </a:lnTo>
                    <a:lnTo>
                      <a:pt x="23" y="60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7" y="59"/>
                    </a:lnTo>
                    <a:lnTo>
                      <a:pt x="29" y="58"/>
                    </a:lnTo>
                    <a:lnTo>
                      <a:pt x="29" y="58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5"/>
                    </a:lnTo>
                    <a:lnTo>
                      <a:pt x="31" y="55"/>
                    </a:lnTo>
                    <a:lnTo>
                      <a:pt x="31" y="53"/>
                    </a:lnTo>
                    <a:lnTo>
                      <a:pt x="34" y="49"/>
                    </a:lnTo>
                    <a:lnTo>
                      <a:pt x="38" y="44"/>
                    </a:lnTo>
                    <a:lnTo>
                      <a:pt x="42" y="38"/>
                    </a:lnTo>
                    <a:lnTo>
                      <a:pt x="48" y="33"/>
                    </a:lnTo>
                    <a:lnTo>
                      <a:pt x="52" y="27"/>
                    </a:lnTo>
                    <a:lnTo>
                      <a:pt x="56" y="23"/>
                    </a:lnTo>
                    <a:lnTo>
                      <a:pt x="60" y="20"/>
                    </a:lnTo>
                    <a:lnTo>
                      <a:pt x="62" y="19"/>
                    </a:lnTo>
                    <a:lnTo>
                      <a:pt x="68" y="18"/>
                    </a:lnTo>
                    <a:lnTo>
                      <a:pt x="77" y="14"/>
                    </a:lnTo>
                    <a:lnTo>
                      <a:pt x="88" y="11"/>
                    </a:lnTo>
                    <a:lnTo>
                      <a:pt x="99" y="7"/>
                    </a:lnTo>
                    <a:lnTo>
                      <a:pt x="108" y="4"/>
                    </a:lnTo>
                    <a:lnTo>
                      <a:pt x="118" y="1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5" y="0"/>
                    </a:lnTo>
                    <a:lnTo>
                      <a:pt x="126" y="0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28" y="1"/>
                    </a:lnTo>
                    <a:lnTo>
                      <a:pt x="128" y="3"/>
                    </a:lnTo>
                    <a:lnTo>
                      <a:pt x="141" y="3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0" name="Freeform 922"/>
              <p:cNvSpPr>
                <a:spLocks/>
              </p:cNvSpPr>
              <p:nvPr/>
            </p:nvSpPr>
            <p:spPr bwMode="auto">
              <a:xfrm>
                <a:off x="3390" y="2641"/>
                <a:ext cx="141" cy="103"/>
              </a:xfrm>
              <a:custGeom>
                <a:avLst/>
                <a:gdLst>
                  <a:gd name="T0" fmla="*/ 132 w 141"/>
                  <a:gd name="T1" fmla="*/ 37 h 103"/>
                  <a:gd name="T2" fmla="*/ 117 w 141"/>
                  <a:gd name="T3" fmla="*/ 44 h 103"/>
                  <a:gd name="T4" fmla="*/ 107 w 141"/>
                  <a:gd name="T5" fmla="*/ 52 h 103"/>
                  <a:gd name="T6" fmla="*/ 99 w 141"/>
                  <a:gd name="T7" fmla="*/ 60 h 103"/>
                  <a:gd name="T8" fmla="*/ 89 w 141"/>
                  <a:gd name="T9" fmla="*/ 69 h 103"/>
                  <a:gd name="T10" fmla="*/ 79 w 141"/>
                  <a:gd name="T11" fmla="*/ 74 h 103"/>
                  <a:gd name="T12" fmla="*/ 70 w 141"/>
                  <a:gd name="T13" fmla="*/ 77 h 103"/>
                  <a:gd name="T14" fmla="*/ 64 w 141"/>
                  <a:gd name="T15" fmla="*/ 78 h 103"/>
                  <a:gd name="T16" fmla="*/ 44 w 141"/>
                  <a:gd name="T17" fmla="*/ 95 h 103"/>
                  <a:gd name="T18" fmla="*/ 7 w 141"/>
                  <a:gd name="T19" fmla="*/ 103 h 103"/>
                  <a:gd name="T20" fmla="*/ 4 w 141"/>
                  <a:gd name="T21" fmla="*/ 102 h 103"/>
                  <a:gd name="T22" fmla="*/ 1 w 141"/>
                  <a:gd name="T23" fmla="*/ 102 h 103"/>
                  <a:gd name="T24" fmla="*/ 1 w 141"/>
                  <a:gd name="T25" fmla="*/ 100 h 103"/>
                  <a:gd name="T26" fmla="*/ 4 w 141"/>
                  <a:gd name="T27" fmla="*/ 99 h 103"/>
                  <a:gd name="T28" fmla="*/ 5 w 141"/>
                  <a:gd name="T29" fmla="*/ 96 h 103"/>
                  <a:gd name="T30" fmla="*/ 8 w 141"/>
                  <a:gd name="T31" fmla="*/ 96 h 103"/>
                  <a:gd name="T32" fmla="*/ 11 w 141"/>
                  <a:gd name="T33" fmla="*/ 96 h 103"/>
                  <a:gd name="T34" fmla="*/ 11 w 141"/>
                  <a:gd name="T35" fmla="*/ 91 h 103"/>
                  <a:gd name="T36" fmla="*/ 16 w 141"/>
                  <a:gd name="T37" fmla="*/ 81 h 103"/>
                  <a:gd name="T38" fmla="*/ 18 w 141"/>
                  <a:gd name="T39" fmla="*/ 80 h 103"/>
                  <a:gd name="T40" fmla="*/ 20 w 141"/>
                  <a:gd name="T41" fmla="*/ 80 h 103"/>
                  <a:gd name="T42" fmla="*/ 24 w 141"/>
                  <a:gd name="T43" fmla="*/ 80 h 103"/>
                  <a:gd name="T44" fmla="*/ 26 w 141"/>
                  <a:gd name="T45" fmla="*/ 78 h 103"/>
                  <a:gd name="T46" fmla="*/ 26 w 141"/>
                  <a:gd name="T47" fmla="*/ 75 h 103"/>
                  <a:gd name="T48" fmla="*/ 24 w 141"/>
                  <a:gd name="T49" fmla="*/ 73 h 103"/>
                  <a:gd name="T50" fmla="*/ 22 w 141"/>
                  <a:gd name="T51" fmla="*/ 69 h 103"/>
                  <a:gd name="T52" fmla="*/ 22 w 141"/>
                  <a:gd name="T53" fmla="*/ 63 h 103"/>
                  <a:gd name="T54" fmla="*/ 27 w 141"/>
                  <a:gd name="T55" fmla="*/ 59 h 103"/>
                  <a:gd name="T56" fmla="*/ 30 w 141"/>
                  <a:gd name="T57" fmla="*/ 56 h 103"/>
                  <a:gd name="T58" fmla="*/ 31 w 141"/>
                  <a:gd name="T59" fmla="*/ 55 h 103"/>
                  <a:gd name="T60" fmla="*/ 34 w 141"/>
                  <a:gd name="T61" fmla="*/ 49 h 103"/>
                  <a:gd name="T62" fmla="*/ 42 w 141"/>
                  <a:gd name="T63" fmla="*/ 38 h 103"/>
                  <a:gd name="T64" fmla="*/ 52 w 141"/>
                  <a:gd name="T65" fmla="*/ 27 h 103"/>
                  <a:gd name="T66" fmla="*/ 60 w 141"/>
                  <a:gd name="T67" fmla="*/ 20 h 103"/>
                  <a:gd name="T68" fmla="*/ 68 w 141"/>
                  <a:gd name="T69" fmla="*/ 18 h 103"/>
                  <a:gd name="T70" fmla="*/ 88 w 141"/>
                  <a:gd name="T71" fmla="*/ 11 h 103"/>
                  <a:gd name="T72" fmla="*/ 108 w 141"/>
                  <a:gd name="T73" fmla="*/ 4 h 103"/>
                  <a:gd name="T74" fmla="*/ 125 w 141"/>
                  <a:gd name="T75" fmla="*/ 0 h 103"/>
                  <a:gd name="T76" fmla="*/ 126 w 141"/>
                  <a:gd name="T77" fmla="*/ 1 h 103"/>
                  <a:gd name="T78" fmla="*/ 128 w 141"/>
                  <a:gd name="T79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41" h="103">
                    <a:moveTo>
                      <a:pt x="141" y="36"/>
                    </a:moveTo>
                    <a:lnTo>
                      <a:pt x="132" y="37"/>
                    </a:lnTo>
                    <a:lnTo>
                      <a:pt x="123" y="40"/>
                    </a:lnTo>
                    <a:lnTo>
                      <a:pt x="117" y="44"/>
                    </a:lnTo>
                    <a:lnTo>
                      <a:pt x="111" y="48"/>
                    </a:lnTo>
                    <a:lnTo>
                      <a:pt x="107" y="52"/>
                    </a:lnTo>
                    <a:lnTo>
                      <a:pt x="103" y="56"/>
                    </a:lnTo>
                    <a:lnTo>
                      <a:pt x="99" y="60"/>
                    </a:lnTo>
                    <a:lnTo>
                      <a:pt x="95" y="64"/>
                    </a:lnTo>
                    <a:lnTo>
                      <a:pt x="89" y="69"/>
                    </a:lnTo>
                    <a:lnTo>
                      <a:pt x="85" y="71"/>
                    </a:lnTo>
                    <a:lnTo>
                      <a:pt x="79" y="74"/>
                    </a:lnTo>
                    <a:lnTo>
                      <a:pt x="74" y="75"/>
                    </a:lnTo>
                    <a:lnTo>
                      <a:pt x="70" y="77"/>
                    </a:lnTo>
                    <a:lnTo>
                      <a:pt x="66" y="77"/>
                    </a:lnTo>
                    <a:lnTo>
                      <a:pt x="64" y="78"/>
                    </a:lnTo>
                    <a:lnTo>
                      <a:pt x="63" y="78"/>
                    </a:lnTo>
                    <a:lnTo>
                      <a:pt x="44" y="95"/>
                    </a:lnTo>
                    <a:lnTo>
                      <a:pt x="8" y="103"/>
                    </a:lnTo>
                    <a:lnTo>
                      <a:pt x="7" y="103"/>
                    </a:lnTo>
                    <a:lnTo>
                      <a:pt x="5" y="103"/>
                    </a:lnTo>
                    <a:lnTo>
                      <a:pt x="4" y="102"/>
                    </a:lnTo>
                    <a:lnTo>
                      <a:pt x="2" y="102"/>
                    </a:lnTo>
                    <a:lnTo>
                      <a:pt x="1" y="102"/>
                    </a:lnTo>
                    <a:lnTo>
                      <a:pt x="0" y="102"/>
                    </a:lnTo>
                    <a:lnTo>
                      <a:pt x="1" y="100"/>
                    </a:lnTo>
                    <a:lnTo>
                      <a:pt x="2" y="99"/>
                    </a:lnTo>
                    <a:lnTo>
                      <a:pt x="4" y="99"/>
                    </a:lnTo>
                    <a:lnTo>
                      <a:pt x="4" y="96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2" y="93"/>
                    </a:lnTo>
                    <a:lnTo>
                      <a:pt x="11" y="91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8" y="80"/>
                    </a:lnTo>
                    <a:lnTo>
                      <a:pt x="19" y="80"/>
                    </a:lnTo>
                    <a:lnTo>
                      <a:pt x="20" y="80"/>
                    </a:lnTo>
                    <a:lnTo>
                      <a:pt x="23" y="80"/>
                    </a:lnTo>
                    <a:lnTo>
                      <a:pt x="24" y="80"/>
                    </a:lnTo>
                    <a:lnTo>
                      <a:pt x="24" y="78"/>
                    </a:lnTo>
                    <a:lnTo>
                      <a:pt x="26" y="78"/>
                    </a:lnTo>
                    <a:lnTo>
                      <a:pt x="26" y="77"/>
                    </a:lnTo>
                    <a:lnTo>
                      <a:pt x="26" y="75"/>
                    </a:lnTo>
                    <a:lnTo>
                      <a:pt x="26" y="74"/>
                    </a:lnTo>
                    <a:lnTo>
                      <a:pt x="24" y="73"/>
                    </a:lnTo>
                    <a:lnTo>
                      <a:pt x="23" y="70"/>
                    </a:lnTo>
                    <a:lnTo>
                      <a:pt x="22" y="69"/>
                    </a:lnTo>
                    <a:lnTo>
                      <a:pt x="22" y="66"/>
                    </a:lnTo>
                    <a:lnTo>
                      <a:pt x="22" y="63"/>
                    </a:lnTo>
                    <a:lnTo>
                      <a:pt x="23" y="60"/>
                    </a:lnTo>
                    <a:lnTo>
                      <a:pt x="27" y="59"/>
                    </a:lnTo>
                    <a:lnTo>
                      <a:pt x="29" y="58"/>
                    </a:lnTo>
                    <a:lnTo>
                      <a:pt x="30" y="56"/>
                    </a:lnTo>
                    <a:lnTo>
                      <a:pt x="30" y="55"/>
                    </a:lnTo>
                    <a:lnTo>
                      <a:pt x="31" y="55"/>
                    </a:lnTo>
                    <a:lnTo>
                      <a:pt x="31" y="53"/>
                    </a:lnTo>
                    <a:lnTo>
                      <a:pt x="34" y="49"/>
                    </a:lnTo>
                    <a:lnTo>
                      <a:pt x="38" y="44"/>
                    </a:lnTo>
                    <a:lnTo>
                      <a:pt x="42" y="38"/>
                    </a:lnTo>
                    <a:lnTo>
                      <a:pt x="48" y="33"/>
                    </a:lnTo>
                    <a:lnTo>
                      <a:pt x="52" y="27"/>
                    </a:lnTo>
                    <a:lnTo>
                      <a:pt x="56" y="23"/>
                    </a:lnTo>
                    <a:lnTo>
                      <a:pt x="60" y="20"/>
                    </a:lnTo>
                    <a:lnTo>
                      <a:pt x="62" y="19"/>
                    </a:lnTo>
                    <a:lnTo>
                      <a:pt x="68" y="18"/>
                    </a:lnTo>
                    <a:lnTo>
                      <a:pt x="77" y="14"/>
                    </a:lnTo>
                    <a:lnTo>
                      <a:pt x="88" y="11"/>
                    </a:lnTo>
                    <a:lnTo>
                      <a:pt x="99" y="7"/>
                    </a:lnTo>
                    <a:lnTo>
                      <a:pt x="108" y="4"/>
                    </a:lnTo>
                    <a:lnTo>
                      <a:pt x="118" y="1"/>
                    </a:lnTo>
                    <a:lnTo>
                      <a:pt x="125" y="0"/>
                    </a:lnTo>
                    <a:lnTo>
                      <a:pt x="126" y="0"/>
                    </a:lnTo>
                    <a:lnTo>
                      <a:pt x="126" y="1"/>
                    </a:lnTo>
                    <a:lnTo>
                      <a:pt x="128" y="1"/>
                    </a:lnTo>
                    <a:lnTo>
                      <a:pt x="128" y="3"/>
                    </a:lnTo>
                    <a:lnTo>
                      <a:pt x="141" y="3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1" name="Freeform 923"/>
              <p:cNvSpPr>
                <a:spLocks/>
              </p:cNvSpPr>
              <p:nvPr/>
            </p:nvSpPr>
            <p:spPr bwMode="auto">
              <a:xfrm>
                <a:off x="3516" y="2556"/>
                <a:ext cx="110" cy="121"/>
              </a:xfrm>
              <a:custGeom>
                <a:avLst/>
                <a:gdLst>
                  <a:gd name="T0" fmla="*/ 87 w 110"/>
                  <a:gd name="T1" fmla="*/ 1 h 121"/>
                  <a:gd name="T2" fmla="*/ 87 w 110"/>
                  <a:gd name="T3" fmla="*/ 4 h 121"/>
                  <a:gd name="T4" fmla="*/ 87 w 110"/>
                  <a:gd name="T5" fmla="*/ 6 h 121"/>
                  <a:gd name="T6" fmla="*/ 87 w 110"/>
                  <a:gd name="T7" fmla="*/ 8 h 121"/>
                  <a:gd name="T8" fmla="*/ 90 w 110"/>
                  <a:gd name="T9" fmla="*/ 13 h 121"/>
                  <a:gd name="T10" fmla="*/ 97 w 110"/>
                  <a:gd name="T11" fmla="*/ 22 h 121"/>
                  <a:gd name="T12" fmla="*/ 103 w 110"/>
                  <a:gd name="T13" fmla="*/ 26 h 121"/>
                  <a:gd name="T14" fmla="*/ 108 w 110"/>
                  <a:gd name="T15" fmla="*/ 27 h 121"/>
                  <a:gd name="T16" fmla="*/ 110 w 110"/>
                  <a:gd name="T17" fmla="*/ 30 h 121"/>
                  <a:gd name="T18" fmla="*/ 110 w 110"/>
                  <a:gd name="T19" fmla="*/ 37 h 121"/>
                  <a:gd name="T20" fmla="*/ 108 w 110"/>
                  <a:gd name="T21" fmla="*/ 45 h 121"/>
                  <a:gd name="T22" fmla="*/ 98 w 110"/>
                  <a:gd name="T23" fmla="*/ 53 h 121"/>
                  <a:gd name="T24" fmla="*/ 91 w 110"/>
                  <a:gd name="T25" fmla="*/ 59 h 121"/>
                  <a:gd name="T26" fmla="*/ 90 w 110"/>
                  <a:gd name="T27" fmla="*/ 63 h 121"/>
                  <a:gd name="T28" fmla="*/ 86 w 110"/>
                  <a:gd name="T29" fmla="*/ 68 h 121"/>
                  <a:gd name="T30" fmla="*/ 81 w 110"/>
                  <a:gd name="T31" fmla="*/ 74 h 121"/>
                  <a:gd name="T32" fmla="*/ 77 w 110"/>
                  <a:gd name="T33" fmla="*/ 75 h 121"/>
                  <a:gd name="T34" fmla="*/ 70 w 110"/>
                  <a:gd name="T35" fmla="*/ 77 h 121"/>
                  <a:gd name="T36" fmla="*/ 62 w 110"/>
                  <a:gd name="T37" fmla="*/ 82 h 121"/>
                  <a:gd name="T38" fmla="*/ 59 w 110"/>
                  <a:gd name="T39" fmla="*/ 88 h 121"/>
                  <a:gd name="T40" fmla="*/ 59 w 110"/>
                  <a:gd name="T41" fmla="*/ 92 h 121"/>
                  <a:gd name="T42" fmla="*/ 59 w 110"/>
                  <a:gd name="T43" fmla="*/ 93 h 121"/>
                  <a:gd name="T44" fmla="*/ 55 w 110"/>
                  <a:gd name="T45" fmla="*/ 101 h 121"/>
                  <a:gd name="T46" fmla="*/ 44 w 110"/>
                  <a:gd name="T47" fmla="*/ 111 h 121"/>
                  <a:gd name="T48" fmla="*/ 26 w 110"/>
                  <a:gd name="T49" fmla="*/ 119 h 121"/>
                  <a:gd name="T50" fmla="*/ 2 w 110"/>
                  <a:gd name="T51" fmla="*/ 88 h 121"/>
                  <a:gd name="T52" fmla="*/ 2 w 110"/>
                  <a:gd name="T53" fmla="*/ 88 h 121"/>
                  <a:gd name="T54" fmla="*/ 2 w 110"/>
                  <a:gd name="T55" fmla="*/ 86 h 121"/>
                  <a:gd name="T56" fmla="*/ 0 w 110"/>
                  <a:gd name="T57" fmla="*/ 86 h 121"/>
                  <a:gd name="T58" fmla="*/ 0 w 110"/>
                  <a:gd name="T59" fmla="*/ 85 h 121"/>
                  <a:gd name="T60" fmla="*/ 10 w 110"/>
                  <a:gd name="T61" fmla="*/ 82 h 121"/>
                  <a:gd name="T62" fmla="*/ 30 w 110"/>
                  <a:gd name="T63" fmla="*/ 72 h 121"/>
                  <a:gd name="T64" fmla="*/ 51 w 110"/>
                  <a:gd name="T65" fmla="*/ 56 h 121"/>
                  <a:gd name="T66" fmla="*/ 58 w 110"/>
                  <a:gd name="T67" fmla="*/ 45 h 121"/>
                  <a:gd name="T68" fmla="*/ 59 w 110"/>
                  <a:gd name="T69" fmla="*/ 31 h 121"/>
                  <a:gd name="T70" fmla="*/ 59 w 110"/>
                  <a:gd name="T71" fmla="*/ 30 h 121"/>
                  <a:gd name="T72" fmla="*/ 59 w 110"/>
                  <a:gd name="T73" fmla="*/ 26 h 121"/>
                  <a:gd name="T74" fmla="*/ 58 w 110"/>
                  <a:gd name="T75" fmla="*/ 22 h 121"/>
                  <a:gd name="T76" fmla="*/ 58 w 110"/>
                  <a:gd name="T77" fmla="*/ 19 h 121"/>
                  <a:gd name="T78" fmla="*/ 58 w 110"/>
                  <a:gd name="T79" fmla="*/ 17 h 121"/>
                  <a:gd name="T80" fmla="*/ 58 w 110"/>
                  <a:gd name="T81" fmla="*/ 16 h 121"/>
                  <a:gd name="T82" fmla="*/ 58 w 110"/>
                  <a:gd name="T83" fmla="*/ 13 h 121"/>
                  <a:gd name="T84" fmla="*/ 61 w 110"/>
                  <a:gd name="T85" fmla="*/ 12 h 121"/>
                  <a:gd name="T86" fmla="*/ 62 w 110"/>
                  <a:gd name="T87" fmla="*/ 12 h 121"/>
                  <a:gd name="T88" fmla="*/ 65 w 110"/>
                  <a:gd name="T89" fmla="*/ 12 h 121"/>
                  <a:gd name="T90" fmla="*/ 69 w 110"/>
                  <a:gd name="T91" fmla="*/ 9 h 121"/>
                  <a:gd name="T92" fmla="*/ 72 w 110"/>
                  <a:gd name="T93" fmla="*/ 8 h 121"/>
                  <a:gd name="T94" fmla="*/ 72 w 110"/>
                  <a:gd name="T95" fmla="*/ 6 h 121"/>
                  <a:gd name="T96" fmla="*/ 74 w 110"/>
                  <a:gd name="T97" fmla="*/ 4 h 121"/>
                  <a:gd name="T98" fmla="*/ 76 w 110"/>
                  <a:gd name="T99" fmla="*/ 2 h 121"/>
                  <a:gd name="T100" fmla="*/ 77 w 110"/>
                  <a:gd name="T101" fmla="*/ 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0" h="121">
                    <a:moveTo>
                      <a:pt x="87" y="0"/>
                    </a:moveTo>
                    <a:lnTo>
                      <a:pt x="87" y="1"/>
                    </a:lnTo>
                    <a:lnTo>
                      <a:pt x="87" y="2"/>
                    </a:lnTo>
                    <a:lnTo>
                      <a:pt x="87" y="4"/>
                    </a:lnTo>
                    <a:lnTo>
                      <a:pt x="87" y="5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90" y="13"/>
                    </a:lnTo>
                    <a:lnTo>
                      <a:pt x="94" y="17"/>
                    </a:lnTo>
                    <a:lnTo>
                      <a:pt x="97" y="22"/>
                    </a:lnTo>
                    <a:lnTo>
                      <a:pt x="101" y="23"/>
                    </a:lnTo>
                    <a:lnTo>
                      <a:pt x="103" y="26"/>
                    </a:lnTo>
                    <a:lnTo>
                      <a:pt x="106" y="26"/>
                    </a:lnTo>
                    <a:lnTo>
                      <a:pt x="108" y="27"/>
                    </a:lnTo>
                    <a:lnTo>
                      <a:pt x="109" y="27"/>
                    </a:lnTo>
                    <a:lnTo>
                      <a:pt x="110" y="30"/>
                    </a:lnTo>
                    <a:lnTo>
                      <a:pt x="110" y="34"/>
                    </a:lnTo>
                    <a:lnTo>
                      <a:pt x="110" y="37"/>
                    </a:lnTo>
                    <a:lnTo>
                      <a:pt x="110" y="39"/>
                    </a:lnTo>
                    <a:lnTo>
                      <a:pt x="108" y="45"/>
                    </a:lnTo>
                    <a:lnTo>
                      <a:pt x="103" y="50"/>
                    </a:lnTo>
                    <a:lnTo>
                      <a:pt x="98" y="53"/>
                    </a:lnTo>
                    <a:lnTo>
                      <a:pt x="94" y="56"/>
                    </a:lnTo>
                    <a:lnTo>
                      <a:pt x="91" y="59"/>
                    </a:lnTo>
                    <a:lnTo>
                      <a:pt x="90" y="59"/>
                    </a:lnTo>
                    <a:lnTo>
                      <a:pt x="90" y="63"/>
                    </a:lnTo>
                    <a:lnTo>
                      <a:pt x="88" y="66"/>
                    </a:lnTo>
                    <a:lnTo>
                      <a:pt x="86" y="68"/>
                    </a:lnTo>
                    <a:lnTo>
                      <a:pt x="84" y="71"/>
                    </a:lnTo>
                    <a:lnTo>
                      <a:pt x="81" y="74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6" y="77"/>
                    </a:lnTo>
                    <a:lnTo>
                      <a:pt x="70" y="77"/>
                    </a:lnTo>
                    <a:lnTo>
                      <a:pt x="66" y="79"/>
                    </a:lnTo>
                    <a:lnTo>
                      <a:pt x="62" y="82"/>
                    </a:lnTo>
                    <a:lnTo>
                      <a:pt x="61" y="85"/>
                    </a:lnTo>
                    <a:lnTo>
                      <a:pt x="59" y="88"/>
                    </a:lnTo>
                    <a:lnTo>
                      <a:pt x="59" y="90"/>
                    </a:lnTo>
                    <a:lnTo>
                      <a:pt x="59" y="92"/>
                    </a:lnTo>
                    <a:lnTo>
                      <a:pt x="59" y="92"/>
                    </a:lnTo>
                    <a:lnTo>
                      <a:pt x="59" y="93"/>
                    </a:lnTo>
                    <a:lnTo>
                      <a:pt x="58" y="96"/>
                    </a:lnTo>
                    <a:lnTo>
                      <a:pt x="55" y="101"/>
                    </a:lnTo>
                    <a:lnTo>
                      <a:pt x="50" y="105"/>
                    </a:lnTo>
                    <a:lnTo>
                      <a:pt x="44" y="111"/>
                    </a:lnTo>
                    <a:lnTo>
                      <a:pt x="37" y="115"/>
                    </a:lnTo>
                    <a:lnTo>
                      <a:pt x="26" y="119"/>
                    </a:lnTo>
                    <a:lnTo>
                      <a:pt x="15" y="121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2" y="85"/>
                    </a:lnTo>
                    <a:lnTo>
                      <a:pt x="10" y="82"/>
                    </a:lnTo>
                    <a:lnTo>
                      <a:pt x="19" y="78"/>
                    </a:lnTo>
                    <a:lnTo>
                      <a:pt x="30" y="72"/>
                    </a:lnTo>
                    <a:lnTo>
                      <a:pt x="41" y="64"/>
                    </a:lnTo>
                    <a:lnTo>
                      <a:pt x="51" y="56"/>
                    </a:lnTo>
                    <a:lnTo>
                      <a:pt x="55" y="50"/>
                    </a:lnTo>
                    <a:lnTo>
                      <a:pt x="58" y="45"/>
                    </a:lnTo>
                    <a:lnTo>
                      <a:pt x="59" y="38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30"/>
                    </a:lnTo>
                    <a:lnTo>
                      <a:pt x="59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2"/>
                    </a:lnTo>
                    <a:lnTo>
                      <a:pt x="58" y="19"/>
                    </a:lnTo>
                    <a:lnTo>
                      <a:pt x="58" y="19"/>
                    </a:lnTo>
                    <a:lnTo>
                      <a:pt x="58" y="17"/>
                    </a:lnTo>
                    <a:lnTo>
                      <a:pt x="58" y="17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8" y="15"/>
                    </a:lnTo>
                    <a:lnTo>
                      <a:pt x="58" y="13"/>
                    </a:lnTo>
                    <a:lnTo>
                      <a:pt x="59" y="13"/>
                    </a:lnTo>
                    <a:lnTo>
                      <a:pt x="61" y="12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5" y="12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70" y="9"/>
                    </a:lnTo>
                    <a:lnTo>
                      <a:pt x="72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3" y="5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6" y="2"/>
                    </a:lnTo>
                    <a:lnTo>
                      <a:pt x="77" y="2"/>
                    </a:lnTo>
                    <a:lnTo>
                      <a:pt x="77" y="4"/>
                    </a:lnTo>
                    <a:lnTo>
                      <a:pt x="8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2" name="Freeform 924"/>
              <p:cNvSpPr>
                <a:spLocks/>
              </p:cNvSpPr>
              <p:nvPr/>
            </p:nvSpPr>
            <p:spPr bwMode="auto">
              <a:xfrm>
                <a:off x="3516" y="2556"/>
                <a:ext cx="110" cy="121"/>
              </a:xfrm>
              <a:custGeom>
                <a:avLst/>
                <a:gdLst>
                  <a:gd name="T0" fmla="*/ 87 w 110"/>
                  <a:gd name="T1" fmla="*/ 1 h 121"/>
                  <a:gd name="T2" fmla="*/ 87 w 110"/>
                  <a:gd name="T3" fmla="*/ 4 h 121"/>
                  <a:gd name="T4" fmla="*/ 87 w 110"/>
                  <a:gd name="T5" fmla="*/ 6 h 121"/>
                  <a:gd name="T6" fmla="*/ 90 w 110"/>
                  <a:gd name="T7" fmla="*/ 13 h 121"/>
                  <a:gd name="T8" fmla="*/ 97 w 110"/>
                  <a:gd name="T9" fmla="*/ 22 h 121"/>
                  <a:gd name="T10" fmla="*/ 103 w 110"/>
                  <a:gd name="T11" fmla="*/ 26 h 121"/>
                  <a:gd name="T12" fmla="*/ 108 w 110"/>
                  <a:gd name="T13" fmla="*/ 27 h 121"/>
                  <a:gd name="T14" fmla="*/ 110 w 110"/>
                  <a:gd name="T15" fmla="*/ 30 h 121"/>
                  <a:gd name="T16" fmla="*/ 110 w 110"/>
                  <a:gd name="T17" fmla="*/ 37 h 121"/>
                  <a:gd name="T18" fmla="*/ 108 w 110"/>
                  <a:gd name="T19" fmla="*/ 45 h 121"/>
                  <a:gd name="T20" fmla="*/ 98 w 110"/>
                  <a:gd name="T21" fmla="*/ 53 h 121"/>
                  <a:gd name="T22" fmla="*/ 91 w 110"/>
                  <a:gd name="T23" fmla="*/ 59 h 121"/>
                  <a:gd name="T24" fmla="*/ 90 w 110"/>
                  <a:gd name="T25" fmla="*/ 63 h 121"/>
                  <a:gd name="T26" fmla="*/ 86 w 110"/>
                  <a:gd name="T27" fmla="*/ 68 h 121"/>
                  <a:gd name="T28" fmla="*/ 81 w 110"/>
                  <a:gd name="T29" fmla="*/ 74 h 121"/>
                  <a:gd name="T30" fmla="*/ 77 w 110"/>
                  <a:gd name="T31" fmla="*/ 75 h 121"/>
                  <a:gd name="T32" fmla="*/ 70 w 110"/>
                  <a:gd name="T33" fmla="*/ 77 h 121"/>
                  <a:gd name="T34" fmla="*/ 62 w 110"/>
                  <a:gd name="T35" fmla="*/ 82 h 121"/>
                  <a:gd name="T36" fmla="*/ 59 w 110"/>
                  <a:gd name="T37" fmla="*/ 88 h 121"/>
                  <a:gd name="T38" fmla="*/ 59 w 110"/>
                  <a:gd name="T39" fmla="*/ 92 h 121"/>
                  <a:gd name="T40" fmla="*/ 58 w 110"/>
                  <a:gd name="T41" fmla="*/ 96 h 121"/>
                  <a:gd name="T42" fmla="*/ 50 w 110"/>
                  <a:gd name="T43" fmla="*/ 105 h 121"/>
                  <a:gd name="T44" fmla="*/ 37 w 110"/>
                  <a:gd name="T45" fmla="*/ 115 h 121"/>
                  <a:gd name="T46" fmla="*/ 15 w 110"/>
                  <a:gd name="T47" fmla="*/ 121 h 121"/>
                  <a:gd name="T48" fmla="*/ 2 w 110"/>
                  <a:gd name="T49" fmla="*/ 86 h 121"/>
                  <a:gd name="T50" fmla="*/ 0 w 110"/>
                  <a:gd name="T51" fmla="*/ 85 h 121"/>
                  <a:gd name="T52" fmla="*/ 10 w 110"/>
                  <a:gd name="T53" fmla="*/ 82 h 121"/>
                  <a:gd name="T54" fmla="*/ 30 w 110"/>
                  <a:gd name="T55" fmla="*/ 72 h 121"/>
                  <a:gd name="T56" fmla="*/ 51 w 110"/>
                  <a:gd name="T57" fmla="*/ 56 h 121"/>
                  <a:gd name="T58" fmla="*/ 58 w 110"/>
                  <a:gd name="T59" fmla="*/ 45 h 121"/>
                  <a:gd name="T60" fmla="*/ 59 w 110"/>
                  <a:gd name="T61" fmla="*/ 31 h 121"/>
                  <a:gd name="T62" fmla="*/ 59 w 110"/>
                  <a:gd name="T63" fmla="*/ 28 h 121"/>
                  <a:gd name="T64" fmla="*/ 59 w 110"/>
                  <a:gd name="T65" fmla="*/ 23 h 121"/>
                  <a:gd name="T66" fmla="*/ 58 w 110"/>
                  <a:gd name="T67" fmla="*/ 19 h 121"/>
                  <a:gd name="T68" fmla="*/ 58 w 110"/>
                  <a:gd name="T69" fmla="*/ 16 h 121"/>
                  <a:gd name="T70" fmla="*/ 58 w 110"/>
                  <a:gd name="T71" fmla="*/ 13 h 121"/>
                  <a:gd name="T72" fmla="*/ 61 w 110"/>
                  <a:gd name="T73" fmla="*/ 12 h 121"/>
                  <a:gd name="T74" fmla="*/ 63 w 110"/>
                  <a:gd name="T75" fmla="*/ 12 h 121"/>
                  <a:gd name="T76" fmla="*/ 68 w 110"/>
                  <a:gd name="T77" fmla="*/ 11 h 121"/>
                  <a:gd name="T78" fmla="*/ 70 w 110"/>
                  <a:gd name="T79" fmla="*/ 9 h 121"/>
                  <a:gd name="T80" fmla="*/ 72 w 110"/>
                  <a:gd name="T81" fmla="*/ 6 h 121"/>
                  <a:gd name="T82" fmla="*/ 74 w 110"/>
                  <a:gd name="T83" fmla="*/ 4 h 121"/>
                  <a:gd name="T84" fmla="*/ 77 w 110"/>
                  <a:gd name="T85" fmla="*/ 2 h 121"/>
                  <a:gd name="T86" fmla="*/ 87 w 110"/>
                  <a:gd name="T8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0" h="121">
                    <a:moveTo>
                      <a:pt x="87" y="0"/>
                    </a:moveTo>
                    <a:lnTo>
                      <a:pt x="87" y="1"/>
                    </a:lnTo>
                    <a:lnTo>
                      <a:pt x="87" y="2"/>
                    </a:lnTo>
                    <a:lnTo>
                      <a:pt x="87" y="4"/>
                    </a:lnTo>
                    <a:lnTo>
                      <a:pt x="87" y="5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90" y="13"/>
                    </a:lnTo>
                    <a:lnTo>
                      <a:pt x="94" y="17"/>
                    </a:lnTo>
                    <a:lnTo>
                      <a:pt x="97" y="22"/>
                    </a:lnTo>
                    <a:lnTo>
                      <a:pt x="101" y="23"/>
                    </a:lnTo>
                    <a:lnTo>
                      <a:pt x="103" y="26"/>
                    </a:lnTo>
                    <a:lnTo>
                      <a:pt x="106" y="26"/>
                    </a:lnTo>
                    <a:lnTo>
                      <a:pt x="108" y="27"/>
                    </a:lnTo>
                    <a:lnTo>
                      <a:pt x="109" y="27"/>
                    </a:lnTo>
                    <a:lnTo>
                      <a:pt x="110" y="30"/>
                    </a:lnTo>
                    <a:lnTo>
                      <a:pt x="110" y="34"/>
                    </a:lnTo>
                    <a:lnTo>
                      <a:pt x="110" y="37"/>
                    </a:lnTo>
                    <a:lnTo>
                      <a:pt x="110" y="39"/>
                    </a:lnTo>
                    <a:lnTo>
                      <a:pt x="108" y="45"/>
                    </a:lnTo>
                    <a:lnTo>
                      <a:pt x="103" y="50"/>
                    </a:lnTo>
                    <a:lnTo>
                      <a:pt x="98" y="53"/>
                    </a:lnTo>
                    <a:lnTo>
                      <a:pt x="94" y="56"/>
                    </a:lnTo>
                    <a:lnTo>
                      <a:pt x="91" y="59"/>
                    </a:lnTo>
                    <a:lnTo>
                      <a:pt x="90" y="59"/>
                    </a:lnTo>
                    <a:lnTo>
                      <a:pt x="90" y="63"/>
                    </a:lnTo>
                    <a:lnTo>
                      <a:pt x="88" y="66"/>
                    </a:lnTo>
                    <a:lnTo>
                      <a:pt x="86" y="68"/>
                    </a:lnTo>
                    <a:lnTo>
                      <a:pt x="84" y="71"/>
                    </a:lnTo>
                    <a:lnTo>
                      <a:pt x="81" y="74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6" y="77"/>
                    </a:lnTo>
                    <a:lnTo>
                      <a:pt x="70" y="77"/>
                    </a:lnTo>
                    <a:lnTo>
                      <a:pt x="66" y="79"/>
                    </a:lnTo>
                    <a:lnTo>
                      <a:pt x="62" y="82"/>
                    </a:lnTo>
                    <a:lnTo>
                      <a:pt x="61" y="85"/>
                    </a:lnTo>
                    <a:lnTo>
                      <a:pt x="59" y="88"/>
                    </a:lnTo>
                    <a:lnTo>
                      <a:pt x="59" y="90"/>
                    </a:lnTo>
                    <a:lnTo>
                      <a:pt x="59" y="92"/>
                    </a:lnTo>
                    <a:lnTo>
                      <a:pt x="59" y="93"/>
                    </a:lnTo>
                    <a:lnTo>
                      <a:pt x="58" y="96"/>
                    </a:lnTo>
                    <a:lnTo>
                      <a:pt x="55" y="101"/>
                    </a:lnTo>
                    <a:lnTo>
                      <a:pt x="50" y="105"/>
                    </a:lnTo>
                    <a:lnTo>
                      <a:pt x="44" y="111"/>
                    </a:lnTo>
                    <a:lnTo>
                      <a:pt x="37" y="115"/>
                    </a:lnTo>
                    <a:lnTo>
                      <a:pt x="26" y="119"/>
                    </a:lnTo>
                    <a:lnTo>
                      <a:pt x="15" y="121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2" y="85"/>
                    </a:lnTo>
                    <a:lnTo>
                      <a:pt x="10" y="82"/>
                    </a:lnTo>
                    <a:lnTo>
                      <a:pt x="19" y="78"/>
                    </a:lnTo>
                    <a:lnTo>
                      <a:pt x="30" y="72"/>
                    </a:lnTo>
                    <a:lnTo>
                      <a:pt x="41" y="64"/>
                    </a:lnTo>
                    <a:lnTo>
                      <a:pt x="51" y="56"/>
                    </a:lnTo>
                    <a:lnTo>
                      <a:pt x="55" y="50"/>
                    </a:lnTo>
                    <a:lnTo>
                      <a:pt x="58" y="45"/>
                    </a:lnTo>
                    <a:lnTo>
                      <a:pt x="59" y="38"/>
                    </a:lnTo>
                    <a:lnTo>
                      <a:pt x="59" y="31"/>
                    </a:lnTo>
                    <a:lnTo>
                      <a:pt x="59" y="30"/>
                    </a:lnTo>
                    <a:lnTo>
                      <a:pt x="59" y="28"/>
                    </a:lnTo>
                    <a:lnTo>
                      <a:pt x="59" y="26"/>
                    </a:lnTo>
                    <a:lnTo>
                      <a:pt x="59" y="23"/>
                    </a:lnTo>
                    <a:lnTo>
                      <a:pt x="58" y="22"/>
                    </a:lnTo>
                    <a:lnTo>
                      <a:pt x="58" y="19"/>
                    </a:lnTo>
                    <a:lnTo>
                      <a:pt x="58" y="17"/>
                    </a:lnTo>
                    <a:lnTo>
                      <a:pt x="58" y="16"/>
                    </a:lnTo>
                    <a:lnTo>
                      <a:pt x="58" y="15"/>
                    </a:lnTo>
                    <a:lnTo>
                      <a:pt x="58" y="13"/>
                    </a:lnTo>
                    <a:lnTo>
                      <a:pt x="59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5" y="12"/>
                    </a:lnTo>
                    <a:lnTo>
                      <a:pt x="68" y="11"/>
                    </a:lnTo>
                    <a:lnTo>
                      <a:pt x="69" y="9"/>
                    </a:lnTo>
                    <a:lnTo>
                      <a:pt x="70" y="9"/>
                    </a:lnTo>
                    <a:lnTo>
                      <a:pt x="72" y="8"/>
                    </a:lnTo>
                    <a:lnTo>
                      <a:pt x="72" y="6"/>
                    </a:lnTo>
                    <a:lnTo>
                      <a:pt x="73" y="5"/>
                    </a:lnTo>
                    <a:lnTo>
                      <a:pt x="74" y="4"/>
                    </a:lnTo>
                    <a:lnTo>
                      <a:pt x="76" y="2"/>
                    </a:lnTo>
                    <a:lnTo>
                      <a:pt x="77" y="2"/>
                    </a:lnTo>
                    <a:lnTo>
                      <a:pt x="77" y="4"/>
                    </a:lnTo>
                    <a:lnTo>
                      <a:pt x="8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3" name="Freeform 925"/>
              <p:cNvSpPr>
                <a:spLocks/>
              </p:cNvSpPr>
              <p:nvPr/>
            </p:nvSpPr>
            <p:spPr bwMode="auto">
              <a:xfrm>
                <a:off x="3309" y="2305"/>
                <a:ext cx="136" cy="160"/>
              </a:xfrm>
              <a:custGeom>
                <a:avLst/>
                <a:gdLst>
                  <a:gd name="T0" fmla="*/ 101 w 136"/>
                  <a:gd name="T1" fmla="*/ 160 h 160"/>
                  <a:gd name="T2" fmla="*/ 94 w 136"/>
                  <a:gd name="T3" fmla="*/ 154 h 160"/>
                  <a:gd name="T4" fmla="*/ 82 w 136"/>
                  <a:gd name="T5" fmla="*/ 150 h 160"/>
                  <a:gd name="T6" fmla="*/ 27 w 136"/>
                  <a:gd name="T7" fmla="*/ 123 h 160"/>
                  <a:gd name="T8" fmla="*/ 17 w 136"/>
                  <a:gd name="T9" fmla="*/ 112 h 160"/>
                  <a:gd name="T10" fmla="*/ 28 w 136"/>
                  <a:gd name="T11" fmla="*/ 57 h 160"/>
                  <a:gd name="T12" fmla="*/ 30 w 136"/>
                  <a:gd name="T13" fmla="*/ 54 h 160"/>
                  <a:gd name="T14" fmla="*/ 30 w 136"/>
                  <a:gd name="T15" fmla="*/ 49 h 160"/>
                  <a:gd name="T16" fmla="*/ 28 w 136"/>
                  <a:gd name="T17" fmla="*/ 46 h 160"/>
                  <a:gd name="T18" fmla="*/ 28 w 136"/>
                  <a:gd name="T19" fmla="*/ 43 h 160"/>
                  <a:gd name="T20" fmla="*/ 30 w 136"/>
                  <a:gd name="T21" fmla="*/ 38 h 160"/>
                  <a:gd name="T22" fmla="*/ 31 w 136"/>
                  <a:gd name="T23" fmla="*/ 38 h 160"/>
                  <a:gd name="T24" fmla="*/ 34 w 136"/>
                  <a:gd name="T25" fmla="*/ 35 h 160"/>
                  <a:gd name="T26" fmla="*/ 37 w 136"/>
                  <a:gd name="T27" fmla="*/ 29 h 160"/>
                  <a:gd name="T28" fmla="*/ 39 w 136"/>
                  <a:gd name="T29" fmla="*/ 24 h 160"/>
                  <a:gd name="T30" fmla="*/ 44 w 136"/>
                  <a:gd name="T31" fmla="*/ 16 h 160"/>
                  <a:gd name="T32" fmla="*/ 45 w 136"/>
                  <a:gd name="T33" fmla="*/ 10 h 160"/>
                  <a:gd name="T34" fmla="*/ 52 w 136"/>
                  <a:gd name="T35" fmla="*/ 7 h 160"/>
                  <a:gd name="T36" fmla="*/ 64 w 136"/>
                  <a:gd name="T37" fmla="*/ 5 h 160"/>
                  <a:gd name="T38" fmla="*/ 81 w 136"/>
                  <a:gd name="T39" fmla="*/ 2 h 160"/>
                  <a:gd name="T40" fmla="*/ 82 w 136"/>
                  <a:gd name="T41" fmla="*/ 3 h 160"/>
                  <a:gd name="T42" fmla="*/ 86 w 136"/>
                  <a:gd name="T43" fmla="*/ 6 h 160"/>
                  <a:gd name="T44" fmla="*/ 88 w 136"/>
                  <a:gd name="T45" fmla="*/ 6 h 160"/>
                  <a:gd name="T46" fmla="*/ 92 w 136"/>
                  <a:gd name="T47" fmla="*/ 6 h 160"/>
                  <a:gd name="T48" fmla="*/ 94 w 136"/>
                  <a:gd name="T49" fmla="*/ 6 h 160"/>
                  <a:gd name="T50" fmla="*/ 96 w 136"/>
                  <a:gd name="T51" fmla="*/ 9 h 160"/>
                  <a:gd name="T52" fmla="*/ 97 w 136"/>
                  <a:gd name="T53" fmla="*/ 13 h 160"/>
                  <a:gd name="T54" fmla="*/ 97 w 136"/>
                  <a:gd name="T55" fmla="*/ 16 h 160"/>
                  <a:gd name="T56" fmla="*/ 94 w 136"/>
                  <a:gd name="T57" fmla="*/ 17 h 160"/>
                  <a:gd name="T58" fmla="*/ 94 w 136"/>
                  <a:gd name="T59" fmla="*/ 20 h 160"/>
                  <a:gd name="T60" fmla="*/ 96 w 136"/>
                  <a:gd name="T61" fmla="*/ 22 h 160"/>
                  <a:gd name="T62" fmla="*/ 100 w 136"/>
                  <a:gd name="T63" fmla="*/ 25 h 160"/>
                  <a:gd name="T64" fmla="*/ 103 w 136"/>
                  <a:gd name="T65" fmla="*/ 28 h 160"/>
                  <a:gd name="T66" fmla="*/ 107 w 136"/>
                  <a:gd name="T67" fmla="*/ 32 h 160"/>
                  <a:gd name="T68" fmla="*/ 114 w 136"/>
                  <a:gd name="T69" fmla="*/ 40 h 160"/>
                  <a:gd name="T70" fmla="*/ 114 w 136"/>
                  <a:gd name="T71" fmla="*/ 49 h 160"/>
                  <a:gd name="T72" fmla="*/ 110 w 136"/>
                  <a:gd name="T73" fmla="*/ 60 h 160"/>
                  <a:gd name="T74" fmla="*/ 107 w 136"/>
                  <a:gd name="T75" fmla="*/ 75 h 160"/>
                  <a:gd name="T76" fmla="*/ 108 w 136"/>
                  <a:gd name="T77" fmla="*/ 82 h 160"/>
                  <a:gd name="T78" fmla="*/ 115 w 136"/>
                  <a:gd name="T79" fmla="*/ 95 h 160"/>
                  <a:gd name="T80" fmla="*/ 125 w 136"/>
                  <a:gd name="T81" fmla="*/ 105 h 160"/>
                  <a:gd name="T82" fmla="*/ 125 w 136"/>
                  <a:gd name="T83" fmla="*/ 108 h 160"/>
                  <a:gd name="T84" fmla="*/ 126 w 136"/>
                  <a:gd name="T85" fmla="*/ 112 h 160"/>
                  <a:gd name="T86" fmla="*/ 126 w 136"/>
                  <a:gd name="T87" fmla="*/ 116 h 160"/>
                  <a:gd name="T88" fmla="*/ 129 w 136"/>
                  <a:gd name="T89" fmla="*/ 120 h 160"/>
                  <a:gd name="T90" fmla="*/ 133 w 136"/>
                  <a:gd name="T91" fmla="*/ 124 h 160"/>
                  <a:gd name="T92" fmla="*/ 134 w 136"/>
                  <a:gd name="T93" fmla="*/ 127 h 160"/>
                  <a:gd name="T94" fmla="*/ 136 w 136"/>
                  <a:gd name="T95" fmla="*/ 134 h 160"/>
                  <a:gd name="T96" fmla="*/ 136 w 136"/>
                  <a:gd name="T97" fmla="*/ 138 h 160"/>
                  <a:gd name="T98" fmla="*/ 134 w 136"/>
                  <a:gd name="T99" fmla="*/ 149 h 160"/>
                  <a:gd name="T100" fmla="*/ 130 w 136"/>
                  <a:gd name="T101" fmla="*/ 150 h 160"/>
                  <a:gd name="T102" fmla="*/ 127 w 136"/>
                  <a:gd name="T103" fmla="*/ 1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6" h="160">
                    <a:moveTo>
                      <a:pt x="103" y="160"/>
                    </a:moveTo>
                    <a:lnTo>
                      <a:pt x="103" y="160"/>
                    </a:lnTo>
                    <a:lnTo>
                      <a:pt x="101" y="160"/>
                    </a:lnTo>
                    <a:lnTo>
                      <a:pt x="99" y="159"/>
                    </a:lnTo>
                    <a:lnTo>
                      <a:pt x="97" y="157"/>
                    </a:lnTo>
                    <a:lnTo>
                      <a:pt x="94" y="154"/>
                    </a:lnTo>
                    <a:lnTo>
                      <a:pt x="90" y="153"/>
                    </a:lnTo>
                    <a:lnTo>
                      <a:pt x="86" y="152"/>
                    </a:lnTo>
                    <a:lnTo>
                      <a:pt x="82" y="150"/>
                    </a:lnTo>
                    <a:lnTo>
                      <a:pt x="68" y="138"/>
                    </a:lnTo>
                    <a:lnTo>
                      <a:pt x="59" y="138"/>
                    </a:lnTo>
                    <a:lnTo>
                      <a:pt x="27" y="123"/>
                    </a:lnTo>
                    <a:lnTo>
                      <a:pt x="20" y="119"/>
                    </a:lnTo>
                    <a:lnTo>
                      <a:pt x="20" y="117"/>
                    </a:lnTo>
                    <a:lnTo>
                      <a:pt x="17" y="112"/>
                    </a:lnTo>
                    <a:lnTo>
                      <a:pt x="4" y="93"/>
                    </a:lnTo>
                    <a:lnTo>
                      <a:pt x="0" y="82"/>
                    </a:lnTo>
                    <a:lnTo>
                      <a:pt x="28" y="57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30" y="54"/>
                    </a:lnTo>
                    <a:lnTo>
                      <a:pt x="30" y="53"/>
                    </a:lnTo>
                    <a:lnTo>
                      <a:pt x="30" y="51"/>
                    </a:lnTo>
                    <a:lnTo>
                      <a:pt x="30" y="49"/>
                    </a:lnTo>
                    <a:lnTo>
                      <a:pt x="30" y="47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30" y="42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3" y="36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5" y="32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38" y="27"/>
                    </a:lnTo>
                    <a:lnTo>
                      <a:pt x="39" y="24"/>
                    </a:lnTo>
                    <a:lnTo>
                      <a:pt x="41" y="21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5" y="13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46" y="9"/>
                    </a:lnTo>
                    <a:lnTo>
                      <a:pt x="49" y="9"/>
                    </a:lnTo>
                    <a:lnTo>
                      <a:pt x="52" y="7"/>
                    </a:lnTo>
                    <a:lnTo>
                      <a:pt x="56" y="6"/>
                    </a:lnTo>
                    <a:lnTo>
                      <a:pt x="60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2" y="3"/>
                    </a:lnTo>
                    <a:lnTo>
                      <a:pt x="83" y="5"/>
                    </a:lnTo>
                    <a:lnTo>
                      <a:pt x="85" y="6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3" y="6"/>
                    </a:lnTo>
                    <a:lnTo>
                      <a:pt x="94" y="6"/>
                    </a:lnTo>
                    <a:lnTo>
                      <a:pt x="94" y="6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10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7" y="14"/>
                    </a:lnTo>
                    <a:lnTo>
                      <a:pt x="97" y="14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6" y="17"/>
                    </a:lnTo>
                    <a:lnTo>
                      <a:pt x="94" y="17"/>
                    </a:lnTo>
                    <a:lnTo>
                      <a:pt x="94" y="18"/>
                    </a:lnTo>
                    <a:lnTo>
                      <a:pt x="94" y="20"/>
                    </a:lnTo>
                    <a:lnTo>
                      <a:pt x="94" y="20"/>
                    </a:lnTo>
                    <a:lnTo>
                      <a:pt x="94" y="21"/>
                    </a:lnTo>
                    <a:lnTo>
                      <a:pt x="94" y="21"/>
                    </a:lnTo>
                    <a:lnTo>
                      <a:pt x="96" y="22"/>
                    </a:lnTo>
                    <a:lnTo>
                      <a:pt x="97" y="22"/>
                    </a:lnTo>
                    <a:lnTo>
                      <a:pt x="99" y="24"/>
                    </a:lnTo>
                    <a:lnTo>
                      <a:pt x="100" y="25"/>
                    </a:lnTo>
                    <a:lnTo>
                      <a:pt x="101" y="27"/>
                    </a:lnTo>
                    <a:lnTo>
                      <a:pt x="101" y="28"/>
                    </a:lnTo>
                    <a:lnTo>
                      <a:pt x="103" y="28"/>
                    </a:lnTo>
                    <a:lnTo>
                      <a:pt x="103" y="29"/>
                    </a:lnTo>
                    <a:lnTo>
                      <a:pt x="105" y="31"/>
                    </a:lnTo>
                    <a:lnTo>
                      <a:pt x="107" y="32"/>
                    </a:lnTo>
                    <a:lnTo>
                      <a:pt x="110" y="35"/>
                    </a:lnTo>
                    <a:lnTo>
                      <a:pt x="111" y="38"/>
                    </a:lnTo>
                    <a:lnTo>
                      <a:pt x="114" y="40"/>
                    </a:lnTo>
                    <a:lnTo>
                      <a:pt x="115" y="44"/>
                    </a:lnTo>
                    <a:lnTo>
                      <a:pt x="115" y="47"/>
                    </a:lnTo>
                    <a:lnTo>
                      <a:pt x="114" y="49"/>
                    </a:lnTo>
                    <a:lnTo>
                      <a:pt x="114" y="51"/>
                    </a:lnTo>
                    <a:lnTo>
                      <a:pt x="111" y="55"/>
                    </a:lnTo>
                    <a:lnTo>
                      <a:pt x="110" y="60"/>
                    </a:lnTo>
                    <a:lnTo>
                      <a:pt x="108" y="65"/>
                    </a:lnTo>
                    <a:lnTo>
                      <a:pt x="107" y="71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8" y="79"/>
                    </a:lnTo>
                    <a:lnTo>
                      <a:pt x="108" y="82"/>
                    </a:lnTo>
                    <a:lnTo>
                      <a:pt x="111" y="86"/>
                    </a:lnTo>
                    <a:lnTo>
                      <a:pt x="112" y="91"/>
                    </a:lnTo>
                    <a:lnTo>
                      <a:pt x="115" y="95"/>
                    </a:lnTo>
                    <a:lnTo>
                      <a:pt x="118" y="99"/>
                    </a:lnTo>
                    <a:lnTo>
                      <a:pt x="122" y="104"/>
                    </a:lnTo>
                    <a:lnTo>
                      <a:pt x="125" y="105"/>
                    </a:lnTo>
                    <a:lnTo>
                      <a:pt x="125" y="105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9"/>
                    </a:lnTo>
                    <a:lnTo>
                      <a:pt x="125" y="110"/>
                    </a:lnTo>
                    <a:lnTo>
                      <a:pt x="126" y="112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7" y="119"/>
                    </a:lnTo>
                    <a:lnTo>
                      <a:pt x="129" y="120"/>
                    </a:lnTo>
                    <a:lnTo>
                      <a:pt x="130" y="121"/>
                    </a:lnTo>
                    <a:lnTo>
                      <a:pt x="132" y="123"/>
                    </a:lnTo>
                    <a:lnTo>
                      <a:pt x="133" y="124"/>
                    </a:lnTo>
                    <a:lnTo>
                      <a:pt x="134" y="126"/>
                    </a:lnTo>
                    <a:lnTo>
                      <a:pt x="134" y="126"/>
                    </a:lnTo>
                    <a:lnTo>
                      <a:pt x="134" y="127"/>
                    </a:lnTo>
                    <a:lnTo>
                      <a:pt x="134" y="130"/>
                    </a:lnTo>
                    <a:lnTo>
                      <a:pt x="136" y="131"/>
                    </a:lnTo>
                    <a:lnTo>
                      <a:pt x="136" y="134"/>
                    </a:lnTo>
                    <a:lnTo>
                      <a:pt x="136" y="135"/>
                    </a:lnTo>
                    <a:lnTo>
                      <a:pt x="136" y="138"/>
                    </a:lnTo>
                    <a:lnTo>
                      <a:pt x="136" y="138"/>
                    </a:lnTo>
                    <a:lnTo>
                      <a:pt x="134" y="149"/>
                    </a:lnTo>
                    <a:lnTo>
                      <a:pt x="134" y="149"/>
                    </a:lnTo>
                    <a:lnTo>
                      <a:pt x="134" y="149"/>
                    </a:lnTo>
                    <a:lnTo>
                      <a:pt x="133" y="149"/>
                    </a:lnTo>
                    <a:lnTo>
                      <a:pt x="132" y="149"/>
                    </a:lnTo>
                    <a:lnTo>
                      <a:pt x="130" y="150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7" y="154"/>
                    </a:lnTo>
                    <a:lnTo>
                      <a:pt x="103" y="16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4" name="Freeform 926"/>
              <p:cNvSpPr>
                <a:spLocks/>
              </p:cNvSpPr>
              <p:nvPr/>
            </p:nvSpPr>
            <p:spPr bwMode="auto">
              <a:xfrm>
                <a:off x="3309" y="2305"/>
                <a:ext cx="136" cy="160"/>
              </a:xfrm>
              <a:custGeom>
                <a:avLst/>
                <a:gdLst>
                  <a:gd name="T0" fmla="*/ 99 w 136"/>
                  <a:gd name="T1" fmla="*/ 159 h 160"/>
                  <a:gd name="T2" fmla="*/ 90 w 136"/>
                  <a:gd name="T3" fmla="*/ 153 h 160"/>
                  <a:gd name="T4" fmla="*/ 68 w 136"/>
                  <a:gd name="T5" fmla="*/ 138 h 160"/>
                  <a:gd name="T6" fmla="*/ 20 w 136"/>
                  <a:gd name="T7" fmla="*/ 119 h 160"/>
                  <a:gd name="T8" fmla="*/ 4 w 136"/>
                  <a:gd name="T9" fmla="*/ 93 h 160"/>
                  <a:gd name="T10" fmla="*/ 28 w 136"/>
                  <a:gd name="T11" fmla="*/ 55 h 160"/>
                  <a:gd name="T12" fmla="*/ 30 w 136"/>
                  <a:gd name="T13" fmla="*/ 51 h 160"/>
                  <a:gd name="T14" fmla="*/ 28 w 136"/>
                  <a:gd name="T15" fmla="*/ 47 h 160"/>
                  <a:gd name="T16" fmla="*/ 28 w 136"/>
                  <a:gd name="T17" fmla="*/ 43 h 160"/>
                  <a:gd name="T18" fmla="*/ 30 w 136"/>
                  <a:gd name="T19" fmla="*/ 38 h 160"/>
                  <a:gd name="T20" fmla="*/ 34 w 136"/>
                  <a:gd name="T21" fmla="*/ 35 h 160"/>
                  <a:gd name="T22" fmla="*/ 37 w 136"/>
                  <a:gd name="T23" fmla="*/ 29 h 160"/>
                  <a:gd name="T24" fmla="*/ 39 w 136"/>
                  <a:gd name="T25" fmla="*/ 24 h 160"/>
                  <a:gd name="T26" fmla="*/ 44 w 136"/>
                  <a:gd name="T27" fmla="*/ 16 h 160"/>
                  <a:gd name="T28" fmla="*/ 46 w 136"/>
                  <a:gd name="T29" fmla="*/ 9 h 160"/>
                  <a:gd name="T30" fmla="*/ 56 w 136"/>
                  <a:gd name="T31" fmla="*/ 6 h 160"/>
                  <a:gd name="T32" fmla="*/ 68 w 136"/>
                  <a:gd name="T33" fmla="*/ 5 h 160"/>
                  <a:gd name="T34" fmla="*/ 82 w 136"/>
                  <a:gd name="T35" fmla="*/ 2 h 160"/>
                  <a:gd name="T36" fmla="*/ 85 w 136"/>
                  <a:gd name="T37" fmla="*/ 6 h 160"/>
                  <a:gd name="T38" fmla="*/ 89 w 136"/>
                  <a:gd name="T39" fmla="*/ 6 h 160"/>
                  <a:gd name="T40" fmla="*/ 93 w 136"/>
                  <a:gd name="T41" fmla="*/ 6 h 160"/>
                  <a:gd name="T42" fmla="*/ 96 w 136"/>
                  <a:gd name="T43" fmla="*/ 7 h 160"/>
                  <a:gd name="T44" fmla="*/ 97 w 136"/>
                  <a:gd name="T45" fmla="*/ 11 h 160"/>
                  <a:gd name="T46" fmla="*/ 97 w 136"/>
                  <a:gd name="T47" fmla="*/ 16 h 160"/>
                  <a:gd name="T48" fmla="*/ 94 w 136"/>
                  <a:gd name="T49" fmla="*/ 17 h 160"/>
                  <a:gd name="T50" fmla="*/ 94 w 136"/>
                  <a:gd name="T51" fmla="*/ 21 h 160"/>
                  <a:gd name="T52" fmla="*/ 99 w 136"/>
                  <a:gd name="T53" fmla="*/ 24 h 160"/>
                  <a:gd name="T54" fmla="*/ 101 w 136"/>
                  <a:gd name="T55" fmla="*/ 28 h 160"/>
                  <a:gd name="T56" fmla="*/ 105 w 136"/>
                  <a:gd name="T57" fmla="*/ 31 h 160"/>
                  <a:gd name="T58" fmla="*/ 111 w 136"/>
                  <a:gd name="T59" fmla="*/ 38 h 160"/>
                  <a:gd name="T60" fmla="*/ 115 w 136"/>
                  <a:gd name="T61" fmla="*/ 47 h 160"/>
                  <a:gd name="T62" fmla="*/ 111 w 136"/>
                  <a:gd name="T63" fmla="*/ 55 h 160"/>
                  <a:gd name="T64" fmla="*/ 107 w 136"/>
                  <a:gd name="T65" fmla="*/ 71 h 160"/>
                  <a:gd name="T66" fmla="*/ 108 w 136"/>
                  <a:gd name="T67" fmla="*/ 79 h 160"/>
                  <a:gd name="T68" fmla="*/ 112 w 136"/>
                  <a:gd name="T69" fmla="*/ 91 h 160"/>
                  <a:gd name="T70" fmla="*/ 122 w 136"/>
                  <a:gd name="T71" fmla="*/ 104 h 160"/>
                  <a:gd name="T72" fmla="*/ 125 w 136"/>
                  <a:gd name="T73" fmla="*/ 108 h 160"/>
                  <a:gd name="T74" fmla="*/ 126 w 136"/>
                  <a:gd name="T75" fmla="*/ 112 h 160"/>
                  <a:gd name="T76" fmla="*/ 126 w 136"/>
                  <a:gd name="T77" fmla="*/ 117 h 160"/>
                  <a:gd name="T78" fmla="*/ 130 w 136"/>
                  <a:gd name="T79" fmla="*/ 121 h 160"/>
                  <a:gd name="T80" fmla="*/ 134 w 136"/>
                  <a:gd name="T81" fmla="*/ 126 h 160"/>
                  <a:gd name="T82" fmla="*/ 136 w 136"/>
                  <a:gd name="T83" fmla="*/ 131 h 160"/>
                  <a:gd name="T84" fmla="*/ 136 w 136"/>
                  <a:gd name="T85" fmla="*/ 138 h 160"/>
                  <a:gd name="T86" fmla="*/ 132 w 136"/>
                  <a:gd name="T87" fmla="*/ 149 h 160"/>
                  <a:gd name="T88" fmla="*/ 129 w 136"/>
                  <a:gd name="T89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6" h="160">
                    <a:moveTo>
                      <a:pt x="103" y="160"/>
                    </a:moveTo>
                    <a:lnTo>
                      <a:pt x="101" y="160"/>
                    </a:lnTo>
                    <a:lnTo>
                      <a:pt x="99" y="159"/>
                    </a:lnTo>
                    <a:lnTo>
                      <a:pt x="97" y="157"/>
                    </a:lnTo>
                    <a:lnTo>
                      <a:pt x="94" y="154"/>
                    </a:lnTo>
                    <a:lnTo>
                      <a:pt x="90" y="153"/>
                    </a:lnTo>
                    <a:lnTo>
                      <a:pt x="86" y="152"/>
                    </a:lnTo>
                    <a:lnTo>
                      <a:pt x="82" y="150"/>
                    </a:lnTo>
                    <a:lnTo>
                      <a:pt x="68" y="138"/>
                    </a:lnTo>
                    <a:lnTo>
                      <a:pt x="59" y="138"/>
                    </a:lnTo>
                    <a:lnTo>
                      <a:pt x="27" y="123"/>
                    </a:lnTo>
                    <a:lnTo>
                      <a:pt x="20" y="119"/>
                    </a:lnTo>
                    <a:lnTo>
                      <a:pt x="20" y="117"/>
                    </a:lnTo>
                    <a:lnTo>
                      <a:pt x="17" y="112"/>
                    </a:lnTo>
                    <a:lnTo>
                      <a:pt x="4" y="93"/>
                    </a:lnTo>
                    <a:lnTo>
                      <a:pt x="0" y="82"/>
                    </a:lnTo>
                    <a:lnTo>
                      <a:pt x="28" y="57"/>
                    </a:lnTo>
                    <a:lnTo>
                      <a:pt x="28" y="55"/>
                    </a:lnTo>
                    <a:lnTo>
                      <a:pt x="30" y="54"/>
                    </a:lnTo>
                    <a:lnTo>
                      <a:pt x="30" y="53"/>
                    </a:lnTo>
                    <a:lnTo>
                      <a:pt x="30" y="51"/>
                    </a:lnTo>
                    <a:lnTo>
                      <a:pt x="30" y="49"/>
                    </a:lnTo>
                    <a:lnTo>
                      <a:pt x="30" y="47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30" y="42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31" y="38"/>
                    </a:lnTo>
                    <a:lnTo>
                      <a:pt x="33" y="36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5" y="32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38" y="27"/>
                    </a:lnTo>
                    <a:lnTo>
                      <a:pt x="39" y="24"/>
                    </a:lnTo>
                    <a:lnTo>
                      <a:pt x="41" y="21"/>
                    </a:lnTo>
                    <a:lnTo>
                      <a:pt x="42" y="18"/>
                    </a:lnTo>
                    <a:lnTo>
                      <a:pt x="44" y="16"/>
                    </a:lnTo>
                    <a:lnTo>
                      <a:pt x="45" y="13"/>
                    </a:lnTo>
                    <a:lnTo>
                      <a:pt x="45" y="10"/>
                    </a:lnTo>
                    <a:lnTo>
                      <a:pt x="46" y="9"/>
                    </a:lnTo>
                    <a:lnTo>
                      <a:pt x="49" y="9"/>
                    </a:lnTo>
                    <a:lnTo>
                      <a:pt x="52" y="7"/>
                    </a:lnTo>
                    <a:lnTo>
                      <a:pt x="56" y="6"/>
                    </a:lnTo>
                    <a:lnTo>
                      <a:pt x="60" y="5"/>
                    </a:lnTo>
                    <a:lnTo>
                      <a:pt x="64" y="5"/>
                    </a:lnTo>
                    <a:lnTo>
                      <a:pt x="68" y="5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5"/>
                    </a:lnTo>
                    <a:lnTo>
                      <a:pt x="85" y="6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2" y="6"/>
                    </a:lnTo>
                    <a:lnTo>
                      <a:pt x="93" y="6"/>
                    </a:lnTo>
                    <a:lnTo>
                      <a:pt x="94" y="6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10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7" y="14"/>
                    </a:lnTo>
                    <a:lnTo>
                      <a:pt x="97" y="16"/>
                    </a:lnTo>
                    <a:lnTo>
                      <a:pt x="96" y="16"/>
                    </a:lnTo>
                    <a:lnTo>
                      <a:pt x="96" y="17"/>
                    </a:lnTo>
                    <a:lnTo>
                      <a:pt x="94" y="17"/>
                    </a:lnTo>
                    <a:lnTo>
                      <a:pt x="94" y="18"/>
                    </a:lnTo>
                    <a:lnTo>
                      <a:pt x="94" y="20"/>
                    </a:lnTo>
                    <a:lnTo>
                      <a:pt x="94" y="21"/>
                    </a:lnTo>
                    <a:lnTo>
                      <a:pt x="96" y="22"/>
                    </a:lnTo>
                    <a:lnTo>
                      <a:pt x="97" y="22"/>
                    </a:lnTo>
                    <a:lnTo>
                      <a:pt x="99" y="24"/>
                    </a:lnTo>
                    <a:lnTo>
                      <a:pt x="100" y="25"/>
                    </a:lnTo>
                    <a:lnTo>
                      <a:pt x="101" y="27"/>
                    </a:lnTo>
                    <a:lnTo>
                      <a:pt x="101" y="28"/>
                    </a:lnTo>
                    <a:lnTo>
                      <a:pt x="103" y="28"/>
                    </a:lnTo>
                    <a:lnTo>
                      <a:pt x="103" y="29"/>
                    </a:lnTo>
                    <a:lnTo>
                      <a:pt x="105" y="31"/>
                    </a:lnTo>
                    <a:lnTo>
                      <a:pt x="107" y="32"/>
                    </a:lnTo>
                    <a:lnTo>
                      <a:pt x="110" y="35"/>
                    </a:lnTo>
                    <a:lnTo>
                      <a:pt x="111" y="38"/>
                    </a:lnTo>
                    <a:lnTo>
                      <a:pt x="114" y="40"/>
                    </a:lnTo>
                    <a:lnTo>
                      <a:pt x="115" y="44"/>
                    </a:lnTo>
                    <a:lnTo>
                      <a:pt x="115" y="47"/>
                    </a:lnTo>
                    <a:lnTo>
                      <a:pt x="114" y="49"/>
                    </a:lnTo>
                    <a:lnTo>
                      <a:pt x="114" y="51"/>
                    </a:lnTo>
                    <a:lnTo>
                      <a:pt x="111" y="55"/>
                    </a:lnTo>
                    <a:lnTo>
                      <a:pt x="110" y="60"/>
                    </a:lnTo>
                    <a:lnTo>
                      <a:pt x="108" y="65"/>
                    </a:lnTo>
                    <a:lnTo>
                      <a:pt x="107" y="71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8" y="79"/>
                    </a:lnTo>
                    <a:lnTo>
                      <a:pt x="108" y="82"/>
                    </a:lnTo>
                    <a:lnTo>
                      <a:pt x="111" y="86"/>
                    </a:lnTo>
                    <a:lnTo>
                      <a:pt x="112" y="91"/>
                    </a:lnTo>
                    <a:lnTo>
                      <a:pt x="115" y="95"/>
                    </a:lnTo>
                    <a:lnTo>
                      <a:pt x="118" y="99"/>
                    </a:lnTo>
                    <a:lnTo>
                      <a:pt x="122" y="104"/>
                    </a:lnTo>
                    <a:lnTo>
                      <a:pt x="125" y="105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9"/>
                    </a:lnTo>
                    <a:lnTo>
                      <a:pt x="125" y="110"/>
                    </a:lnTo>
                    <a:lnTo>
                      <a:pt x="126" y="112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7" y="119"/>
                    </a:lnTo>
                    <a:lnTo>
                      <a:pt x="129" y="120"/>
                    </a:lnTo>
                    <a:lnTo>
                      <a:pt x="130" y="121"/>
                    </a:lnTo>
                    <a:lnTo>
                      <a:pt x="132" y="123"/>
                    </a:lnTo>
                    <a:lnTo>
                      <a:pt x="133" y="124"/>
                    </a:lnTo>
                    <a:lnTo>
                      <a:pt x="134" y="126"/>
                    </a:lnTo>
                    <a:lnTo>
                      <a:pt x="134" y="127"/>
                    </a:lnTo>
                    <a:lnTo>
                      <a:pt x="134" y="130"/>
                    </a:lnTo>
                    <a:lnTo>
                      <a:pt x="136" y="131"/>
                    </a:lnTo>
                    <a:lnTo>
                      <a:pt x="136" y="134"/>
                    </a:lnTo>
                    <a:lnTo>
                      <a:pt x="136" y="135"/>
                    </a:lnTo>
                    <a:lnTo>
                      <a:pt x="136" y="138"/>
                    </a:lnTo>
                    <a:lnTo>
                      <a:pt x="134" y="149"/>
                    </a:lnTo>
                    <a:lnTo>
                      <a:pt x="133" y="149"/>
                    </a:lnTo>
                    <a:lnTo>
                      <a:pt x="132" y="149"/>
                    </a:lnTo>
                    <a:lnTo>
                      <a:pt x="130" y="150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7" y="154"/>
                    </a:lnTo>
                    <a:lnTo>
                      <a:pt x="103" y="16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5" name="Freeform 927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5 w 74"/>
                  <a:gd name="T3" fmla="*/ 11 h 85"/>
                  <a:gd name="T4" fmla="*/ 7 w 74"/>
                  <a:gd name="T5" fmla="*/ 11 h 85"/>
                  <a:gd name="T6" fmla="*/ 7 w 74"/>
                  <a:gd name="T7" fmla="*/ 12 h 85"/>
                  <a:gd name="T8" fmla="*/ 9 w 74"/>
                  <a:gd name="T9" fmla="*/ 13 h 85"/>
                  <a:gd name="T10" fmla="*/ 9 w 74"/>
                  <a:gd name="T11" fmla="*/ 15 h 85"/>
                  <a:gd name="T12" fmla="*/ 14 w 74"/>
                  <a:gd name="T13" fmla="*/ 17 h 85"/>
                  <a:gd name="T14" fmla="*/ 20 w 74"/>
                  <a:gd name="T15" fmla="*/ 20 h 85"/>
                  <a:gd name="T16" fmla="*/ 31 w 74"/>
                  <a:gd name="T17" fmla="*/ 19 h 85"/>
                  <a:gd name="T18" fmla="*/ 54 w 74"/>
                  <a:gd name="T19" fmla="*/ 0 h 85"/>
                  <a:gd name="T20" fmla="*/ 54 w 74"/>
                  <a:gd name="T21" fmla="*/ 1 h 85"/>
                  <a:gd name="T22" fmla="*/ 54 w 74"/>
                  <a:gd name="T23" fmla="*/ 2 h 85"/>
                  <a:gd name="T24" fmla="*/ 56 w 74"/>
                  <a:gd name="T25" fmla="*/ 6 h 85"/>
                  <a:gd name="T26" fmla="*/ 58 w 74"/>
                  <a:gd name="T27" fmla="*/ 11 h 85"/>
                  <a:gd name="T28" fmla="*/ 62 w 74"/>
                  <a:gd name="T29" fmla="*/ 16 h 85"/>
                  <a:gd name="T30" fmla="*/ 69 w 74"/>
                  <a:gd name="T31" fmla="*/ 26 h 85"/>
                  <a:gd name="T32" fmla="*/ 73 w 74"/>
                  <a:gd name="T33" fmla="*/ 33 h 85"/>
                  <a:gd name="T34" fmla="*/ 74 w 74"/>
                  <a:gd name="T35" fmla="*/ 34 h 85"/>
                  <a:gd name="T36" fmla="*/ 74 w 74"/>
                  <a:gd name="T37" fmla="*/ 35 h 85"/>
                  <a:gd name="T38" fmla="*/ 73 w 74"/>
                  <a:gd name="T39" fmla="*/ 37 h 85"/>
                  <a:gd name="T40" fmla="*/ 70 w 74"/>
                  <a:gd name="T41" fmla="*/ 39 h 85"/>
                  <a:gd name="T42" fmla="*/ 62 w 74"/>
                  <a:gd name="T43" fmla="*/ 41 h 85"/>
                  <a:gd name="T44" fmla="*/ 55 w 74"/>
                  <a:gd name="T45" fmla="*/ 42 h 85"/>
                  <a:gd name="T46" fmla="*/ 49 w 74"/>
                  <a:gd name="T47" fmla="*/ 44 h 85"/>
                  <a:gd name="T48" fmla="*/ 44 w 74"/>
                  <a:gd name="T49" fmla="*/ 45 h 85"/>
                  <a:gd name="T50" fmla="*/ 41 w 74"/>
                  <a:gd name="T51" fmla="*/ 46 h 85"/>
                  <a:gd name="T52" fmla="*/ 44 w 74"/>
                  <a:gd name="T53" fmla="*/ 52 h 85"/>
                  <a:gd name="T54" fmla="*/ 48 w 74"/>
                  <a:gd name="T55" fmla="*/ 59 h 85"/>
                  <a:gd name="T56" fmla="*/ 49 w 74"/>
                  <a:gd name="T57" fmla="*/ 64 h 85"/>
                  <a:gd name="T58" fmla="*/ 48 w 74"/>
                  <a:gd name="T59" fmla="*/ 67 h 85"/>
                  <a:gd name="T60" fmla="*/ 45 w 74"/>
                  <a:gd name="T61" fmla="*/ 71 h 85"/>
                  <a:gd name="T62" fmla="*/ 40 w 74"/>
                  <a:gd name="T63" fmla="*/ 77 h 85"/>
                  <a:gd name="T64" fmla="*/ 34 w 74"/>
                  <a:gd name="T65" fmla="*/ 82 h 85"/>
                  <a:gd name="T66" fmla="*/ 33 w 74"/>
                  <a:gd name="T67" fmla="*/ 82 h 85"/>
                  <a:gd name="T68" fmla="*/ 31 w 74"/>
                  <a:gd name="T69" fmla="*/ 83 h 85"/>
                  <a:gd name="T70" fmla="*/ 31 w 74"/>
                  <a:gd name="T71" fmla="*/ 83 h 85"/>
                  <a:gd name="T72" fmla="*/ 31 w 74"/>
                  <a:gd name="T73" fmla="*/ 85 h 85"/>
                  <a:gd name="T74" fmla="*/ 30 w 74"/>
                  <a:gd name="T75" fmla="*/ 85 h 85"/>
                  <a:gd name="T76" fmla="*/ 25 w 74"/>
                  <a:gd name="T77" fmla="*/ 85 h 85"/>
                  <a:gd name="T78" fmla="*/ 16 w 74"/>
                  <a:gd name="T79" fmla="*/ 85 h 85"/>
                  <a:gd name="T80" fmla="*/ 7 w 74"/>
                  <a:gd name="T81" fmla="*/ 85 h 85"/>
                  <a:gd name="T82" fmla="*/ 0 w 74"/>
                  <a:gd name="T83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  <a:lnTo>
                      <a:pt x="5" y="4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6" name="Freeform 928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7 w 74"/>
                  <a:gd name="T3" fmla="*/ 12 h 85"/>
                  <a:gd name="T4" fmla="*/ 9 w 74"/>
                  <a:gd name="T5" fmla="*/ 13 h 85"/>
                  <a:gd name="T6" fmla="*/ 11 w 74"/>
                  <a:gd name="T7" fmla="*/ 16 h 85"/>
                  <a:gd name="T8" fmla="*/ 16 w 74"/>
                  <a:gd name="T9" fmla="*/ 19 h 85"/>
                  <a:gd name="T10" fmla="*/ 26 w 74"/>
                  <a:gd name="T11" fmla="*/ 20 h 85"/>
                  <a:gd name="T12" fmla="*/ 54 w 74"/>
                  <a:gd name="T13" fmla="*/ 0 h 85"/>
                  <a:gd name="T14" fmla="*/ 54 w 74"/>
                  <a:gd name="T15" fmla="*/ 2 h 85"/>
                  <a:gd name="T16" fmla="*/ 56 w 74"/>
                  <a:gd name="T17" fmla="*/ 6 h 85"/>
                  <a:gd name="T18" fmla="*/ 58 w 74"/>
                  <a:gd name="T19" fmla="*/ 11 h 85"/>
                  <a:gd name="T20" fmla="*/ 62 w 74"/>
                  <a:gd name="T21" fmla="*/ 16 h 85"/>
                  <a:gd name="T22" fmla="*/ 69 w 74"/>
                  <a:gd name="T23" fmla="*/ 26 h 85"/>
                  <a:gd name="T24" fmla="*/ 73 w 74"/>
                  <a:gd name="T25" fmla="*/ 33 h 85"/>
                  <a:gd name="T26" fmla="*/ 74 w 74"/>
                  <a:gd name="T27" fmla="*/ 35 h 85"/>
                  <a:gd name="T28" fmla="*/ 73 w 74"/>
                  <a:gd name="T29" fmla="*/ 37 h 85"/>
                  <a:gd name="T30" fmla="*/ 70 w 74"/>
                  <a:gd name="T31" fmla="*/ 39 h 85"/>
                  <a:gd name="T32" fmla="*/ 62 w 74"/>
                  <a:gd name="T33" fmla="*/ 41 h 85"/>
                  <a:gd name="T34" fmla="*/ 55 w 74"/>
                  <a:gd name="T35" fmla="*/ 42 h 85"/>
                  <a:gd name="T36" fmla="*/ 49 w 74"/>
                  <a:gd name="T37" fmla="*/ 44 h 85"/>
                  <a:gd name="T38" fmla="*/ 44 w 74"/>
                  <a:gd name="T39" fmla="*/ 45 h 85"/>
                  <a:gd name="T40" fmla="*/ 42 w 74"/>
                  <a:gd name="T41" fmla="*/ 49 h 85"/>
                  <a:gd name="T42" fmla="*/ 45 w 74"/>
                  <a:gd name="T43" fmla="*/ 55 h 85"/>
                  <a:gd name="T44" fmla="*/ 48 w 74"/>
                  <a:gd name="T45" fmla="*/ 61 h 85"/>
                  <a:gd name="T46" fmla="*/ 49 w 74"/>
                  <a:gd name="T47" fmla="*/ 66 h 85"/>
                  <a:gd name="T48" fmla="*/ 47 w 74"/>
                  <a:gd name="T49" fmla="*/ 68 h 85"/>
                  <a:gd name="T50" fmla="*/ 42 w 74"/>
                  <a:gd name="T51" fmla="*/ 74 h 85"/>
                  <a:gd name="T52" fmla="*/ 37 w 74"/>
                  <a:gd name="T53" fmla="*/ 79 h 85"/>
                  <a:gd name="T54" fmla="*/ 33 w 74"/>
                  <a:gd name="T55" fmla="*/ 82 h 85"/>
                  <a:gd name="T56" fmla="*/ 31 w 74"/>
                  <a:gd name="T57" fmla="*/ 83 h 85"/>
                  <a:gd name="T58" fmla="*/ 30 w 74"/>
                  <a:gd name="T59" fmla="*/ 85 h 85"/>
                  <a:gd name="T60" fmla="*/ 25 w 74"/>
                  <a:gd name="T61" fmla="*/ 85 h 85"/>
                  <a:gd name="T62" fmla="*/ 16 w 74"/>
                  <a:gd name="T63" fmla="*/ 85 h 85"/>
                  <a:gd name="T64" fmla="*/ 7 w 74"/>
                  <a:gd name="T65" fmla="*/ 85 h 85"/>
                  <a:gd name="T66" fmla="*/ 0 w 74"/>
                  <a:gd name="T67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  <a:lnTo>
                      <a:pt x="5" y="4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7" name="Freeform 929"/>
              <p:cNvSpPr>
                <a:spLocks/>
              </p:cNvSpPr>
              <p:nvPr/>
            </p:nvSpPr>
            <p:spPr bwMode="auto">
              <a:xfrm>
                <a:off x="3255" y="2387"/>
                <a:ext cx="74" cy="85"/>
              </a:xfrm>
              <a:custGeom>
                <a:avLst/>
                <a:gdLst>
                  <a:gd name="T0" fmla="*/ 5 w 74"/>
                  <a:gd name="T1" fmla="*/ 11 h 85"/>
                  <a:gd name="T2" fmla="*/ 7 w 74"/>
                  <a:gd name="T3" fmla="*/ 12 h 85"/>
                  <a:gd name="T4" fmla="*/ 9 w 74"/>
                  <a:gd name="T5" fmla="*/ 13 h 85"/>
                  <a:gd name="T6" fmla="*/ 11 w 74"/>
                  <a:gd name="T7" fmla="*/ 16 h 85"/>
                  <a:gd name="T8" fmla="*/ 16 w 74"/>
                  <a:gd name="T9" fmla="*/ 19 h 85"/>
                  <a:gd name="T10" fmla="*/ 26 w 74"/>
                  <a:gd name="T11" fmla="*/ 20 h 85"/>
                  <a:gd name="T12" fmla="*/ 54 w 74"/>
                  <a:gd name="T13" fmla="*/ 0 h 85"/>
                  <a:gd name="T14" fmla="*/ 54 w 74"/>
                  <a:gd name="T15" fmla="*/ 2 h 85"/>
                  <a:gd name="T16" fmla="*/ 56 w 74"/>
                  <a:gd name="T17" fmla="*/ 6 h 85"/>
                  <a:gd name="T18" fmla="*/ 58 w 74"/>
                  <a:gd name="T19" fmla="*/ 11 h 85"/>
                  <a:gd name="T20" fmla="*/ 62 w 74"/>
                  <a:gd name="T21" fmla="*/ 16 h 85"/>
                  <a:gd name="T22" fmla="*/ 69 w 74"/>
                  <a:gd name="T23" fmla="*/ 26 h 85"/>
                  <a:gd name="T24" fmla="*/ 73 w 74"/>
                  <a:gd name="T25" fmla="*/ 33 h 85"/>
                  <a:gd name="T26" fmla="*/ 74 w 74"/>
                  <a:gd name="T27" fmla="*/ 35 h 85"/>
                  <a:gd name="T28" fmla="*/ 73 w 74"/>
                  <a:gd name="T29" fmla="*/ 37 h 85"/>
                  <a:gd name="T30" fmla="*/ 70 w 74"/>
                  <a:gd name="T31" fmla="*/ 39 h 85"/>
                  <a:gd name="T32" fmla="*/ 62 w 74"/>
                  <a:gd name="T33" fmla="*/ 41 h 85"/>
                  <a:gd name="T34" fmla="*/ 55 w 74"/>
                  <a:gd name="T35" fmla="*/ 42 h 85"/>
                  <a:gd name="T36" fmla="*/ 49 w 74"/>
                  <a:gd name="T37" fmla="*/ 44 h 85"/>
                  <a:gd name="T38" fmla="*/ 44 w 74"/>
                  <a:gd name="T39" fmla="*/ 45 h 85"/>
                  <a:gd name="T40" fmla="*/ 42 w 74"/>
                  <a:gd name="T41" fmla="*/ 49 h 85"/>
                  <a:gd name="T42" fmla="*/ 45 w 74"/>
                  <a:gd name="T43" fmla="*/ 55 h 85"/>
                  <a:gd name="T44" fmla="*/ 48 w 74"/>
                  <a:gd name="T45" fmla="*/ 61 h 85"/>
                  <a:gd name="T46" fmla="*/ 49 w 74"/>
                  <a:gd name="T47" fmla="*/ 66 h 85"/>
                  <a:gd name="T48" fmla="*/ 47 w 74"/>
                  <a:gd name="T49" fmla="*/ 68 h 85"/>
                  <a:gd name="T50" fmla="*/ 42 w 74"/>
                  <a:gd name="T51" fmla="*/ 74 h 85"/>
                  <a:gd name="T52" fmla="*/ 37 w 74"/>
                  <a:gd name="T53" fmla="*/ 79 h 85"/>
                  <a:gd name="T54" fmla="*/ 33 w 74"/>
                  <a:gd name="T55" fmla="*/ 82 h 85"/>
                  <a:gd name="T56" fmla="*/ 31 w 74"/>
                  <a:gd name="T57" fmla="*/ 83 h 85"/>
                  <a:gd name="T58" fmla="*/ 30 w 74"/>
                  <a:gd name="T59" fmla="*/ 85 h 85"/>
                  <a:gd name="T60" fmla="*/ 25 w 74"/>
                  <a:gd name="T61" fmla="*/ 85 h 85"/>
                  <a:gd name="T62" fmla="*/ 16 w 74"/>
                  <a:gd name="T63" fmla="*/ 85 h 85"/>
                  <a:gd name="T64" fmla="*/ 7 w 74"/>
                  <a:gd name="T65" fmla="*/ 85 h 85"/>
                  <a:gd name="T66" fmla="*/ 0 w 74"/>
                  <a:gd name="T67" fmla="*/ 83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85">
                    <a:moveTo>
                      <a:pt x="5" y="49"/>
                    </a:moveTo>
                    <a:lnTo>
                      <a:pt x="5" y="11"/>
                    </a:lnTo>
                    <a:lnTo>
                      <a:pt x="7" y="11"/>
                    </a:lnTo>
                    <a:lnTo>
                      <a:pt x="7" y="12"/>
                    </a:lnTo>
                    <a:lnTo>
                      <a:pt x="8" y="12"/>
                    </a:lnTo>
                    <a:lnTo>
                      <a:pt x="9" y="13"/>
                    </a:lnTo>
                    <a:lnTo>
                      <a:pt x="9" y="15"/>
                    </a:lnTo>
                    <a:lnTo>
                      <a:pt x="11" y="16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1" y="19"/>
                    </a:lnTo>
                    <a:lnTo>
                      <a:pt x="54" y="0"/>
                    </a:lnTo>
                    <a:lnTo>
                      <a:pt x="54" y="1"/>
                    </a:lnTo>
                    <a:lnTo>
                      <a:pt x="54" y="2"/>
                    </a:lnTo>
                    <a:lnTo>
                      <a:pt x="55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59" y="13"/>
                    </a:lnTo>
                    <a:lnTo>
                      <a:pt x="62" y="16"/>
                    </a:lnTo>
                    <a:lnTo>
                      <a:pt x="65" y="20"/>
                    </a:lnTo>
                    <a:lnTo>
                      <a:pt x="69" y="26"/>
                    </a:lnTo>
                    <a:lnTo>
                      <a:pt x="70" y="28"/>
                    </a:lnTo>
                    <a:lnTo>
                      <a:pt x="73" y="33"/>
                    </a:lnTo>
                    <a:lnTo>
                      <a:pt x="74" y="34"/>
                    </a:lnTo>
                    <a:lnTo>
                      <a:pt x="74" y="35"/>
                    </a:lnTo>
                    <a:lnTo>
                      <a:pt x="74" y="37"/>
                    </a:lnTo>
                    <a:lnTo>
                      <a:pt x="73" y="37"/>
                    </a:lnTo>
                    <a:lnTo>
                      <a:pt x="71" y="38"/>
                    </a:lnTo>
                    <a:lnTo>
                      <a:pt x="70" y="39"/>
                    </a:lnTo>
                    <a:lnTo>
                      <a:pt x="66" y="41"/>
                    </a:lnTo>
                    <a:lnTo>
                      <a:pt x="62" y="41"/>
                    </a:lnTo>
                    <a:lnTo>
                      <a:pt x="59" y="42"/>
                    </a:lnTo>
                    <a:lnTo>
                      <a:pt x="55" y="42"/>
                    </a:lnTo>
                    <a:lnTo>
                      <a:pt x="52" y="44"/>
                    </a:lnTo>
                    <a:lnTo>
                      <a:pt x="49" y="44"/>
                    </a:lnTo>
                    <a:lnTo>
                      <a:pt x="47" y="44"/>
                    </a:lnTo>
                    <a:lnTo>
                      <a:pt x="44" y="45"/>
                    </a:lnTo>
                    <a:lnTo>
                      <a:pt x="41" y="46"/>
                    </a:lnTo>
                    <a:lnTo>
                      <a:pt x="42" y="49"/>
                    </a:lnTo>
                    <a:lnTo>
                      <a:pt x="44" y="52"/>
                    </a:lnTo>
                    <a:lnTo>
                      <a:pt x="45" y="55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9" y="64"/>
                    </a:lnTo>
                    <a:lnTo>
                      <a:pt x="49" y="66"/>
                    </a:lnTo>
                    <a:lnTo>
                      <a:pt x="48" y="67"/>
                    </a:lnTo>
                    <a:lnTo>
                      <a:pt x="47" y="68"/>
                    </a:lnTo>
                    <a:lnTo>
                      <a:pt x="45" y="71"/>
                    </a:lnTo>
                    <a:lnTo>
                      <a:pt x="42" y="74"/>
                    </a:lnTo>
                    <a:lnTo>
                      <a:pt x="40" y="77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3"/>
                    </a:lnTo>
                    <a:lnTo>
                      <a:pt x="31" y="85"/>
                    </a:lnTo>
                    <a:lnTo>
                      <a:pt x="30" y="85"/>
                    </a:lnTo>
                    <a:lnTo>
                      <a:pt x="29" y="85"/>
                    </a:lnTo>
                    <a:lnTo>
                      <a:pt x="25" y="85"/>
                    </a:lnTo>
                    <a:lnTo>
                      <a:pt x="22" y="85"/>
                    </a:lnTo>
                    <a:lnTo>
                      <a:pt x="16" y="85"/>
                    </a:lnTo>
                    <a:lnTo>
                      <a:pt x="12" y="85"/>
                    </a:lnTo>
                    <a:lnTo>
                      <a:pt x="7" y="85"/>
                    </a:lnTo>
                    <a:lnTo>
                      <a:pt x="1" y="85"/>
                    </a:lnTo>
                    <a:lnTo>
                      <a:pt x="0" y="8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8" name="Freeform 930"/>
              <p:cNvSpPr>
                <a:spLocks/>
              </p:cNvSpPr>
              <p:nvPr/>
            </p:nvSpPr>
            <p:spPr bwMode="auto">
              <a:xfrm>
                <a:off x="3234" y="2398"/>
                <a:ext cx="26" cy="72"/>
              </a:xfrm>
              <a:custGeom>
                <a:avLst/>
                <a:gdLst>
                  <a:gd name="T0" fmla="*/ 26 w 26"/>
                  <a:gd name="T1" fmla="*/ 0 h 72"/>
                  <a:gd name="T2" fmla="*/ 19 w 26"/>
                  <a:gd name="T3" fmla="*/ 1 h 72"/>
                  <a:gd name="T4" fmla="*/ 19 w 26"/>
                  <a:gd name="T5" fmla="*/ 2 h 72"/>
                  <a:gd name="T6" fmla="*/ 19 w 26"/>
                  <a:gd name="T7" fmla="*/ 4 h 72"/>
                  <a:gd name="T8" fmla="*/ 19 w 26"/>
                  <a:gd name="T9" fmla="*/ 5 h 72"/>
                  <a:gd name="T10" fmla="*/ 18 w 26"/>
                  <a:gd name="T11" fmla="*/ 8 h 72"/>
                  <a:gd name="T12" fmla="*/ 18 w 26"/>
                  <a:gd name="T13" fmla="*/ 11 h 72"/>
                  <a:gd name="T14" fmla="*/ 17 w 26"/>
                  <a:gd name="T15" fmla="*/ 12 h 72"/>
                  <a:gd name="T16" fmla="*/ 17 w 26"/>
                  <a:gd name="T17" fmla="*/ 15 h 72"/>
                  <a:gd name="T18" fmla="*/ 17 w 26"/>
                  <a:gd name="T19" fmla="*/ 16 h 72"/>
                  <a:gd name="T20" fmla="*/ 17 w 26"/>
                  <a:gd name="T21" fmla="*/ 16 h 72"/>
                  <a:gd name="T22" fmla="*/ 15 w 26"/>
                  <a:gd name="T23" fmla="*/ 17 h 72"/>
                  <a:gd name="T24" fmla="*/ 15 w 26"/>
                  <a:gd name="T25" fmla="*/ 19 h 72"/>
                  <a:gd name="T26" fmla="*/ 14 w 26"/>
                  <a:gd name="T27" fmla="*/ 22 h 72"/>
                  <a:gd name="T28" fmla="*/ 13 w 26"/>
                  <a:gd name="T29" fmla="*/ 24 h 72"/>
                  <a:gd name="T30" fmla="*/ 10 w 26"/>
                  <a:gd name="T31" fmla="*/ 27 h 72"/>
                  <a:gd name="T32" fmla="*/ 6 w 26"/>
                  <a:gd name="T33" fmla="*/ 31 h 72"/>
                  <a:gd name="T34" fmla="*/ 0 w 26"/>
                  <a:gd name="T35" fmla="*/ 35 h 72"/>
                  <a:gd name="T36" fmla="*/ 0 w 26"/>
                  <a:gd name="T37" fmla="*/ 35 h 72"/>
                  <a:gd name="T38" fmla="*/ 0 w 26"/>
                  <a:gd name="T39" fmla="*/ 35 h 72"/>
                  <a:gd name="T40" fmla="*/ 2 w 26"/>
                  <a:gd name="T41" fmla="*/ 38 h 72"/>
                  <a:gd name="T42" fmla="*/ 3 w 26"/>
                  <a:gd name="T43" fmla="*/ 41 h 72"/>
                  <a:gd name="T44" fmla="*/ 4 w 26"/>
                  <a:gd name="T45" fmla="*/ 45 h 72"/>
                  <a:gd name="T46" fmla="*/ 8 w 26"/>
                  <a:gd name="T47" fmla="*/ 52 h 72"/>
                  <a:gd name="T48" fmla="*/ 14 w 26"/>
                  <a:gd name="T49" fmla="*/ 61 h 72"/>
                  <a:gd name="T50" fmla="*/ 21 w 26"/>
                  <a:gd name="T51" fmla="*/ 72 h 72"/>
                  <a:gd name="T52" fmla="*/ 21 w 26"/>
                  <a:gd name="T53" fmla="*/ 71 h 72"/>
                  <a:gd name="T54" fmla="*/ 21 w 26"/>
                  <a:gd name="T55" fmla="*/ 68 h 72"/>
                  <a:gd name="T56" fmla="*/ 21 w 26"/>
                  <a:gd name="T57" fmla="*/ 63 h 72"/>
                  <a:gd name="T58" fmla="*/ 21 w 26"/>
                  <a:gd name="T59" fmla="*/ 56 h 72"/>
                  <a:gd name="T60" fmla="*/ 22 w 26"/>
                  <a:gd name="T61" fmla="*/ 50 h 72"/>
                  <a:gd name="T62" fmla="*/ 22 w 26"/>
                  <a:gd name="T63" fmla="*/ 45 h 72"/>
                  <a:gd name="T64" fmla="*/ 24 w 26"/>
                  <a:gd name="T65" fmla="*/ 41 h 72"/>
                  <a:gd name="T66" fmla="*/ 26 w 26"/>
                  <a:gd name="T67" fmla="*/ 38 h 72"/>
                  <a:gd name="T68" fmla="*/ 26 w 26"/>
                  <a:gd name="T69" fmla="*/ 37 h 72"/>
                  <a:gd name="T70" fmla="*/ 26 w 26"/>
                  <a:gd name="T71" fmla="*/ 34 h 72"/>
                  <a:gd name="T72" fmla="*/ 26 w 26"/>
                  <a:gd name="T73" fmla="*/ 30 h 72"/>
                  <a:gd name="T74" fmla="*/ 26 w 26"/>
                  <a:gd name="T75" fmla="*/ 24 h 72"/>
                  <a:gd name="T76" fmla="*/ 26 w 26"/>
                  <a:gd name="T77" fmla="*/ 17 h 72"/>
                  <a:gd name="T78" fmla="*/ 26 w 26"/>
                  <a:gd name="T79" fmla="*/ 11 h 72"/>
                  <a:gd name="T80" fmla="*/ 26 w 26"/>
                  <a:gd name="T81" fmla="*/ 5 h 72"/>
                  <a:gd name="T82" fmla="*/ 26 w 26"/>
                  <a:gd name="T83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6" h="72">
                    <a:moveTo>
                      <a:pt x="26" y="0"/>
                    </a:moveTo>
                    <a:lnTo>
                      <a:pt x="19" y="1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8" y="8"/>
                    </a:lnTo>
                    <a:lnTo>
                      <a:pt x="18" y="11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4" y="22"/>
                    </a:lnTo>
                    <a:lnTo>
                      <a:pt x="13" y="24"/>
                    </a:lnTo>
                    <a:lnTo>
                      <a:pt x="10" y="27"/>
                    </a:lnTo>
                    <a:lnTo>
                      <a:pt x="6" y="31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3" y="41"/>
                    </a:lnTo>
                    <a:lnTo>
                      <a:pt x="4" y="45"/>
                    </a:lnTo>
                    <a:lnTo>
                      <a:pt x="8" y="52"/>
                    </a:lnTo>
                    <a:lnTo>
                      <a:pt x="14" y="61"/>
                    </a:lnTo>
                    <a:lnTo>
                      <a:pt x="21" y="72"/>
                    </a:lnTo>
                    <a:lnTo>
                      <a:pt x="21" y="71"/>
                    </a:lnTo>
                    <a:lnTo>
                      <a:pt x="21" y="68"/>
                    </a:lnTo>
                    <a:lnTo>
                      <a:pt x="21" y="63"/>
                    </a:lnTo>
                    <a:lnTo>
                      <a:pt x="21" y="56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24" y="41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24"/>
                    </a:lnTo>
                    <a:lnTo>
                      <a:pt x="26" y="17"/>
                    </a:lnTo>
                    <a:lnTo>
                      <a:pt x="26" y="11"/>
                    </a:lnTo>
                    <a:lnTo>
                      <a:pt x="26" y="5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199" name="Freeform 931"/>
              <p:cNvSpPr>
                <a:spLocks/>
              </p:cNvSpPr>
              <p:nvPr/>
            </p:nvSpPr>
            <p:spPr bwMode="auto">
              <a:xfrm>
                <a:off x="3234" y="2398"/>
                <a:ext cx="26" cy="72"/>
              </a:xfrm>
              <a:custGeom>
                <a:avLst/>
                <a:gdLst>
                  <a:gd name="T0" fmla="*/ 26 w 26"/>
                  <a:gd name="T1" fmla="*/ 0 h 72"/>
                  <a:gd name="T2" fmla="*/ 19 w 26"/>
                  <a:gd name="T3" fmla="*/ 1 h 72"/>
                  <a:gd name="T4" fmla="*/ 19 w 26"/>
                  <a:gd name="T5" fmla="*/ 2 h 72"/>
                  <a:gd name="T6" fmla="*/ 19 w 26"/>
                  <a:gd name="T7" fmla="*/ 4 h 72"/>
                  <a:gd name="T8" fmla="*/ 19 w 26"/>
                  <a:gd name="T9" fmla="*/ 5 h 72"/>
                  <a:gd name="T10" fmla="*/ 18 w 26"/>
                  <a:gd name="T11" fmla="*/ 8 h 72"/>
                  <a:gd name="T12" fmla="*/ 18 w 26"/>
                  <a:gd name="T13" fmla="*/ 11 h 72"/>
                  <a:gd name="T14" fmla="*/ 17 w 26"/>
                  <a:gd name="T15" fmla="*/ 12 h 72"/>
                  <a:gd name="T16" fmla="*/ 17 w 26"/>
                  <a:gd name="T17" fmla="*/ 15 h 72"/>
                  <a:gd name="T18" fmla="*/ 17 w 26"/>
                  <a:gd name="T19" fmla="*/ 16 h 72"/>
                  <a:gd name="T20" fmla="*/ 15 w 26"/>
                  <a:gd name="T21" fmla="*/ 17 h 72"/>
                  <a:gd name="T22" fmla="*/ 15 w 26"/>
                  <a:gd name="T23" fmla="*/ 19 h 72"/>
                  <a:gd name="T24" fmla="*/ 14 w 26"/>
                  <a:gd name="T25" fmla="*/ 22 h 72"/>
                  <a:gd name="T26" fmla="*/ 13 w 26"/>
                  <a:gd name="T27" fmla="*/ 24 h 72"/>
                  <a:gd name="T28" fmla="*/ 10 w 26"/>
                  <a:gd name="T29" fmla="*/ 27 h 72"/>
                  <a:gd name="T30" fmla="*/ 6 w 26"/>
                  <a:gd name="T31" fmla="*/ 31 h 72"/>
                  <a:gd name="T32" fmla="*/ 0 w 26"/>
                  <a:gd name="T33" fmla="*/ 35 h 72"/>
                  <a:gd name="T34" fmla="*/ 2 w 26"/>
                  <a:gd name="T35" fmla="*/ 38 h 72"/>
                  <a:gd name="T36" fmla="*/ 3 w 26"/>
                  <a:gd name="T37" fmla="*/ 41 h 72"/>
                  <a:gd name="T38" fmla="*/ 4 w 26"/>
                  <a:gd name="T39" fmla="*/ 45 h 72"/>
                  <a:gd name="T40" fmla="*/ 8 w 26"/>
                  <a:gd name="T41" fmla="*/ 52 h 72"/>
                  <a:gd name="T42" fmla="*/ 14 w 26"/>
                  <a:gd name="T43" fmla="*/ 61 h 72"/>
                  <a:gd name="T44" fmla="*/ 21 w 26"/>
                  <a:gd name="T45" fmla="*/ 72 h 72"/>
                  <a:gd name="T46" fmla="*/ 21 w 26"/>
                  <a:gd name="T47" fmla="*/ 71 h 72"/>
                  <a:gd name="T48" fmla="*/ 21 w 26"/>
                  <a:gd name="T49" fmla="*/ 68 h 72"/>
                  <a:gd name="T50" fmla="*/ 21 w 26"/>
                  <a:gd name="T51" fmla="*/ 63 h 72"/>
                  <a:gd name="T52" fmla="*/ 21 w 26"/>
                  <a:gd name="T53" fmla="*/ 56 h 72"/>
                  <a:gd name="T54" fmla="*/ 22 w 26"/>
                  <a:gd name="T55" fmla="*/ 50 h 72"/>
                  <a:gd name="T56" fmla="*/ 22 w 26"/>
                  <a:gd name="T57" fmla="*/ 45 h 72"/>
                  <a:gd name="T58" fmla="*/ 24 w 26"/>
                  <a:gd name="T59" fmla="*/ 41 h 72"/>
                  <a:gd name="T60" fmla="*/ 26 w 26"/>
                  <a:gd name="T61" fmla="*/ 38 h 72"/>
                  <a:gd name="T62" fmla="*/ 26 w 26"/>
                  <a:gd name="T63" fmla="*/ 37 h 72"/>
                  <a:gd name="T64" fmla="*/ 26 w 26"/>
                  <a:gd name="T65" fmla="*/ 34 h 72"/>
                  <a:gd name="T66" fmla="*/ 26 w 26"/>
                  <a:gd name="T67" fmla="*/ 30 h 72"/>
                  <a:gd name="T68" fmla="*/ 26 w 26"/>
                  <a:gd name="T69" fmla="*/ 24 h 72"/>
                  <a:gd name="T70" fmla="*/ 26 w 26"/>
                  <a:gd name="T71" fmla="*/ 17 h 72"/>
                  <a:gd name="T72" fmla="*/ 26 w 26"/>
                  <a:gd name="T73" fmla="*/ 11 h 72"/>
                  <a:gd name="T74" fmla="*/ 26 w 26"/>
                  <a:gd name="T75" fmla="*/ 5 h 72"/>
                  <a:gd name="T76" fmla="*/ 26 w 26"/>
                  <a:gd name="T77" fmla="*/ 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6" h="72">
                    <a:moveTo>
                      <a:pt x="26" y="0"/>
                    </a:moveTo>
                    <a:lnTo>
                      <a:pt x="19" y="1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19" y="5"/>
                    </a:lnTo>
                    <a:lnTo>
                      <a:pt x="18" y="8"/>
                    </a:lnTo>
                    <a:lnTo>
                      <a:pt x="18" y="11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6"/>
                    </a:lnTo>
                    <a:lnTo>
                      <a:pt x="15" y="17"/>
                    </a:lnTo>
                    <a:lnTo>
                      <a:pt x="15" y="19"/>
                    </a:lnTo>
                    <a:lnTo>
                      <a:pt x="14" y="22"/>
                    </a:lnTo>
                    <a:lnTo>
                      <a:pt x="13" y="24"/>
                    </a:lnTo>
                    <a:lnTo>
                      <a:pt x="10" y="27"/>
                    </a:lnTo>
                    <a:lnTo>
                      <a:pt x="6" y="31"/>
                    </a:lnTo>
                    <a:lnTo>
                      <a:pt x="0" y="35"/>
                    </a:lnTo>
                    <a:lnTo>
                      <a:pt x="2" y="38"/>
                    </a:lnTo>
                    <a:lnTo>
                      <a:pt x="3" y="41"/>
                    </a:lnTo>
                    <a:lnTo>
                      <a:pt x="4" y="45"/>
                    </a:lnTo>
                    <a:lnTo>
                      <a:pt x="8" y="52"/>
                    </a:lnTo>
                    <a:lnTo>
                      <a:pt x="14" y="61"/>
                    </a:lnTo>
                    <a:lnTo>
                      <a:pt x="21" y="72"/>
                    </a:lnTo>
                    <a:lnTo>
                      <a:pt x="21" y="71"/>
                    </a:lnTo>
                    <a:lnTo>
                      <a:pt x="21" y="68"/>
                    </a:lnTo>
                    <a:lnTo>
                      <a:pt x="21" y="63"/>
                    </a:lnTo>
                    <a:lnTo>
                      <a:pt x="21" y="56"/>
                    </a:lnTo>
                    <a:lnTo>
                      <a:pt x="22" y="50"/>
                    </a:lnTo>
                    <a:lnTo>
                      <a:pt x="22" y="45"/>
                    </a:lnTo>
                    <a:lnTo>
                      <a:pt x="24" y="41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24"/>
                    </a:lnTo>
                    <a:lnTo>
                      <a:pt x="26" y="17"/>
                    </a:lnTo>
                    <a:lnTo>
                      <a:pt x="26" y="11"/>
                    </a:lnTo>
                    <a:lnTo>
                      <a:pt x="26" y="5"/>
                    </a:lnTo>
                    <a:lnTo>
                      <a:pt x="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0" name="Freeform 932"/>
              <p:cNvSpPr>
                <a:spLocks/>
              </p:cNvSpPr>
              <p:nvPr/>
            </p:nvSpPr>
            <p:spPr bwMode="auto">
              <a:xfrm>
                <a:off x="3260" y="2315"/>
                <a:ext cx="94" cy="92"/>
              </a:xfrm>
              <a:custGeom>
                <a:avLst/>
                <a:gdLst>
                  <a:gd name="T0" fmla="*/ 83 w 94"/>
                  <a:gd name="T1" fmla="*/ 7 h 92"/>
                  <a:gd name="T2" fmla="*/ 77 w 94"/>
                  <a:gd name="T3" fmla="*/ 8 h 92"/>
                  <a:gd name="T4" fmla="*/ 75 w 94"/>
                  <a:gd name="T5" fmla="*/ 10 h 92"/>
                  <a:gd name="T6" fmla="*/ 69 w 94"/>
                  <a:gd name="T7" fmla="*/ 11 h 92"/>
                  <a:gd name="T8" fmla="*/ 65 w 94"/>
                  <a:gd name="T9" fmla="*/ 15 h 92"/>
                  <a:gd name="T10" fmla="*/ 60 w 94"/>
                  <a:gd name="T11" fmla="*/ 19 h 92"/>
                  <a:gd name="T12" fmla="*/ 42 w 94"/>
                  <a:gd name="T13" fmla="*/ 21 h 92"/>
                  <a:gd name="T14" fmla="*/ 29 w 94"/>
                  <a:gd name="T15" fmla="*/ 18 h 92"/>
                  <a:gd name="T16" fmla="*/ 24 w 94"/>
                  <a:gd name="T17" fmla="*/ 15 h 92"/>
                  <a:gd name="T18" fmla="*/ 20 w 94"/>
                  <a:gd name="T19" fmla="*/ 18 h 92"/>
                  <a:gd name="T20" fmla="*/ 18 w 94"/>
                  <a:gd name="T21" fmla="*/ 21 h 92"/>
                  <a:gd name="T22" fmla="*/ 13 w 94"/>
                  <a:gd name="T23" fmla="*/ 28 h 92"/>
                  <a:gd name="T24" fmla="*/ 10 w 94"/>
                  <a:gd name="T25" fmla="*/ 30 h 92"/>
                  <a:gd name="T26" fmla="*/ 9 w 94"/>
                  <a:gd name="T27" fmla="*/ 30 h 92"/>
                  <a:gd name="T28" fmla="*/ 7 w 94"/>
                  <a:gd name="T29" fmla="*/ 30 h 92"/>
                  <a:gd name="T30" fmla="*/ 6 w 94"/>
                  <a:gd name="T31" fmla="*/ 29 h 92"/>
                  <a:gd name="T32" fmla="*/ 6 w 94"/>
                  <a:gd name="T33" fmla="*/ 29 h 92"/>
                  <a:gd name="T34" fmla="*/ 6 w 94"/>
                  <a:gd name="T35" fmla="*/ 32 h 92"/>
                  <a:gd name="T36" fmla="*/ 7 w 94"/>
                  <a:gd name="T37" fmla="*/ 33 h 92"/>
                  <a:gd name="T38" fmla="*/ 7 w 94"/>
                  <a:gd name="T39" fmla="*/ 34 h 92"/>
                  <a:gd name="T40" fmla="*/ 7 w 94"/>
                  <a:gd name="T41" fmla="*/ 37 h 92"/>
                  <a:gd name="T42" fmla="*/ 6 w 94"/>
                  <a:gd name="T43" fmla="*/ 43 h 92"/>
                  <a:gd name="T44" fmla="*/ 4 w 94"/>
                  <a:gd name="T45" fmla="*/ 43 h 92"/>
                  <a:gd name="T46" fmla="*/ 3 w 94"/>
                  <a:gd name="T47" fmla="*/ 47 h 92"/>
                  <a:gd name="T48" fmla="*/ 3 w 94"/>
                  <a:gd name="T49" fmla="*/ 51 h 92"/>
                  <a:gd name="T50" fmla="*/ 9 w 94"/>
                  <a:gd name="T51" fmla="*/ 51 h 92"/>
                  <a:gd name="T52" fmla="*/ 14 w 94"/>
                  <a:gd name="T53" fmla="*/ 54 h 92"/>
                  <a:gd name="T54" fmla="*/ 10 w 94"/>
                  <a:gd name="T55" fmla="*/ 61 h 92"/>
                  <a:gd name="T56" fmla="*/ 10 w 94"/>
                  <a:gd name="T57" fmla="*/ 63 h 92"/>
                  <a:gd name="T58" fmla="*/ 9 w 94"/>
                  <a:gd name="T59" fmla="*/ 67 h 92"/>
                  <a:gd name="T60" fmla="*/ 7 w 94"/>
                  <a:gd name="T61" fmla="*/ 70 h 92"/>
                  <a:gd name="T62" fmla="*/ 4 w 94"/>
                  <a:gd name="T63" fmla="*/ 73 h 92"/>
                  <a:gd name="T64" fmla="*/ 4 w 94"/>
                  <a:gd name="T65" fmla="*/ 76 h 92"/>
                  <a:gd name="T66" fmla="*/ 3 w 94"/>
                  <a:gd name="T67" fmla="*/ 77 h 92"/>
                  <a:gd name="T68" fmla="*/ 2 w 94"/>
                  <a:gd name="T69" fmla="*/ 81 h 92"/>
                  <a:gd name="T70" fmla="*/ 0 w 94"/>
                  <a:gd name="T71" fmla="*/ 83 h 92"/>
                  <a:gd name="T72" fmla="*/ 2 w 94"/>
                  <a:gd name="T73" fmla="*/ 83 h 92"/>
                  <a:gd name="T74" fmla="*/ 3 w 94"/>
                  <a:gd name="T75" fmla="*/ 84 h 92"/>
                  <a:gd name="T76" fmla="*/ 4 w 94"/>
                  <a:gd name="T77" fmla="*/ 87 h 92"/>
                  <a:gd name="T78" fmla="*/ 11 w 94"/>
                  <a:gd name="T79" fmla="*/ 91 h 92"/>
                  <a:gd name="T80" fmla="*/ 26 w 94"/>
                  <a:gd name="T81" fmla="*/ 91 h 92"/>
                  <a:gd name="T82" fmla="*/ 77 w 94"/>
                  <a:gd name="T83" fmla="*/ 45 h 92"/>
                  <a:gd name="T84" fmla="*/ 79 w 94"/>
                  <a:gd name="T85" fmla="*/ 40 h 92"/>
                  <a:gd name="T86" fmla="*/ 77 w 94"/>
                  <a:gd name="T87" fmla="*/ 37 h 92"/>
                  <a:gd name="T88" fmla="*/ 77 w 94"/>
                  <a:gd name="T89" fmla="*/ 34 h 92"/>
                  <a:gd name="T90" fmla="*/ 79 w 94"/>
                  <a:gd name="T91" fmla="*/ 29 h 92"/>
                  <a:gd name="T92" fmla="*/ 82 w 94"/>
                  <a:gd name="T93" fmla="*/ 28 h 92"/>
                  <a:gd name="T94" fmla="*/ 83 w 94"/>
                  <a:gd name="T95" fmla="*/ 25 h 92"/>
                  <a:gd name="T96" fmla="*/ 86 w 94"/>
                  <a:gd name="T97" fmla="*/ 21 h 92"/>
                  <a:gd name="T98" fmla="*/ 87 w 94"/>
                  <a:gd name="T99" fmla="*/ 17 h 92"/>
                  <a:gd name="T100" fmla="*/ 91 w 94"/>
                  <a:gd name="T101" fmla="*/ 8 h 92"/>
                  <a:gd name="T102" fmla="*/ 94 w 94"/>
                  <a:gd name="T103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4" h="92">
                    <a:moveTo>
                      <a:pt x="86" y="3"/>
                    </a:moveTo>
                    <a:lnTo>
                      <a:pt x="84" y="6"/>
                    </a:lnTo>
                    <a:lnTo>
                      <a:pt x="83" y="7"/>
                    </a:lnTo>
                    <a:lnTo>
                      <a:pt x="80" y="7"/>
                    </a:lnTo>
                    <a:lnTo>
                      <a:pt x="79" y="8"/>
                    </a:lnTo>
                    <a:lnTo>
                      <a:pt x="77" y="8"/>
                    </a:lnTo>
                    <a:lnTo>
                      <a:pt x="76" y="10"/>
                    </a:lnTo>
                    <a:lnTo>
                      <a:pt x="75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6" y="14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5" y="17"/>
                    </a:lnTo>
                    <a:lnTo>
                      <a:pt x="60" y="19"/>
                    </a:lnTo>
                    <a:lnTo>
                      <a:pt x="53" y="21"/>
                    </a:lnTo>
                    <a:lnTo>
                      <a:pt x="47" y="21"/>
                    </a:lnTo>
                    <a:lnTo>
                      <a:pt x="42" y="21"/>
                    </a:lnTo>
                    <a:lnTo>
                      <a:pt x="36" y="21"/>
                    </a:lnTo>
                    <a:lnTo>
                      <a:pt x="32" y="19"/>
                    </a:lnTo>
                    <a:lnTo>
                      <a:pt x="29" y="18"/>
                    </a:lnTo>
                    <a:lnTo>
                      <a:pt x="28" y="18"/>
                    </a:lnTo>
                    <a:lnTo>
                      <a:pt x="26" y="17"/>
                    </a:lnTo>
                    <a:lnTo>
                      <a:pt x="24" y="15"/>
                    </a:lnTo>
                    <a:lnTo>
                      <a:pt x="22" y="17"/>
                    </a:lnTo>
                    <a:lnTo>
                      <a:pt x="21" y="17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3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9"/>
                    </a:lnTo>
                    <a:lnTo>
                      <a:pt x="6" y="29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3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6"/>
                    </a:lnTo>
                    <a:lnTo>
                      <a:pt x="7" y="36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7" y="40"/>
                    </a:lnTo>
                    <a:lnTo>
                      <a:pt x="6" y="43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3" y="51"/>
                    </a:lnTo>
                    <a:lnTo>
                      <a:pt x="3" y="51"/>
                    </a:lnTo>
                    <a:lnTo>
                      <a:pt x="4" y="51"/>
                    </a:lnTo>
                    <a:lnTo>
                      <a:pt x="7" y="51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3" y="52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0" y="61"/>
                    </a:lnTo>
                    <a:lnTo>
                      <a:pt x="10" y="61"/>
                    </a:lnTo>
                    <a:lnTo>
                      <a:pt x="10" y="62"/>
                    </a:lnTo>
                    <a:lnTo>
                      <a:pt x="10" y="63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6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7" y="70"/>
                    </a:lnTo>
                    <a:lnTo>
                      <a:pt x="6" y="72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3" y="7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2" y="83"/>
                    </a:lnTo>
                    <a:lnTo>
                      <a:pt x="2" y="84"/>
                    </a:lnTo>
                    <a:lnTo>
                      <a:pt x="2" y="84"/>
                    </a:lnTo>
                    <a:lnTo>
                      <a:pt x="3" y="84"/>
                    </a:lnTo>
                    <a:lnTo>
                      <a:pt x="4" y="85"/>
                    </a:lnTo>
                    <a:lnTo>
                      <a:pt x="4" y="85"/>
                    </a:lnTo>
                    <a:lnTo>
                      <a:pt x="4" y="87"/>
                    </a:lnTo>
                    <a:lnTo>
                      <a:pt x="6" y="88"/>
                    </a:lnTo>
                    <a:lnTo>
                      <a:pt x="9" y="89"/>
                    </a:lnTo>
                    <a:lnTo>
                      <a:pt x="11" y="91"/>
                    </a:lnTo>
                    <a:lnTo>
                      <a:pt x="15" y="92"/>
                    </a:lnTo>
                    <a:lnTo>
                      <a:pt x="21" y="92"/>
                    </a:lnTo>
                    <a:lnTo>
                      <a:pt x="26" y="91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7" y="45"/>
                    </a:lnTo>
                    <a:lnTo>
                      <a:pt x="79" y="44"/>
                    </a:lnTo>
                    <a:lnTo>
                      <a:pt x="79" y="43"/>
                    </a:lnTo>
                    <a:lnTo>
                      <a:pt x="79" y="40"/>
                    </a:lnTo>
                    <a:lnTo>
                      <a:pt x="79" y="39"/>
                    </a:lnTo>
                    <a:lnTo>
                      <a:pt x="79" y="37"/>
                    </a:lnTo>
                    <a:lnTo>
                      <a:pt x="77" y="37"/>
                    </a:lnTo>
                    <a:lnTo>
                      <a:pt x="77" y="36"/>
                    </a:lnTo>
                    <a:lnTo>
                      <a:pt x="77" y="36"/>
                    </a:lnTo>
                    <a:lnTo>
                      <a:pt x="77" y="34"/>
                    </a:lnTo>
                    <a:lnTo>
                      <a:pt x="77" y="32"/>
                    </a:lnTo>
                    <a:lnTo>
                      <a:pt x="79" y="30"/>
                    </a:lnTo>
                    <a:lnTo>
                      <a:pt x="79" y="29"/>
                    </a:lnTo>
                    <a:lnTo>
                      <a:pt x="79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3" y="25"/>
                    </a:lnTo>
                    <a:lnTo>
                      <a:pt x="83" y="25"/>
                    </a:lnTo>
                    <a:lnTo>
                      <a:pt x="84" y="23"/>
                    </a:lnTo>
                    <a:lnTo>
                      <a:pt x="86" y="22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7" y="18"/>
                    </a:lnTo>
                    <a:lnTo>
                      <a:pt x="87" y="17"/>
                    </a:lnTo>
                    <a:lnTo>
                      <a:pt x="88" y="14"/>
                    </a:lnTo>
                    <a:lnTo>
                      <a:pt x="90" y="11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4" y="3"/>
                    </a:lnTo>
                    <a:lnTo>
                      <a:pt x="94" y="0"/>
                    </a:lnTo>
                    <a:lnTo>
                      <a:pt x="86" y="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1" name="Freeform 933"/>
              <p:cNvSpPr>
                <a:spLocks/>
              </p:cNvSpPr>
              <p:nvPr/>
            </p:nvSpPr>
            <p:spPr bwMode="auto">
              <a:xfrm>
                <a:off x="3260" y="2315"/>
                <a:ext cx="94" cy="92"/>
              </a:xfrm>
              <a:custGeom>
                <a:avLst/>
                <a:gdLst>
                  <a:gd name="T0" fmla="*/ 84 w 94"/>
                  <a:gd name="T1" fmla="*/ 6 h 92"/>
                  <a:gd name="T2" fmla="*/ 80 w 94"/>
                  <a:gd name="T3" fmla="*/ 7 h 92"/>
                  <a:gd name="T4" fmla="*/ 77 w 94"/>
                  <a:gd name="T5" fmla="*/ 8 h 92"/>
                  <a:gd name="T6" fmla="*/ 75 w 94"/>
                  <a:gd name="T7" fmla="*/ 10 h 92"/>
                  <a:gd name="T8" fmla="*/ 71 w 94"/>
                  <a:gd name="T9" fmla="*/ 10 h 92"/>
                  <a:gd name="T10" fmla="*/ 68 w 94"/>
                  <a:gd name="T11" fmla="*/ 12 h 92"/>
                  <a:gd name="T12" fmla="*/ 65 w 94"/>
                  <a:gd name="T13" fmla="*/ 15 h 92"/>
                  <a:gd name="T14" fmla="*/ 60 w 94"/>
                  <a:gd name="T15" fmla="*/ 19 h 92"/>
                  <a:gd name="T16" fmla="*/ 47 w 94"/>
                  <a:gd name="T17" fmla="*/ 21 h 92"/>
                  <a:gd name="T18" fmla="*/ 36 w 94"/>
                  <a:gd name="T19" fmla="*/ 21 h 92"/>
                  <a:gd name="T20" fmla="*/ 29 w 94"/>
                  <a:gd name="T21" fmla="*/ 18 h 92"/>
                  <a:gd name="T22" fmla="*/ 26 w 94"/>
                  <a:gd name="T23" fmla="*/ 17 h 92"/>
                  <a:gd name="T24" fmla="*/ 22 w 94"/>
                  <a:gd name="T25" fmla="*/ 17 h 92"/>
                  <a:gd name="T26" fmla="*/ 20 w 94"/>
                  <a:gd name="T27" fmla="*/ 18 h 92"/>
                  <a:gd name="T28" fmla="*/ 18 w 94"/>
                  <a:gd name="T29" fmla="*/ 21 h 92"/>
                  <a:gd name="T30" fmla="*/ 14 w 94"/>
                  <a:gd name="T31" fmla="*/ 26 h 92"/>
                  <a:gd name="T32" fmla="*/ 11 w 94"/>
                  <a:gd name="T33" fmla="*/ 29 h 92"/>
                  <a:gd name="T34" fmla="*/ 10 w 94"/>
                  <a:gd name="T35" fmla="*/ 30 h 92"/>
                  <a:gd name="T36" fmla="*/ 7 w 94"/>
                  <a:gd name="T37" fmla="*/ 30 h 92"/>
                  <a:gd name="T38" fmla="*/ 6 w 94"/>
                  <a:gd name="T39" fmla="*/ 29 h 92"/>
                  <a:gd name="T40" fmla="*/ 6 w 94"/>
                  <a:gd name="T41" fmla="*/ 29 h 92"/>
                  <a:gd name="T42" fmla="*/ 6 w 94"/>
                  <a:gd name="T43" fmla="*/ 32 h 92"/>
                  <a:gd name="T44" fmla="*/ 7 w 94"/>
                  <a:gd name="T45" fmla="*/ 33 h 92"/>
                  <a:gd name="T46" fmla="*/ 7 w 94"/>
                  <a:gd name="T47" fmla="*/ 36 h 92"/>
                  <a:gd name="T48" fmla="*/ 7 w 94"/>
                  <a:gd name="T49" fmla="*/ 39 h 92"/>
                  <a:gd name="T50" fmla="*/ 6 w 94"/>
                  <a:gd name="T51" fmla="*/ 43 h 92"/>
                  <a:gd name="T52" fmla="*/ 4 w 94"/>
                  <a:gd name="T53" fmla="*/ 44 h 92"/>
                  <a:gd name="T54" fmla="*/ 3 w 94"/>
                  <a:gd name="T55" fmla="*/ 48 h 92"/>
                  <a:gd name="T56" fmla="*/ 4 w 94"/>
                  <a:gd name="T57" fmla="*/ 51 h 92"/>
                  <a:gd name="T58" fmla="*/ 9 w 94"/>
                  <a:gd name="T59" fmla="*/ 51 h 92"/>
                  <a:gd name="T60" fmla="*/ 13 w 94"/>
                  <a:gd name="T61" fmla="*/ 52 h 92"/>
                  <a:gd name="T62" fmla="*/ 14 w 94"/>
                  <a:gd name="T63" fmla="*/ 56 h 92"/>
                  <a:gd name="T64" fmla="*/ 10 w 94"/>
                  <a:gd name="T65" fmla="*/ 62 h 92"/>
                  <a:gd name="T66" fmla="*/ 10 w 94"/>
                  <a:gd name="T67" fmla="*/ 65 h 92"/>
                  <a:gd name="T68" fmla="*/ 9 w 94"/>
                  <a:gd name="T69" fmla="*/ 67 h 92"/>
                  <a:gd name="T70" fmla="*/ 7 w 94"/>
                  <a:gd name="T71" fmla="*/ 70 h 92"/>
                  <a:gd name="T72" fmla="*/ 6 w 94"/>
                  <a:gd name="T73" fmla="*/ 73 h 92"/>
                  <a:gd name="T74" fmla="*/ 4 w 94"/>
                  <a:gd name="T75" fmla="*/ 74 h 92"/>
                  <a:gd name="T76" fmla="*/ 3 w 94"/>
                  <a:gd name="T77" fmla="*/ 77 h 92"/>
                  <a:gd name="T78" fmla="*/ 3 w 94"/>
                  <a:gd name="T79" fmla="*/ 80 h 92"/>
                  <a:gd name="T80" fmla="*/ 0 w 94"/>
                  <a:gd name="T81" fmla="*/ 83 h 92"/>
                  <a:gd name="T82" fmla="*/ 2 w 94"/>
                  <a:gd name="T83" fmla="*/ 84 h 92"/>
                  <a:gd name="T84" fmla="*/ 4 w 94"/>
                  <a:gd name="T85" fmla="*/ 85 h 92"/>
                  <a:gd name="T86" fmla="*/ 6 w 94"/>
                  <a:gd name="T87" fmla="*/ 88 h 92"/>
                  <a:gd name="T88" fmla="*/ 11 w 94"/>
                  <a:gd name="T89" fmla="*/ 91 h 92"/>
                  <a:gd name="T90" fmla="*/ 21 w 94"/>
                  <a:gd name="T91" fmla="*/ 92 h 92"/>
                  <a:gd name="T92" fmla="*/ 77 w 94"/>
                  <a:gd name="T93" fmla="*/ 47 h 92"/>
                  <a:gd name="T94" fmla="*/ 79 w 94"/>
                  <a:gd name="T95" fmla="*/ 44 h 92"/>
                  <a:gd name="T96" fmla="*/ 79 w 94"/>
                  <a:gd name="T97" fmla="*/ 40 h 92"/>
                  <a:gd name="T98" fmla="*/ 79 w 94"/>
                  <a:gd name="T99" fmla="*/ 37 h 92"/>
                  <a:gd name="T100" fmla="*/ 77 w 94"/>
                  <a:gd name="T101" fmla="*/ 36 h 92"/>
                  <a:gd name="T102" fmla="*/ 77 w 94"/>
                  <a:gd name="T103" fmla="*/ 32 h 92"/>
                  <a:gd name="T104" fmla="*/ 79 w 94"/>
                  <a:gd name="T105" fmla="*/ 29 h 92"/>
                  <a:gd name="T106" fmla="*/ 80 w 94"/>
                  <a:gd name="T107" fmla="*/ 28 h 92"/>
                  <a:gd name="T108" fmla="*/ 82 w 94"/>
                  <a:gd name="T109" fmla="*/ 26 h 92"/>
                  <a:gd name="T110" fmla="*/ 84 w 94"/>
                  <a:gd name="T111" fmla="*/ 23 h 92"/>
                  <a:gd name="T112" fmla="*/ 86 w 94"/>
                  <a:gd name="T113" fmla="*/ 21 h 92"/>
                  <a:gd name="T114" fmla="*/ 87 w 94"/>
                  <a:gd name="T115" fmla="*/ 18 h 92"/>
                  <a:gd name="T116" fmla="*/ 88 w 94"/>
                  <a:gd name="T117" fmla="*/ 14 h 92"/>
                  <a:gd name="T118" fmla="*/ 91 w 94"/>
                  <a:gd name="T119" fmla="*/ 8 h 92"/>
                  <a:gd name="T120" fmla="*/ 94 w 94"/>
                  <a:gd name="T121" fmla="*/ 3 h 92"/>
                  <a:gd name="T122" fmla="*/ 86 w 94"/>
                  <a:gd name="T123" fmla="*/ 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4" h="92">
                    <a:moveTo>
                      <a:pt x="86" y="3"/>
                    </a:moveTo>
                    <a:lnTo>
                      <a:pt x="84" y="6"/>
                    </a:lnTo>
                    <a:lnTo>
                      <a:pt x="83" y="7"/>
                    </a:lnTo>
                    <a:lnTo>
                      <a:pt x="80" y="7"/>
                    </a:lnTo>
                    <a:lnTo>
                      <a:pt x="79" y="8"/>
                    </a:lnTo>
                    <a:lnTo>
                      <a:pt x="77" y="8"/>
                    </a:lnTo>
                    <a:lnTo>
                      <a:pt x="76" y="10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6" y="14"/>
                    </a:lnTo>
                    <a:lnTo>
                      <a:pt x="65" y="15"/>
                    </a:lnTo>
                    <a:lnTo>
                      <a:pt x="65" y="17"/>
                    </a:lnTo>
                    <a:lnTo>
                      <a:pt x="60" y="19"/>
                    </a:lnTo>
                    <a:lnTo>
                      <a:pt x="53" y="21"/>
                    </a:lnTo>
                    <a:lnTo>
                      <a:pt x="47" y="21"/>
                    </a:lnTo>
                    <a:lnTo>
                      <a:pt x="42" y="21"/>
                    </a:lnTo>
                    <a:lnTo>
                      <a:pt x="36" y="21"/>
                    </a:lnTo>
                    <a:lnTo>
                      <a:pt x="32" y="19"/>
                    </a:lnTo>
                    <a:lnTo>
                      <a:pt x="29" y="18"/>
                    </a:lnTo>
                    <a:lnTo>
                      <a:pt x="28" y="18"/>
                    </a:lnTo>
                    <a:lnTo>
                      <a:pt x="26" y="17"/>
                    </a:lnTo>
                    <a:lnTo>
                      <a:pt x="24" y="15"/>
                    </a:lnTo>
                    <a:lnTo>
                      <a:pt x="22" y="17"/>
                    </a:lnTo>
                    <a:lnTo>
                      <a:pt x="21" y="17"/>
                    </a:lnTo>
                    <a:lnTo>
                      <a:pt x="20" y="18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5" y="23"/>
                    </a:lnTo>
                    <a:lnTo>
                      <a:pt x="14" y="26"/>
                    </a:lnTo>
                    <a:lnTo>
                      <a:pt x="13" y="28"/>
                    </a:lnTo>
                    <a:lnTo>
                      <a:pt x="11" y="29"/>
                    </a:lnTo>
                    <a:lnTo>
                      <a:pt x="11" y="30"/>
                    </a:lnTo>
                    <a:lnTo>
                      <a:pt x="10" y="30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6" y="30"/>
                    </a:lnTo>
                    <a:lnTo>
                      <a:pt x="6" y="29"/>
                    </a:lnTo>
                    <a:lnTo>
                      <a:pt x="6" y="28"/>
                    </a:lnTo>
                    <a:lnTo>
                      <a:pt x="6" y="29"/>
                    </a:lnTo>
                    <a:lnTo>
                      <a:pt x="6" y="30"/>
                    </a:lnTo>
                    <a:lnTo>
                      <a:pt x="6" y="32"/>
                    </a:lnTo>
                    <a:lnTo>
                      <a:pt x="6" y="33"/>
                    </a:lnTo>
                    <a:lnTo>
                      <a:pt x="7" y="33"/>
                    </a:lnTo>
                    <a:lnTo>
                      <a:pt x="7" y="34"/>
                    </a:lnTo>
                    <a:lnTo>
                      <a:pt x="7" y="36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7" y="40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4" y="44"/>
                    </a:lnTo>
                    <a:lnTo>
                      <a:pt x="3" y="47"/>
                    </a:lnTo>
                    <a:lnTo>
                      <a:pt x="3" y="48"/>
                    </a:lnTo>
                    <a:lnTo>
                      <a:pt x="3" y="51"/>
                    </a:lnTo>
                    <a:lnTo>
                      <a:pt x="4" y="51"/>
                    </a:lnTo>
                    <a:lnTo>
                      <a:pt x="7" y="51"/>
                    </a:lnTo>
                    <a:lnTo>
                      <a:pt x="9" y="51"/>
                    </a:lnTo>
                    <a:lnTo>
                      <a:pt x="11" y="51"/>
                    </a:lnTo>
                    <a:lnTo>
                      <a:pt x="13" y="52"/>
                    </a:lnTo>
                    <a:lnTo>
                      <a:pt x="14" y="54"/>
                    </a:lnTo>
                    <a:lnTo>
                      <a:pt x="14" y="56"/>
                    </a:lnTo>
                    <a:lnTo>
                      <a:pt x="10" y="61"/>
                    </a:lnTo>
                    <a:lnTo>
                      <a:pt x="10" y="62"/>
                    </a:lnTo>
                    <a:lnTo>
                      <a:pt x="10" y="63"/>
                    </a:lnTo>
                    <a:lnTo>
                      <a:pt x="10" y="65"/>
                    </a:lnTo>
                    <a:lnTo>
                      <a:pt x="10" y="66"/>
                    </a:lnTo>
                    <a:lnTo>
                      <a:pt x="9" y="67"/>
                    </a:lnTo>
                    <a:lnTo>
                      <a:pt x="9" y="69"/>
                    </a:lnTo>
                    <a:lnTo>
                      <a:pt x="7" y="70"/>
                    </a:lnTo>
                    <a:lnTo>
                      <a:pt x="6" y="72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4"/>
                    </a:lnTo>
                    <a:lnTo>
                      <a:pt x="4" y="76"/>
                    </a:lnTo>
                    <a:lnTo>
                      <a:pt x="3" y="7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2" y="81"/>
                    </a:lnTo>
                    <a:lnTo>
                      <a:pt x="0" y="83"/>
                    </a:lnTo>
                    <a:lnTo>
                      <a:pt x="2" y="83"/>
                    </a:lnTo>
                    <a:lnTo>
                      <a:pt x="2" y="84"/>
                    </a:lnTo>
                    <a:lnTo>
                      <a:pt x="3" y="84"/>
                    </a:lnTo>
                    <a:lnTo>
                      <a:pt x="4" y="85"/>
                    </a:lnTo>
                    <a:lnTo>
                      <a:pt x="4" y="87"/>
                    </a:lnTo>
                    <a:lnTo>
                      <a:pt x="6" y="88"/>
                    </a:lnTo>
                    <a:lnTo>
                      <a:pt x="9" y="89"/>
                    </a:lnTo>
                    <a:lnTo>
                      <a:pt x="11" y="91"/>
                    </a:lnTo>
                    <a:lnTo>
                      <a:pt x="15" y="92"/>
                    </a:lnTo>
                    <a:lnTo>
                      <a:pt x="21" y="92"/>
                    </a:lnTo>
                    <a:lnTo>
                      <a:pt x="26" y="91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9" y="44"/>
                    </a:lnTo>
                    <a:lnTo>
                      <a:pt x="79" y="43"/>
                    </a:lnTo>
                    <a:lnTo>
                      <a:pt x="79" y="40"/>
                    </a:lnTo>
                    <a:lnTo>
                      <a:pt x="79" y="39"/>
                    </a:lnTo>
                    <a:lnTo>
                      <a:pt x="79" y="37"/>
                    </a:lnTo>
                    <a:lnTo>
                      <a:pt x="77" y="37"/>
                    </a:lnTo>
                    <a:lnTo>
                      <a:pt x="77" y="36"/>
                    </a:lnTo>
                    <a:lnTo>
                      <a:pt x="77" y="34"/>
                    </a:lnTo>
                    <a:lnTo>
                      <a:pt x="77" y="32"/>
                    </a:lnTo>
                    <a:lnTo>
                      <a:pt x="79" y="30"/>
                    </a:lnTo>
                    <a:lnTo>
                      <a:pt x="79" y="29"/>
                    </a:lnTo>
                    <a:lnTo>
                      <a:pt x="79" y="28"/>
                    </a:lnTo>
                    <a:lnTo>
                      <a:pt x="80" y="28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3" y="25"/>
                    </a:lnTo>
                    <a:lnTo>
                      <a:pt x="84" y="23"/>
                    </a:lnTo>
                    <a:lnTo>
                      <a:pt x="86" y="22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7" y="18"/>
                    </a:lnTo>
                    <a:lnTo>
                      <a:pt x="87" y="17"/>
                    </a:lnTo>
                    <a:lnTo>
                      <a:pt x="88" y="14"/>
                    </a:lnTo>
                    <a:lnTo>
                      <a:pt x="90" y="11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4" y="3"/>
                    </a:lnTo>
                    <a:lnTo>
                      <a:pt x="94" y="0"/>
                    </a:lnTo>
                    <a:lnTo>
                      <a:pt x="86" y="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2" name="Freeform 934"/>
              <p:cNvSpPr>
                <a:spLocks/>
              </p:cNvSpPr>
              <p:nvPr/>
            </p:nvSpPr>
            <p:spPr bwMode="auto">
              <a:xfrm>
                <a:off x="3383" y="2261"/>
                <a:ext cx="278" cy="296"/>
              </a:xfrm>
              <a:custGeom>
                <a:avLst/>
                <a:gdLst>
                  <a:gd name="T0" fmla="*/ 19 w 278"/>
                  <a:gd name="T1" fmla="*/ 50 h 296"/>
                  <a:gd name="T2" fmla="*/ 20 w 278"/>
                  <a:gd name="T3" fmla="*/ 50 h 296"/>
                  <a:gd name="T4" fmla="*/ 22 w 278"/>
                  <a:gd name="T5" fmla="*/ 53 h 296"/>
                  <a:gd name="T6" fmla="*/ 23 w 278"/>
                  <a:gd name="T7" fmla="*/ 58 h 296"/>
                  <a:gd name="T8" fmla="*/ 22 w 278"/>
                  <a:gd name="T9" fmla="*/ 61 h 296"/>
                  <a:gd name="T10" fmla="*/ 20 w 278"/>
                  <a:gd name="T11" fmla="*/ 64 h 296"/>
                  <a:gd name="T12" fmla="*/ 23 w 278"/>
                  <a:gd name="T13" fmla="*/ 66 h 296"/>
                  <a:gd name="T14" fmla="*/ 27 w 278"/>
                  <a:gd name="T15" fmla="*/ 72 h 296"/>
                  <a:gd name="T16" fmla="*/ 33 w 278"/>
                  <a:gd name="T17" fmla="*/ 76 h 296"/>
                  <a:gd name="T18" fmla="*/ 41 w 278"/>
                  <a:gd name="T19" fmla="*/ 88 h 296"/>
                  <a:gd name="T20" fmla="*/ 37 w 278"/>
                  <a:gd name="T21" fmla="*/ 99 h 296"/>
                  <a:gd name="T22" fmla="*/ 33 w 278"/>
                  <a:gd name="T23" fmla="*/ 119 h 296"/>
                  <a:gd name="T24" fmla="*/ 37 w 278"/>
                  <a:gd name="T25" fmla="*/ 130 h 296"/>
                  <a:gd name="T26" fmla="*/ 48 w 278"/>
                  <a:gd name="T27" fmla="*/ 148 h 296"/>
                  <a:gd name="T28" fmla="*/ 51 w 278"/>
                  <a:gd name="T29" fmla="*/ 152 h 296"/>
                  <a:gd name="T30" fmla="*/ 52 w 278"/>
                  <a:gd name="T31" fmla="*/ 159 h 296"/>
                  <a:gd name="T32" fmla="*/ 53 w 278"/>
                  <a:gd name="T33" fmla="*/ 163 h 296"/>
                  <a:gd name="T34" fmla="*/ 59 w 278"/>
                  <a:gd name="T35" fmla="*/ 168 h 296"/>
                  <a:gd name="T36" fmla="*/ 60 w 278"/>
                  <a:gd name="T37" fmla="*/ 174 h 296"/>
                  <a:gd name="T38" fmla="*/ 62 w 278"/>
                  <a:gd name="T39" fmla="*/ 182 h 296"/>
                  <a:gd name="T40" fmla="*/ 93 w 278"/>
                  <a:gd name="T41" fmla="*/ 193 h 296"/>
                  <a:gd name="T42" fmla="*/ 97 w 278"/>
                  <a:gd name="T43" fmla="*/ 198 h 296"/>
                  <a:gd name="T44" fmla="*/ 113 w 278"/>
                  <a:gd name="T45" fmla="*/ 216 h 296"/>
                  <a:gd name="T46" fmla="*/ 141 w 278"/>
                  <a:gd name="T47" fmla="*/ 244 h 296"/>
                  <a:gd name="T48" fmla="*/ 159 w 278"/>
                  <a:gd name="T49" fmla="*/ 249 h 296"/>
                  <a:gd name="T50" fmla="*/ 172 w 278"/>
                  <a:gd name="T51" fmla="*/ 249 h 296"/>
                  <a:gd name="T52" fmla="*/ 181 w 278"/>
                  <a:gd name="T53" fmla="*/ 249 h 296"/>
                  <a:gd name="T54" fmla="*/ 201 w 278"/>
                  <a:gd name="T55" fmla="*/ 268 h 296"/>
                  <a:gd name="T56" fmla="*/ 219 w 278"/>
                  <a:gd name="T57" fmla="*/ 274 h 296"/>
                  <a:gd name="T58" fmla="*/ 235 w 278"/>
                  <a:gd name="T59" fmla="*/ 275 h 296"/>
                  <a:gd name="T60" fmla="*/ 247 w 278"/>
                  <a:gd name="T61" fmla="*/ 296 h 296"/>
                  <a:gd name="T62" fmla="*/ 265 w 278"/>
                  <a:gd name="T63" fmla="*/ 281 h 296"/>
                  <a:gd name="T64" fmla="*/ 264 w 278"/>
                  <a:gd name="T65" fmla="*/ 268 h 296"/>
                  <a:gd name="T66" fmla="*/ 265 w 278"/>
                  <a:gd name="T67" fmla="*/ 260 h 296"/>
                  <a:gd name="T68" fmla="*/ 274 w 278"/>
                  <a:gd name="T69" fmla="*/ 249 h 296"/>
                  <a:gd name="T70" fmla="*/ 278 w 278"/>
                  <a:gd name="T71" fmla="*/ 242 h 296"/>
                  <a:gd name="T72" fmla="*/ 276 w 278"/>
                  <a:gd name="T73" fmla="*/ 233 h 296"/>
                  <a:gd name="T74" fmla="*/ 246 w 278"/>
                  <a:gd name="T75" fmla="*/ 143 h 296"/>
                  <a:gd name="T76" fmla="*/ 257 w 278"/>
                  <a:gd name="T77" fmla="*/ 90 h 296"/>
                  <a:gd name="T78" fmla="*/ 238 w 278"/>
                  <a:gd name="T79" fmla="*/ 66 h 296"/>
                  <a:gd name="T80" fmla="*/ 217 w 278"/>
                  <a:gd name="T81" fmla="*/ 61 h 296"/>
                  <a:gd name="T82" fmla="*/ 207 w 278"/>
                  <a:gd name="T83" fmla="*/ 58 h 296"/>
                  <a:gd name="T84" fmla="*/ 195 w 278"/>
                  <a:gd name="T85" fmla="*/ 53 h 296"/>
                  <a:gd name="T86" fmla="*/ 168 w 278"/>
                  <a:gd name="T87" fmla="*/ 55 h 296"/>
                  <a:gd name="T88" fmla="*/ 151 w 278"/>
                  <a:gd name="T89" fmla="*/ 65 h 296"/>
                  <a:gd name="T90" fmla="*/ 139 w 278"/>
                  <a:gd name="T91" fmla="*/ 69 h 296"/>
                  <a:gd name="T92" fmla="*/ 122 w 278"/>
                  <a:gd name="T93" fmla="*/ 71 h 296"/>
                  <a:gd name="T94" fmla="*/ 118 w 278"/>
                  <a:gd name="T95" fmla="*/ 72 h 296"/>
                  <a:gd name="T96" fmla="*/ 114 w 278"/>
                  <a:gd name="T97" fmla="*/ 71 h 296"/>
                  <a:gd name="T98" fmla="*/ 92 w 278"/>
                  <a:gd name="T99" fmla="*/ 53 h 296"/>
                  <a:gd name="T100" fmla="*/ 74 w 278"/>
                  <a:gd name="T101" fmla="*/ 14 h 296"/>
                  <a:gd name="T102" fmla="*/ 67 w 278"/>
                  <a:gd name="T103" fmla="*/ 7 h 296"/>
                  <a:gd name="T104" fmla="*/ 45 w 278"/>
                  <a:gd name="T105" fmla="*/ 20 h 296"/>
                  <a:gd name="T106" fmla="*/ 38 w 278"/>
                  <a:gd name="T107" fmla="*/ 21 h 296"/>
                  <a:gd name="T108" fmla="*/ 26 w 278"/>
                  <a:gd name="T109" fmla="*/ 18 h 296"/>
                  <a:gd name="T110" fmla="*/ 3 w 278"/>
                  <a:gd name="T111" fmla="*/ 17 h 296"/>
                  <a:gd name="T112" fmla="*/ 8 w 278"/>
                  <a:gd name="T113" fmla="*/ 31 h 296"/>
                  <a:gd name="T114" fmla="*/ 14 w 278"/>
                  <a:gd name="T115" fmla="*/ 46 h 296"/>
                  <a:gd name="T116" fmla="*/ 15 w 278"/>
                  <a:gd name="T117" fmla="*/ 49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8" h="296">
                    <a:moveTo>
                      <a:pt x="16" y="50"/>
                    </a:moveTo>
                    <a:lnTo>
                      <a:pt x="18" y="50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19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1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2" y="54"/>
                    </a:lnTo>
                    <a:lnTo>
                      <a:pt x="23" y="55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60"/>
                    </a:lnTo>
                    <a:lnTo>
                      <a:pt x="22" y="60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0" y="65"/>
                    </a:lnTo>
                    <a:lnTo>
                      <a:pt x="22" y="66"/>
                    </a:lnTo>
                    <a:lnTo>
                      <a:pt x="23" y="66"/>
                    </a:lnTo>
                    <a:lnTo>
                      <a:pt x="25" y="68"/>
                    </a:lnTo>
                    <a:lnTo>
                      <a:pt x="26" y="69"/>
                    </a:lnTo>
                    <a:lnTo>
                      <a:pt x="27" y="71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3"/>
                    </a:lnTo>
                    <a:lnTo>
                      <a:pt x="31" y="75"/>
                    </a:lnTo>
                    <a:lnTo>
                      <a:pt x="33" y="76"/>
                    </a:lnTo>
                    <a:lnTo>
                      <a:pt x="36" y="79"/>
                    </a:lnTo>
                    <a:lnTo>
                      <a:pt x="37" y="82"/>
                    </a:lnTo>
                    <a:lnTo>
                      <a:pt x="40" y="84"/>
                    </a:lnTo>
                    <a:lnTo>
                      <a:pt x="41" y="88"/>
                    </a:lnTo>
                    <a:lnTo>
                      <a:pt x="41" y="91"/>
                    </a:lnTo>
                    <a:lnTo>
                      <a:pt x="40" y="93"/>
                    </a:lnTo>
                    <a:lnTo>
                      <a:pt x="40" y="95"/>
                    </a:lnTo>
                    <a:lnTo>
                      <a:pt x="37" y="99"/>
                    </a:lnTo>
                    <a:lnTo>
                      <a:pt x="36" y="104"/>
                    </a:lnTo>
                    <a:lnTo>
                      <a:pt x="34" y="109"/>
                    </a:lnTo>
                    <a:lnTo>
                      <a:pt x="33" y="115"/>
                    </a:lnTo>
                    <a:lnTo>
                      <a:pt x="33" y="119"/>
                    </a:lnTo>
                    <a:lnTo>
                      <a:pt x="33" y="121"/>
                    </a:lnTo>
                    <a:lnTo>
                      <a:pt x="34" y="123"/>
                    </a:lnTo>
                    <a:lnTo>
                      <a:pt x="34" y="126"/>
                    </a:lnTo>
                    <a:lnTo>
                      <a:pt x="37" y="130"/>
                    </a:lnTo>
                    <a:lnTo>
                      <a:pt x="38" y="134"/>
                    </a:lnTo>
                    <a:lnTo>
                      <a:pt x="41" y="139"/>
                    </a:lnTo>
                    <a:lnTo>
                      <a:pt x="44" y="143"/>
                    </a:lnTo>
                    <a:lnTo>
                      <a:pt x="48" y="148"/>
                    </a:lnTo>
                    <a:lnTo>
                      <a:pt x="51" y="149"/>
                    </a:lnTo>
                    <a:lnTo>
                      <a:pt x="51" y="149"/>
                    </a:lnTo>
                    <a:lnTo>
                      <a:pt x="51" y="150"/>
                    </a:lnTo>
                    <a:lnTo>
                      <a:pt x="51" y="152"/>
                    </a:lnTo>
                    <a:lnTo>
                      <a:pt x="51" y="153"/>
                    </a:lnTo>
                    <a:lnTo>
                      <a:pt x="51" y="154"/>
                    </a:lnTo>
                    <a:lnTo>
                      <a:pt x="52" y="156"/>
                    </a:lnTo>
                    <a:lnTo>
                      <a:pt x="52" y="159"/>
                    </a:lnTo>
                    <a:lnTo>
                      <a:pt x="52" y="160"/>
                    </a:lnTo>
                    <a:lnTo>
                      <a:pt x="52" y="160"/>
                    </a:lnTo>
                    <a:lnTo>
                      <a:pt x="52" y="161"/>
                    </a:lnTo>
                    <a:lnTo>
                      <a:pt x="53" y="163"/>
                    </a:lnTo>
                    <a:lnTo>
                      <a:pt x="55" y="164"/>
                    </a:lnTo>
                    <a:lnTo>
                      <a:pt x="56" y="165"/>
                    </a:lnTo>
                    <a:lnTo>
                      <a:pt x="58" y="167"/>
                    </a:lnTo>
                    <a:lnTo>
                      <a:pt x="59" y="168"/>
                    </a:lnTo>
                    <a:lnTo>
                      <a:pt x="60" y="170"/>
                    </a:lnTo>
                    <a:lnTo>
                      <a:pt x="60" y="170"/>
                    </a:lnTo>
                    <a:lnTo>
                      <a:pt x="60" y="171"/>
                    </a:lnTo>
                    <a:lnTo>
                      <a:pt x="60" y="174"/>
                    </a:lnTo>
                    <a:lnTo>
                      <a:pt x="62" y="175"/>
                    </a:lnTo>
                    <a:lnTo>
                      <a:pt x="62" y="178"/>
                    </a:lnTo>
                    <a:lnTo>
                      <a:pt x="62" y="179"/>
                    </a:lnTo>
                    <a:lnTo>
                      <a:pt x="62" y="182"/>
                    </a:lnTo>
                    <a:lnTo>
                      <a:pt x="62" y="182"/>
                    </a:lnTo>
                    <a:lnTo>
                      <a:pt x="60" y="193"/>
                    </a:lnTo>
                    <a:lnTo>
                      <a:pt x="78" y="194"/>
                    </a:lnTo>
                    <a:lnTo>
                      <a:pt x="93" y="193"/>
                    </a:lnTo>
                    <a:lnTo>
                      <a:pt x="93" y="193"/>
                    </a:lnTo>
                    <a:lnTo>
                      <a:pt x="93" y="194"/>
                    </a:lnTo>
                    <a:lnTo>
                      <a:pt x="95" y="196"/>
                    </a:lnTo>
                    <a:lnTo>
                      <a:pt x="97" y="198"/>
                    </a:lnTo>
                    <a:lnTo>
                      <a:pt x="100" y="203"/>
                    </a:lnTo>
                    <a:lnTo>
                      <a:pt x="103" y="207"/>
                    </a:lnTo>
                    <a:lnTo>
                      <a:pt x="107" y="211"/>
                    </a:lnTo>
                    <a:lnTo>
                      <a:pt x="113" y="216"/>
                    </a:lnTo>
                    <a:lnTo>
                      <a:pt x="135" y="241"/>
                    </a:lnTo>
                    <a:lnTo>
                      <a:pt x="136" y="242"/>
                    </a:lnTo>
                    <a:lnTo>
                      <a:pt x="139" y="242"/>
                    </a:lnTo>
                    <a:lnTo>
                      <a:pt x="141" y="244"/>
                    </a:lnTo>
                    <a:lnTo>
                      <a:pt x="146" y="245"/>
                    </a:lnTo>
                    <a:lnTo>
                      <a:pt x="150" y="246"/>
                    </a:lnTo>
                    <a:lnTo>
                      <a:pt x="155" y="248"/>
                    </a:lnTo>
                    <a:lnTo>
                      <a:pt x="159" y="249"/>
                    </a:lnTo>
                    <a:lnTo>
                      <a:pt x="162" y="249"/>
                    </a:lnTo>
                    <a:lnTo>
                      <a:pt x="166" y="249"/>
                    </a:lnTo>
                    <a:lnTo>
                      <a:pt x="169" y="249"/>
                    </a:lnTo>
                    <a:lnTo>
                      <a:pt x="172" y="249"/>
                    </a:lnTo>
                    <a:lnTo>
                      <a:pt x="176" y="249"/>
                    </a:lnTo>
                    <a:lnTo>
                      <a:pt x="179" y="249"/>
                    </a:lnTo>
                    <a:lnTo>
                      <a:pt x="180" y="249"/>
                    </a:lnTo>
                    <a:lnTo>
                      <a:pt x="181" y="249"/>
                    </a:lnTo>
                    <a:lnTo>
                      <a:pt x="181" y="249"/>
                    </a:lnTo>
                    <a:lnTo>
                      <a:pt x="190" y="245"/>
                    </a:lnTo>
                    <a:lnTo>
                      <a:pt x="198" y="255"/>
                    </a:lnTo>
                    <a:lnTo>
                      <a:pt x="201" y="268"/>
                    </a:lnTo>
                    <a:lnTo>
                      <a:pt x="209" y="278"/>
                    </a:lnTo>
                    <a:lnTo>
                      <a:pt x="210" y="277"/>
                    </a:lnTo>
                    <a:lnTo>
                      <a:pt x="213" y="275"/>
                    </a:lnTo>
                    <a:lnTo>
                      <a:pt x="219" y="274"/>
                    </a:lnTo>
                    <a:lnTo>
                      <a:pt x="223" y="273"/>
                    </a:lnTo>
                    <a:lnTo>
                      <a:pt x="228" y="273"/>
                    </a:lnTo>
                    <a:lnTo>
                      <a:pt x="234" y="274"/>
                    </a:lnTo>
                    <a:lnTo>
                      <a:pt x="235" y="275"/>
                    </a:lnTo>
                    <a:lnTo>
                      <a:pt x="236" y="278"/>
                    </a:lnTo>
                    <a:lnTo>
                      <a:pt x="238" y="282"/>
                    </a:lnTo>
                    <a:lnTo>
                      <a:pt x="239" y="286"/>
                    </a:lnTo>
                    <a:lnTo>
                      <a:pt x="247" y="296"/>
                    </a:lnTo>
                    <a:lnTo>
                      <a:pt x="267" y="286"/>
                    </a:lnTo>
                    <a:lnTo>
                      <a:pt x="267" y="285"/>
                    </a:lnTo>
                    <a:lnTo>
                      <a:pt x="265" y="284"/>
                    </a:lnTo>
                    <a:lnTo>
                      <a:pt x="265" y="281"/>
                    </a:lnTo>
                    <a:lnTo>
                      <a:pt x="265" y="278"/>
                    </a:lnTo>
                    <a:lnTo>
                      <a:pt x="265" y="274"/>
                    </a:lnTo>
                    <a:lnTo>
                      <a:pt x="264" y="271"/>
                    </a:lnTo>
                    <a:lnTo>
                      <a:pt x="264" y="268"/>
                    </a:lnTo>
                    <a:lnTo>
                      <a:pt x="264" y="267"/>
                    </a:lnTo>
                    <a:lnTo>
                      <a:pt x="264" y="266"/>
                    </a:lnTo>
                    <a:lnTo>
                      <a:pt x="265" y="263"/>
                    </a:lnTo>
                    <a:lnTo>
                      <a:pt x="265" y="260"/>
                    </a:lnTo>
                    <a:lnTo>
                      <a:pt x="267" y="257"/>
                    </a:lnTo>
                    <a:lnTo>
                      <a:pt x="268" y="255"/>
                    </a:lnTo>
                    <a:lnTo>
                      <a:pt x="271" y="252"/>
                    </a:lnTo>
                    <a:lnTo>
                      <a:pt x="274" y="249"/>
                    </a:lnTo>
                    <a:lnTo>
                      <a:pt x="278" y="248"/>
                    </a:lnTo>
                    <a:lnTo>
                      <a:pt x="278" y="246"/>
                    </a:lnTo>
                    <a:lnTo>
                      <a:pt x="278" y="245"/>
                    </a:lnTo>
                    <a:lnTo>
                      <a:pt x="278" y="242"/>
                    </a:lnTo>
                    <a:lnTo>
                      <a:pt x="278" y="240"/>
                    </a:lnTo>
                    <a:lnTo>
                      <a:pt x="278" y="237"/>
                    </a:lnTo>
                    <a:lnTo>
                      <a:pt x="276" y="234"/>
                    </a:lnTo>
                    <a:lnTo>
                      <a:pt x="276" y="233"/>
                    </a:lnTo>
                    <a:lnTo>
                      <a:pt x="274" y="231"/>
                    </a:lnTo>
                    <a:lnTo>
                      <a:pt x="258" y="205"/>
                    </a:lnTo>
                    <a:lnTo>
                      <a:pt x="246" y="181"/>
                    </a:lnTo>
                    <a:lnTo>
                      <a:pt x="246" y="143"/>
                    </a:lnTo>
                    <a:lnTo>
                      <a:pt x="257" y="124"/>
                    </a:lnTo>
                    <a:lnTo>
                      <a:pt x="258" y="95"/>
                    </a:lnTo>
                    <a:lnTo>
                      <a:pt x="258" y="94"/>
                    </a:lnTo>
                    <a:lnTo>
                      <a:pt x="257" y="90"/>
                    </a:lnTo>
                    <a:lnTo>
                      <a:pt x="254" y="84"/>
                    </a:lnTo>
                    <a:lnTo>
                      <a:pt x="250" y="79"/>
                    </a:lnTo>
                    <a:lnTo>
                      <a:pt x="245" y="72"/>
                    </a:lnTo>
                    <a:lnTo>
                      <a:pt x="238" y="66"/>
                    </a:lnTo>
                    <a:lnTo>
                      <a:pt x="230" y="64"/>
                    </a:lnTo>
                    <a:lnTo>
                      <a:pt x="219" y="61"/>
                    </a:lnTo>
                    <a:lnTo>
                      <a:pt x="219" y="61"/>
                    </a:lnTo>
                    <a:lnTo>
                      <a:pt x="217" y="61"/>
                    </a:lnTo>
                    <a:lnTo>
                      <a:pt x="214" y="61"/>
                    </a:lnTo>
                    <a:lnTo>
                      <a:pt x="213" y="60"/>
                    </a:lnTo>
                    <a:lnTo>
                      <a:pt x="210" y="58"/>
                    </a:lnTo>
                    <a:lnTo>
                      <a:pt x="207" y="58"/>
                    </a:lnTo>
                    <a:lnTo>
                      <a:pt x="205" y="57"/>
                    </a:lnTo>
                    <a:lnTo>
                      <a:pt x="202" y="55"/>
                    </a:lnTo>
                    <a:lnTo>
                      <a:pt x="199" y="54"/>
                    </a:lnTo>
                    <a:lnTo>
                      <a:pt x="195" y="53"/>
                    </a:lnTo>
                    <a:lnTo>
                      <a:pt x="190" y="53"/>
                    </a:lnTo>
                    <a:lnTo>
                      <a:pt x="183" y="53"/>
                    </a:lnTo>
                    <a:lnTo>
                      <a:pt x="174" y="53"/>
                    </a:lnTo>
                    <a:lnTo>
                      <a:pt x="168" y="55"/>
                    </a:lnTo>
                    <a:lnTo>
                      <a:pt x="159" y="60"/>
                    </a:lnTo>
                    <a:lnTo>
                      <a:pt x="151" y="65"/>
                    </a:lnTo>
                    <a:lnTo>
                      <a:pt x="151" y="65"/>
                    </a:lnTo>
                    <a:lnTo>
                      <a:pt x="151" y="65"/>
                    </a:lnTo>
                    <a:lnTo>
                      <a:pt x="150" y="66"/>
                    </a:lnTo>
                    <a:lnTo>
                      <a:pt x="147" y="68"/>
                    </a:lnTo>
                    <a:lnTo>
                      <a:pt x="144" y="69"/>
                    </a:lnTo>
                    <a:lnTo>
                      <a:pt x="139" y="69"/>
                    </a:lnTo>
                    <a:lnTo>
                      <a:pt x="132" y="71"/>
                    </a:lnTo>
                    <a:lnTo>
                      <a:pt x="124" y="71"/>
                    </a:lnTo>
                    <a:lnTo>
                      <a:pt x="122" y="71"/>
                    </a:lnTo>
                    <a:lnTo>
                      <a:pt x="122" y="71"/>
                    </a:lnTo>
                    <a:lnTo>
                      <a:pt x="121" y="71"/>
                    </a:lnTo>
                    <a:lnTo>
                      <a:pt x="119" y="71"/>
                    </a:lnTo>
                    <a:lnTo>
                      <a:pt x="119" y="71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7" y="72"/>
                    </a:lnTo>
                    <a:lnTo>
                      <a:pt x="114" y="71"/>
                    </a:lnTo>
                    <a:lnTo>
                      <a:pt x="108" y="68"/>
                    </a:lnTo>
                    <a:lnTo>
                      <a:pt x="103" y="64"/>
                    </a:lnTo>
                    <a:lnTo>
                      <a:pt x="96" y="60"/>
                    </a:lnTo>
                    <a:lnTo>
                      <a:pt x="92" y="53"/>
                    </a:lnTo>
                    <a:lnTo>
                      <a:pt x="88" y="43"/>
                    </a:lnTo>
                    <a:lnTo>
                      <a:pt x="86" y="32"/>
                    </a:lnTo>
                    <a:lnTo>
                      <a:pt x="75" y="14"/>
                    </a:lnTo>
                    <a:lnTo>
                      <a:pt x="74" y="14"/>
                    </a:lnTo>
                    <a:lnTo>
                      <a:pt x="73" y="13"/>
                    </a:lnTo>
                    <a:lnTo>
                      <a:pt x="71" y="11"/>
                    </a:lnTo>
                    <a:lnTo>
                      <a:pt x="70" y="10"/>
                    </a:lnTo>
                    <a:lnTo>
                      <a:pt x="67" y="7"/>
                    </a:lnTo>
                    <a:lnTo>
                      <a:pt x="66" y="6"/>
                    </a:lnTo>
                    <a:lnTo>
                      <a:pt x="64" y="3"/>
                    </a:lnTo>
                    <a:lnTo>
                      <a:pt x="63" y="0"/>
                    </a:lnTo>
                    <a:lnTo>
                      <a:pt x="45" y="20"/>
                    </a:lnTo>
                    <a:lnTo>
                      <a:pt x="45" y="20"/>
                    </a:lnTo>
                    <a:lnTo>
                      <a:pt x="44" y="20"/>
                    </a:lnTo>
                    <a:lnTo>
                      <a:pt x="41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18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4" y="21"/>
                    </a:lnTo>
                    <a:lnTo>
                      <a:pt x="5" y="24"/>
                    </a:lnTo>
                    <a:lnTo>
                      <a:pt x="8" y="27"/>
                    </a:lnTo>
                    <a:lnTo>
                      <a:pt x="8" y="31"/>
                    </a:lnTo>
                    <a:lnTo>
                      <a:pt x="9" y="3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9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6" y="5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3" name="Freeform 935"/>
              <p:cNvSpPr>
                <a:spLocks/>
              </p:cNvSpPr>
              <p:nvPr/>
            </p:nvSpPr>
            <p:spPr bwMode="auto">
              <a:xfrm>
                <a:off x="3383" y="2261"/>
                <a:ext cx="278" cy="296"/>
              </a:xfrm>
              <a:custGeom>
                <a:avLst/>
                <a:gdLst>
                  <a:gd name="T0" fmla="*/ 20 w 278"/>
                  <a:gd name="T1" fmla="*/ 50 h 296"/>
                  <a:gd name="T2" fmla="*/ 22 w 278"/>
                  <a:gd name="T3" fmla="*/ 54 h 296"/>
                  <a:gd name="T4" fmla="*/ 23 w 278"/>
                  <a:gd name="T5" fmla="*/ 60 h 296"/>
                  <a:gd name="T6" fmla="*/ 20 w 278"/>
                  <a:gd name="T7" fmla="*/ 62 h 296"/>
                  <a:gd name="T8" fmla="*/ 23 w 278"/>
                  <a:gd name="T9" fmla="*/ 66 h 296"/>
                  <a:gd name="T10" fmla="*/ 27 w 278"/>
                  <a:gd name="T11" fmla="*/ 72 h 296"/>
                  <a:gd name="T12" fmla="*/ 33 w 278"/>
                  <a:gd name="T13" fmla="*/ 76 h 296"/>
                  <a:gd name="T14" fmla="*/ 41 w 278"/>
                  <a:gd name="T15" fmla="*/ 88 h 296"/>
                  <a:gd name="T16" fmla="*/ 37 w 278"/>
                  <a:gd name="T17" fmla="*/ 99 h 296"/>
                  <a:gd name="T18" fmla="*/ 33 w 278"/>
                  <a:gd name="T19" fmla="*/ 119 h 296"/>
                  <a:gd name="T20" fmla="*/ 37 w 278"/>
                  <a:gd name="T21" fmla="*/ 130 h 296"/>
                  <a:gd name="T22" fmla="*/ 48 w 278"/>
                  <a:gd name="T23" fmla="*/ 148 h 296"/>
                  <a:gd name="T24" fmla="*/ 51 w 278"/>
                  <a:gd name="T25" fmla="*/ 153 h 296"/>
                  <a:gd name="T26" fmla="*/ 52 w 278"/>
                  <a:gd name="T27" fmla="*/ 160 h 296"/>
                  <a:gd name="T28" fmla="*/ 56 w 278"/>
                  <a:gd name="T29" fmla="*/ 165 h 296"/>
                  <a:gd name="T30" fmla="*/ 60 w 278"/>
                  <a:gd name="T31" fmla="*/ 171 h 296"/>
                  <a:gd name="T32" fmla="*/ 62 w 278"/>
                  <a:gd name="T33" fmla="*/ 179 h 296"/>
                  <a:gd name="T34" fmla="*/ 93 w 278"/>
                  <a:gd name="T35" fmla="*/ 193 h 296"/>
                  <a:gd name="T36" fmla="*/ 100 w 278"/>
                  <a:gd name="T37" fmla="*/ 203 h 296"/>
                  <a:gd name="T38" fmla="*/ 135 w 278"/>
                  <a:gd name="T39" fmla="*/ 241 h 296"/>
                  <a:gd name="T40" fmla="*/ 146 w 278"/>
                  <a:gd name="T41" fmla="*/ 245 h 296"/>
                  <a:gd name="T42" fmla="*/ 162 w 278"/>
                  <a:gd name="T43" fmla="*/ 249 h 296"/>
                  <a:gd name="T44" fmla="*/ 176 w 278"/>
                  <a:gd name="T45" fmla="*/ 249 h 296"/>
                  <a:gd name="T46" fmla="*/ 190 w 278"/>
                  <a:gd name="T47" fmla="*/ 245 h 296"/>
                  <a:gd name="T48" fmla="*/ 210 w 278"/>
                  <a:gd name="T49" fmla="*/ 277 h 296"/>
                  <a:gd name="T50" fmla="*/ 228 w 278"/>
                  <a:gd name="T51" fmla="*/ 273 h 296"/>
                  <a:gd name="T52" fmla="*/ 238 w 278"/>
                  <a:gd name="T53" fmla="*/ 282 h 296"/>
                  <a:gd name="T54" fmla="*/ 267 w 278"/>
                  <a:gd name="T55" fmla="*/ 285 h 296"/>
                  <a:gd name="T56" fmla="*/ 265 w 278"/>
                  <a:gd name="T57" fmla="*/ 274 h 296"/>
                  <a:gd name="T58" fmla="*/ 264 w 278"/>
                  <a:gd name="T59" fmla="*/ 266 h 296"/>
                  <a:gd name="T60" fmla="*/ 268 w 278"/>
                  <a:gd name="T61" fmla="*/ 255 h 296"/>
                  <a:gd name="T62" fmla="*/ 278 w 278"/>
                  <a:gd name="T63" fmla="*/ 246 h 296"/>
                  <a:gd name="T64" fmla="*/ 278 w 278"/>
                  <a:gd name="T65" fmla="*/ 237 h 296"/>
                  <a:gd name="T66" fmla="*/ 258 w 278"/>
                  <a:gd name="T67" fmla="*/ 205 h 296"/>
                  <a:gd name="T68" fmla="*/ 258 w 278"/>
                  <a:gd name="T69" fmla="*/ 95 h 296"/>
                  <a:gd name="T70" fmla="*/ 250 w 278"/>
                  <a:gd name="T71" fmla="*/ 79 h 296"/>
                  <a:gd name="T72" fmla="*/ 219 w 278"/>
                  <a:gd name="T73" fmla="*/ 61 h 296"/>
                  <a:gd name="T74" fmla="*/ 210 w 278"/>
                  <a:gd name="T75" fmla="*/ 58 h 296"/>
                  <a:gd name="T76" fmla="*/ 199 w 278"/>
                  <a:gd name="T77" fmla="*/ 54 h 296"/>
                  <a:gd name="T78" fmla="*/ 174 w 278"/>
                  <a:gd name="T79" fmla="*/ 53 h 296"/>
                  <a:gd name="T80" fmla="*/ 150 w 278"/>
                  <a:gd name="T81" fmla="*/ 66 h 296"/>
                  <a:gd name="T82" fmla="*/ 132 w 278"/>
                  <a:gd name="T83" fmla="*/ 71 h 296"/>
                  <a:gd name="T84" fmla="*/ 119 w 278"/>
                  <a:gd name="T85" fmla="*/ 71 h 296"/>
                  <a:gd name="T86" fmla="*/ 108 w 278"/>
                  <a:gd name="T87" fmla="*/ 68 h 296"/>
                  <a:gd name="T88" fmla="*/ 88 w 278"/>
                  <a:gd name="T89" fmla="*/ 43 h 296"/>
                  <a:gd name="T90" fmla="*/ 73 w 278"/>
                  <a:gd name="T91" fmla="*/ 13 h 296"/>
                  <a:gd name="T92" fmla="*/ 66 w 278"/>
                  <a:gd name="T93" fmla="*/ 6 h 296"/>
                  <a:gd name="T94" fmla="*/ 44 w 278"/>
                  <a:gd name="T95" fmla="*/ 20 h 296"/>
                  <a:gd name="T96" fmla="*/ 31 w 278"/>
                  <a:gd name="T97" fmla="*/ 21 h 296"/>
                  <a:gd name="T98" fmla="*/ 1 w 278"/>
                  <a:gd name="T99" fmla="*/ 16 h 296"/>
                  <a:gd name="T100" fmla="*/ 8 w 278"/>
                  <a:gd name="T101" fmla="*/ 27 h 296"/>
                  <a:gd name="T102" fmla="*/ 15 w 278"/>
                  <a:gd name="T103" fmla="*/ 47 h 296"/>
                  <a:gd name="T104" fmla="*/ 16 w 278"/>
                  <a:gd name="T105" fmla="*/ 5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78" h="296">
                    <a:moveTo>
                      <a:pt x="16" y="50"/>
                    </a:moveTo>
                    <a:lnTo>
                      <a:pt x="18" y="50"/>
                    </a:lnTo>
                    <a:lnTo>
                      <a:pt x="19" y="50"/>
                    </a:lnTo>
                    <a:lnTo>
                      <a:pt x="20" y="50"/>
                    </a:lnTo>
                    <a:lnTo>
                      <a:pt x="20" y="51"/>
                    </a:lnTo>
                    <a:lnTo>
                      <a:pt x="22" y="51"/>
                    </a:lnTo>
                    <a:lnTo>
                      <a:pt x="22" y="53"/>
                    </a:lnTo>
                    <a:lnTo>
                      <a:pt x="22" y="54"/>
                    </a:lnTo>
                    <a:lnTo>
                      <a:pt x="23" y="55"/>
                    </a:lnTo>
                    <a:lnTo>
                      <a:pt x="23" y="57"/>
                    </a:lnTo>
                    <a:lnTo>
                      <a:pt x="23" y="58"/>
                    </a:lnTo>
                    <a:lnTo>
                      <a:pt x="23" y="60"/>
                    </a:lnTo>
                    <a:lnTo>
                      <a:pt x="22" y="60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20" y="62"/>
                    </a:lnTo>
                    <a:lnTo>
                      <a:pt x="20" y="64"/>
                    </a:lnTo>
                    <a:lnTo>
                      <a:pt x="20" y="65"/>
                    </a:lnTo>
                    <a:lnTo>
                      <a:pt x="22" y="66"/>
                    </a:lnTo>
                    <a:lnTo>
                      <a:pt x="23" y="66"/>
                    </a:lnTo>
                    <a:lnTo>
                      <a:pt x="25" y="68"/>
                    </a:lnTo>
                    <a:lnTo>
                      <a:pt x="26" y="69"/>
                    </a:lnTo>
                    <a:lnTo>
                      <a:pt x="27" y="71"/>
                    </a:lnTo>
                    <a:lnTo>
                      <a:pt x="27" y="72"/>
                    </a:lnTo>
                    <a:lnTo>
                      <a:pt x="29" y="72"/>
                    </a:lnTo>
                    <a:lnTo>
                      <a:pt x="29" y="73"/>
                    </a:lnTo>
                    <a:lnTo>
                      <a:pt x="31" y="75"/>
                    </a:lnTo>
                    <a:lnTo>
                      <a:pt x="33" y="76"/>
                    </a:lnTo>
                    <a:lnTo>
                      <a:pt x="36" y="79"/>
                    </a:lnTo>
                    <a:lnTo>
                      <a:pt x="37" y="82"/>
                    </a:lnTo>
                    <a:lnTo>
                      <a:pt x="40" y="84"/>
                    </a:lnTo>
                    <a:lnTo>
                      <a:pt x="41" y="88"/>
                    </a:lnTo>
                    <a:lnTo>
                      <a:pt x="41" y="91"/>
                    </a:lnTo>
                    <a:lnTo>
                      <a:pt x="40" y="93"/>
                    </a:lnTo>
                    <a:lnTo>
                      <a:pt x="40" y="95"/>
                    </a:lnTo>
                    <a:lnTo>
                      <a:pt x="37" y="99"/>
                    </a:lnTo>
                    <a:lnTo>
                      <a:pt x="36" y="104"/>
                    </a:lnTo>
                    <a:lnTo>
                      <a:pt x="34" y="109"/>
                    </a:lnTo>
                    <a:lnTo>
                      <a:pt x="33" y="115"/>
                    </a:lnTo>
                    <a:lnTo>
                      <a:pt x="33" y="119"/>
                    </a:lnTo>
                    <a:lnTo>
                      <a:pt x="33" y="121"/>
                    </a:lnTo>
                    <a:lnTo>
                      <a:pt x="34" y="123"/>
                    </a:lnTo>
                    <a:lnTo>
                      <a:pt x="34" y="126"/>
                    </a:lnTo>
                    <a:lnTo>
                      <a:pt x="37" y="130"/>
                    </a:lnTo>
                    <a:lnTo>
                      <a:pt x="38" y="134"/>
                    </a:lnTo>
                    <a:lnTo>
                      <a:pt x="41" y="139"/>
                    </a:lnTo>
                    <a:lnTo>
                      <a:pt x="44" y="143"/>
                    </a:lnTo>
                    <a:lnTo>
                      <a:pt x="48" y="148"/>
                    </a:lnTo>
                    <a:lnTo>
                      <a:pt x="51" y="149"/>
                    </a:lnTo>
                    <a:lnTo>
                      <a:pt x="51" y="150"/>
                    </a:lnTo>
                    <a:lnTo>
                      <a:pt x="51" y="152"/>
                    </a:lnTo>
                    <a:lnTo>
                      <a:pt x="51" y="153"/>
                    </a:lnTo>
                    <a:lnTo>
                      <a:pt x="51" y="154"/>
                    </a:lnTo>
                    <a:lnTo>
                      <a:pt x="52" y="156"/>
                    </a:lnTo>
                    <a:lnTo>
                      <a:pt x="52" y="159"/>
                    </a:lnTo>
                    <a:lnTo>
                      <a:pt x="52" y="160"/>
                    </a:lnTo>
                    <a:lnTo>
                      <a:pt x="52" y="161"/>
                    </a:lnTo>
                    <a:lnTo>
                      <a:pt x="53" y="163"/>
                    </a:lnTo>
                    <a:lnTo>
                      <a:pt x="55" y="164"/>
                    </a:lnTo>
                    <a:lnTo>
                      <a:pt x="56" y="165"/>
                    </a:lnTo>
                    <a:lnTo>
                      <a:pt x="58" y="167"/>
                    </a:lnTo>
                    <a:lnTo>
                      <a:pt x="59" y="168"/>
                    </a:lnTo>
                    <a:lnTo>
                      <a:pt x="60" y="170"/>
                    </a:lnTo>
                    <a:lnTo>
                      <a:pt x="60" y="171"/>
                    </a:lnTo>
                    <a:lnTo>
                      <a:pt x="60" y="174"/>
                    </a:lnTo>
                    <a:lnTo>
                      <a:pt x="62" y="175"/>
                    </a:lnTo>
                    <a:lnTo>
                      <a:pt x="62" y="178"/>
                    </a:lnTo>
                    <a:lnTo>
                      <a:pt x="62" y="179"/>
                    </a:lnTo>
                    <a:lnTo>
                      <a:pt x="62" y="182"/>
                    </a:lnTo>
                    <a:lnTo>
                      <a:pt x="60" y="193"/>
                    </a:lnTo>
                    <a:lnTo>
                      <a:pt x="78" y="194"/>
                    </a:lnTo>
                    <a:lnTo>
                      <a:pt x="93" y="193"/>
                    </a:lnTo>
                    <a:lnTo>
                      <a:pt x="93" y="194"/>
                    </a:lnTo>
                    <a:lnTo>
                      <a:pt x="95" y="196"/>
                    </a:lnTo>
                    <a:lnTo>
                      <a:pt x="97" y="198"/>
                    </a:lnTo>
                    <a:lnTo>
                      <a:pt x="100" y="203"/>
                    </a:lnTo>
                    <a:lnTo>
                      <a:pt x="103" y="207"/>
                    </a:lnTo>
                    <a:lnTo>
                      <a:pt x="107" y="211"/>
                    </a:lnTo>
                    <a:lnTo>
                      <a:pt x="113" y="216"/>
                    </a:lnTo>
                    <a:lnTo>
                      <a:pt x="135" y="241"/>
                    </a:lnTo>
                    <a:lnTo>
                      <a:pt x="136" y="242"/>
                    </a:lnTo>
                    <a:lnTo>
                      <a:pt x="139" y="242"/>
                    </a:lnTo>
                    <a:lnTo>
                      <a:pt x="141" y="244"/>
                    </a:lnTo>
                    <a:lnTo>
                      <a:pt x="146" y="245"/>
                    </a:lnTo>
                    <a:lnTo>
                      <a:pt x="150" y="246"/>
                    </a:lnTo>
                    <a:lnTo>
                      <a:pt x="155" y="248"/>
                    </a:lnTo>
                    <a:lnTo>
                      <a:pt x="159" y="249"/>
                    </a:lnTo>
                    <a:lnTo>
                      <a:pt x="162" y="249"/>
                    </a:lnTo>
                    <a:lnTo>
                      <a:pt x="166" y="249"/>
                    </a:lnTo>
                    <a:lnTo>
                      <a:pt x="169" y="249"/>
                    </a:lnTo>
                    <a:lnTo>
                      <a:pt x="172" y="249"/>
                    </a:lnTo>
                    <a:lnTo>
                      <a:pt x="176" y="249"/>
                    </a:lnTo>
                    <a:lnTo>
                      <a:pt x="179" y="249"/>
                    </a:lnTo>
                    <a:lnTo>
                      <a:pt x="180" y="249"/>
                    </a:lnTo>
                    <a:lnTo>
                      <a:pt x="181" y="249"/>
                    </a:lnTo>
                    <a:lnTo>
                      <a:pt x="190" y="245"/>
                    </a:lnTo>
                    <a:lnTo>
                      <a:pt x="198" y="255"/>
                    </a:lnTo>
                    <a:lnTo>
                      <a:pt x="201" y="268"/>
                    </a:lnTo>
                    <a:lnTo>
                      <a:pt x="209" y="278"/>
                    </a:lnTo>
                    <a:lnTo>
                      <a:pt x="210" y="277"/>
                    </a:lnTo>
                    <a:lnTo>
                      <a:pt x="213" y="275"/>
                    </a:lnTo>
                    <a:lnTo>
                      <a:pt x="219" y="274"/>
                    </a:lnTo>
                    <a:lnTo>
                      <a:pt x="223" y="273"/>
                    </a:lnTo>
                    <a:lnTo>
                      <a:pt x="228" y="273"/>
                    </a:lnTo>
                    <a:lnTo>
                      <a:pt x="234" y="274"/>
                    </a:lnTo>
                    <a:lnTo>
                      <a:pt x="235" y="275"/>
                    </a:lnTo>
                    <a:lnTo>
                      <a:pt x="236" y="278"/>
                    </a:lnTo>
                    <a:lnTo>
                      <a:pt x="238" y="282"/>
                    </a:lnTo>
                    <a:lnTo>
                      <a:pt x="239" y="286"/>
                    </a:lnTo>
                    <a:lnTo>
                      <a:pt x="247" y="296"/>
                    </a:lnTo>
                    <a:lnTo>
                      <a:pt x="267" y="286"/>
                    </a:lnTo>
                    <a:lnTo>
                      <a:pt x="267" y="285"/>
                    </a:lnTo>
                    <a:lnTo>
                      <a:pt x="265" y="284"/>
                    </a:lnTo>
                    <a:lnTo>
                      <a:pt x="265" y="281"/>
                    </a:lnTo>
                    <a:lnTo>
                      <a:pt x="265" y="278"/>
                    </a:lnTo>
                    <a:lnTo>
                      <a:pt x="265" y="274"/>
                    </a:lnTo>
                    <a:lnTo>
                      <a:pt x="264" y="271"/>
                    </a:lnTo>
                    <a:lnTo>
                      <a:pt x="264" y="268"/>
                    </a:lnTo>
                    <a:lnTo>
                      <a:pt x="264" y="267"/>
                    </a:lnTo>
                    <a:lnTo>
                      <a:pt x="264" y="266"/>
                    </a:lnTo>
                    <a:lnTo>
                      <a:pt x="265" y="263"/>
                    </a:lnTo>
                    <a:lnTo>
                      <a:pt x="265" y="260"/>
                    </a:lnTo>
                    <a:lnTo>
                      <a:pt x="267" y="257"/>
                    </a:lnTo>
                    <a:lnTo>
                      <a:pt x="268" y="255"/>
                    </a:lnTo>
                    <a:lnTo>
                      <a:pt x="271" y="252"/>
                    </a:lnTo>
                    <a:lnTo>
                      <a:pt x="274" y="249"/>
                    </a:lnTo>
                    <a:lnTo>
                      <a:pt x="278" y="248"/>
                    </a:lnTo>
                    <a:lnTo>
                      <a:pt x="278" y="246"/>
                    </a:lnTo>
                    <a:lnTo>
                      <a:pt x="278" y="245"/>
                    </a:lnTo>
                    <a:lnTo>
                      <a:pt x="278" y="242"/>
                    </a:lnTo>
                    <a:lnTo>
                      <a:pt x="278" y="240"/>
                    </a:lnTo>
                    <a:lnTo>
                      <a:pt x="278" y="237"/>
                    </a:lnTo>
                    <a:lnTo>
                      <a:pt x="276" y="234"/>
                    </a:lnTo>
                    <a:lnTo>
                      <a:pt x="276" y="233"/>
                    </a:lnTo>
                    <a:lnTo>
                      <a:pt x="274" y="231"/>
                    </a:lnTo>
                    <a:lnTo>
                      <a:pt x="258" y="205"/>
                    </a:lnTo>
                    <a:lnTo>
                      <a:pt x="246" y="181"/>
                    </a:lnTo>
                    <a:lnTo>
                      <a:pt x="246" y="143"/>
                    </a:lnTo>
                    <a:lnTo>
                      <a:pt x="257" y="124"/>
                    </a:lnTo>
                    <a:lnTo>
                      <a:pt x="258" y="95"/>
                    </a:lnTo>
                    <a:lnTo>
                      <a:pt x="258" y="94"/>
                    </a:lnTo>
                    <a:lnTo>
                      <a:pt x="257" y="90"/>
                    </a:lnTo>
                    <a:lnTo>
                      <a:pt x="254" y="84"/>
                    </a:lnTo>
                    <a:lnTo>
                      <a:pt x="250" y="79"/>
                    </a:lnTo>
                    <a:lnTo>
                      <a:pt x="245" y="72"/>
                    </a:lnTo>
                    <a:lnTo>
                      <a:pt x="238" y="66"/>
                    </a:lnTo>
                    <a:lnTo>
                      <a:pt x="230" y="64"/>
                    </a:lnTo>
                    <a:lnTo>
                      <a:pt x="219" y="61"/>
                    </a:lnTo>
                    <a:lnTo>
                      <a:pt x="217" y="61"/>
                    </a:lnTo>
                    <a:lnTo>
                      <a:pt x="214" y="61"/>
                    </a:lnTo>
                    <a:lnTo>
                      <a:pt x="213" y="60"/>
                    </a:lnTo>
                    <a:lnTo>
                      <a:pt x="210" y="58"/>
                    </a:lnTo>
                    <a:lnTo>
                      <a:pt x="207" y="58"/>
                    </a:lnTo>
                    <a:lnTo>
                      <a:pt x="205" y="57"/>
                    </a:lnTo>
                    <a:lnTo>
                      <a:pt x="202" y="55"/>
                    </a:lnTo>
                    <a:lnTo>
                      <a:pt x="199" y="54"/>
                    </a:lnTo>
                    <a:lnTo>
                      <a:pt x="195" y="53"/>
                    </a:lnTo>
                    <a:lnTo>
                      <a:pt x="190" y="53"/>
                    </a:lnTo>
                    <a:lnTo>
                      <a:pt x="183" y="53"/>
                    </a:lnTo>
                    <a:lnTo>
                      <a:pt x="174" y="53"/>
                    </a:lnTo>
                    <a:lnTo>
                      <a:pt x="168" y="55"/>
                    </a:lnTo>
                    <a:lnTo>
                      <a:pt x="159" y="60"/>
                    </a:lnTo>
                    <a:lnTo>
                      <a:pt x="151" y="65"/>
                    </a:lnTo>
                    <a:lnTo>
                      <a:pt x="150" y="66"/>
                    </a:lnTo>
                    <a:lnTo>
                      <a:pt x="147" y="68"/>
                    </a:lnTo>
                    <a:lnTo>
                      <a:pt x="144" y="69"/>
                    </a:lnTo>
                    <a:lnTo>
                      <a:pt x="139" y="69"/>
                    </a:lnTo>
                    <a:lnTo>
                      <a:pt x="132" y="71"/>
                    </a:lnTo>
                    <a:lnTo>
                      <a:pt x="124" y="71"/>
                    </a:lnTo>
                    <a:lnTo>
                      <a:pt x="122" y="71"/>
                    </a:lnTo>
                    <a:lnTo>
                      <a:pt x="121" y="71"/>
                    </a:lnTo>
                    <a:lnTo>
                      <a:pt x="119" y="71"/>
                    </a:lnTo>
                    <a:lnTo>
                      <a:pt x="118" y="72"/>
                    </a:lnTo>
                    <a:lnTo>
                      <a:pt x="117" y="72"/>
                    </a:lnTo>
                    <a:lnTo>
                      <a:pt x="114" y="71"/>
                    </a:lnTo>
                    <a:lnTo>
                      <a:pt x="108" y="68"/>
                    </a:lnTo>
                    <a:lnTo>
                      <a:pt x="103" y="64"/>
                    </a:lnTo>
                    <a:lnTo>
                      <a:pt x="96" y="60"/>
                    </a:lnTo>
                    <a:lnTo>
                      <a:pt x="92" y="53"/>
                    </a:lnTo>
                    <a:lnTo>
                      <a:pt x="88" y="43"/>
                    </a:lnTo>
                    <a:lnTo>
                      <a:pt x="86" y="32"/>
                    </a:lnTo>
                    <a:lnTo>
                      <a:pt x="75" y="14"/>
                    </a:lnTo>
                    <a:lnTo>
                      <a:pt x="74" y="14"/>
                    </a:lnTo>
                    <a:lnTo>
                      <a:pt x="73" y="13"/>
                    </a:lnTo>
                    <a:lnTo>
                      <a:pt x="71" y="11"/>
                    </a:lnTo>
                    <a:lnTo>
                      <a:pt x="70" y="10"/>
                    </a:lnTo>
                    <a:lnTo>
                      <a:pt x="67" y="7"/>
                    </a:lnTo>
                    <a:lnTo>
                      <a:pt x="66" y="6"/>
                    </a:lnTo>
                    <a:lnTo>
                      <a:pt x="64" y="3"/>
                    </a:lnTo>
                    <a:lnTo>
                      <a:pt x="63" y="0"/>
                    </a:lnTo>
                    <a:lnTo>
                      <a:pt x="45" y="20"/>
                    </a:lnTo>
                    <a:lnTo>
                      <a:pt x="44" y="20"/>
                    </a:lnTo>
                    <a:lnTo>
                      <a:pt x="41" y="21"/>
                    </a:lnTo>
                    <a:lnTo>
                      <a:pt x="38" y="21"/>
                    </a:lnTo>
                    <a:lnTo>
                      <a:pt x="36" y="21"/>
                    </a:lnTo>
                    <a:lnTo>
                      <a:pt x="31" y="21"/>
                    </a:lnTo>
                    <a:lnTo>
                      <a:pt x="29" y="20"/>
                    </a:lnTo>
                    <a:lnTo>
                      <a:pt x="26" y="18"/>
                    </a:lnTo>
                    <a:lnTo>
                      <a:pt x="0" y="13"/>
                    </a:lnTo>
                    <a:lnTo>
                      <a:pt x="1" y="16"/>
                    </a:lnTo>
                    <a:lnTo>
                      <a:pt x="3" y="17"/>
                    </a:lnTo>
                    <a:lnTo>
                      <a:pt x="4" y="21"/>
                    </a:lnTo>
                    <a:lnTo>
                      <a:pt x="5" y="24"/>
                    </a:lnTo>
                    <a:lnTo>
                      <a:pt x="8" y="27"/>
                    </a:lnTo>
                    <a:lnTo>
                      <a:pt x="8" y="31"/>
                    </a:lnTo>
                    <a:lnTo>
                      <a:pt x="9" y="32"/>
                    </a:lnTo>
                    <a:lnTo>
                      <a:pt x="14" y="46"/>
                    </a:lnTo>
                    <a:lnTo>
                      <a:pt x="15" y="47"/>
                    </a:lnTo>
                    <a:lnTo>
                      <a:pt x="15" y="49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6" y="5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4" name="Freeform 936"/>
              <p:cNvSpPr>
                <a:spLocks/>
              </p:cNvSpPr>
              <p:nvPr/>
            </p:nvSpPr>
            <p:spPr bwMode="auto">
              <a:xfrm>
                <a:off x="2335" y="2578"/>
                <a:ext cx="20" cy="34"/>
              </a:xfrm>
              <a:custGeom>
                <a:avLst/>
                <a:gdLst>
                  <a:gd name="T0" fmla="*/ 6 w 20"/>
                  <a:gd name="T1" fmla="*/ 33 h 34"/>
                  <a:gd name="T2" fmla="*/ 8 w 20"/>
                  <a:gd name="T3" fmla="*/ 31 h 34"/>
                  <a:gd name="T4" fmla="*/ 8 w 20"/>
                  <a:gd name="T5" fmla="*/ 30 h 34"/>
                  <a:gd name="T6" fmla="*/ 9 w 20"/>
                  <a:gd name="T7" fmla="*/ 30 h 34"/>
                  <a:gd name="T8" fmla="*/ 9 w 20"/>
                  <a:gd name="T9" fmla="*/ 28 h 34"/>
                  <a:gd name="T10" fmla="*/ 9 w 20"/>
                  <a:gd name="T11" fmla="*/ 27 h 34"/>
                  <a:gd name="T12" fmla="*/ 11 w 20"/>
                  <a:gd name="T13" fmla="*/ 26 h 34"/>
                  <a:gd name="T14" fmla="*/ 11 w 20"/>
                  <a:gd name="T15" fmla="*/ 26 h 34"/>
                  <a:gd name="T16" fmla="*/ 11 w 20"/>
                  <a:gd name="T17" fmla="*/ 26 h 34"/>
                  <a:gd name="T18" fmla="*/ 11 w 20"/>
                  <a:gd name="T19" fmla="*/ 24 h 34"/>
                  <a:gd name="T20" fmla="*/ 11 w 20"/>
                  <a:gd name="T21" fmla="*/ 24 h 34"/>
                  <a:gd name="T22" fmla="*/ 11 w 20"/>
                  <a:gd name="T23" fmla="*/ 23 h 34"/>
                  <a:gd name="T24" fmla="*/ 12 w 20"/>
                  <a:gd name="T25" fmla="*/ 22 h 34"/>
                  <a:gd name="T26" fmla="*/ 12 w 20"/>
                  <a:gd name="T27" fmla="*/ 22 h 34"/>
                  <a:gd name="T28" fmla="*/ 13 w 20"/>
                  <a:gd name="T29" fmla="*/ 20 h 34"/>
                  <a:gd name="T30" fmla="*/ 15 w 20"/>
                  <a:gd name="T31" fmla="*/ 19 h 34"/>
                  <a:gd name="T32" fmla="*/ 15 w 20"/>
                  <a:gd name="T33" fmla="*/ 19 h 34"/>
                  <a:gd name="T34" fmla="*/ 16 w 20"/>
                  <a:gd name="T35" fmla="*/ 17 h 34"/>
                  <a:gd name="T36" fmla="*/ 16 w 20"/>
                  <a:gd name="T37" fmla="*/ 16 h 34"/>
                  <a:gd name="T38" fmla="*/ 16 w 20"/>
                  <a:gd name="T39" fmla="*/ 15 h 34"/>
                  <a:gd name="T40" fmla="*/ 16 w 20"/>
                  <a:gd name="T41" fmla="*/ 13 h 34"/>
                  <a:gd name="T42" fmla="*/ 17 w 20"/>
                  <a:gd name="T43" fmla="*/ 12 h 34"/>
                  <a:gd name="T44" fmla="*/ 17 w 20"/>
                  <a:gd name="T45" fmla="*/ 11 h 34"/>
                  <a:gd name="T46" fmla="*/ 17 w 20"/>
                  <a:gd name="T47" fmla="*/ 11 h 34"/>
                  <a:gd name="T48" fmla="*/ 17 w 20"/>
                  <a:gd name="T49" fmla="*/ 11 h 34"/>
                  <a:gd name="T50" fmla="*/ 20 w 20"/>
                  <a:gd name="T51" fmla="*/ 6 h 34"/>
                  <a:gd name="T52" fmla="*/ 20 w 20"/>
                  <a:gd name="T53" fmla="*/ 2 h 34"/>
                  <a:gd name="T54" fmla="*/ 19 w 20"/>
                  <a:gd name="T55" fmla="*/ 1 h 34"/>
                  <a:gd name="T56" fmla="*/ 17 w 20"/>
                  <a:gd name="T57" fmla="*/ 0 h 34"/>
                  <a:gd name="T58" fmla="*/ 15 w 20"/>
                  <a:gd name="T59" fmla="*/ 0 h 34"/>
                  <a:gd name="T60" fmla="*/ 13 w 20"/>
                  <a:gd name="T61" fmla="*/ 0 h 34"/>
                  <a:gd name="T62" fmla="*/ 11 w 20"/>
                  <a:gd name="T63" fmla="*/ 1 h 34"/>
                  <a:gd name="T64" fmla="*/ 9 w 20"/>
                  <a:gd name="T65" fmla="*/ 1 h 34"/>
                  <a:gd name="T66" fmla="*/ 9 w 20"/>
                  <a:gd name="T67" fmla="*/ 1 h 34"/>
                  <a:gd name="T68" fmla="*/ 9 w 20"/>
                  <a:gd name="T69" fmla="*/ 9 h 34"/>
                  <a:gd name="T70" fmla="*/ 9 w 20"/>
                  <a:gd name="T71" fmla="*/ 9 h 34"/>
                  <a:gd name="T72" fmla="*/ 8 w 20"/>
                  <a:gd name="T73" fmla="*/ 9 h 34"/>
                  <a:gd name="T74" fmla="*/ 8 w 20"/>
                  <a:gd name="T75" fmla="*/ 11 h 34"/>
                  <a:gd name="T76" fmla="*/ 8 w 20"/>
                  <a:gd name="T77" fmla="*/ 11 h 34"/>
                  <a:gd name="T78" fmla="*/ 6 w 20"/>
                  <a:gd name="T79" fmla="*/ 12 h 34"/>
                  <a:gd name="T80" fmla="*/ 6 w 20"/>
                  <a:gd name="T81" fmla="*/ 13 h 34"/>
                  <a:gd name="T82" fmla="*/ 5 w 20"/>
                  <a:gd name="T83" fmla="*/ 15 h 34"/>
                  <a:gd name="T84" fmla="*/ 4 w 20"/>
                  <a:gd name="T85" fmla="*/ 16 h 34"/>
                  <a:gd name="T86" fmla="*/ 0 w 20"/>
                  <a:gd name="T87" fmla="*/ 34 h 34"/>
                  <a:gd name="T88" fmla="*/ 0 w 20"/>
                  <a:gd name="T89" fmla="*/ 34 h 34"/>
                  <a:gd name="T90" fmla="*/ 1 w 20"/>
                  <a:gd name="T91" fmla="*/ 33 h 34"/>
                  <a:gd name="T92" fmla="*/ 1 w 20"/>
                  <a:gd name="T93" fmla="*/ 33 h 34"/>
                  <a:gd name="T94" fmla="*/ 2 w 20"/>
                  <a:gd name="T95" fmla="*/ 33 h 34"/>
                  <a:gd name="T96" fmla="*/ 2 w 20"/>
                  <a:gd name="T97" fmla="*/ 33 h 34"/>
                  <a:gd name="T98" fmla="*/ 4 w 20"/>
                  <a:gd name="T99" fmla="*/ 33 h 34"/>
                  <a:gd name="T100" fmla="*/ 5 w 20"/>
                  <a:gd name="T101" fmla="*/ 33 h 34"/>
                  <a:gd name="T102" fmla="*/ 6 w 20"/>
                  <a:gd name="T103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" h="34">
                    <a:moveTo>
                      <a:pt x="6" y="33"/>
                    </a:moveTo>
                    <a:lnTo>
                      <a:pt x="8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1" y="26"/>
                    </a:lnTo>
                    <a:lnTo>
                      <a:pt x="11" y="26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3" y="20"/>
                    </a:lnTo>
                    <a:lnTo>
                      <a:pt x="15" y="19"/>
                    </a:lnTo>
                    <a:lnTo>
                      <a:pt x="15" y="19"/>
                    </a:lnTo>
                    <a:lnTo>
                      <a:pt x="16" y="17"/>
                    </a:lnTo>
                    <a:lnTo>
                      <a:pt x="16" y="16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9" y="1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6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4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5" name="Freeform 937"/>
              <p:cNvSpPr>
                <a:spLocks/>
              </p:cNvSpPr>
              <p:nvPr/>
            </p:nvSpPr>
            <p:spPr bwMode="auto">
              <a:xfrm>
                <a:off x="2335" y="2578"/>
                <a:ext cx="20" cy="34"/>
              </a:xfrm>
              <a:custGeom>
                <a:avLst/>
                <a:gdLst>
                  <a:gd name="T0" fmla="*/ 6 w 20"/>
                  <a:gd name="T1" fmla="*/ 33 h 34"/>
                  <a:gd name="T2" fmla="*/ 8 w 20"/>
                  <a:gd name="T3" fmla="*/ 31 h 34"/>
                  <a:gd name="T4" fmla="*/ 8 w 20"/>
                  <a:gd name="T5" fmla="*/ 30 h 34"/>
                  <a:gd name="T6" fmla="*/ 9 w 20"/>
                  <a:gd name="T7" fmla="*/ 30 h 34"/>
                  <a:gd name="T8" fmla="*/ 9 w 20"/>
                  <a:gd name="T9" fmla="*/ 28 h 34"/>
                  <a:gd name="T10" fmla="*/ 9 w 20"/>
                  <a:gd name="T11" fmla="*/ 27 h 34"/>
                  <a:gd name="T12" fmla="*/ 11 w 20"/>
                  <a:gd name="T13" fmla="*/ 26 h 34"/>
                  <a:gd name="T14" fmla="*/ 11 w 20"/>
                  <a:gd name="T15" fmla="*/ 24 h 34"/>
                  <a:gd name="T16" fmla="*/ 11 w 20"/>
                  <a:gd name="T17" fmla="*/ 23 h 34"/>
                  <a:gd name="T18" fmla="*/ 12 w 20"/>
                  <a:gd name="T19" fmla="*/ 22 h 34"/>
                  <a:gd name="T20" fmla="*/ 13 w 20"/>
                  <a:gd name="T21" fmla="*/ 20 h 34"/>
                  <a:gd name="T22" fmla="*/ 15 w 20"/>
                  <a:gd name="T23" fmla="*/ 19 h 34"/>
                  <a:gd name="T24" fmla="*/ 16 w 20"/>
                  <a:gd name="T25" fmla="*/ 17 h 34"/>
                  <a:gd name="T26" fmla="*/ 16 w 20"/>
                  <a:gd name="T27" fmla="*/ 16 h 34"/>
                  <a:gd name="T28" fmla="*/ 16 w 20"/>
                  <a:gd name="T29" fmla="*/ 15 h 34"/>
                  <a:gd name="T30" fmla="*/ 16 w 20"/>
                  <a:gd name="T31" fmla="*/ 13 h 34"/>
                  <a:gd name="T32" fmla="*/ 17 w 20"/>
                  <a:gd name="T33" fmla="*/ 12 h 34"/>
                  <a:gd name="T34" fmla="*/ 17 w 20"/>
                  <a:gd name="T35" fmla="*/ 11 h 34"/>
                  <a:gd name="T36" fmla="*/ 20 w 20"/>
                  <a:gd name="T37" fmla="*/ 6 h 34"/>
                  <a:gd name="T38" fmla="*/ 20 w 20"/>
                  <a:gd name="T39" fmla="*/ 2 h 34"/>
                  <a:gd name="T40" fmla="*/ 19 w 20"/>
                  <a:gd name="T41" fmla="*/ 1 h 34"/>
                  <a:gd name="T42" fmla="*/ 17 w 20"/>
                  <a:gd name="T43" fmla="*/ 0 h 34"/>
                  <a:gd name="T44" fmla="*/ 15 w 20"/>
                  <a:gd name="T45" fmla="*/ 0 h 34"/>
                  <a:gd name="T46" fmla="*/ 13 w 20"/>
                  <a:gd name="T47" fmla="*/ 0 h 34"/>
                  <a:gd name="T48" fmla="*/ 11 w 20"/>
                  <a:gd name="T49" fmla="*/ 1 h 34"/>
                  <a:gd name="T50" fmla="*/ 9 w 20"/>
                  <a:gd name="T51" fmla="*/ 1 h 34"/>
                  <a:gd name="T52" fmla="*/ 9 w 20"/>
                  <a:gd name="T53" fmla="*/ 9 h 34"/>
                  <a:gd name="T54" fmla="*/ 8 w 20"/>
                  <a:gd name="T55" fmla="*/ 9 h 34"/>
                  <a:gd name="T56" fmla="*/ 8 w 20"/>
                  <a:gd name="T57" fmla="*/ 11 h 34"/>
                  <a:gd name="T58" fmla="*/ 6 w 20"/>
                  <a:gd name="T59" fmla="*/ 12 h 34"/>
                  <a:gd name="T60" fmla="*/ 6 w 20"/>
                  <a:gd name="T61" fmla="*/ 13 h 34"/>
                  <a:gd name="T62" fmla="*/ 5 w 20"/>
                  <a:gd name="T63" fmla="*/ 15 h 34"/>
                  <a:gd name="T64" fmla="*/ 4 w 20"/>
                  <a:gd name="T65" fmla="*/ 16 h 34"/>
                  <a:gd name="T66" fmla="*/ 0 w 20"/>
                  <a:gd name="T67" fmla="*/ 34 h 34"/>
                  <a:gd name="T68" fmla="*/ 1 w 20"/>
                  <a:gd name="T69" fmla="*/ 33 h 34"/>
                  <a:gd name="T70" fmla="*/ 2 w 20"/>
                  <a:gd name="T71" fmla="*/ 33 h 34"/>
                  <a:gd name="T72" fmla="*/ 4 w 20"/>
                  <a:gd name="T73" fmla="*/ 33 h 34"/>
                  <a:gd name="T74" fmla="*/ 5 w 20"/>
                  <a:gd name="T75" fmla="*/ 33 h 34"/>
                  <a:gd name="T76" fmla="*/ 6 w 20"/>
                  <a:gd name="T77" fmla="*/ 3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" h="34">
                    <a:moveTo>
                      <a:pt x="6" y="33"/>
                    </a:moveTo>
                    <a:lnTo>
                      <a:pt x="8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9" y="28"/>
                    </a:lnTo>
                    <a:lnTo>
                      <a:pt x="9" y="27"/>
                    </a:lnTo>
                    <a:lnTo>
                      <a:pt x="11" y="26"/>
                    </a:lnTo>
                    <a:lnTo>
                      <a:pt x="11" y="24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3" y="20"/>
                    </a:lnTo>
                    <a:lnTo>
                      <a:pt x="15" y="19"/>
                    </a:lnTo>
                    <a:lnTo>
                      <a:pt x="16" y="17"/>
                    </a:lnTo>
                    <a:lnTo>
                      <a:pt x="16" y="16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17" y="11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19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9" y="9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6" y="12"/>
                    </a:lnTo>
                    <a:lnTo>
                      <a:pt x="6" y="13"/>
                    </a:lnTo>
                    <a:lnTo>
                      <a:pt x="5" y="15"/>
                    </a:lnTo>
                    <a:lnTo>
                      <a:pt x="4" y="16"/>
                    </a:lnTo>
                    <a:lnTo>
                      <a:pt x="0" y="34"/>
                    </a:lnTo>
                    <a:lnTo>
                      <a:pt x="1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6" name="Freeform 938"/>
              <p:cNvSpPr>
                <a:spLocks/>
              </p:cNvSpPr>
              <p:nvPr/>
            </p:nvSpPr>
            <p:spPr bwMode="auto">
              <a:xfrm>
                <a:off x="2889" y="3004"/>
                <a:ext cx="32" cy="26"/>
              </a:xfrm>
              <a:custGeom>
                <a:avLst/>
                <a:gdLst>
                  <a:gd name="T0" fmla="*/ 3 w 32"/>
                  <a:gd name="T1" fmla="*/ 12 h 26"/>
                  <a:gd name="T2" fmla="*/ 4 w 32"/>
                  <a:gd name="T3" fmla="*/ 26 h 26"/>
                  <a:gd name="T4" fmla="*/ 32 w 32"/>
                  <a:gd name="T5" fmla="*/ 4 h 26"/>
                  <a:gd name="T6" fmla="*/ 32 w 32"/>
                  <a:gd name="T7" fmla="*/ 2 h 26"/>
                  <a:gd name="T8" fmla="*/ 32 w 32"/>
                  <a:gd name="T9" fmla="*/ 2 h 26"/>
                  <a:gd name="T10" fmla="*/ 30 w 32"/>
                  <a:gd name="T11" fmla="*/ 1 h 26"/>
                  <a:gd name="T12" fmla="*/ 29 w 32"/>
                  <a:gd name="T13" fmla="*/ 0 h 26"/>
                  <a:gd name="T14" fmla="*/ 27 w 32"/>
                  <a:gd name="T15" fmla="*/ 0 h 26"/>
                  <a:gd name="T16" fmla="*/ 25 w 32"/>
                  <a:gd name="T17" fmla="*/ 0 h 26"/>
                  <a:gd name="T18" fmla="*/ 22 w 32"/>
                  <a:gd name="T19" fmla="*/ 0 h 26"/>
                  <a:gd name="T20" fmla="*/ 18 w 32"/>
                  <a:gd name="T21" fmla="*/ 2 h 26"/>
                  <a:gd name="T22" fmla="*/ 0 w 32"/>
                  <a:gd name="T23" fmla="*/ 9 h 26"/>
                  <a:gd name="T24" fmla="*/ 3 w 32"/>
                  <a:gd name="T25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" h="26">
                    <a:moveTo>
                      <a:pt x="3" y="12"/>
                    </a:moveTo>
                    <a:lnTo>
                      <a:pt x="4" y="2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30" y="1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0" y="9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7" name="Freeform 939"/>
              <p:cNvSpPr>
                <a:spLocks/>
              </p:cNvSpPr>
              <p:nvPr/>
            </p:nvSpPr>
            <p:spPr bwMode="auto">
              <a:xfrm>
                <a:off x="2889" y="3004"/>
                <a:ext cx="32" cy="26"/>
              </a:xfrm>
              <a:custGeom>
                <a:avLst/>
                <a:gdLst>
                  <a:gd name="T0" fmla="*/ 3 w 32"/>
                  <a:gd name="T1" fmla="*/ 12 h 26"/>
                  <a:gd name="T2" fmla="*/ 4 w 32"/>
                  <a:gd name="T3" fmla="*/ 26 h 26"/>
                  <a:gd name="T4" fmla="*/ 32 w 32"/>
                  <a:gd name="T5" fmla="*/ 4 h 26"/>
                  <a:gd name="T6" fmla="*/ 32 w 32"/>
                  <a:gd name="T7" fmla="*/ 2 h 26"/>
                  <a:gd name="T8" fmla="*/ 30 w 32"/>
                  <a:gd name="T9" fmla="*/ 1 h 26"/>
                  <a:gd name="T10" fmla="*/ 29 w 32"/>
                  <a:gd name="T11" fmla="*/ 0 h 26"/>
                  <a:gd name="T12" fmla="*/ 27 w 32"/>
                  <a:gd name="T13" fmla="*/ 0 h 26"/>
                  <a:gd name="T14" fmla="*/ 25 w 32"/>
                  <a:gd name="T15" fmla="*/ 0 h 26"/>
                  <a:gd name="T16" fmla="*/ 22 w 32"/>
                  <a:gd name="T17" fmla="*/ 0 h 26"/>
                  <a:gd name="T18" fmla="*/ 18 w 32"/>
                  <a:gd name="T19" fmla="*/ 2 h 26"/>
                  <a:gd name="T20" fmla="*/ 0 w 32"/>
                  <a:gd name="T21" fmla="*/ 9 h 26"/>
                  <a:gd name="T22" fmla="*/ 3 w 32"/>
                  <a:gd name="T23" fmla="*/ 1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2" h="26">
                    <a:moveTo>
                      <a:pt x="3" y="12"/>
                    </a:moveTo>
                    <a:lnTo>
                      <a:pt x="4" y="26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0" y="1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0" y="9"/>
                    </a:lnTo>
                    <a:lnTo>
                      <a:pt x="3" y="1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8" name="Freeform 940"/>
              <p:cNvSpPr>
                <a:spLocks/>
              </p:cNvSpPr>
              <p:nvPr/>
            </p:nvSpPr>
            <p:spPr bwMode="auto">
              <a:xfrm>
                <a:off x="2585" y="2319"/>
                <a:ext cx="308" cy="292"/>
              </a:xfrm>
              <a:custGeom>
                <a:avLst/>
                <a:gdLst>
                  <a:gd name="T0" fmla="*/ 12 w 308"/>
                  <a:gd name="T1" fmla="*/ 145 h 292"/>
                  <a:gd name="T2" fmla="*/ 102 w 308"/>
                  <a:gd name="T3" fmla="*/ 109 h 292"/>
                  <a:gd name="T4" fmla="*/ 107 w 308"/>
                  <a:gd name="T5" fmla="*/ 88 h 292"/>
                  <a:gd name="T6" fmla="*/ 121 w 308"/>
                  <a:gd name="T7" fmla="*/ 85 h 292"/>
                  <a:gd name="T8" fmla="*/ 129 w 308"/>
                  <a:gd name="T9" fmla="*/ 85 h 292"/>
                  <a:gd name="T10" fmla="*/ 117 w 308"/>
                  <a:gd name="T11" fmla="*/ 70 h 292"/>
                  <a:gd name="T12" fmla="*/ 117 w 308"/>
                  <a:gd name="T13" fmla="*/ 59 h 292"/>
                  <a:gd name="T14" fmla="*/ 115 w 308"/>
                  <a:gd name="T15" fmla="*/ 48 h 292"/>
                  <a:gd name="T16" fmla="*/ 110 w 308"/>
                  <a:gd name="T17" fmla="*/ 39 h 292"/>
                  <a:gd name="T18" fmla="*/ 103 w 308"/>
                  <a:gd name="T19" fmla="*/ 36 h 292"/>
                  <a:gd name="T20" fmla="*/ 104 w 308"/>
                  <a:gd name="T21" fmla="*/ 33 h 292"/>
                  <a:gd name="T22" fmla="*/ 107 w 308"/>
                  <a:gd name="T23" fmla="*/ 32 h 292"/>
                  <a:gd name="T24" fmla="*/ 110 w 308"/>
                  <a:gd name="T25" fmla="*/ 29 h 292"/>
                  <a:gd name="T26" fmla="*/ 137 w 308"/>
                  <a:gd name="T27" fmla="*/ 18 h 292"/>
                  <a:gd name="T28" fmla="*/ 153 w 308"/>
                  <a:gd name="T29" fmla="*/ 15 h 292"/>
                  <a:gd name="T30" fmla="*/ 166 w 308"/>
                  <a:gd name="T31" fmla="*/ 11 h 292"/>
                  <a:gd name="T32" fmla="*/ 171 w 308"/>
                  <a:gd name="T33" fmla="*/ 10 h 292"/>
                  <a:gd name="T34" fmla="*/ 187 w 308"/>
                  <a:gd name="T35" fmla="*/ 6 h 292"/>
                  <a:gd name="T36" fmla="*/ 205 w 308"/>
                  <a:gd name="T37" fmla="*/ 3 h 292"/>
                  <a:gd name="T38" fmla="*/ 235 w 308"/>
                  <a:gd name="T39" fmla="*/ 2 h 292"/>
                  <a:gd name="T40" fmla="*/ 245 w 308"/>
                  <a:gd name="T41" fmla="*/ 0 h 292"/>
                  <a:gd name="T42" fmla="*/ 257 w 308"/>
                  <a:gd name="T43" fmla="*/ 6 h 292"/>
                  <a:gd name="T44" fmla="*/ 259 w 308"/>
                  <a:gd name="T45" fmla="*/ 10 h 292"/>
                  <a:gd name="T46" fmla="*/ 256 w 308"/>
                  <a:gd name="T47" fmla="*/ 14 h 292"/>
                  <a:gd name="T48" fmla="*/ 254 w 308"/>
                  <a:gd name="T49" fmla="*/ 21 h 292"/>
                  <a:gd name="T50" fmla="*/ 254 w 308"/>
                  <a:gd name="T51" fmla="*/ 30 h 292"/>
                  <a:gd name="T52" fmla="*/ 253 w 308"/>
                  <a:gd name="T53" fmla="*/ 37 h 292"/>
                  <a:gd name="T54" fmla="*/ 249 w 308"/>
                  <a:gd name="T55" fmla="*/ 41 h 292"/>
                  <a:gd name="T56" fmla="*/ 249 w 308"/>
                  <a:gd name="T57" fmla="*/ 43 h 292"/>
                  <a:gd name="T58" fmla="*/ 249 w 308"/>
                  <a:gd name="T59" fmla="*/ 48 h 292"/>
                  <a:gd name="T60" fmla="*/ 250 w 308"/>
                  <a:gd name="T61" fmla="*/ 52 h 292"/>
                  <a:gd name="T62" fmla="*/ 252 w 308"/>
                  <a:gd name="T63" fmla="*/ 55 h 292"/>
                  <a:gd name="T64" fmla="*/ 253 w 308"/>
                  <a:gd name="T65" fmla="*/ 58 h 292"/>
                  <a:gd name="T66" fmla="*/ 253 w 308"/>
                  <a:gd name="T67" fmla="*/ 61 h 292"/>
                  <a:gd name="T68" fmla="*/ 253 w 308"/>
                  <a:gd name="T69" fmla="*/ 66 h 292"/>
                  <a:gd name="T70" fmla="*/ 257 w 308"/>
                  <a:gd name="T71" fmla="*/ 72 h 292"/>
                  <a:gd name="T72" fmla="*/ 259 w 308"/>
                  <a:gd name="T73" fmla="*/ 72 h 292"/>
                  <a:gd name="T74" fmla="*/ 261 w 308"/>
                  <a:gd name="T75" fmla="*/ 73 h 292"/>
                  <a:gd name="T76" fmla="*/ 263 w 308"/>
                  <a:gd name="T77" fmla="*/ 80 h 292"/>
                  <a:gd name="T78" fmla="*/ 265 w 308"/>
                  <a:gd name="T79" fmla="*/ 105 h 292"/>
                  <a:gd name="T80" fmla="*/ 275 w 308"/>
                  <a:gd name="T81" fmla="*/ 128 h 292"/>
                  <a:gd name="T82" fmla="*/ 278 w 308"/>
                  <a:gd name="T83" fmla="*/ 131 h 292"/>
                  <a:gd name="T84" fmla="*/ 276 w 308"/>
                  <a:gd name="T85" fmla="*/ 132 h 292"/>
                  <a:gd name="T86" fmla="*/ 278 w 308"/>
                  <a:gd name="T87" fmla="*/ 138 h 292"/>
                  <a:gd name="T88" fmla="*/ 279 w 308"/>
                  <a:gd name="T89" fmla="*/ 150 h 292"/>
                  <a:gd name="T90" fmla="*/ 282 w 308"/>
                  <a:gd name="T91" fmla="*/ 162 h 292"/>
                  <a:gd name="T92" fmla="*/ 282 w 308"/>
                  <a:gd name="T93" fmla="*/ 165 h 292"/>
                  <a:gd name="T94" fmla="*/ 283 w 308"/>
                  <a:gd name="T95" fmla="*/ 167 h 292"/>
                  <a:gd name="T96" fmla="*/ 287 w 308"/>
                  <a:gd name="T97" fmla="*/ 171 h 292"/>
                  <a:gd name="T98" fmla="*/ 289 w 308"/>
                  <a:gd name="T99" fmla="*/ 173 h 292"/>
                  <a:gd name="T100" fmla="*/ 290 w 308"/>
                  <a:gd name="T101" fmla="*/ 180 h 292"/>
                  <a:gd name="T102" fmla="*/ 290 w 308"/>
                  <a:gd name="T103" fmla="*/ 187 h 292"/>
                  <a:gd name="T104" fmla="*/ 287 w 308"/>
                  <a:gd name="T105" fmla="*/ 198 h 292"/>
                  <a:gd name="T106" fmla="*/ 290 w 308"/>
                  <a:gd name="T107" fmla="*/ 201 h 292"/>
                  <a:gd name="T108" fmla="*/ 292 w 308"/>
                  <a:gd name="T109" fmla="*/ 206 h 292"/>
                  <a:gd name="T110" fmla="*/ 293 w 308"/>
                  <a:gd name="T111" fmla="*/ 212 h 292"/>
                  <a:gd name="T112" fmla="*/ 294 w 308"/>
                  <a:gd name="T113" fmla="*/ 217 h 292"/>
                  <a:gd name="T114" fmla="*/ 308 w 308"/>
                  <a:gd name="T115" fmla="*/ 238 h 292"/>
                  <a:gd name="T116" fmla="*/ 176 w 308"/>
                  <a:gd name="T117" fmla="*/ 274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8" h="292">
                    <a:moveTo>
                      <a:pt x="4" y="171"/>
                    </a:moveTo>
                    <a:lnTo>
                      <a:pt x="0" y="151"/>
                    </a:lnTo>
                    <a:lnTo>
                      <a:pt x="12" y="145"/>
                    </a:lnTo>
                    <a:lnTo>
                      <a:pt x="22" y="136"/>
                    </a:lnTo>
                    <a:lnTo>
                      <a:pt x="40" y="129"/>
                    </a:lnTo>
                    <a:lnTo>
                      <a:pt x="102" y="109"/>
                    </a:lnTo>
                    <a:lnTo>
                      <a:pt x="103" y="95"/>
                    </a:lnTo>
                    <a:lnTo>
                      <a:pt x="104" y="91"/>
                    </a:lnTo>
                    <a:lnTo>
                      <a:pt x="107" y="88"/>
                    </a:lnTo>
                    <a:lnTo>
                      <a:pt x="111" y="85"/>
                    </a:lnTo>
                    <a:lnTo>
                      <a:pt x="115" y="85"/>
                    </a:lnTo>
                    <a:lnTo>
                      <a:pt x="121" y="85"/>
                    </a:lnTo>
                    <a:lnTo>
                      <a:pt x="125" y="85"/>
                    </a:lnTo>
                    <a:lnTo>
                      <a:pt x="128" y="85"/>
                    </a:lnTo>
                    <a:lnTo>
                      <a:pt x="129" y="85"/>
                    </a:lnTo>
                    <a:lnTo>
                      <a:pt x="120" y="76"/>
                    </a:lnTo>
                    <a:lnTo>
                      <a:pt x="118" y="73"/>
                    </a:lnTo>
                    <a:lnTo>
                      <a:pt x="117" y="70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17" y="57"/>
                    </a:lnTo>
                    <a:lnTo>
                      <a:pt x="117" y="52"/>
                    </a:lnTo>
                    <a:lnTo>
                      <a:pt x="115" y="48"/>
                    </a:lnTo>
                    <a:lnTo>
                      <a:pt x="114" y="44"/>
                    </a:lnTo>
                    <a:lnTo>
                      <a:pt x="113" y="41"/>
                    </a:lnTo>
                    <a:lnTo>
                      <a:pt x="110" y="39"/>
                    </a:lnTo>
                    <a:lnTo>
                      <a:pt x="107" y="37"/>
                    </a:lnTo>
                    <a:lnTo>
                      <a:pt x="106" y="36"/>
                    </a:lnTo>
                    <a:lnTo>
                      <a:pt x="103" y="36"/>
                    </a:lnTo>
                    <a:lnTo>
                      <a:pt x="102" y="35"/>
                    </a:lnTo>
                    <a:lnTo>
                      <a:pt x="102" y="35"/>
                    </a:lnTo>
                    <a:lnTo>
                      <a:pt x="104" y="33"/>
                    </a:lnTo>
                    <a:lnTo>
                      <a:pt x="104" y="32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07" y="30"/>
                    </a:lnTo>
                    <a:lnTo>
                      <a:pt x="109" y="30"/>
                    </a:lnTo>
                    <a:lnTo>
                      <a:pt x="110" y="29"/>
                    </a:lnTo>
                    <a:lnTo>
                      <a:pt x="110" y="29"/>
                    </a:lnTo>
                    <a:lnTo>
                      <a:pt x="111" y="28"/>
                    </a:lnTo>
                    <a:lnTo>
                      <a:pt x="137" y="18"/>
                    </a:lnTo>
                    <a:lnTo>
                      <a:pt x="142" y="18"/>
                    </a:lnTo>
                    <a:lnTo>
                      <a:pt x="147" y="17"/>
                    </a:lnTo>
                    <a:lnTo>
                      <a:pt x="153" y="15"/>
                    </a:lnTo>
                    <a:lnTo>
                      <a:pt x="157" y="14"/>
                    </a:lnTo>
                    <a:lnTo>
                      <a:pt x="162" y="13"/>
                    </a:lnTo>
                    <a:lnTo>
                      <a:pt x="166" y="11"/>
                    </a:lnTo>
                    <a:lnTo>
                      <a:pt x="168" y="10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5" y="8"/>
                    </a:lnTo>
                    <a:lnTo>
                      <a:pt x="180" y="7"/>
                    </a:lnTo>
                    <a:lnTo>
                      <a:pt x="187" y="6"/>
                    </a:lnTo>
                    <a:lnTo>
                      <a:pt x="194" y="4"/>
                    </a:lnTo>
                    <a:lnTo>
                      <a:pt x="201" y="3"/>
                    </a:lnTo>
                    <a:lnTo>
                      <a:pt x="205" y="3"/>
                    </a:lnTo>
                    <a:lnTo>
                      <a:pt x="209" y="3"/>
                    </a:lnTo>
                    <a:lnTo>
                      <a:pt x="234" y="2"/>
                    </a:lnTo>
                    <a:lnTo>
                      <a:pt x="235" y="2"/>
                    </a:lnTo>
                    <a:lnTo>
                      <a:pt x="238" y="0"/>
                    </a:lnTo>
                    <a:lnTo>
                      <a:pt x="241" y="0"/>
                    </a:lnTo>
                    <a:lnTo>
                      <a:pt x="245" y="0"/>
                    </a:lnTo>
                    <a:lnTo>
                      <a:pt x="250" y="2"/>
                    </a:lnTo>
                    <a:lnTo>
                      <a:pt x="254" y="3"/>
                    </a:lnTo>
                    <a:lnTo>
                      <a:pt x="257" y="6"/>
                    </a:lnTo>
                    <a:lnTo>
                      <a:pt x="260" y="10"/>
                    </a:lnTo>
                    <a:lnTo>
                      <a:pt x="260" y="10"/>
                    </a:lnTo>
                    <a:lnTo>
                      <a:pt x="259" y="10"/>
                    </a:lnTo>
                    <a:lnTo>
                      <a:pt x="259" y="11"/>
                    </a:lnTo>
                    <a:lnTo>
                      <a:pt x="257" y="13"/>
                    </a:lnTo>
                    <a:lnTo>
                      <a:pt x="256" y="14"/>
                    </a:lnTo>
                    <a:lnTo>
                      <a:pt x="256" y="17"/>
                    </a:lnTo>
                    <a:lnTo>
                      <a:pt x="254" y="18"/>
                    </a:lnTo>
                    <a:lnTo>
                      <a:pt x="254" y="21"/>
                    </a:lnTo>
                    <a:lnTo>
                      <a:pt x="254" y="28"/>
                    </a:lnTo>
                    <a:lnTo>
                      <a:pt x="254" y="29"/>
                    </a:lnTo>
                    <a:lnTo>
                      <a:pt x="254" y="30"/>
                    </a:lnTo>
                    <a:lnTo>
                      <a:pt x="254" y="32"/>
                    </a:lnTo>
                    <a:lnTo>
                      <a:pt x="254" y="35"/>
                    </a:lnTo>
                    <a:lnTo>
                      <a:pt x="253" y="37"/>
                    </a:lnTo>
                    <a:lnTo>
                      <a:pt x="252" y="39"/>
                    </a:lnTo>
                    <a:lnTo>
                      <a:pt x="252" y="40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1"/>
                    </a:lnTo>
                    <a:lnTo>
                      <a:pt x="249" y="43"/>
                    </a:lnTo>
                    <a:lnTo>
                      <a:pt x="248" y="44"/>
                    </a:lnTo>
                    <a:lnTo>
                      <a:pt x="248" y="47"/>
                    </a:lnTo>
                    <a:lnTo>
                      <a:pt x="249" y="48"/>
                    </a:lnTo>
                    <a:lnTo>
                      <a:pt x="249" y="51"/>
                    </a:lnTo>
                    <a:lnTo>
                      <a:pt x="250" y="52"/>
                    </a:lnTo>
                    <a:lnTo>
                      <a:pt x="250" y="52"/>
                    </a:lnTo>
                    <a:lnTo>
                      <a:pt x="250" y="54"/>
                    </a:lnTo>
                    <a:lnTo>
                      <a:pt x="250" y="54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53" y="57"/>
                    </a:lnTo>
                    <a:lnTo>
                      <a:pt x="253" y="58"/>
                    </a:lnTo>
                    <a:lnTo>
                      <a:pt x="253" y="59"/>
                    </a:lnTo>
                    <a:lnTo>
                      <a:pt x="253" y="59"/>
                    </a:lnTo>
                    <a:lnTo>
                      <a:pt x="253" y="61"/>
                    </a:lnTo>
                    <a:lnTo>
                      <a:pt x="253" y="62"/>
                    </a:lnTo>
                    <a:lnTo>
                      <a:pt x="253" y="63"/>
                    </a:lnTo>
                    <a:lnTo>
                      <a:pt x="253" y="66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7" y="72"/>
                    </a:lnTo>
                    <a:lnTo>
                      <a:pt x="259" y="72"/>
                    </a:lnTo>
                    <a:lnTo>
                      <a:pt x="259" y="72"/>
                    </a:lnTo>
                    <a:lnTo>
                      <a:pt x="260" y="72"/>
                    </a:lnTo>
                    <a:lnTo>
                      <a:pt x="261" y="73"/>
                    </a:lnTo>
                    <a:lnTo>
                      <a:pt x="261" y="74"/>
                    </a:lnTo>
                    <a:lnTo>
                      <a:pt x="261" y="76"/>
                    </a:lnTo>
                    <a:lnTo>
                      <a:pt x="263" y="80"/>
                    </a:lnTo>
                    <a:lnTo>
                      <a:pt x="263" y="87"/>
                    </a:lnTo>
                    <a:lnTo>
                      <a:pt x="264" y="95"/>
                    </a:lnTo>
                    <a:lnTo>
                      <a:pt x="265" y="105"/>
                    </a:lnTo>
                    <a:lnTo>
                      <a:pt x="268" y="114"/>
                    </a:lnTo>
                    <a:lnTo>
                      <a:pt x="271" y="123"/>
                    </a:lnTo>
                    <a:lnTo>
                      <a:pt x="275" y="128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8" y="131"/>
                    </a:lnTo>
                    <a:lnTo>
                      <a:pt x="276" y="132"/>
                    </a:lnTo>
                    <a:lnTo>
                      <a:pt x="276" y="134"/>
                    </a:lnTo>
                    <a:lnTo>
                      <a:pt x="278" y="136"/>
                    </a:lnTo>
                    <a:lnTo>
                      <a:pt x="278" y="138"/>
                    </a:lnTo>
                    <a:lnTo>
                      <a:pt x="278" y="142"/>
                    </a:lnTo>
                    <a:lnTo>
                      <a:pt x="279" y="146"/>
                    </a:lnTo>
                    <a:lnTo>
                      <a:pt x="279" y="150"/>
                    </a:lnTo>
                    <a:lnTo>
                      <a:pt x="281" y="154"/>
                    </a:lnTo>
                    <a:lnTo>
                      <a:pt x="281" y="158"/>
                    </a:lnTo>
                    <a:lnTo>
                      <a:pt x="282" y="162"/>
                    </a:lnTo>
                    <a:lnTo>
                      <a:pt x="282" y="164"/>
                    </a:lnTo>
                    <a:lnTo>
                      <a:pt x="282" y="165"/>
                    </a:lnTo>
                    <a:lnTo>
                      <a:pt x="282" y="165"/>
                    </a:lnTo>
                    <a:lnTo>
                      <a:pt x="283" y="165"/>
                    </a:lnTo>
                    <a:lnTo>
                      <a:pt x="283" y="167"/>
                    </a:lnTo>
                    <a:lnTo>
                      <a:pt x="283" y="167"/>
                    </a:lnTo>
                    <a:lnTo>
                      <a:pt x="285" y="168"/>
                    </a:lnTo>
                    <a:lnTo>
                      <a:pt x="286" y="169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89" y="172"/>
                    </a:lnTo>
                    <a:lnTo>
                      <a:pt x="289" y="173"/>
                    </a:lnTo>
                    <a:lnTo>
                      <a:pt x="289" y="175"/>
                    </a:lnTo>
                    <a:lnTo>
                      <a:pt x="289" y="177"/>
                    </a:lnTo>
                    <a:lnTo>
                      <a:pt x="290" y="180"/>
                    </a:lnTo>
                    <a:lnTo>
                      <a:pt x="290" y="183"/>
                    </a:lnTo>
                    <a:lnTo>
                      <a:pt x="290" y="186"/>
                    </a:lnTo>
                    <a:lnTo>
                      <a:pt x="290" y="187"/>
                    </a:lnTo>
                    <a:lnTo>
                      <a:pt x="287" y="197"/>
                    </a:lnTo>
                    <a:lnTo>
                      <a:pt x="287" y="197"/>
                    </a:lnTo>
                    <a:lnTo>
                      <a:pt x="287" y="198"/>
                    </a:lnTo>
                    <a:lnTo>
                      <a:pt x="289" y="198"/>
                    </a:lnTo>
                    <a:lnTo>
                      <a:pt x="289" y="199"/>
                    </a:lnTo>
                    <a:lnTo>
                      <a:pt x="290" y="201"/>
                    </a:lnTo>
                    <a:lnTo>
                      <a:pt x="292" y="202"/>
                    </a:lnTo>
                    <a:lnTo>
                      <a:pt x="292" y="205"/>
                    </a:lnTo>
                    <a:lnTo>
                      <a:pt x="292" y="206"/>
                    </a:lnTo>
                    <a:lnTo>
                      <a:pt x="292" y="208"/>
                    </a:lnTo>
                    <a:lnTo>
                      <a:pt x="292" y="209"/>
                    </a:lnTo>
                    <a:lnTo>
                      <a:pt x="293" y="212"/>
                    </a:lnTo>
                    <a:lnTo>
                      <a:pt x="293" y="213"/>
                    </a:lnTo>
                    <a:lnTo>
                      <a:pt x="293" y="216"/>
                    </a:lnTo>
                    <a:lnTo>
                      <a:pt x="294" y="217"/>
                    </a:lnTo>
                    <a:lnTo>
                      <a:pt x="296" y="220"/>
                    </a:lnTo>
                    <a:lnTo>
                      <a:pt x="297" y="221"/>
                    </a:lnTo>
                    <a:lnTo>
                      <a:pt x="308" y="238"/>
                    </a:lnTo>
                    <a:lnTo>
                      <a:pt x="227" y="282"/>
                    </a:lnTo>
                    <a:lnTo>
                      <a:pt x="179" y="292"/>
                    </a:lnTo>
                    <a:lnTo>
                      <a:pt x="176" y="274"/>
                    </a:lnTo>
                    <a:lnTo>
                      <a:pt x="143" y="274"/>
                    </a:lnTo>
                    <a:lnTo>
                      <a:pt x="4" y="17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09" name="Freeform 941"/>
              <p:cNvSpPr>
                <a:spLocks/>
              </p:cNvSpPr>
              <p:nvPr/>
            </p:nvSpPr>
            <p:spPr bwMode="auto">
              <a:xfrm>
                <a:off x="2585" y="2319"/>
                <a:ext cx="308" cy="292"/>
              </a:xfrm>
              <a:custGeom>
                <a:avLst/>
                <a:gdLst>
                  <a:gd name="T0" fmla="*/ 12 w 308"/>
                  <a:gd name="T1" fmla="*/ 145 h 292"/>
                  <a:gd name="T2" fmla="*/ 102 w 308"/>
                  <a:gd name="T3" fmla="*/ 109 h 292"/>
                  <a:gd name="T4" fmla="*/ 107 w 308"/>
                  <a:gd name="T5" fmla="*/ 88 h 292"/>
                  <a:gd name="T6" fmla="*/ 121 w 308"/>
                  <a:gd name="T7" fmla="*/ 85 h 292"/>
                  <a:gd name="T8" fmla="*/ 129 w 308"/>
                  <a:gd name="T9" fmla="*/ 85 h 292"/>
                  <a:gd name="T10" fmla="*/ 117 w 308"/>
                  <a:gd name="T11" fmla="*/ 70 h 292"/>
                  <a:gd name="T12" fmla="*/ 117 w 308"/>
                  <a:gd name="T13" fmla="*/ 59 h 292"/>
                  <a:gd name="T14" fmla="*/ 115 w 308"/>
                  <a:gd name="T15" fmla="*/ 48 h 292"/>
                  <a:gd name="T16" fmla="*/ 110 w 308"/>
                  <a:gd name="T17" fmla="*/ 39 h 292"/>
                  <a:gd name="T18" fmla="*/ 103 w 308"/>
                  <a:gd name="T19" fmla="*/ 36 h 292"/>
                  <a:gd name="T20" fmla="*/ 104 w 308"/>
                  <a:gd name="T21" fmla="*/ 32 h 292"/>
                  <a:gd name="T22" fmla="*/ 107 w 308"/>
                  <a:gd name="T23" fmla="*/ 30 h 292"/>
                  <a:gd name="T24" fmla="*/ 111 w 308"/>
                  <a:gd name="T25" fmla="*/ 28 h 292"/>
                  <a:gd name="T26" fmla="*/ 147 w 308"/>
                  <a:gd name="T27" fmla="*/ 17 h 292"/>
                  <a:gd name="T28" fmla="*/ 162 w 308"/>
                  <a:gd name="T29" fmla="*/ 13 h 292"/>
                  <a:gd name="T30" fmla="*/ 169 w 308"/>
                  <a:gd name="T31" fmla="*/ 10 h 292"/>
                  <a:gd name="T32" fmla="*/ 180 w 308"/>
                  <a:gd name="T33" fmla="*/ 7 h 292"/>
                  <a:gd name="T34" fmla="*/ 201 w 308"/>
                  <a:gd name="T35" fmla="*/ 3 h 292"/>
                  <a:gd name="T36" fmla="*/ 234 w 308"/>
                  <a:gd name="T37" fmla="*/ 2 h 292"/>
                  <a:gd name="T38" fmla="*/ 241 w 308"/>
                  <a:gd name="T39" fmla="*/ 0 h 292"/>
                  <a:gd name="T40" fmla="*/ 254 w 308"/>
                  <a:gd name="T41" fmla="*/ 3 h 292"/>
                  <a:gd name="T42" fmla="*/ 259 w 308"/>
                  <a:gd name="T43" fmla="*/ 10 h 292"/>
                  <a:gd name="T44" fmla="*/ 256 w 308"/>
                  <a:gd name="T45" fmla="*/ 14 h 292"/>
                  <a:gd name="T46" fmla="*/ 254 w 308"/>
                  <a:gd name="T47" fmla="*/ 21 h 292"/>
                  <a:gd name="T48" fmla="*/ 254 w 308"/>
                  <a:gd name="T49" fmla="*/ 30 h 292"/>
                  <a:gd name="T50" fmla="*/ 253 w 308"/>
                  <a:gd name="T51" fmla="*/ 37 h 292"/>
                  <a:gd name="T52" fmla="*/ 249 w 308"/>
                  <a:gd name="T53" fmla="*/ 41 h 292"/>
                  <a:gd name="T54" fmla="*/ 248 w 308"/>
                  <a:gd name="T55" fmla="*/ 47 h 292"/>
                  <a:gd name="T56" fmla="*/ 250 w 308"/>
                  <a:gd name="T57" fmla="*/ 52 h 292"/>
                  <a:gd name="T58" fmla="*/ 252 w 308"/>
                  <a:gd name="T59" fmla="*/ 57 h 292"/>
                  <a:gd name="T60" fmla="*/ 253 w 308"/>
                  <a:gd name="T61" fmla="*/ 59 h 292"/>
                  <a:gd name="T62" fmla="*/ 253 w 308"/>
                  <a:gd name="T63" fmla="*/ 63 h 292"/>
                  <a:gd name="T64" fmla="*/ 254 w 308"/>
                  <a:gd name="T65" fmla="*/ 69 h 292"/>
                  <a:gd name="T66" fmla="*/ 260 w 308"/>
                  <a:gd name="T67" fmla="*/ 72 h 292"/>
                  <a:gd name="T68" fmla="*/ 261 w 308"/>
                  <a:gd name="T69" fmla="*/ 76 h 292"/>
                  <a:gd name="T70" fmla="*/ 264 w 308"/>
                  <a:gd name="T71" fmla="*/ 95 h 292"/>
                  <a:gd name="T72" fmla="*/ 271 w 308"/>
                  <a:gd name="T73" fmla="*/ 123 h 292"/>
                  <a:gd name="T74" fmla="*/ 278 w 308"/>
                  <a:gd name="T75" fmla="*/ 131 h 292"/>
                  <a:gd name="T76" fmla="*/ 278 w 308"/>
                  <a:gd name="T77" fmla="*/ 136 h 292"/>
                  <a:gd name="T78" fmla="*/ 279 w 308"/>
                  <a:gd name="T79" fmla="*/ 146 h 292"/>
                  <a:gd name="T80" fmla="*/ 281 w 308"/>
                  <a:gd name="T81" fmla="*/ 158 h 292"/>
                  <a:gd name="T82" fmla="*/ 282 w 308"/>
                  <a:gd name="T83" fmla="*/ 165 h 292"/>
                  <a:gd name="T84" fmla="*/ 285 w 308"/>
                  <a:gd name="T85" fmla="*/ 168 h 292"/>
                  <a:gd name="T86" fmla="*/ 289 w 308"/>
                  <a:gd name="T87" fmla="*/ 171 h 292"/>
                  <a:gd name="T88" fmla="*/ 289 w 308"/>
                  <a:gd name="T89" fmla="*/ 175 h 292"/>
                  <a:gd name="T90" fmla="*/ 290 w 308"/>
                  <a:gd name="T91" fmla="*/ 183 h 292"/>
                  <a:gd name="T92" fmla="*/ 287 w 308"/>
                  <a:gd name="T93" fmla="*/ 197 h 292"/>
                  <a:gd name="T94" fmla="*/ 289 w 308"/>
                  <a:gd name="T95" fmla="*/ 199 h 292"/>
                  <a:gd name="T96" fmla="*/ 292 w 308"/>
                  <a:gd name="T97" fmla="*/ 205 h 292"/>
                  <a:gd name="T98" fmla="*/ 292 w 308"/>
                  <a:gd name="T99" fmla="*/ 209 h 292"/>
                  <a:gd name="T100" fmla="*/ 293 w 308"/>
                  <a:gd name="T101" fmla="*/ 216 h 292"/>
                  <a:gd name="T102" fmla="*/ 297 w 308"/>
                  <a:gd name="T103" fmla="*/ 221 h 292"/>
                  <a:gd name="T104" fmla="*/ 179 w 308"/>
                  <a:gd name="T105" fmla="*/ 292 h 292"/>
                  <a:gd name="T106" fmla="*/ 4 w 308"/>
                  <a:gd name="T107" fmla="*/ 171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8" h="292">
                    <a:moveTo>
                      <a:pt x="4" y="171"/>
                    </a:moveTo>
                    <a:lnTo>
                      <a:pt x="0" y="151"/>
                    </a:lnTo>
                    <a:lnTo>
                      <a:pt x="12" y="145"/>
                    </a:lnTo>
                    <a:lnTo>
                      <a:pt x="22" y="136"/>
                    </a:lnTo>
                    <a:lnTo>
                      <a:pt x="40" y="129"/>
                    </a:lnTo>
                    <a:lnTo>
                      <a:pt x="102" y="109"/>
                    </a:lnTo>
                    <a:lnTo>
                      <a:pt x="103" y="95"/>
                    </a:lnTo>
                    <a:lnTo>
                      <a:pt x="104" y="91"/>
                    </a:lnTo>
                    <a:lnTo>
                      <a:pt x="107" y="88"/>
                    </a:lnTo>
                    <a:lnTo>
                      <a:pt x="111" y="85"/>
                    </a:lnTo>
                    <a:lnTo>
                      <a:pt x="115" y="85"/>
                    </a:lnTo>
                    <a:lnTo>
                      <a:pt x="121" y="85"/>
                    </a:lnTo>
                    <a:lnTo>
                      <a:pt x="125" y="85"/>
                    </a:lnTo>
                    <a:lnTo>
                      <a:pt x="128" y="85"/>
                    </a:lnTo>
                    <a:lnTo>
                      <a:pt x="129" y="85"/>
                    </a:lnTo>
                    <a:lnTo>
                      <a:pt x="120" y="76"/>
                    </a:lnTo>
                    <a:lnTo>
                      <a:pt x="118" y="73"/>
                    </a:lnTo>
                    <a:lnTo>
                      <a:pt x="117" y="70"/>
                    </a:lnTo>
                    <a:lnTo>
                      <a:pt x="117" y="68"/>
                    </a:lnTo>
                    <a:lnTo>
                      <a:pt x="117" y="63"/>
                    </a:lnTo>
                    <a:lnTo>
                      <a:pt x="117" y="59"/>
                    </a:lnTo>
                    <a:lnTo>
                      <a:pt x="117" y="57"/>
                    </a:lnTo>
                    <a:lnTo>
                      <a:pt x="117" y="52"/>
                    </a:lnTo>
                    <a:lnTo>
                      <a:pt x="115" y="48"/>
                    </a:lnTo>
                    <a:lnTo>
                      <a:pt x="114" y="44"/>
                    </a:lnTo>
                    <a:lnTo>
                      <a:pt x="113" y="41"/>
                    </a:lnTo>
                    <a:lnTo>
                      <a:pt x="110" y="39"/>
                    </a:lnTo>
                    <a:lnTo>
                      <a:pt x="107" y="37"/>
                    </a:lnTo>
                    <a:lnTo>
                      <a:pt x="106" y="36"/>
                    </a:lnTo>
                    <a:lnTo>
                      <a:pt x="103" y="36"/>
                    </a:lnTo>
                    <a:lnTo>
                      <a:pt x="102" y="35"/>
                    </a:lnTo>
                    <a:lnTo>
                      <a:pt x="104" y="33"/>
                    </a:lnTo>
                    <a:lnTo>
                      <a:pt x="104" y="32"/>
                    </a:lnTo>
                    <a:lnTo>
                      <a:pt x="106" y="32"/>
                    </a:lnTo>
                    <a:lnTo>
                      <a:pt x="107" y="32"/>
                    </a:lnTo>
                    <a:lnTo>
                      <a:pt x="107" y="30"/>
                    </a:lnTo>
                    <a:lnTo>
                      <a:pt x="109" y="30"/>
                    </a:lnTo>
                    <a:lnTo>
                      <a:pt x="110" y="29"/>
                    </a:lnTo>
                    <a:lnTo>
                      <a:pt x="111" y="28"/>
                    </a:lnTo>
                    <a:lnTo>
                      <a:pt x="137" y="18"/>
                    </a:lnTo>
                    <a:lnTo>
                      <a:pt x="142" y="18"/>
                    </a:lnTo>
                    <a:lnTo>
                      <a:pt x="147" y="17"/>
                    </a:lnTo>
                    <a:lnTo>
                      <a:pt x="153" y="15"/>
                    </a:lnTo>
                    <a:lnTo>
                      <a:pt x="157" y="14"/>
                    </a:lnTo>
                    <a:lnTo>
                      <a:pt x="162" y="13"/>
                    </a:lnTo>
                    <a:lnTo>
                      <a:pt x="166" y="11"/>
                    </a:lnTo>
                    <a:lnTo>
                      <a:pt x="168" y="10"/>
                    </a:lnTo>
                    <a:lnTo>
                      <a:pt x="169" y="10"/>
                    </a:lnTo>
                    <a:lnTo>
                      <a:pt x="171" y="10"/>
                    </a:lnTo>
                    <a:lnTo>
                      <a:pt x="175" y="8"/>
                    </a:lnTo>
                    <a:lnTo>
                      <a:pt x="180" y="7"/>
                    </a:lnTo>
                    <a:lnTo>
                      <a:pt x="187" y="6"/>
                    </a:lnTo>
                    <a:lnTo>
                      <a:pt x="194" y="4"/>
                    </a:lnTo>
                    <a:lnTo>
                      <a:pt x="201" y="3"/>
                    </a:lnTo>
                    <a:lnTo>
                      <a:pt x="205" y="3"/>
                    </a:lnTo>
                    <a:lnTo>
                      <a:pt x="209" y="3"/>
                    </a:lnTo>
                    <a:lnTo>
                      <a:pt x="234" y="2"/>
                    </a:lnTo>
                    <a:lnTo>
                      <a:pt x="235" y="2"/>
                    </a:lnTo>
                    <a:lnTo>
                      <a:pt x="238" y="0"/>
                    </a:lnTo>
                    <a:lnTo>
                      <a:pt x="241" y="0"/>
                    </a:lnTo>
                    <a:lnTo>
                      <a:pt x="245" y="0"/>
                    </a:lnTo>
                    <a:lnTo>
                      <a:pt x="250" y="2"/>
                    </a:lnTo>
                    <a:lnTo>
                      <a:pt x="254" y="3"/>
                    </a:lnTo>
                    <a:lnTo>
                      <a:pt x="257" y="6"/>
                    </a:lnTo>
                    <a:lnTo>
                      <a:pt x="260" y="10"/>
                    </a:lnTo>
                    <a:lnTo>
                      <a:pt x="259" y="10"/>
                    </a:lnTo>
                    <a:lnTo>
                      <a:pt x="259" y="11"/>
                    </a:lnTo>
                    <a:lnTo>
                      <a:pt x="257" y="13"/>
                    </a:lnTo>
                    <a:lnTo>
                      <a:pt x="256" y="14"/>
                    </a:lnTo>
                    <a:lnTo>
                      <a:pt x="256" y="17"/>
                    </a:lnTo>
                    <a:lnTo>
                      <a:pt x="254" y="18"/>
                    </a:lnTo>
                    <a:lnTo>
                      <a:pt x="254" y="21"/>
                    </a:lnTo>
                    <a:lnTo>
                      <a:pt x="254" y="28"/>
                    </a:lnTo>
                    <a:lnTo>
                      <a:pt x="254" y="29"/>
                    </a:lnTo>
                    <a:lnTo>
                      <a:pt x="254" y="30"/>
                    </a:lnTo>
                    <a:lnTo>
                      <a:pt x="254" y="32"/>
                    </a:lnTo>
                    <a:lnTo>
                      <a:pt x="254" y="35"/>
                    </a:lnTo>
                    <a:lnTo>
                      <a:pt x="253" y="37"/>
                    </a:lnTo>
                    <a:lnTo>
                      <a:pt x="252" y="39"/>
                    </a:lnTo>
                    <a:lnTo>
                      <a:pt x="252" y="40"/>
                    </a:lnTo>
                    <a:lnTo>
                      <a:pt x="249" y="41"/>
                    </a:lnTo>
                    <a:lnTo>
                      <a:pt x="249" y="43"/>
                    </a:lnTo>
                    <a:lnTo>
                      <a:pt x="248" y="44"/>
                    </a:lnTo>
                    <a:lnTo>
                      <a:pt x="248" y="47"/>
                    </a:lnTo>
                    <a:lnTo>
                      <a:pt x="249" y="48"/>
                    </a:lnTo>
                    <a:lnTo>
                      <a:pt x="249" y="51"/>
                    </a:lnTo>
                    <a:lnTo>
                      <a:pt x="250" y="52"/>
                    </a:lnTo>
                    <a:lnTo>
                      <a:pt x="250" y="54"/>
                    </a:lnTo>
                    <a:lnTo>
                      <a:pt x="252" y="55"/>
                    </a:lnTo>
                    <a:lnTo>
                      <a:pt x="252" y="57"/>
                    </a:lnTo>
                    <a:lnTo>
                      <a:pt x="253" y="57"/>
                    </a:lnTo>
                    <a:lnTo>
                      <a:pt x="253" y="58"/>
                    </a:lnTo>
                    <a:lnTo>
                      <a:pt x="253" y="59"/>
                    </a:lnTo>
                    <a:lnTo>
                      <a:pt x="253" y="61"/>
                    </a:lnTo>
                    <a:lnTo>
                      <a:pt x="253" y="62"/>
                    </a:lnTo>
                    <a:lnTo>
                      <a:pt x="253" y="63"/>
                    </a:lnTo>
                    <a:lnTo>
                      <a:pt x="253" y="66"/>
                    </a:lnTo>
                    <a:lnTo>
                      <a:pt x="253" y="68"/>
                    </a:lnTo>
                    <a:lnTo>
                      <a:pt x="254" y="69"/>
                    </a:lnTo>
                    <a:lnTo>
                      <a:pt x="257" y="72"/>
                    </a:lnTo>
                    <a:lnTo>
                      <a:pt x="259" y="72"/>
                    </a:lnTo>
                    <a:lnTo>
                      <a:pt x="260" y="72"/>
                    </a:lnTo>
                    <a:lnTo>
                      <a:pt x="261" y="73"/>
                    </a:lnTo>
                    <a:lnTo>
                      <a:pt x="261" y="74"/>
                    </a:lnTo>
                    <a:lnTo>
                      <a:pt x="261" y="76"/>
                    </a:lnTo>
                    <a:lnTo>
                      <a:pt x="263" y="80"/>
                    </a:lnTo>
                    <a:lnTo>
                      <a:pt x="263" y="87"/>
                    </a:lnTo>
                    <a:lnTo>
                      <a:pt x="264" y="95"/>
                    </a:lnTo>
                    <a:lnTo>
                      <a:pt x="265" y="105"/>
                    </a:lnTo>
                    <a:lnTo>
                      <a:pt x="268" y="114"/>
                    </a:lnTo>
                    <a:lnTo>
                      <a:pt x="271" y="123"/>
                    </a:lnTo>
                    <a:lnTo>
                      <a:pt x="275" y="128"/>
                    </a:lnTo>
                    <a:lnTo>
                      <a:pt x="278" y="129"/>
                    </a:lnTo>
                    <a:lnTo>
                      <a:pt x="278" y="131"/>
                    </a:lnTo>
                    <a:lnTo>
                      <a:pt x="276" y="132"/>
                    </a:lnTo>
                    <a:lnTo>
                      <a:pt x="276" y="134"/>
                    </a:lnTo>
                    <a:lnTo>
                      <a:pt x="278" y="136"/>
                    </a:lnTo>
                    <a:lnTo>
                      <a:pt x="278" y="138"/>
                    </a:lnTo>
                    <a:lnTo>
                      <a:pt x="278" y="142"/>
                    </a:lnTo>
                    <a:lnTo>
                      <a:pt x="279" y="146"/>
                    </a:lnTo>
                    <a:lnTo>
                      <a:pt x="279" y="150"/>
                    </a:lnTo>
                    <a:lnTo>
                      <a:pt x="281" y="154"/>
                    </a:lnTo>
                    <a:lnTo>
                      <a:pt x="281" y="158"/>
                    </a:lnTo>
                    <a:lnTo>
                      <a:pt x="282" y="162"/>
                    </a:lnTo>
                    <a:lnTo>
                      <a:pt x="282" y="164"/>
                    </a:lnTo>
                    <a:lnTo>
                      <a:pt x="282" y="165"/>
                    </a:lnTo>
                    <a:lnTo>
                      <a:pt x="283" y="165"/>
                    </a:lnTo>
                    <a:lnTo>
                      <a:pt x="283" y="167"/>
                    </a:lnTo>
                    <a:lnTo>
                      <a:pt x="285" y="168"/>
                    </a:lnTo>
                    <a:lnTo>
                      <a:pt x="286" y="169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89" y="172"/>
                    </a:lnTo>
                    <a:lnTo>
                      <a:pt x="289" y="173"/>
                    </a:lnTo>
                    <a:lnTo>
                      <a:pt x="289" y="175"/>
                    </a:lnTo>
                    <a:lnTo>
                      <a:pt x="289" y="177"/>
                    </a:lnTo>
                    <a:lnTo>
                      <a:pt x="290" y="180"/>
                    </a:lnTo>
                    <a:lnTo>
                      <a:pt x="290" y="183"/>
                    </a:lnTo>
                    <a:lnTo>
                      <a:pt x="290" y="186"/>
                    </a:lnTo>
                    <a:lnTo>
                      <a:pt x="290" y="187"/>
                    </a:lnTo>
                    <a:lnTo>
                      <a:pt x="287" y="197"/>
                    </a:lnTo>
                    <a:lnTo>
                      <a:pt x="287" y="198"/>
                    </a:lnTo>
                    <a:lnTo>
                      <a:pt x="289" y="198"/>
                    </a:lnTo>
                    <a:lnTo>
                      <a:pt x="289" y="199"/>
                    </a:lnTo>
                    <a:lnTo>
                      <a:pt x="290" y="201"/>
                    </a:lnTo>
                    <a:lnTo>
                      <a:pt x="292" y="202"/>
                    </a:lnTo>
                    <a:lnTo>
                      <a:pt x="292" y="205"/>
                    </a:lnTo>
                    <a:lnTo>
                      <a:pt x="292" y="206"/>
                    </a:lnTo>
                    <a:lnTo>
                      <a:pt x="292" y="208"/>
                    </a:lnTo>
                    <a:lnTo>
                      <a:pt x="292" y="209"/>
                    </a:lnTo>
                    <a:lnTo>
                      <a:pt x="293" y="212"/>
                    </a:lnTo>
                    <a:lnTo>
                      <a:pt x="293" y="213"/>
                    </a:lnTo>
                    <a:lnTo>
                      <a:pt x="293" y="216"/>
                    </a:lnTo>
                    <a:lnTo>
                      <a:pt x="294" y="217"/>
                    </a:lnTo>
                    <a:lnTo>
                      <a:pt x="296" y="220"/>
                    </a:lnTo>
                    <a:lnTo>
                      <a:pt x="297" y="221"/>
                    </a:lnTo>
                    <a:lnTo>
                      <a:pt x="308" y="238"/>
                    </a:lnTo>
                    <a:lnTo>
                      <a:pt x="227" y="282"/>
                    </a:lnTo>
                    <a:lnTo>
                      <a:pt x="179" y="292"/>
                    </a:lnTo>
                    <a:lnTo>
                      <a:pt x="176" y="274"/>
                    </a:lnTo>
                    <a:lnTo>
                      <a:pt x="143" y="274"/>
                    </a:lnTo>
                    <a:lnTo>
                      <a:pt x="4" y="17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0" name="Freeform 942"/>
              <p:cNvSpPr>
                <a:spLocks/>
              </p:cNvSpPr>
              <p:nvPr/>
            </p:nvSpPr>
            <p:spPr bwMode="auto">
              <a:xfrm>
                <a:off x="2456" y="2481"/>
                <a:ext cx="134" cy="117"/>
              </a:xfrm>
              <a:custGeom>
                <a:avLst/>
                <a:gdLst>
                  <a:gd name="T0" fmla="*/ 0 w 134"/>
                  <a:gd name="T1" fmla="*/ 110 h 117"/>
                  <a:gd name="T2" fmla="*/ 0 w 134"/>
                  <a:gd name="T3" fmla="*/ 105 h 117"/>
                  <a:gd name="T4" fmla="*/ 2 w 134"/>
                  <a:gd name="T5" fmla="*/ 99 h 117"/>
                  <a:gd name="T6" fmla="*/ 7 w 134"/>
                  <a:gd name="T7" fmla="*/ 94 h 117"/>
                  <a:gd name="T8" fmla="*/ 9 w 134"/>
                  <a:gd name="T9" fmla="*/ 88 h 117"/>
                  <a:gd name="T10" fmla="*/ 15 w 134"/>
                  <a:gd name="T11" fmla="*/ 84 h 117"/>
                  <a:gd name="T12" fmla="*/ 20 w 134"/>
                  <a:gd name="T13" fmla="*/ 81 h 117"/>
                  <a:gd name="T14" fmla="*/ 29 w 134"/>
                  <a:gd name="T15" fmla="*/ 80 h 117"/>
                  <a:gd name="T16" fmla="*/ 37 w 134"/>
                  <a:gd name="T17" fmla="*/ 76 h 117"/>
                  <a:gd name="T18" fmla="*/ 38 w 134"/>
                  <a:gd name="T19" fmla="*/ 72 h 117"/>
                  <a:gd name="T20" fmla="*/ 37 w 134"/>
                  <a:gd name="T21" fmla="*/ 68 h 117"/>
                  <a:gd name="T22" fmla="*/ 34 w 134"/>
                  <a:gd name="T23" fmla="*/ 66 h 117"/>
                  <a:gd name="T24" fmla="*/ 29 w 134"/>
                  <a:gd name="T25" fmla="*/ 51 h 117"/>
                  <a:gd name="T26" fmla="*/ 35 w 134"/>
                  <a:gd name="T27" fmla="*/ 42 h 117"/>
                  <a:gd name="T28" fmla="*/ 44 w 134"/>
                  <a:gd name="T29" fmla="*/ 35 h 117"/>
                  <a:gd name="T30" fmla="*/ 53 w 134"/>
                  <a:gd name="T31" fmla="*/ 31 h 117"/>
                  <a:gd name="T32" fmla="*/ 56 w 134"/>
                  <a:gd name="T33" fmla="*/ 29 h 117"/>
                  <a:gd name="T34" fmla="*/ 59 w 134"/>
                  <a:gd name="T35" fmla="*/ 21 h 117"/>
                  <a:gd name="T36" fmla="*/ 60 w 134"/>
                  <a:gd name="T37" fmla="*/ 17 h 117"/>
                  <a:gd name="T38" fmla="*/ 63 w 134"/>
                  <a:gd name="T39" fmla="*/ 13 h 117"/>
                  <a:gd name="T40" fmla="*/ 63 w 134"/>
                  <a:gd name="T41" fmla="*/ 13 h 117"/>
                  <a:gd name="T42" fmla="*/ 64 w 134"/>
                  <a:gd name="T43" fmla="*/ 9 h 117"/>
                  <a:gd name="T44" fmla="*/ 67 w 134"/>
                  <a:gd name="T45" fmla="*/ 6 h 117"/>
                  <a:gd name="T46" fmla="*/ 68 w 134"/>
                  <a:gd name="T47" fmla="*/ 3 h 117"/>
                  <a:gd name="T48" fmla="*/ 71 w 134"/>
                  <a:gd name="T49" fmla="*/ 0 h 117"/>
                  <a:gd name="T50" fmla="*/ 133 w 134"/>
                  <a:gd name="T51" fmla="*/ 9 h 117"/>
                  <a:gd name="T52" fmla="*/ 106 w 134"/>
                  <a:gd name="T53" fmla="*/ 25 h 117"/>
                  <a:gd name="T54" fmla="*/ 104 w 134"/>
                  <a:gd name="T55" fmla="*/ 25 h 117"/>
                  <a:gd name="T56" fmla="*/ 100 w 134"/>
                  <a:gd name="T57" fmla="*/ 24 h 117"/>
                  <a:gd name="T58" fmla="*/ 97 w 134"/>
                  <a:gd name="T59" fmla="*/ 25 h 117"/>
                  <a:gd name="T60" fmla="*/ 96 w 134"/>
                  <a:gd name="T61" fmla="*/ 32 h 117"/>
                  <a:gd name="T62" fmla="*/ 96 w 134"/>
                  <a:gd name="T63" fmla="*/ 43 h 117"/>
                  <a:gd name="T64" fmla="*/ 96 w 134"/>
                  <a:gd name="T65" fmla="*/ 54 h 117"/>
                  <a:gd name="T66" fmla="*/ 95 w 134"/>
                  <a:gd name="T67" fmla="*/ 64 h 117"/>
                  <a:gd name="T68" fmla="*/ 95 w 134"/>
                  <a:gd name="T69" fmla="*/ 66 h 117"/>
                  <a:gd name="T70" fmla="*/ 95 w 134"/>
                  <a:gd name="T71" fmla="*/ 68 h 117"/>
                  <a:gd name="T72" fmla="*/ 95 w 134"/>
                  <a:gd name="T73" fmla="*/ 70 h 117"/>
                  <a:gd name="T74" fmla="*/ 93 w 134"/>
                  <a:gd name="T75" fmla="*/ 73 h 117"/>
                  <a:gd name="T76" fmla="*/ 92 w 134"/>
                  <a:gd name="T77" fmla="*/ 75 h 117"/>
                  <a:gd name="T78" fmla="*/ 88 w 134"/>
                  <a:gd name="T79" fmla="*/ 73 h 117"/>
                  <a:gd name="T80" fmla="*/ 81 w 134"/>
                  <a:gd name="T81" fmla="*/ 73 h 117"/>
                  <a:gd name="T82" fmla="*/ 74 w 134"/>
                  <a:gd name="T83" fmla="*/ 77 h 117"/>
                  <a:gd name="T84" fmla="*/ 71 w 134"/>
                  <a:gd name="T85" fmla="*/ 90 h 117"/>
                  <a:gd name="T86" fmla="*/ 0 w 134"/>
                  <a:gd name="T87" fmla="*/ 11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117">
                    <a:moveTo>
                      <a:pt x="0" y="114"/>
                    </a:moveTo>
                    <a:lnTo>
                      <a:pt x="0" y="110"/>
                    </a:lnTo>
                    <a:lnTo>
                      <a:pt x="0" y="108"/>
                    </a:lnTo>
                    <a:lnTo>
                      <a:pt x="0" y="105"/>
                    </a:lnTo>
                    <a:lnTo>
                      <a:pt x="1" y="102"/>
                    </a:lnTo>
                    <a:lnTo>
                      <a:pt x="2" y="99"/>
                    </a:lnTo>
                    <a:lnTo>
                      <a:pt x="4" y="97"/>
                    </a:lnTo>
                    <a:lnTo>
                      <a:pt x="7" y="94"/>
                    </a:lnTo>
                    <a:lnTo>
                      <a:pt x="8" y="91"/>
                    </a:lnTo>
                    <a:lnTo>
                      <a:pt x="9" y="88"/>
                    </a:lnTo>
                    <a:lnTo>
                      <a:pt x="12" y="86"/>
                    </a:lnTo>
                    <a:lnTo>
                      <a:pt x="15" y="84"/>
                    </a:lnTo>
                    <a:lnTo>
                      <a:pt x="18" y="83"/>
                    </a:lnTo>
                    <a:lnTo>
                      <a:pt x="20" y="81"/>
                    </a:lnTo>
                    <a:lnTo>
                      <a:pt x="24" y="81"/>
                    </a:lnTo>
                    <a:lnTo>
                      <a:pt x="29" y="80"/>
                    </a:lnTo>
                    <a:lnTo>
                      <a:pt x="33" y="79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2"/>
                    </a:lnTo>
                    <a:lnTo>
                      <a:pt x="38" y="70"/>
                    </a:lnTo>
                    <a:lnTo>
                      <a:pt x="37" y="68"/>
                    </a:lnTo>
                    <a:lnTo>
                      <a:pt x="35" y="66"/>
                    </a:lnTo>
                    <a:lnTo>
                      <a:pt x="34" y="66"/>
                    </a:lnTo>
                    <a:lnTo>
                      <a:pt x="33" y="65"/>
                    </a:lnTo>
                    <a:lnTo>
                      <a:pt x="29" y="51"/>
                    </a:lnTo>
                    <a:lnTo>
                      <a:pt x="31" y="46"/>
                    </a:lnTo>
                    <a:lnTo>
                      <a:pt x="35" y="42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9" y="32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6" y="29"/>
                    </a:lnTo>
                    <a:lnTo>
                      <a:pt x="57" y="25"/>
                    </a:lnTo>
                    <a:lnTo>
                      <a:pt x="59" y="21"/>
                    </a:lnTo>
                    <a:lnTo>
                      <a:pt x="60" y="18"/>
                    </a:lnTo>
                    <a:lnTo>
                      <a:pt x="60" y="17"/>
                    </a:lnTo>
                    <a:lnTo>
                      <a:pt x="62" y="14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3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7"/>
                    </a:lnTo>
                    <a:lnTo>
                      <a:pt x="67" y="6"/>
                    </a:lnTo>
                    <a:lnTo>
                      <a:pt x="67" y="5"/>
                    </a:lnTo>
                    <a:lnTo>
                      <a:pt x="68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9" y="2"/>
                    </a:lnTo>
                    <a:lnTo>
                      <a:pt x="133" y="9"/>
                    </a:lnTo>
                    <a:lnTo>
                      <a:pt x="134" y="26"/>
                    </a:lnTo>
                    <a:lnTo>
                      <a:pt x="106" y="25"/>
                    </a:lnTo>
                    <a:lnTo>
                      <a:pt x="104" y="25"/>
                    </a:lnTo>
                    <a:lnTo>
                      <a:pt x="104" y="25"/>
                    </a:lnTo>
                    <a:lnTo>
                      <a:pt x="103" y="24"/>
                    </a:lnTo>
                    <a:lnTo>
                      <a:pt x="100" y="24"/>
                    </a:lnTo>
                    <a:lnTo>
                      <a:pt x="99" y="24"/>
                    </a:lnTo>
                    <a:lnTo>
                      <a:pt x="97" y="25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96" y="43"/>
                    </a:lnTo>
                    <a:lnTo>
                      <a:pt x="96" y="48"/>
                    </a:lnTo>
                    <a:lnTo>
                      <a:pt x="96" y="54"/>
                    </a:lnTo>
                    <a:lnTo>
                      <a:pt x="95" y="59"/>
                    </a:lnTo>
                    <a:lnTo>
                      <a:pt x="95" y="64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8"/>
                    </a:lnTo>
                    <a:lnTo>
                      <a:pt x="95" y="69"/>
                    </a:lnTo>
                    <a:lnTo>
                      <a:pt x="95" y="70"/>
                    </a:lnTo>
                    <a:lnTo>
                      <a:pt x="95" y="72"/>
                    </a:lnTo>
                    <a:lnTo>
                      <a:pt x="93" y="73"/>
                    </a:lnTo>
                    <a:lnTo>
                      <a:pt x="93" y="75"/>
                    </a:lnTo>
                    <a:lnTo>
                      <a:pt x="92" y="75"/>
                    </a:lnTo>
                    <a:lnTo>
                      <a:pt x="90" y="73"/>
                    </a:lnTo>
                    <a:lnTo>
                      <a:pt x="88" y="73"/>
                    </a:lnTo>
                    <a:lnTo>
                      <a:pt x="85" y="73"/>
                    </a:lnTo>
                    <a:lnTo>
                      <a:pt x="81" y="73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1" y="83"/>
                    </a:lnTo>
                    <a:lnTo>
                      <a:pt x="71" y="90"/>
                    </a:lnTo>
                    <a:lnTo>
                      <a:pt x="68" y="117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1" name="Freeform 943"/>
              <p:cNvSpPr>
                <a:spLocks/>
              </p:cNvSpPr>
              <p:nvPr/>
            </p:nvSpPr>
            <p:spPr bwMode="auto">
              <a:xfrm>
                <a:off x="2456" y="2481"/>
                <a:ext cx="134" cy="117"/>
              </a:xfrm>
              <a:custGeom>
                <a:avLst/>
                <a:gdLst>
                  <a:gd name="T0" fmla="*/ 0 w 134"/>
                  <a:gd name="T1" fmla="*/ 110 h 117"/>
                  <a:gd name="T2" fmla="*/ 0 w 134"/>
                  <a:gd name="T3" fmla="*/ 105 h 117"/>
                  <a:gd name="T4" fmla="*/ 2 w 134"/>
                  <a:gd name="T5" fmla="*/ 99 h 117"/>
                  <a:gd name="T6" fmla="*/ 7 w 134"/>
                  <a:gd name="T7" fmla="*/ 94 h 117"/>
                  <a:gd name="T8" fmla="*/ 9 w 134"/>
                  <a:gd name="T9" fmla="*/ 88 h 117"/>
                  <a:gd name="T10" fmla="*/ 15 w 134"/>
                  <a:gd name="T11" fmla="*/ 84 h 117"/>
                  <a:gd name="T12" fmla="*/ 20 w 134"/>
                  <a:gd name="T13" fmla="*/ 81 h 117"/>
                  <a:gd name="T14" fmla="*/ 29 w 134"/>
                  <a:gd name="T15" fmla="*/ 80 h 117"/>
                  <a:gd name="T16" fmla="*/ 37 w 134"/>
                  <a:gd name="T17" fmla="*/ 76 h 117"/>
                  <a:gd name="T18" fmla="*/ 38 w 134"/>
                  <a:gd name="T19" fmla="*/ 72 h 117"/>
                  <a:gd name="T20" fmla="*/ 37 w 134"/>
                  <a:gd name="T21" fmla="*/ 68 h 117"/>
                  <a:gd name="T22" fmla="*/ 34 w 134"/>
                  <a:gd name="T23" fmla="*/ 66 h 117"/>
                  <a:gd name="T24" fmla="*/ 29 w 134"/>
                  <a:gd name="T25" fmla="*/ 51 h 117"/>
                  <a:gd name="T26" fmla="*/ 35 w 134"/>
                  <a:gd name="T27" fmla="*/ 42 h 117"/>
                  <a:gd name="T28" fmla="*/ 44 w 134"/>
                  <a:gd name="T29" fmla="*/ 35 h 117"/>
                  <a:gd name="T30" fmla="*/ 53 w 134"/>
                  <a:gd name="T31" fmla="*/ 31 h 117"/>
                  <a:gd name="T32" fmla="*/ 56 w 134"/>
                  <a:gd name="T33" fmla="*/ 29 h 117"/>
                  <a:gd name="T34" fmla="*/ 59 w 134"/>
                  <a:gd name="T35" fmla="*/ 21 h 117"/>
                  <a:gd name="T36" fmla="*/ 60 w 134"/>
                  <a:gd name="T37" fmla="*/ 17 h 117"/>
                  <a:gd name="T38" fmla="*/ 63 w 134"/>
                  <a:gd name="T39" fmla="*/ 13 h 117"/>
                  <a:gd name="T40" fmla="*/ 64 w 134"/>
                  <a:gd name="T41" fmla="*/ 9 h 117"/>
                  <a:gd name="T42" fmla="*/ 67 w 134"/>
                  <a:gd name="T43" fmla="*/ 6 h 117"/>
                  <a:gd name="T44" fmla="*/ 68 w 134"/>
                  <a:gd name="T45" fmla="*/ 3 h 117"/>
                  <a:gd name="T46" fmla="*/ 71 w 134"/>
                  <a:gd name="T47" fmla="*/ 0 h 117"/>
                  <a:gd name="T48" fmla="*/ 133 w 134"/>
                  <a:gd name="T49" fmla="*/ 9 h 117"/>
                  <a:gd name="T50" fmla="*/ 106 w 134"/>
                  <a:gd name="T51" fmla="*/ 25 h 117"/>
                  <a:gd name="T52" fmla="*/ 103 w 134"/>
                  <a:gd name="T53" fmla="*/ 24 h 117"/>
                  <a:gd name="T54" fmla="*/ 99 w 134"/>
                  <a:gd name="T55" fmla="*/ 24 h 117"/>
                  <a:gd name="T56" fmla="*/ 96 w 134"/>
                  <a:gd name="T57" fmla="*/ 28 h 117"/>
                  <a:gd name="T58" fmla="*/ 96 w 134"/>
                  <a:gd name="T59" fmla="*/ 36 h 117"/>
                  <a:gd name="T60" fmla="*/ 96 w 134"/>
                  <a:gd name="T61" fmla="*/ 48 h 117"/>
                  <a:gd name="T62" fmla="*/ 95 w 134"/>
                  <a:gd name="T63" fmla="*/ 59 h 117"/>
                  <a:gd name="T64" fmla="*/ 95 w 134"/>
                  <a:gd name="T65" fmla="*/ 66 h 117"/>
                  <a:gd name="T66" fmla="*/ 95 w 134"/>
                  <a:gd name="T67" fmla="*/ 69 h 117"/>
                  <a:gd name="T68" fmla="*/ 95 w 134"/>
                  <a:gd name="T69" fmla="*/ 72 h 117"/>
                  <a:gd name="T70" fmla="*/ 93 w 134"/>
                  <a:gd name="T71" fmla="*/ 75 h 117"/>
                  <a:gd name="T72" fmla="*/ 90 w 134"/>
                  <a:gd name="T73" fmla="*/ 73 h 117"/>
                  <a:gd name="T74" fmla="*/ 85 w 134"/>
                  <a:gd name="T75" fmla="*/ 73 h 117"/>
                  <a:gd name="T76" fmla="*/ 77 w 134"/>
                  <a:gd name="T77" fmla="*/ 75 h 117"/>
                  <a:gd name="T78" fmla="*/ 71 w 134"/>
                  <a:gd name="T79" fmla="*/ 83 h 117"/>
                  <a:gd name="T80" fmla="*/ 68 w 134"/>
                  <a:gd name="T81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4" h="117">
                    <a:moveTo>
                      <a:pt x="0" y="114"/>
                    </a:moveTo>
                    <a:lnTo>
                      <a:pt x="0" y="110"/>
                    </a:lnTo>
                    <a:lnTo>
                      <a:pt x="0" y="108"/>
                    </a:lnTo>
                    <a:lnTo>
                      <a:pt x="0" y="105"/>
                    </a:lnTo>
                    <a:lnTo>
                      <a:pt x="1" y="102"/>
                    </a:lnTo>
                    <a:lnTo>
                      <a:pt x="2" y="99"/>
                    </a:lnTo>
                    <a:lnTo>
                      <a:pt x="4" y="97"/>
                    </a:lnTo>
                    <a:lnTo>
                      <a:pt x="7" y="94"/>
                    </a:lnTo>
                    <a:lnTo>
                      <a:pt x="8" y="91"/>
                    </a:lnTo>
                    <a:lnTo>
                      <a:pt x="9" y="88"/>
                    </a:lnTo>
                    <a:lnTo>
                      <a:pt x="12" y="86"/>
                    </a:lnTo>
                    <a:lnTo>
                      <a:pt x="15" y="84"/>
                    </a:lnTo>
                    <a:lnTo>
                      <a:pt x="18" y="83"/>
                    </a:lnTo>
                    <a:lnTo>
                      <a:pt x="20" y="81"/>
                    </a:lnTo>
                    <a:lnTo>
                      <a:pt x="24" y="81"/>
                    </a:lnTo>
                    <a:lnTo>
                      <a:pt x="29" y="80"/>
                    </a:lnTo>
                    <a:lnTo>
                      <a:pt x="33" y="79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2"/>
                    </a:lnTo>
                    <a:lnTo>
                      <a:pt x="38" y="70"/>
                    </a:lnTo>
                    <a:lnTo>
                      <a:pt x="37" y="68"/>
                    </a:lnTo>
                    <a:lnTo>
                      <a:pt x="35" y="66"/>
                    </a:lnTo>
                    <a:lnTo>
                      <a:pt x="34" y="66"/>
                    </a:lnTo>
                    <a:lnTo>
                      <a:pt x="33" y="65"/>
                    </a:lnTo>
                    <a:lnTo>
                      <a:pt x="29" y="51"/>
                    </a:lnTo>
                    <a:lnTo>
                      <a:pt x="31" y="46"/>
                    </a:lnTo>
                    <a:lnTo>
                      <a:pt x="35" y="42"/>
                    </a:lnTo>
                    <a:lnTo>
                      <a:pt x="40" y="37"/>
                    </a:lnTo>
                    <a:lnTo>
                      <a:pt x="44" y="35"/>
                    </a:lnTo>
                    <a:lnTo>
                      <a:pt x="49" y="32"/>
                    </a:lnTo>
                    <a:lnTo>
                      <a:pt x="53" y="31"/>
                    </a:lnTo>
                    <a:lnTo>
                      <a:pt x="55" y="31"/>
                    </a:lnTo>
                    <a:lnTo>
                      <a:pt x="56" y="29"/>
                    </a:lnTo>
                    <a:lnTo>
                      <a:pt x="57" y="25"/>
                    </a:lnTo>
                    <a:lnTo>
                      <a:pt x="59" y="21"/>
                    </a:lnTo>
                    <a:lnTo>
                      <a:pt x="60" y="18"/>
                    </a:lnTo>
                    <a:lnTo>
                      <a:pt x="60" y="17"/>
                    </a:lnTo>
                    <a:lnTo>
                      <a:pt x="62" y="14"/>
                    </a:lnTo>
                    <a:lnTo>
                      <a:pt x="63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7"/>
                    </a:lnTo>
                    <a:lnTo>
                      <a:pt x="67" y="6"/>
                    </a:lnTo>
                    <a:lnTo>
                      <a:pt x="67" y="5"/>
                    </a:lnTo>
                    <a:lnTo>
                      <a:pt x="68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9" y="2"/>
                    </a:lnTo>
                    <a:lnTo>
                      <a:pt x="133" y="9"/>
                    </a:lnTo>
                    <a:lnTo>
                      <a:pt x="134" y="26"/>
                    </a:lnTo>
                    <a:lnTo>
                      <a:pt x="106" y="25"/>
                    </a:lnTo>
                    <a:lnTo>
                      <a:pt x="104" y="25"/>
                    </a:lnTo>
                    <a:lnTo>
                      <a:pt x="103" y="24"/>
                    </a:lnTo>
                    <a:lnTo>
                      <a:pt x="100" y="24"/>
                    </a:lnTo>
                    <a:lnTo>
                      <a:pt x="99" y="24"/>
                    </a:lnTo>
                    <a:lnTo>
                      <a:pt x="97" y="25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96" y="43"/>
                    </a:lnTo>
                    <a:lnTo>
                      <a:pt x="96" y="48"/>
                    </a:lnTo>
                    <a:lnTo>
                      <a:pt x="96" y="54"/>
                    </a:lnTo>
                    <a:lnTo>
                      <a:pt x="95" y="59"/>
                    </a:lnTo>
                    <a:lnTo>
                      <a:pt x="95" y="64"/>
                    </a:lnTo>
                    <a:lnTo>
                      <a:pt x="95" y="66"/>
                    </a:lnTo>
                    <a:lnTo>
                      <a:pt x="95" y="68"/>
                    </a:lnTo>
                    <a:lnTo>
                      <a:pt x="95" y="69"/>
                    </a:lnTo>
                    <a:lnTo>
                      <a:pt x="95" y="70"/>
                    </a:lnTo>
                    <a:lnTo>
                      <a:pt x="95" y="72"/>
                    </a:lnTo>
                    <a:lnTo>
                      <a:pt x="93" y="73"/>
                    </a:lnTo>
                    <a:lnTo>
                      <a:pt x="93" y="75"/>
                    </a:lnTo>
                    <a:lnTo>
                      <a:pt x="92" y="75"/>
                    </a:lnTo>
                    <a:lnTo>
                      <a:pt x="90" y="73"/>
                    </a:lnTo>
                    <a:lnTo>
                      <a:pt x="88" y="73"/>
                    </a:lnTo>
                    <a:lnTo>
                      <a:pt x="85" y="73"/>
                    </a:lnTo>
                    <a:lnTo>
                      <a:pt x="81" y="73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1" y="83"/>
                    </a:lnTo>
                    <a:lnTo>
                      <a:pt x="71" y="90"/>
                    </a:lnTo>
                    <a:lnTo>
                      <a:pt x="68" y="117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2" name="Freeform 944"/>
              <p:cNvSpPr>
                <a:spLocks/>
              </p:cNvSpPr>
              <p:nvPr/>
            </p:nvSpPr>
            <p:spPr bwMode="auto">
              <a:xfrm>
                <a:off x="2449" y="2490"/>
                <a:ext cx="187" cy="217"/>
              </a:xfrm>
              <a:custGeom>
                <a:avLst/>
                <a:gdLst>
                  <a:gd name="T0" fmla="*/ 5 w 187"/>
                  <a:gd name="T1" fmla="*/ 187 h 217"/>
                  <a:gd name="T2" fmla="*/ 14 w 187"/>
                  <a:gd name="T3" fmla="*/ 177 h 217"/>
                  <a:gd name="T4" fmla="*/ 18 w 187"/>
                  <a:gd name="T5" fmla="*/ 173 h 217"/>
                  <a:gd name="T6" fmla="*/ 20 w 187"/>
                  <a:gd name="T7" fmla="*/ 160 h 217"/>
                  <a:gd name="T8" fmla="*/ 15 w 187"/>
                  <a:gd name="T9" fmla="*/ 147 h 217"/>
                  <a:gd name="T10" fmla="*/ 7 w 187"/>
                  <a:gd name="T11" fmla="*/ 130 h 217"/>
                  <a:gd name="T12" fmla="*/ 16 w 187"/>
                  <a:gd name="T13" fmla="*/ 105 h 217"/>
                  <a:gd name="T14" fmla="*/ 78 w 187"/>
                  <a:gd name="T15" fmla="*/ 74 h 217"/>
                  <a:gd name="T16" fmla="*/ 88 w 187"/>
                  <a:gd name="T17" fmla="*/ 64 h 217"/>
                  <a:gd name="T18" fmla="*/ 97 w 187"/>
                  <a:gd name="T19" fmla="*/ 64 h 217"/>
                  <a:gd name="T20" fmla="*/ 100 w 187"/>
                  <a:gd name="T21" fmla="*/ 64 h 217"/>
                  <a:gd name="T22" fmla="*/ 102 w 187"/>
                  <a:gd name="T23" fmla="*/ 60 h 217"/>
                  <a:gd name="T24" fmla="*/ 102 w 187"/>
                  <a:gd name="T25" fmla="*/ 57 h 217"/>
                  <a:gd name="T26" fmla="*/ 102 w 187"/>
                  <a:gd name="T27" fmla="*/ 50 h 217"/>
                  <a:gd name="T28" fmla="*/ 103 w 187"/>
                  <a:gd name="T29" fmla="*/ 34 h 217"/>
                  <a:gd name="T30" fmla="*/ 103 w 187"/>
                  <a:gd name="T31" fmla="*/ 19 h 217"/>
                  <a:gd name="T32" fmla="*/ 107 w 187"/>
                  <a:gd name="T33" fmla="*/ 15 h 217"/>
                  <a:gd name="T34" fmla="*/ 111 w 187"/>
                  <a:gd name="T35" fmla="*/ 16 h 217"/>
                  <a:gd name="T36" fmla="*/ 140 w 187"/>
                  <a:gd name="T37" fmla="*/ 5 h 217"/>
                  <a:gd name="T38" fmla="*/ 163 w 187"/>
                  <a:gd name="T39" fmla="*/ 34 h 217"/>
                  <a:gd name="T40" fmla="*/ 163 w 187"/>
                  <a:gd name="T41" fmla="*/ 34 h 217"/>
                  <a:gd name="T42" fmla="*/ 162 w 187"/>
                  <a:gd name="T43" fmla="*/ 35 h 217"/>
                  <a:gd name="T44" fmla="*/ 168 w 187"/>
                  <a:gd name="T45" fmla="*/ 169 h 217"/>
                  <a:gd name="T46" fmla="*/ 169 w 187"/>
                  <a:gd name="T47" fmla="*/ 171 h 217"/>
                  <a:gd name="T48" fmla="*/ 173 w 187"/>
                  <a:gd name="T49" fmla="*/ 180 h 217"/>
                  <a:gd name="T50" fmla="*/ 166 w 187"/>
                  <a:gd name="T51" fmla="*/ 193 h 217"/>
                  <a:gd name="T52" fmla="*/ 103 w 187"/>
                  <a:gd name="T53" fmla="*/ 189 h 217"/>
                  <a:gd name="T54" fmla="*/ 100 w 187"/>
                  <a:gd name="T55" fmla="*/ 192 h 217"/>
                  <a:gd name="T56" fmla="*/ 96 w 187"/>
                  <a:gd name="T57" fmla="*/ 192 h 217"/>
                  <a:gd name="T58" fmla="*/ 95 w 187"/>
                  <a:gd name="T59" fmla="*/ 191 h 217"/>
                  <a:gd name="T60" fmla="*/ 92 w 187"/>
                  <a:gd name="T61" fmla="*/ 191 h 217"/>
                  <a:gd name="T62" fmla="*/ 91 w 187"/>
                  <a:gd name="T63" fmla="*/ 193 h 217"/>
                  <a:gd name="T64" fmla="*/ 91 w 187"/>
                  <a:gd name="T65" fmla="*/ 200 h 217"/>
                  <a:gd name="T66" fmla="*/ 88 w 187"/>
                  <a:gd name="T67" fmla="*/ 206 h 217"/>
                  <a:gd name="T68" fmla="*/ 85 w 187"/>
                  <a:gd name="T69" fmla="*/ 209 h 217"/>
                  <a:gd name="T70" fmla="*/ 80 w 187"/>
                  <a:gd name="T71" fmla="*/ 215 h 217"/>
                  <a:gd name="T72" fmla="*/ 74 w 187"/>
                  <a:gd name="T73" fmla="*/ 215 h 217"/>
                  <a:gd name="T74" fmla="*/ 67 w 187"/>
                  <a:gd name="T75" fmla="*/ 213 h 217"/>
                  <a:gd name="T76" fmla="*/ 58 w 187"/>
                  <a:gd name="T77" fmla="*/ 209 h 217"/>
                  <a:gd name="T78" fmla="*/ 51 w 187"/>
                  <a:gd name="T79" fmla="*/ 196 h 217"/>
                  <a:gd name="T80" fmla="*/ 44 w 187"/>
                  <a:gd name="T81" fmla="*/ 191 h 217"/>
                  <a:gd name="T82" fmla="*/ 29 w 187"/>
                  <a:gd name="T83" fmla="*/ 18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7" h="217">
                    <a:moveTo>
                      <a:pt x="0" y="193"/>
                    </a:moveTo>
                    <a:lnTo>
                      <a:pt x="2" y="189"/>
                    </a:lnTo>
                    <a:lnTo>
                      <a:pt x="5" y="187"/>
                    </a:lnTo>
                    <a:lnTo>
                      <a:pt x="8" y="182"/>
                    </a:lnTo>
                    <a:lnTo>
                      <a:pt x="11" y="180"/>
                    </a:lnTo>
                    <a:lnTo>
                      <a:pt x="14" y="177"/>
                    </a:lnTo>
                    <a:lnTo>
                      <a:pt x="15" y="174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20" y="169"/>
                    </a:lnTo>
                    <a:lnTo>
                      <a:pt x="20" y="165"/>
                    </a:lnTo>
                    <a:lnTo>
                      <a:pt x="20" y="160"/>
                    </a:lnTo>
                    <a:lnTo>
                      <a:pt x="19" y="155"/>
                    </a:lnTo>
                    <a:lnTo>
                      <a:pt x="16" y="151"/>
                    </a:lnTo>
                    <a:lnTo>
                      <a:pt x="15" y="147"/>
                    </a:lnTo>
                    <a:lnTo>
                      <a:pt x="14" y="144"/>
                    </a:lnTo>
                    <a:lnTo>
                      <a:pt x="12" y="144"/>
                    </a:lnTo>
                    <a:lnTo>
                      <a:pt x="7" y="130"/>
                    </a:lnTo>
                    <a:lnTo>
                      <a:pt x="19" y="114"/>
                    </a:lnTo>
                    <a:lnTo>
                      <a:pt x="7" y="105"/>
                    </a:lnTo>
                    <a:lnTo>
                      <a:pt x="16" y="105"/>
                    </a:lnTo>
                    <a:lnTo>
                      <a:pt x="75" y="108"/>
                    </a:lnTo>
                    <a:lnTo>
                      <a:pt x="78" y="81"/>
                    </a:lnTo>
                    <a:lnTo>
                      <a:pt x="78" y="74"/>
                    </a:lnTo>
                    <a:lnTo>
                      <a:pt x="81" y="68"/>
                    </a:lnTo>
                    <a:lnTo>
                      <a:pt x="84" y="66"/>
                    </a:lnTo>
                    <a:lnTo>
                      <a:pt x="88" y="64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7" y="64"/>
                    </a:lnTo>
                    <a:lnTo>
                      <a:pt x="99" y="66"/>
                    </a:lnTo>
                    <a:lnTo>
                      <a:pt x="100" y="66"/>
                    </a:lnTo>
                    <a:lnTo>
                      <a:pt x="100" y="64"/>
                    </a:lnTo>
                    <a:lnTo>
                      <a:pt x="102" y="63"/>
                    </a:lnTo>
                    <a:lnTo>
                      <a:pt x="102" y="61"/>
                    </a:lnTo>
                    <a:lnTo>
                      <a:pt x="102" y="60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2" y="57"/>
                    </a:lnTo>
                    <a:lnTo>
                      <a:pt x="102" y="57"/>
                    </a:lnTo>
                    <a:lnTo>
                      <a:pt x="102" y="55"/>
                    </a:lnTo>
                    <a:lnTo>
                      <a:pt x="102" y="50"/>
                    </a:lnTo>
                    <a:lnTo>
                      <a:pt x="103" y="45"/>
                    </a:lnTo>
                    <a:lnTo>
                      <a:pt x="103" y="39"/>
                    </a:lnTo>
                    <a:lnTo>
                      <a:pt x="103" y="34"/>
                    </a:lnTo>
                    <a:lnTo>
                      <a:pt x="103" y="27"/>
                    </a:lnTo>
                    <a:lnTo>
                      <a:pt x="103" y="23"/>
                    </a:lnTo>
                    <a:lnTo>
                      <a:pt x="103" y="19"/>
                    </a:lnTo>
                    <a:lnTo>
                      <a:pt x="104" y="16"/>
                    </a:lnTo>
                    <a:lnTo>
                      <a:pt x="106" y="15"/>
                    </a:lnTo>
                    <a:lnTo>
                      <a:pt x="107" y="15"/>
                    </a:lnTo>
                    <a:lnTo>
                      <a:pt x="110" y="15"/>
                    </a:lnTo>
                    <a:lnTo>
                      <a:pt x="111" y="16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41" y="17"/>
                    </a:lnTo>
                    <a:lnTo>
                      <a:pt x="140" y="5"/>
                    </a:lnTo>
                    <a:lnTo>
                      <a:pt x="140" y="0"/>
                    </a:lnTo>
                    <a:lnTo>
                      <a:pt x="187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2" y="34"/>
                    </a:lnTo>
                    <a:lnTo>
                      <a:pt x="162" y="34"/>
                    </a:lnTo>
                    <a:lnTo>
                      <a:pt x="162" y="35"/>
                    </a:lnTo>
                    <a:lnTo>
                      <a:pt x="162" y="37"/>
                    </a:lnTo>
                    <a:lnTo>
                      <a:pt x="161" y="39"/>
                    </a:lnTo>
                    <a:lnTo>
                      <a:pt x="168" y="169"/>
                    </a:lnTo>
                    <a:lnTo>
                      <a:pt x="168" y="169"/>
                    </a:lnTo>
                    <a:lnTo>
                      <a:pt x="169" y="170"/>
                    </a:lnTo>
                    <a:lnTo>
                      <a:pt x="169" y="171"/>
                    </a:lnTo>
                    <a:lnTo>
                      <a:pt x="170" y="174"/>
                    </a:lnTo>
                    <a:lnTo>
                      <a:pt x="172" y="177"/>
                    </a:lnTo>
                    <a:lnTo>
                      <a:pt x="173" y="180"/>
                    </a:lnTo>
                    <a:lnTo>
                      <a:pt x="173" y="182"/>
                    </a:lnTo>
                    <a:lnTo>
                      <a:pt x="173" y="184"/>
                    </a:lnTo>
                    <a:lnTo>
                      <a:pt x="166" y="193"/>
                    </a:lnTo>
                    <a:lnTo>
                      <a:pt x="104" y="188"/>
                    </a:lnTo>
                    <a:lnTo>
                      <a:pt x="103" y="188"/>
                    </a:lnTo>
                    <a:lnTo>
                      <a:pt x="103" y="189"/>
                    </a:lnTo>
                    <a:lnTo>
                      <a:pt x="102" y="189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99" y="192"/>
                    </a:lnTo>
                    <a:lnTo>
                      <a:pt x="97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5" y="191"/>
                    </a:lnTo>
                    <a:lnTo>
                      <a:pt x="95" y="191"/>
                    </a:lnTo>
                    <a:lnTo>
                      <a:pt x="93" y="191"/>
                    </a:lnTo>
                    <a:lnTo>
                      <a:pt x="93" y="191"/>
                    </a:lnTo>
                    <a:lnTo>
                      <a:pt x="92" y="191"/>
                    </a:lnTo>
                    <a:lnTo>
                      <a:pt x="92" y="192"/>
                    </a:lnTo>
                    <a:lnTo>
                      <a:pt x="91" y="192"/>
                    </a:lnTo>
                    <a:lnTo>
                      <a:pt x="91" y="193"/>
                    </a:lnTo>
                    <a:lnTo>
                      <a:pt x="91" y="195"/>
                    </a:lnTo>
                    <a:lnTo>
                      <a:pt x="91" y="198"/>
                    </a:lnTo>
                    <a:lnTo>
                      <a:pt x="91" y="200"/>
                    </a:lnTo>
                    <a:lnTo>
                      <a:pt x="89" y="203"/>
                    </a:lnTo>
                    <a:lnTo>
                      <a:pt x="89" y="204"/>
                    </a:lnTo>
                    <a:lnTo>
                      <a:pt x="88" y="206"/>
                    </a:lnTo>
                    <a:lnTo>
                      <a:pt x="86" y="206"/>
                    </a:lnTo>
                    <a:lnTo>
                      <a:pt x="85" y="206"/>
                    </a:lnTo>
                    <a:lnTo>
                      <a:pt x="85" y="209"/>
                    </a:lnTo>
                    <a:lnTo>
                      <a:pt x="84" y="210"/>
                    </a:lnTo>
                    <a:lnTo>
                      <a:pt x="81" y="213"/>
                    </a:lnTo>
                    <a:lnTo>
                      <a:pt x="80" y="215"/>
                    </a:lnTo>
                    <a:lnTo>
                      <a:pt x="78" y="217"/>
                    </a:lnTo>
                    <a:lnTo>
                      <a:pt x="75" y="217"/>
                    </a:lnTo>
                    <a:lnTo>
                      <a:pt x="74" y="215"/>
                    </a:lnTo>
                    <a:lnTo>
                      <a:pt x="73" y="214"/>
                    </a:lnTo>
                    <a:lnTo>
                      <a:pt x="70" y="213"/>
                    </a:lnTo>
                    <a:lnTo>
                      <a:pt x="67" y="213"/>
                    </a:lnTo>
                    <a:lnTo>
                      <a:pt x="64" y="211"/>
                    </a:lnTo>
                    <a:lnTo>
                      <a:pt x="62" y="210"/>
                    </a:lnTo>
                    <a:lnTo>
                      <a:pt x="58" y="209"/>
                    </a:lnTo>
                    <a:lnTo>
                      <a:pt x="55" y="204"/>
                    </a:lnTo>
                    <a:lnTo>
                      <a:pt x="51" y="198"/>
                    </a:lnTo>
                    <a:lnTo>
                      <a:pt x="51" y="196"/>
                    </a:lnTo>
                    <a:lnTo>
                      <a:pt x="49" y="195"/>
                    </a:lnTo>
                    <a:lnTo>
                      <a:pt x="47" y="193"/>
                    </a:lnTo>
                    <a:lnTo>
                      <a:pt x="44" y="191"/>
                    </a:lnTo>
                    <a:lnTo>
                      <a:pt x="40" y="188"/>
                    </a:lnTo>
                    <a:lnTo>
                      <a:pt x="34" y="185"/>
                    </a:lnTo>
                    <a:lnTo>
                      <a:pt x="29" y="185"/>
                    </a:lnTo>
                    <a:lnTo>
                      <a:pt x="23" y="184"/>
                    </a:lnTo>
                    <a:lnTo>
                      <a:pt x="0" y="19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3" name="Freeform 945"/>
              <p:cNvSpPr>
                <a:spLocks/>
              </p:cNvSpPr>
              <p:nvPr/>
            </p:nvSpPr>
            <p:spPr bwMode="auto">
              <a:xfrm>
                <a:off x="2449" y="2490"/>
                <a:ext cx="187" cy="217"/>
              </a:xfrm>
              <a:custGeom>
                <a:avLst/>
                <a:gdLst>
                  <a:gd name="T0" fmla="*/ 2 w 187"/>
                  <a:gd name="T1" fmla="*/ 189 h 217"/>
                  <a:gd name="T2" fmla="*/ 8 w 187"/>
                  <a:gd name="T3" fmla="*/ 182 h 217"/>
                  <a:gd name="T4" fmla="*/ 14 w 187"/>
                  <a:gd name="T5" fmla="*/ 177 h 217"/>
                  <a:gd name="T6" fmla="*/ 16 w 187"/>
                  <a:gd name="T7" fmla="*/ 173 h 217"/>
                  <a:gd name="T8" fmla="*/ 20 w 187"/>
                  <a:gd name="T9" fmla="*/ 169 h 217"/>
                  <a:gd name="T10" fmla="*/ 20 w 187"/>
                  <a:gd name="T11" fmla="*/ 160 h 217"/>
                  <a:gd name="T12" fmla="*/ 16 w 187"/>
                  <a:gd name="T13" fmla="*/ 151 h 217"/>
                  <a:gd name="T14" fmla="*/ 14 w 187"/>
                  <a:gd name="T15" fmla="*/ 144 h 217"/>
                  <a:gd name="T16" fmla="*/ 7 w 187"/>
                  <a:gd name="T17" fmla="*/ 130 h 217"/>
                  <a:gd name="T18" fmla="*/ 7 w 187"/>
                  <a:gd name="T19" fmla="*/ 105 h 217"/>
                  <a:gd name="T20" fmla="*/ 75 w 187"/>
                  <a:gd name="T21" fmla="*/ 108 h 217"/>
                  <a:gd name="T22" fmla="*/ 78 w 187"/>
                  <a:gd name="T23" fmla="*/ 74 h 217"/>
                  <a:gd name="T24" fmla="*/ 84 w 187"/>
                  <a:gd name="T25" fmla="*/ 66 h 217"/>
                  <a:gd name="T26" fmla="*/ 92 w 187"/>
                  <a:gd name="T27" fmla="*/ 64 h 217"/>
                  <a:gd name="T28" fmla="*/ 97 w 187"/>
                  <a:gd name="T29" fmla="*/ 64 h 217"/>
                  <a:gd name="T30" fmla="*/ 100 w 187"/>
                  <a:gd name="T31" fmla="*/ 66 h 217"/>
                  <a:gd name="T32" fmla="*/ 102 w 187"/>
                  <a:gd name="T33" fmla="*/ 63 h 217"/>
                  <a:gd name="T34" fmla="*/ 102 w 187"/>
                  <a:gd name="T35" fmla="*/ 60 h 217"/>
                  <a:gd name="T36" fmla="*/ 102 w 187"/>
                  <a:gd name="T37" fmla="*/ 57 h 217"/>
                  <a:gd name="T38" fmla="*/ 102 w 187"/>
                  <a:gd name="T39" fmla="*/ 50 h 217"/>
                  <a:gd name="T40" fmla="*/ 103 w 187"/>
                  <a:gd name="T41" fmla="*/ 39 h 217"/>
                  <a:gd name="T42" fmla="*/ 103 w 187"/>
                  <a:gd name="T43" fmla="*/ 27 h 217"/>
                  <a:gd name="T44" fmla="*/ 103 w 187"/>
                  <a:gd name="T45" fmla="*/ 19 h 217"/>
                  <a:gd name="T46" fmla="*/ 106 w 187"/>
                  <a:gd name="T47" fmla="*/ 15 h 217"/>
                  <a:gd name="T48" fmla="*/ 110 w 187"/>
                  <a:gd name="T49" fmla="*/ 15 h 217"/>
                  <a:gd name="T50" fmla="*/ 113 w 187"/>
                  <a:gd name="T51" fmla="*/ 16 h 217"/>
                  <a:gd name="T52" fmla="*/ 140 w 187"/>
                  <a:gd name="T53" fmla="*/ 5 h 217"/>
                  <a:gd name="T54" fmla="*/ 187 w 187"/>
                  <a:gd name="T55" fmla="*/ 34 h 217"/>
                  <a:gd name="T56" fmla="*/ 162 w 187"/>
                  <a:gd name="T57" fmla="*/ 34 h 217"/>
                  <a:gd name="T58" fmla="*/ 162 w 187"/>
                  <a:gd name="T59" fmla="*/ 37 h 217"/>
                  <a:gd name="T60" fmla="*/ 168 w 187"/>
                  <a:gd name="T61" fmla="*/ 169 h 217"/>
                  <a:gd name="T62" fmla="*/ 169 w 187"/>
                  <a:gd name="T63" fmla="*/ 171 h 217"/>
                  <a:gd name="T64" fmla="*/ 172 w 187"/>
                  <a:gd name="T65" fmla="*/ 177 h 217"/>
                  <a:gd name="T66" fmla="*/ 173 w 187"/>
                  <a:gd name="T67" fmla="*/ 182 h 217"/>
                  <a:gd name="T68" fmla="*/ 166 w 187"/>
                  <a:gd name="T69" fmla="*/ 193 h 217"/>
                  <a:gd name="T70" fmla="*/ 103 w 187"/>
                  <a:gd name="T71" fmla="*/ 188 h 217"/>
                  <a:gd name="T72" fmla="*/ 102 w 187"/>
                  <a:gd name="T73" fmla="*/ 189 h 217"/>
                  <a:gd name="T74" fmla="*/ 100 w 187"/>
                  <a:gd name="T75" fmla="*/ 192 h 217"/>
                  <a:gd name="T76" fmla="*/ 97 w 187"/>
                  <a:gd name="T77" fmla="*/ 192 h 217"/>
                  <a:gd name="T78" fmla="*/ 96 w 187"/>
                  <a:gd name="T79" fmla="*/ 191 h 217"/>
                  <a:gd name="T80" fmla="*/ 93 w 187"/>
                  <a:gd name="T81" fmla="*/ 191 h 217"/>
                  <a:gd name="T82" fmla="*/ 92 w 187"/>
                  <a:gd name="T83" fmla="*/ 192 h 217"/>
                  <a:gd name="T84" fmla="*/ 91 w 187"/>
                  <a:gd name="T85" fmla="*/ 193 h 217"/>
                  <a:gd name="T86" fmla="*/ 91 w 187"/>
                  <a:gd name="T87" fmla="*/ 198 h 217"/>
                  <a:gd name="T88" fmla="*/ 89 w 187"/>
                  <a:gd name="T89" fmla="*/ 203 h 217"/>
                  <a:gd name="T90" fmla="*/ 88 w 187"/>
                  <a:gd name="T91" fmla="*/ 206 h 217"/>
                  <a:gd name="T92" fmla="*/ 85 w 187"/>
                  <a:gd name="T93" fmla="*/ 206 h 217"/>
                  <a:gd name="T94" fmla="*/ 84 w 187"/>
                  <a:gd name="T95" fmla="*/ 210 h 217"/>
                  <a:gd name="T96" fmla="*/ 80 w 187"/>
                  <a:gd name="T97" fmla="*/ 215 h 217"/>
                  <a:gd name="T98" fmla="*/ 75 w 187"/>
                  <a:gd name="T99" fmla="*/ 217 h 217"/>
                  <a:gd name="T100" fmla="*/ 73 w 187"/>
                  <a:gd name="T101" fmla="*/ 214 h 217"/>
                  <a:gd name="T102" fmla="*/ 67 w 187"/>
                  <a:gd name="T103" fmla="*/ 213 h 217"/>
                  <a:gd name="T104" fmla="*/ 62 w 187"/>
                  <a:gd name="T105" fmla="*/ 210 h 217"/>
                  <a:gd name="T106" fmla="*/ 55 w 187"/>
                  <a:gd name="T107" fmla="*/ 204 h 217"/>
                  <a:gd name="T108" fmla="*/ 51 w 187"/>
                  <a:gd name="T109" fmla="*/ 196 h 217"/>
                  <a:gd name="T110" fmla="*/ 47 w 187"/>
                  <a:gd name="T111" fmla="*/ 193 h 217"/>
                  <a:gd name="T112" fmla="*/ 40 w 187"/>
                  <a:gd name="T113" fmla="*/ 188 h 217"/>
                  <a:gd name="T114" fmla="*/ 29 w 187"/>
                  <a:gd name="T115" fmla="*/ 185 h 217"/>
                  <a:gd name="T116" fmla="*/ 0 w 187"/>
                  <a:gd name="T117" fmla="*/ 19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7" h="217">
                    <a:moveTo>
                      <a:pt x="0" y="193"/>
                    </a:moveTo>
                    <a:lnTo>
                      <a:pt x="2" y="189"/>
                    </a:lnTo>
                    <a:lnTo>
                      <a:pt x="5" y="187"/>
                    </a:lnTo>
                    <a:lnTo>
                      <a:pt x="8" y="182"/>
                    </a:lnTo>
                    <a:lnTo>
                      <a:pt x="11" y="180"/>
                    </a:lnTo>
                    <a:lnTo>
                      <a:pt x="14" y="177"/>
                    </a:lnTo>
                    <a:lnTo>
                      <a:pt x="15" y="174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20" y="169"/>
                    </a:lnTo>
                    <a:lnTo>
                      <a:pt x="20" y="165"/>
                    </a:lnTo>
                    <a:lnTo>
                      <a:pt x="20" y="160"/>
                    </a:lnTo>
                    <a:lnTo>
                      <a:pt x="19" y="155"/>
                    </a:lnTo>
                    <a:lnTo>
                      <a:pt x="16" y="151"/>
                    </a:lnTo>
                    <a:lnTo>
                      <a:pt x="15" y="147"/>
                    </a:lnTo>
                    <a:lnTo>
                      <a:pt x="14" y="144"/>
                    </a:lnTo>
                    <a:lnTo>
                      <a:pt x="12" y="144"/>
                    </a:lnTo>
                    <a:lnTo>
                      <a:pt x="7" y="130"/>
                    </a:lnTo>
                    <a:lnTo>
                      <a:pt x="19" y="114"/>
                    </a:lnTo>
                    <a:lnTo>
                      <a:pt x="7" y="105"/>
                    </a:lnTo>
                    <a:lnTo>
                      <a:pt x="16" y="105"/>
                    </a:lnTo>
                    <a:lnTo>
                      <a:pt x="75" y="108"/>
                    </a:lnTo>
                    <a:lnTo>
                      <a:pt x="78" y="81"/>
                    </a:lnTo>
                    <a:lnTo>
                      <a:pt x="78" y="74"/>
                    </a:lnTo>
                    <a:lnTo>
                      <a:pt x="81" y="68"/>
                    </a:lnTo>
                    <a:lnTo>
                      <a:pt x="84" y="66"/>
                    </a:lnTo>
                    <a:lnTo>
                      <a:pt x="88" y="64"/>
                    </a:lnTo>
                    <a:lnTo>
                      <a:pt x="92" y="64"/>
                    </a:lnTo>
                    <a:lnTo>
                      <a:pt x="95" y="64"/>
                    </a:lnTo>
                    <a:lnTo>
                      <a:pt x="97" y="64"/>
                    </a:lnTo>
                    <a:lnTo>
                      <a:pt x="99" y="66"/>
                    </a:lnTo>
                    <a:lnTo>
                      <a:pt x="100" y="66"/>
                    </a:lnTo>
                    <a:lnTo>
                      <a:pt x="100" y="64"/>
                    </a:lnTo>
                    <a:lnTo>
                      <a:pt x="102" y="63"/>
                    </a:lnTo>
                    <a:lnTo>
                      <a:pt x="102" y="61"/>
                    </a:lnTo>
                    <a:lnTo>
                      <a:pt x="102" y="60"/>
                    </a:lnTo>
                    <a:lnTo>
                      <a:pt x="102" y="59"/>
                    </a:lnTo>
                    <a:lnTo>
                      <a:pt x="102" y="57"/>
                    </a:lnTo>
                    <a:lnTo>
                      <a:pt x="102" y="55"/>
                    </a:lnTo>
                    <a:lnTo>
                      <a:pt x="102" y="50"/>
                    </a:lnTo>
                    <a:lnTo>
                      <a:pt x="103" y="45"/>
                    </a:lnTo>
                    <a:lnTo>
                      <a:pt x="103" y="39"/>
                    </a:lnTo>
                    <a:lnTo>
                      <a:pt x="103" y="34"/>
                    </a:lnTo>
                    <a:lnTo>
                      <a:pt x="103" y="27"/>
                    </a:lnTo>
                    <a:lnTo>
                      <a:pt x="103" y="23"/>
                    </a:lnTo>
                    <a:lnTo>
                      <a:pt x="103" y="19"/>
                    </a:lnTo>
                    <a:lnTo>
                      <a:pt x="104" y="16"/>
                    </a:lnTo>
                    <a:lnTo>
                      <a:pt x="106" y="15"/>
                    </a:lnTo>
                    <a:lnTo>
                      <a:pt x="107" y="15"/>
                    </a:lnTo>
                    <a:lnTo>
                      <a:pt x="110" y="15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41" y="17"/>
                    </a:lnTo>
                    <a:lnTo>
                      <a:pt x="140" y="5"/>
                    </a:lnTo>
                    <a:lnTo>
                      <a:pt x="140" y="0"/>
                    </a:lnTo>
                    <a:lnTo>
                      <a:pt x="187" y="34"/>
                    </a:lnTo>
                    <a:lnTo>
                      <a:pt x="163" y="34"/>
                    </a:lnTo>
                    <a:lnTo>
                      <a:pt x="162" y="34"/>
                    </a:lnTo>
                    <a:lnTo>
                      <a:pt x="162" y="35"/>
                    </a:lnTo>
                    <a:lnTo>
                      <a:pt x="162" y="37"/>
                    </a:lnTo>
                    <a:lnTo>
                      <a:pt x="161" y="39"/>
                    </a:lnTo>
                    <a:lnTo>
                      <a:pt x="168" y="169"/>
                    </a:lnTo>
                    <a:lnTo>
                      <a:pt x="169" y="170"/>
                    </a:lnTo>
                    <a:lnTo>
                      <a:pt x="169" y="171"/>
                    </a:lnTo>
                    <a:lnTo>
                      <a:pt x="170" y="174"/>
                    </a:lnTo>
                    <a:lnTo>
                      <a:pt x="172" y="177"/>
                    </a:lnTo>
                    <a:lnTo>
                      <a:pt x="173" y="180"/>
                    </a:lnTo>
                    <a:lnTo>
                      <a:pt x="173" y="182"/>
                    </a:lnTo>
                    <a:lnTo>
                      <a:pt x="173" y="184"/>
                    </a:lnTo>
                    <a:lnTo>
                      <a:pt x="166" y="193"/>
                    </a:lnTo>
                    <a:lnTo>
                      <a:pt x="104" y="188"/>
                    </a:lnTo>
                    <a:lnTo>
                      <a:pt x="103" y="188"/>
                    </a:lnTo>
                    <a:lnTo>
                      <a:pt x="103" y="189"/>
                    </a:lnTo>
                    <a:lnTo>
                      <a:pt x="102" y="189"/>
                    </a:lnTo>
                    <a:lnTo>
                      <a:pt x="100" y="191"/>
                    </a:lnTo>
                    <a:lnTo>
                      <a:pt x="100" y="192"/>
                    </a:lnTo>
                    <a:lnTo>
                      <a:pt x="99" y="192"/>
                    </a:lnTo>
                    <a:lnTo>
                      <a:pt x="97" y="192"/>
                    </a:lnTo>
                    <a:lnTo>
                      <a:pt x="96" y="192"/>
                    </a:lnTo>
                    <a:lnTo>
                      <a:pt x="96" y="191"/>
                    </a:lnTo>
                    <a:lnTo>
                      <a:pt x="95" y="191"/>
                    </a:lnTo>
                    <a:lnTo>
                      <a:pt x="93" y="191"/>
                    </a:lnTo>
                    <a:lnTo>
                      <a:pt x="92" y="191"/>
                    </a:lnTo>
                    <a:lnTo>
                      <a:pt x="92" y="192"/>
                    </a:lnTo>
                    <a:lnTo>
                      <a:pt x="91" y="192"/>
                    </a:lnTo>
                    <a:lnTo>
                      <a:pt x="91" y="193"/>
                    </a:lnTo>
                    <a:lnTo>
                      <a:pt x="91" y="195"/>
                    </a:lnTo>
                    <a:lnTo>
                      <a:pt x="91" y="198"/>
                    </a:lnTo>
                    <a:lnTo>
                      <a:pt x="91" y="200"/>
                    </a:lnTo>
                    <a:lnTo>
                      <a:pt x="89" y="203"/>
                    </a:lnTo>
                    <a:lnTo>
                      <a:pt x="89" y="204"/>
                    </a:lnTo>
                    <a:lnTo>
                      <a:pt x="88" y="206"/>
                    </a:lnTo>
                    <a:lnTo>
                      <a:pt x="86" y="206"/>
                    </a:lnTo>
                    <a:lnTo>
                      <a:pt x="85" y="206"/>
                    </a:lnTo>
                    <a:lnTo>
                      <a:pt x="85" y="209"/>
                    </a:lnTo>
                    <a:lnTo>
                      <a:pt x="84" y="210"/>
                    </a:lnTo>
                    <a:lnTo>
                      <a:pt x="81" y="213"/>
                    </a:lnTo>
                    <a:lnTo>
                      <a:pt x="80" y="215"/>
                    </a:lnTo>
                    <a:lnTo>
                      <a:pt x="78" y="217"/>
                    </a:lnTo>
                    <a:lnTo>
                      <a:pt x="75" y="217"/>
                    </a:lnTo>
                    <a:lnTo>
                      <a:pt x="74" y="215"/>
                    </a:lnTo>
                    <a:lnTo>
                      <a:pt x="73" y="214"/>
                    </a:lnTo>
                    <a:lnTo>
                      <a:pt x="70" y="213"/>
                    </a:lnTo>
                    <a:lnTo>
                      <a:pt x="67" y="213"/>
                    </a:lnTo>
                    <a:lnTo>
                      <a:pt x="64" y="211"/>
                    </a:lnTo>
                    <a:lnTo>
                      <a:pt x="62" y="210"/>
                    </a:lnTo>
                    <a:lnTo>
                      <a:pt x="58" y="209"/>
                    </a:lnTo>
                    <a:lnTo>
                      <a:pt x="55" y="204"/>
                    </a:lnTo>
                    <a:lnTo>
                      <a:pt x="51" y="198"/>
                    </a:lnTo>
                    <a:lnTo>
                      <a:pt x="51" y="196"/>
                    </a:lnTo>
                    <a:lnTo>
                      <a:pt x="49" y="195"/>
                    </a:lnTo>
                    <a:lnTo>
                      <a:pt x="47" y="193"/>
                    </a:lnTo>
                    <a:lnTo>
                      <a:pt x="44" y="191"/>
                    </a:lnTo>
                    <a:lnTo>
                      <a:pt x="40" y="188"/>
                    </a:lnTo>
                    <a:lnTo>
                      <a:pt x="34" y="185"/>
                    </a:lnTo>
                    <a:lnTo>
                      <a:pt x="29" y="185"/>
                    </a:lnTo>
                    <a:lnTo>
                      <a:pt x="23" y="184"/>
                    </a:lnTo>
                    <a:lnTo>
                      <a:pt x="0" y="19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4" name="Freeform 946"/>
              <p:cNvSpPr>
                <a:spLocks/>
              </p:cNvSpPr>
              <p:nvPr/>
            </p:nvSpPr>
            <p:spPr bwMode="auto">
              <a:xfrm>
                <a:off x="2465" y="2726"/>
                <a:ext cx="47" cy="32"/>
              </a:xfrm>
              <a:custGeom>
                <a:avLst/>
                <a:gdLst>
                  <a:gd name="T0" fmla="*/ 29 w 47"/>
                  <a:gd name="T1" fmla="*/ 0 h 32"/>
                  <a:gd name="T2" fmla="*/ 29 w 47"/>
                  <a:gd name="T3" fmla="*/ 0 h 32"/>
                  <a:gd name="T4" fmla="*/ 28 w 47"/>
                  <a:gd name="T5" fmla="*/ 0 h 32"/>
                  <a:gd name="T6" fmla="*/ 26 w 47"/>
                  <a:gd name="T7" fmla="*/ 0 h 32"/>
                  <a:gd name="T8" fmla="*/ 24 w 47"/>
                  <a:gd name="T9" fmla="*/ 0 h 32"/>
                  <a:gd name="T10" fmla="*/ 20 w 47"/>
                  <a:gd name="T11" fmla="*/ 1 h 32"/>
                  <a:gd name="T12" fmla="*/ 14 w 47"/>
                  <a:gd name="T13" fmla="*/ 3 h 32"/>
                  <a:gd name="T14" fmla="*/ 9 w 47"/>
                  <a:gd name="T15" fmla="*/ 6 h 32"/>
                  <a:gd name="T16" fmla="*/ 0 w 47"/>
                  <a:gd name="T17" fmla="*/ 8 h 32"/>
                  <a:gd name="T18" fmla="*/ 0 w 47"/>
                  <a:gd name="T19" fmla="*/ 8 h 32"/>
                  <a:gd name="T20" fmla="*/ 2 w 47"/>
                  <a:gd name="T21" fmla="*/ 10 h 32"/>
                  <a:gd name="T22" fmla="*/ 3 w 47"/>
                  <a:gd name="T23" fmla="*/ 12 h 32"/>
                  <a:gd name="T24" fmla="*/ 6 w 47"/>
                  <a:gd name="T25" fmla="*/ 15 h 32"/>
                  <a:gd name="T26" fmla="*/ 9 w 47"/>
                  <a:gd name="T27" fmla="*/ 19 h 32"/>
                  <a:gd name="T28" fmla="*/ 11 w 47"/>
                  <a:gd name="T29" fmla="*/ 23 h 32"/>
                  <a:gd name="T30" fmla="*/ 15 w 47"/>
                  <a:gd name="T31" fmla="*/ 28 h 32"/>
                  <a:gd name="T32" fmla="*/ 20 w 47"/>
                  <a:gd name="T33" fmla="*/ 32 h 32"/>
                  <a:gd name="T34" fmla="*/ 21 w 47"/>
                  <a:gd name="T35" fmla="*/ 32 h 32"/>
                  <a:gd name="T36" fmla="*/ 22 w 47"/>
                  <a:gd name="T37" fmla="*/ 32 h 32"/>
                  <a:gd name="T38" fmla="*/ 25 w 47"/>
                  <a:gd name="T39" fmla="*/ 30 h 32"/>
                  <a:gd name="T40" fmla="*/ 29 w 47"/>
                  <a:gd name="T41" fmla="*/ 29 h 32"/>
                  <a:gd name="T42" fmla="*/ 33 w 47"/>
                  <a:gd name="T43" fmla="*/ 28 h 32"/>
                  <a:gd name="T44" fmla="*/ 36 w 47"/>
                  <a:gd name="T45" fmla="*/ 28 h 32"/>
                  <a:gd name="T46" fmla="*/ 40 w 47"/>
                  <a:gd name="T47" fmla="*/ 26 h 32"/>
                  <a:gd name="T48" fmla="*/ 42 w 47"/>
                  <a:gd name="T49" fmla="*/ 25 h 32"/>
                  <a:gd name="T50" fmla="*/ 43 w 47"/>
                  <a:gd name="T51" fmla="*/ 25 h 32"/>
                  <a:gd name="T52" fmla="*/ 44 w 47"/>
                  <a:gd name="T53" fmla="*/ 23 h 32"/>
                  <a:gd name="T54" fmla="*/ 44 w 47"/>
                  <a:gd name="T55" fmla="*/ 22 h 32"/>
                  <a:gd name="T56" fmla="*/ 46 w 47"/>
                  <a:gd name="T57" fmla="*/ 21 h 32"/>
                  <a:gd name="T58" fmla="*/ 46 w 47"/>
                  <a:gd name="T59" fmla="*/ 19 h 32"/>
                  <a:gd name="T60" fmla="*/ 47 w 47"/>
                  <a:gd name="T61" fmla="*/ 19 h 32"/>
                  <a:gd name="T62" fmla="*/ 47 w 47"/>
                  <a:gd name="T63" fmla="*/ 18 h 32"/>
                  <a:gd name="T64" fmla="*/ 47 w 47"/>
                  <a:gd name="T65" fmla="*/ 18 h 32"/>
                  <a:gd name="T66" fmla="*/ 46 w 47"/>
                  <a:gd name="T67" fmla="*/ 10 h 32"/>
                  <a:gd name="T68" fmla="*/ 46 w 47"/>
                  <a:gd name="T69" fmla="*/ 1 h 32"/>
                  <a:gd name="T70" fmla="*/ 29 w 47"/>
                  <a:gd name="T71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" h="32">
                    <a:moveTo>
                      <a:pt x="29" y="0"/>
                    </a:move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0" y="1"/>
                    </a:lnTo>
                    <a:lnTo>
                      <a:pt x="14" y="3"/>
                    </a:lnTo>
                    <a:lnTo>
                      <a:pt x="9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6" y="15"/>
                    </a:lnTo>
                    <a:lnTo>
                      <a:pt x="9" y="19"/>
                    </a:lnTo>
                    <a:lnTo>
                      <a:pt x="11" y="23"/>
                    </a:lnTo>
                    <a:lnTo>
                      <a:pt x="15" y="28"/>
                    </a:lnTo>
                    <a:lnTo>
                      <a:pt x="20" y="32"/>
                    </a:lnTo>
                    <a:lnTo>
                      <a:pt x="21" y="32"/>
                    </a:lnTo>
                    <a:lnTo>
                      <a:pt x="22" y="32"/>
                    </a:lnTo>
                    <a:lnTo>
                      <a:pt x="25" y="30"/>
                    </a:lnTo>
                    <a:lnTo>
                      <a:pt x="29" y="29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40" y="26"/>
                    </a:lnTo>
                    <a:lnTo>
                      <a:pt x="42" y="25"/>
                    </a:lnTo>
                    <a:lnTo>
                      <a:pt x="43" y="25"/>
                    </a:lnTo>
                    <a:lnTo>
                      <a:pt x="44" y="23"/>
                    </a:lnTo>
                    <a:lnTo>
                      <a:pt x="44" y="22"/>
                    </a:lnTo>
                    <a:lnTo>
                      <a:pt x="46" y="21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7" y="18"/>
                    </a:lnTo>
                    <a:lnTo>
                      <a:pt x="47" y="18"/>
                    </a:lnTo>
                    <a:lnTo>
                      <a:pt x="46" y="10"/>
                    </a:lnTo>
                    <a:lnTo>
                      <a:pt x="46" y="1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5" name="Freeform 947"/>
              <p:cNvSpPr>
                <a:spLocks/>
              </p:cNvSpPr>
              <p:nvPr/>
            </p:nvSpPr>
            <p:spPr bwMode="auto">
              <a:xfrm>
                <a:off x="2465" y="2726"/>
                <a:ext cx="47" cy="32"/>
              </a:xfrm>
              <a:custGeom>
                <a:avLst/>
                <a:gdLst>
                  <a:gd name="T0" fmla="*/ 29 w 47"/>
                  <a:gd name="T1" fmla="*/ 0 h 32"/>
                  <a:gd name="T2" fmla="*/ 28 w 47"/>
                  <a:gd name="T3" fmla="*/ 0 h 32"/>
                  <a:gd name="T4" fmla="*/ 26 w 47"/>
                  <a:gd name="T5" fmla="*/ 0 h 32"/>
                  <a:gd name="T6" fmla="*/ 24 w 47"/>
                  <a:gd name="T7" fmla="*/ 0 h 32"/>
                  <a:gd name="T8" fmla="*/ 20 w 47"/>
                  <a:gd name="T9" fmla="*/ 1 h 32"/>
                  <a:gd name="T10" fmla="*/ 14 w 47"/>
                  <a:gd name="T11" fmla="*/ 3 h 32"/>
                  <a:gd name="T12" fmla="*/ 9 w 47"/>
                  <a:gd name="T13" fmla="*/ 6 h 32"/>
                  <a:gd name="T14" fmla="*/ 0 w 47"/>
                  <a:gd name="T15" fmla="*/ 8 h 32"/>
                  <a:gd name="T16" fmla="*/ 2 w 47"/>
                  <a:gd name="T17" fmla="*/ 10 h 32"/>
                  <a:gd name="T18" fmla="*/ 3 w 47"/>
                  <a:gd name="T19" fmla="*/ 12 h 32"/>
                  <a:gd name="T20" fmla="*/ 6 w 47"/>
                  <a:gd name="T21" fmla="*/ 15 h 32"/>
                  <a:gd name="T22" fmla="*/ 9 w 47"/>
                  <a:gd name="T23" fmla="*/ 19 h 32"/>
                  <a:gd name="T24" fmla="*/ 11 w 47"/>
                  <a:gd name="T25" fmla="*/ 23 h 32"/>
                  <a:gd name="T26" fmla="*/ 15 w 47"/>
                  <a:gd name="T27" fmla="*/ 28 h 32"/>
                  <a:gd name="T28" fmla="*/ 20 w 47"/>
                  <a:gd name="T29" fmla="*/ 32 h 32"/>
                  <a:gd name="T30" fmla="*/ 21 w 47"/>
                  <a:gd name="T31" fmla="*/ 32 h 32"/>
                  <a:gd name="T32" fmla="*/ 22 w 47"/>
                  <a:gd name="T33" fmla="*/ 32 h 32"/>
                  <a:gd name="T34" fmla="*/ 25 w 47"/>
                  <a:gd name="T35" fmla="*/ 30 h 32"/>
                  <a:gd name="T36" fmla="*/ 29 w 47"/>
                  <a:gd name="T37" fmla="*/ 29 h 32"/>
                  <a:gd name="T38" fmla="*/ 33 w 47"/>
                  <a:gd name="T39" fmla="*/ 28 h 32"/>
                  <a:gd name="T40" fmla="*/ 36 w 47"/>
                  <a:gd name="T41" fmla="*/ 28 h 32"/>
                  <a:gd name="T42" fmla="*/ 40 w 47"/>
                  <a:gd name="T43" fmla="*/ 26 h 32"/>
                  <a:gd name="T44" fmla="*/ 42 w 47"/>
                  <a:gd name="T45" fmla="*/ 25 h 32"/>
                  <a:gd name="T46" fmla="*/ 43 w 47"/>
                  <a:gd name="T47" fmla="*/ 25 h 32"/>
                  <a:gd name="T48" fmla="*/ 44 w 47"/>
                  <a:gd name="T49" fmla="*/ 23 h 32"/>
                  <a:gd name="T50" fmla="*/ 44 w 47"/>
                  <a:gd name="T51" fmla="*/ 22 h 32"/>
                  <a:gd name="T52" fmla="*/ 46 w 47"/>
                  <a:gd name="T53" fmla="*/ 21 h 32"/>
                  <a:gd name="T54" fmla="*/ 46 w 47"/>
                  <a:gd name="T55" fmla="*/ 19 h 32"/>
                  <a:gd name="T56" fmla="*/ 47 w 47"/>
                  <a:gd name="T57" fmla="*/ 19 h 32"/>
                  <a:gd name="T58" fmla="*/ 47 w 47"/>
                  <a:gd name="T59" fmla="*/ 18 h 32"/>
                  <a:gd name="T60" fmla="*/ 46 w 47"/>
                  <a:gd name="T61" fmla="*/ 10 h 32"/>
                  <a:gd name="T62" fmla="*/ 46 w 47"/>
                  <a:gd name="T63" fmla="*/ 1 h 32"/>
                  <a:gd name="T64" fmla="*/ 29 w 47"/>
                  <a:gd name="T6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32">
                    <a:moveTo>
                      <a:pt x="29" y="0"/>
                    </a:move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0" y="1"/>
                    </a:lnTo>
                    <a:lnTo>
                      <a:pt x="14" y="3"/>
                    </a:lnTo>
                    <a:lnTo>
                      <a:pt x="9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3" y="12"/>
                    </a:lnTo>
                    <a:lnTo>
                      <a:pt x="6" y="15"/>
                    </a:lnTo>
                    <a:lnTo>
                      <a:pt x="9" y="19"/>
                    </a:lnTo>
                    <a:lnTo>
                      <a:pt x="11" y="23"/>
                    </a:lnTo>
                    <a:lnTo>
                      <a:pt x="15" y="28"/>
                    </a:lnTo>
                    <a:lnTo>
                      <a:pt x="20" y="32"/>
                    </a:lnTo>
                    <a:lnTo>
                      <a:pt x="21" y="32"/>
                    </a:lnTo>
                    <a:lnTo>
                      <a:pt x="22" y="32"/>
                    </a:lnTo>
                    <a:lnTo>
                      <a:pt x="25" y="30"/>
                    </a:lnTo>
                    <a:lnTo>
                      <a:pt x="29" y="29"/>
                    </a:lnTo>
                    <a:lnTo>
                      <a:pt x="33" y="28"/>
                    </a:lnTo>
                    <a:lnTo>
                      <a:pt x="36" y="28"/>
                    </a:lnTo>
                    <a:lnTo>
                      <a:pt x="40" y="26"/>
                    </a:lnTo>
                    <a:lnTo>
                      <a:pt x="42" y="25"/>
                    </a:lnTo>
                    <a:lnTo>
                      <a:pt x="43" y="25"/>
                    </a:lnTo>
                    <a:lnTo>
                      <a:pt x="44" y="23"/>
                    </a:lnTo>
                    <a:lnTo>
                      <a:pt x="44" y="22"/>
                    </a:lnTo>
                    <a:lnTo>
                      <a:pt x="46" y="21"/>
                    </a:lnTo>
                    <a:lnTo>
                      <a:pt x="46" y="19"/>
                    </a:lnTo>
                    <a:lnTo>
                      <a:pt x="47" y="19"/>
                    </a:lnTo>
                    <a:lnTo>
                      <a:pt x="47" y="18"/>
                    </a:lnTo>
                    <a:lnTo>
                      <a:pt x="46" y="10"/>
                    </a:lnTo>
                    <a:lnTo>
                      <a:pt x="46" y="1"/>
                    </a:lnTo>
                    <a:lnTo>
                      <a:pt x="2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6" name="Freeform 948"/>
              <p:cNvSpPr>
                <a:spLocks/>
              </p:cNvSpPr>
              <p:nvPr/>
            </p:nvSpPr>
            <p:spPr bwMode="auto">
              <a:xfrm>
                <a:off x="2449" y="2674"/>
                <a:ext cx="78" cy="60"/>
              </a:xfrm>
              <a:custGeom>
                <a:avLst/>
                <a:gdLst>
                  <a:gd name="T0" fmla="*/ 2 w 78"/>
                  <a:gd name="T1" fmla="*/ 34 h 60"/>
                  <a:gd name="T2" fmla="*/ 1 w 78"/>
                  <a:gd name="T3" fmla="*/ 27 h 60"/>
                  <a:gd name="T4" fmla="*/ 1 w 78"/>
                  <a:gd name="T5" fmla="*/ 20 h 60"/>
                  <a:gd name="T6" fmla="*/ 0 w 78"/>
                  <a:gd name="T7" fmla="*/ 15 h 60"/>
                  <a:gd name="T8" fmla="*/ 0 w 78"/>
                  <a:gd name="T9" fmla="*/ 11 h 60"/>
                  <a:gd name="T10" fmla="*/ 1 w 78"/>
                  <a:gd name="T11" fmla="*/ 9 h 60"/>
                  <a:gd name="T12" fmla="*/ 1 w 78"/>
                  <a:gd name="T13" fmla="*/ 8 h 60"/>
                  <a:gd name="T14" fmla="*/ 1 w 78"/>
                  <a:gd name="T15" fmla="*/ 9 h 60"/>
                  <a:gd name="T16" fmla="*/ 23 w 78"/>
                  <a:gd name="T17" fmla="*/ 0 h 60"/>
                  <a:gd name="T18" fmla="*/ 34 w 78"/>
                  <a:gd name="T19" fmla="*/ 3 h 60"/>
                  <a:gd name="T20" fmla="*/ 44 w 78"/>
                  <a:gd name="T21" fmla="*/ 7 h 60"/>
                  <a:gd name="T22" fmla="*/ 49 w 78"/>
                  <a:gd name="T23" fmla="*/ 11 h 60"/>
                  <a:gd name="T24" fmla="*/ 51 w 78"/>
                  <a:gd name="T25" fmla="*/ 14 h 60"/>
                  <a:gd name="T26" fmla="*/ 55 w 78"/>
                  <a:gd name="T27" fmla="*/ 20 h 60"/>
                  <a:gd name="T28" fmla="*/ 58 w 78"/>
                  <a:gd name="T29" fmla="*/ 23 h 60"/>
                  <a:gd name="T30" fmla="*/ 59 w 78"/>
                  <a:gd name="T31" fmla="*/ 25 h 60"/>
                  <a:gd name="T32" fmla="*/ 60 w 78"/>
                  <a:gd name="T33" fmla="*/ 25 h 60"/>
                  <a:gd name="T34" fmla="*/ 67 w 78"/>
                  <a:gd name="T35" fmla="*/ 27 h 60"/>
                  <a:gd name="T36" fmla="*/ 71 w 78"/>
                  <a:gd name="T37" fmla="*/ 30 h 60"/>
                  <a:gd name="T38" fmla="*/ 74 w 78"/>
                  <a:gd name="T39" fmla="*/ 31 h 60"/>
                  <a:gd name="T40" fmla="*/ 75 w 78"/>
                  <a:gd name="T41" fmla="*/ 31 h 60"/>
                  <a:gd name="T42" fmla="*/ 75 w 78"/>
                  <a:gd name="T43" fmla="*/ 33 h 60"/>
                  <a:gd name="T44" fmla="*/ 75 w 78"/>
                  <a:gd name="T45" fmla="*/ 36 h 60"/>
                  <a:gd name="T46" fmla="*/ 75 w 78"/>
                  <a:gd name="T47" fmla="*/ 40 h 60"/>
                  <a:gd name="T48" fmla="*/ 77 w 78"/>
                  <a:gd name="T49" fmla="*/ 44 h 60"/>
                  <a:gd name="T50" fmla="*/ 77 w 78"/>
                  <a:gd name="T51" fmla="*/ 49 h 60"/>
                  <a:gd name="T52" fmla="*/ 77 w 78"/>
                  <a:gd name="T53" fmla="*/ 52 h 60"/>
                  <a:gd name="T54" fmla="*/ 78 w 78"/>
                  <a:gd name="T55" fmla="*/ 53 h 60"/>
                  <a:gd name="T56" fmla="*/ 78 w 78"/>
                  <a:gd name="T57" fmla="*/ 55 h 60"/>
                  <a:gd name="T58" fmla="*/ 63 w 78"/>
                  <a:gd name="T59" fmla="*/ 53 h 60"/>
                  <a:gd name="T60" fmla="*/ 55 w 78"/>
                  <a:gd name="T61" fmla="*/ 53 h 60"/>
                  <a:gd name="T62" fmla="*/ 49 w 78"/>
                  <a:gd name="T63" fmla="*/ 53 h 60"/>
                  <a:gd name="T64" fmla="*/ 45 w 78"/>
                  <a:gd name="T65" fmla="*/ 52 h 60"/>
                  <a:gd name="T66" fmla="*/ 41 w 78"/>
                  <a:gd name="T67" fmla="*/ 52 h 60"/>
                  <a:gd name="T68" fmla="*/ 33 w 78"/>
                  <a:gd name="T69" fmla="*/ 53 h 60"/>
                  <a:gd name="T70" fmla="*/ 23 w 78"/>
                  <a:gd name="T71" fmla="*/ 58 h 60"/>
                  <a:gd name="T72" fmla="*/ 18 w 78"/>
                  <a:gd name="T73" fmla="*/ 59 h 60"/>
                  <a:gd name="T74" fmla="*/ 12 w 78"/>
                  <a:gd name="T75" fmla="*/ 55 h 60"/>
                  <a:gd name="T76" fmla="*/ 11 w 78"/>
                  <a:gd name="T77" fmla="*/ 53 h 60"/>
                  <a:gd name="T78" fmla="*/ 8 w 78"/>
                  <a:gd name="T79" fmla="*/ 51 h 60"/>
                  <a:gd name="T80" fmla="*/ 4 w 78"/>
                  <a:gd name="T81" fmla="*/ 45 h 60"/>
                  <a:gd name="T82" fmla="*/ 2 w 78"/>
                  <a:gd name="T83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8" h="60">
                    <a:moveTo>
                      <a:pt x="2" y="37"/>
                    </a:moveTo>
                    <a:lnTo>
                      <a:pt x="2" y="34"/>
                    </a:lnTo>
                    <a:lnTo>
                      <a:pt x="1" y="31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23" y="0"/>
                    </a:lnTo>
                    <a:lnTo>
                      <a:pt x="30" y="1"/>
                    </a:lnTo>
                    <a:lnTo>
                      <a:pt x="34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9"/>
                    </a:lnTo>
                    <a:lnTo>
                      <a:pt x="49" y="11"/>
                    </a:lnTo>
                    <a:lnTo>
                      <a:pt x="51" y="12"/>
                    </a:lnTo>
                    <a:lnTo>
                      <a:pt x="51" y="14"/>
                    </a:lnTo>
                    <a:lnTo>
                      <a:pt x="53" y="18"/>
                    </a:lnTo>
                    <a:lnTo>
                      <a:pt x="55" y="20"/>
                    </a:lnTo>
                    <a:lnTo>
                      <a:pt x="56" y="22"/>
                    </a:lnTo>
                    <a:lnTo>
                      <a:pt x="58" y="23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60" y="25"/>
                    </a:lnTo>
                    <a:lnTo>
                      <a:pt x="60" y="25"/>
                    </a:lnTo>
                    <a:lnTo>
                      <a:pt x="63" y="26"/>
                    </a:lnTo>
                    <a:lnTo>
                      <a:pt x="67" y="27"/>
                    </a:lnTo>
                    <a:lnTo>
                      <a:pt x="70" y="29"/>
                    </a:lnTo>
                    <a:lnTo>
                      <a:pt x="71" y="30"/>
                    </a:lnTo>
                    <a:lnTo>
                      <a:pt x="73" y="30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1"/>
                    </a:lnTo>
                    <a:lnTo>
                      <a:pt x="75" y="33"/>
                    </a:lnTo>
                    <a:lnTo>
                      <a:pt x="75" y="33"/>
                    </a:lnTo>
                    <a:lnTo>
                      <a:pt x="75" y="34"/>
                    </a:lnTo>
                    <a:lnTo>
                      <a:pt x="75" y="36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77" y="42"/>
                    </a:lnTo>
                    <a:lnTo>
                      <a:pt x="77" y="44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7" y="51"/>
                    </a:lnTo>
                    <a:lnTo>
                      <a:pt x="77" y="52"/>
                    </a:lnTo>
                    <a:lnTo>
                      <a:pt x="78" y="53"/>
                    </a:lnTo>
                    <a:lnTo>
                      <a:pt x="78" y="53"/>
                    </a:lnTo>
                    <a:lnTo>
                      <a:pt x="78" y="55"/>
                    </a:lnTo>
                    <a:lnTo>
                      <a:pt x="78" y="55"/>
                    </a:lnTo>
                    <a:lnTo>
                      <a:pt x="67" y="53"/>
                    </a:lnTo>
                    <a:lnTo>
                      <a:pt x="63" y="53"/>
                    </a:lnTo>
                    <a:lnTo>
                      <a:pt x="59" y="53"/>
                    </a:lnTo>
                    <a:lnTo>
                      <a:pt x="55" y="53"/>
                    </a:lnTo>
                    <a:lnTo>
                      <a:pt x="52" y="53"/>
                    </a:lnTo>
                    <a:lnTo>
                      <a:pt x="49" y="53"/>
                    </a:lnTo>
                    <a:lnTo>
                      <a:pt x="47" y="52"/>
                    </a:lnTo>
                    <a:lnTo>
                      <a:pt x="45" y="52"/>
                    </a:lnTo>
                    <a:lnTo>
                      <a:pt x="45" y="52"/>
                    </a:lnTo>
                    <a:lnTo>
                      <a:pt x="41" y="52"/>
                    </a:lnTo>
                    <a:lnTo>
                      <a:pt x="37" y="52"/>
                    </a:lnTo>
                    <a:lnTo>
                      <a:pt x="33" y="53"/>
                    </a:lnTo>
                    <a:lnTo>
                      <a:pt x="27" y="55"/>
                    </a:lnTo>
                    <a:lnTo>
                      <a:pt x="23" y="58"/>
                    </a:lnTo>
                    <a:lnTo>
                      <a:pt x="19" y="59"/>
                    </a:lnTo>
                    <a:lnTo>
                      <a:pt x="18" y="59"/>
                    </a:lnTo>
                    <a:lnTo>
                      <a:pt x="16" y="60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1" y="53"/>
                    </a:lnTo>
                    <a:lnTo>
                      <a:pt x="9" y="52"/>
                    </a:lnTo>
                    <a:lnTo>
                      <a:pt x="8" y="51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7" name="Freeform 949"/>
              <p:cNvSpPr>
                <a:spLocks/>
              </p:cNvSpPr>
              <p:nvPr/>
            </p:nvSpPr>
            <p:spPr bwMode="auto">
              <a:xfrm>
                <a:off x="2449" y="2674"/>
                <a:ext cx="78" cy="60"/>
              </a:xfrm>
              <a:custGeom>
                <a:avLst/>
                <a:gdLst>
                  <a:gd name="T0" fmla="*/ 2 w 78"/>
                  <a:gd name="T1" fmla="*/ 34 h 60"/>
                  <a:gd name="T2" fmla="*/ 1 w 78"/>
                  <a:gd name="T3" fmla="*/ 27 h 60"/>
                  <a:gd name="T4" fmla="*/ 1 w 78"/>
                  <a:gd name="T5" fmla="*/ 20 h 60"/>
                  <a:gd name="T6" fmla="*/ 0 w 78"/>
                  <a:gd name="T7" fmla="*/ 15 h 60"/>
                  <a:gd name="T8" fmla="*/ 0 w 78"/>
                  <a:gd name="T9" fmla="*/ 11 h 60"/>
                  <a:gd name="T10" fmla="*/ 1 w 78"/>
                  <a:gd name="T11" fmla="*/ 8 h 60"/>
                  <a:gd name="T12" fmla="*/ 23 w 78"/>
                  <a:gd name="T13" fmla="*/ 0 h 60"/>
                  <a:gd name="T14" fmla="*/ 34 w 78"/>
                  <a:gd name="T15" fmla="*/ 3 h 60"/>
                  <a:gd name="T16" fmla="*/ 44 w 78"/>
                  <a:gd name="T17" fmla="*/ 7 h 60"/>
                  <a:gd name="T18" fmla="*/ 49 w 78"/>
                  <a:gd name="T19" fmla="*/ 11 h 60"/>
                  <a:gd name="T20" fmla="*/ 51 w 78"/>
                  <a:gd name="T21" fmla="*/ 14 h 60"/>
                  <a:gd name="T22" fmla="*/ 55 w 78"/>
                  <a:gd name="T23" fmla="*/ 20 h 60"/>
                  <a:gd name="T24" fmla="*/ 58 w 78"/>
                  <a:gd name="T25" fmla="*/ 23 h 60"/>
                  <a:gd name="T26" fmla="*/ 60 w 78"/>
                  <a:gd name="T27" fmla="*/ 25 h 60"/>
                  <a:gd name="T28" fmla="*/ 67 w 78"/>
                  <a:gd name="T29" fmla="*/ 27 h 60"/>
                  <a:gd name="T30" fmla="*/ 71 w 78"/>
                  <a:gd name="T31" fmla="*/ 30 h 60"/>
                  <a:gd name="T32" fmla="*/ 74 w 78"/>
                  <a:gd name="T33" fmla="*/ 31 h 60"/>
                  <a:gd name="T34" fmla="*/ 75 w 78"/>
                  <a:gd name="T35" fmla="*/ 33 h 60"/>
                  <a:gd name="T36" fmla="*/ 75 w 78"/>
                  <a:gd name="T37" fmla="*/ 36 h 60"/>
                  <a:gd name="T38" fmla="*/ 75 w 78"/>
                  <a:gd name="T39" fmla="*/ 40 h 60"/>
                  <a:gd name="T40" fmla="*/ 77 w 78"/>
                  <a:gd name="T41" fmla="*/ 44 h 60"/>
                  <a:gd name="T42" fmla="*/ 77 w 78"/>
                  <a:gd name="T43" fmla="*/ 49 h 60"/>
                  <a:gd name="T44" fmla="*/ 77 w 78"/>
                  <a:gd name="T45" fmla="*/ 52 h 60"/>
                  <a:gd name="T46" fmla="*/ 78 w 78"/>
                  <a:gd name="T47" fmla="*/ 55 h 60"/>
                  <a:gd name="T48" fmla="*/ 63 w 78"/>
                  <a:gd name="T49" fmla="*/ 53 h 60"/>
                  <a:gd name="T50" fmla="*/ 55 w 78"/>
                  <a:gd name="T51" fmla="*/ 53 h 60"/>
                  <a:gd name="T52" fmla="*/ 49 w 78"/>
                  <a:gd name="T53" fmla="*/ 53 h 60"/>
                  <a:gd name="T54" fmla="*/ 45 w 78"/>
                  <a:gd name="T55" fmla="*/ 52 h 60"/>
                  <a:gd name="T56" fmla="*/ 37 w 78"/>
                  <a:gd name="T57" fmla="*/ 52 h 60"/>
                  <a:gd name="T58" fmla="*/ 27 w 78"/>
                  <a:gd name="T59" fmla="*/ 55 h 60"/>
                  <a:gd name="T60" fmla="*/ 19 w 78"/>
                  <a:gd name="T61" fmla="*/ 59 h 60"/>
                  <a:gd name="T62" fmla="*/ 16 w 78"/>
                  <a:gd name="T63" fmla="*/ 60 h 60"/>
                  <a:gd name="T64" fmla="*/ 11 w 78"/>
                  <a:gd name="T65" fmla="*/ 53 h 60"/>
                  <a:gd name="T66" fmla="*/ 8 w 78"/>
                  <a:gd name="T67" fmla="*/ 51 h 60"/>
                  <a:gd name="T68" fmla="*/ 4 w 78"/>
                  <a:gd name="T69" fmla="*/ 45 h 60"/>
                  <a:gd name="T70" fmla="*/ 2 w 78"/>
                  <a:gd name="T71" fmla="*/ 37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8" h="60">
                    <a:moveTo>
                      <a:pt x="2" y="37"/>
                    </a:moveTo>
                    <a:lnTo>
                      <a:pt x="2" y="34"/>
                    </a:lnTo>
                    <a:lnTo>
                      <a:pt x="1" y="31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1" y="9"/>
                    </a:lnTo>
                    <a:lnTo>
                      <a:pt x="23" y="0"/>
                    </a:lnTo>
                    <a:lnTo>
                      <a:pt x="30" y="1"/>
                    </a:lnTo>
                    <a:lnTo>
                      <a:pt x="34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9"/>
                    </a:lnTo>
                    <a:lnTo>
                      <a:pt x="49" y="11"/>
                    </a:lnTo>
                    <a:lnTo>
                      <a:pt x="51" y="12"/>
                    </a:lnTo>
                    <a:lnTo>
                      <a:pt x="51" y="14"/>
                    </a:lnTo>
                    <a:lnTo>
                      <a:pt x="53" y="18"/>
                    </a:lnTo>
                    <a:lnTo>
                      <a:pt x="55" y="20"/>
                    </a:lnTo>
                    <a:lnTo>
                      <a:pt x="56" y="22"/>
                    </a:lnTo>
                    <a:lnTo>
                      <a:pt x="58" y="23"/>
                    </a:lnTo>
                    <a:lnTo>
                      <a:pt x="59" y="25"/>
                    </a:lnTo>
                    <a:lnTo>
                      <a:pt x="60" y="25"/>
                    </a:lnTo>
                    <a:lnTo>
                      <a:pt x="63" y="26"/>
                    </a:lnTo>
                    <a:lnTo>
                      <a:pt x="67" y="27"/>
                    </a:lnTo>
                    <a:lnTo>
                      <a:pt x="70" y="29"/>
                    </a:lnTo>
                    <a:lnTo>
                      <a:pt x="71" y="30"/>
                    </a:lnTo>
                    <a:lnTo>
                      <a:pt x="73" y="30"/>
                    </a:lnTo>
                    <a:lnTo>
                      <a:pt x="74" y="31"/>
                    </a:lnTo>
                    <a:lnTo>
                      <a:pt x="75" y="31"/>
                    </a:lnTo>
                    <a:lnTo>
                      <a:pt x="75" y="33"/>
                    </a:lnTo>
                    <a:lnTo>
                      <a:pt x="75" y="34"/>
                    </a:lnTo>
                    <a:lnTo>
                      <a:pt x="75" y="36"/>
                    </a:lnTo>
                    <a:lnTo>
                      <a:pt x="75" y="38"/>
                    </a:lnTo>
                    <a:lnTo>
                      <a:pt x="75" y="40"/>
                    </a:lnTo>
                    <a:lnTo>
                      <a:pt x="77" y="42"/>
                    </a:lnTo>
                    <a:lnTo>
                      <a:pt x="77" y="44"/>
                    </a:lnTo>
                    <a:lnTo>
                      <a:pt x="77" y="47"/>
                    </a:lnTo>
                    <a:lnTo>
                      <a:pt x="77" y="49"/>
                    </a:lnTo>
                    <a:lnTo>
                      <a:pt x="77" y="51"/>
                    </a:lnTo>
                    <a:lnTo>
                      <a:pt x="77" y="52"/>
                    </a:lnTo>
                    <a:lnTo>
                      <a:pt x="78" y="53"/>
                    </a:lnTo>
                    <a:lnTo>
                      <a:pt x="78" y="55"/>
                    </a:lnTo>
                    <a:lnTo>
                      <a:pt x="67" y="53"/>
                    </a:lnTo>
                    <a:lnTo>
                      <a:pt x="63" y="53"/>
                    </a:lnTo>
                    <a:lnTo>
                      <a:pt x="59" y="53"/>
                    </a:lnTo>
                    <a:lnTo>
                      <a:pt x="55" y="53"/>
                    </a:lnTo>
                    <a:lnTo>
                      <a:pt x="52" y="53"/>
                    </a:lnTo>
                    <a:lnTo>
                      <a:pt x="49" y="53"/>
                    </a:lnTo>
                    <a:lnTo>
                      <a:pt x="47" y="52"/>
                    </a:lnTo>
                    <a:lnTo>
                      <a:pt x="45" y="52"/>
                    </a:lnTo>
                    <a:lnTo>
                      <a:pt x="41" y="52"/>
                    </a:lnTo>
                    <a:lnTo>
                      <a:pt x="37" y="52"/>
                    </a:lnTo>
                    <a:lnTo>
                      <a:pt x="33" y="53"/>
                    </a:lnTo>
                    <a:lnTo>
                      <a:pt x="27" y="55"/>
                    </a:lnTo>
                    <a:lnTo>
                      <a:pt x="23" y="58"/>
                    </a:lnTo>
                    <a:lnTo>
                      <a:pt x="19" y="59"/>
                    </a:lnTo>
                    <a:lnTo>
                      <a:pt x="18" y="59"/>
                    </a:lnTo>
                    <a:lnTo>
                      <a:pt x="16" y="60"/>
                    </a:lnTo>
                    <a:lnTo>
                      <a:pt x="12" y="55"/>
                    </a:lnTo>
                    <a:lnTo>
                      <a:pt x="11" y="53"/>
                    </a:lnTo>
                    <a:lnTo>
                      <a:pt x="9" y="52"/>
                    </a:lnTo>
                    <a:lnTo>
                      <a:pt x="8" y="51"/>
                    </a:lnTo>
                    <a:lnTo>
                      <a:pt x="7" y="48"/>
                    </a:lnTo>
                    <a:lnTo>
                      <a:pt x="4" y="45"/>
                    </a:lnTo>
                    <a:lnTo>
                      <a:pt x="2" y="41"/>
                    </a:lnTo>
                    <a:lnTo>
                      <a:pt x="2" y="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18" name="Freeform 950"/>
              <p:cNvSpPr>
                <a:spLocks/>
              </p:cNvSpPr>
              <p:nvPr/>
            </p:nvSpPr>
            <p:spPr bwMode="auto">
              <a:xfrm>
                <a:off x="2451" y="2699"/>
                <a:ext cx="51" cy="12"/>
              </a:xfrm>
              <a:custGeom>
                <a:avLst/>
                <a:gdLst>
                  <a:gd name="T0" fmla="*/ 0 w 51"/>
                  <a:gd name="T1" fmla="*/ 0 h 12"/>
                  <a:gd name="T2" fmla="*/ 2 w 51"/>
                  <a:gd name="T3" fmla="*/ 9 h 12"/>
                  <a:gd name="T4" fmla="*/ 3 w 51"/>
                  <a:gd name="T5" fmla="*/ 9 h 12"/>
                  <a:gd name="T6" fmla="*/ 5 w 51"/>
                  <a:gd name="T7" fmla="*/ 9 h 12"/>
                  <a:gd name="T8" fmla="*/ 6 w 51"/>
                  <a:gd name="T9" fmla="*/ 8 h 12"/>
                  <a:gd name="T10" fmla="*/ 9 w 51"/>
                  <a:gd name="T11" fmla="*/ 8 h 12"/>
                  <a:gd name="T12" fmla="*/ 12 w 51"/>
                  <a:gd name="T13" fmla="*/ 8 h 12"/>
                  <a:gd name="T14" fmla="*/ 14 w 51"/>
                  <a:gd name="T15" fmla="*/ 8 h 12"/>
                  <a:gd name="T16" fmla="*/ 18 w 51"/>
                  <a:gd name="T17" fmla="*/ 9 h 12"/>
                  <a:gd name="T18" fmla="*/ 21 w 51"/>
                  <a:gd name="T19" fmla="*/ 9 h 12"/>
                  <a:gd name="T20" fmla="*/ 24 w 51"/>
                  <a:gd name="T21" fmla="*/ 11 h 12"/>
                  <a:gd name="T22" fmla="*/ 27 w 51"/>
                  <a:gd name="T23" fmla="*/ 12 h 12"/>
                  <a:gd name="T24" fmla="*/ 29 w 51"/>
                  <a:gd name="T25" fmla="*/ 12 h 12"/>
                  <a:gd name="T26" fmla="*/ 32 w 51"/>
                  <a:gd name="T27" fmla="*/ 12 h 12"/>
                  <a:gd name="T28" fmla="*/ 34 w 51"/>
                  <a:gd name="T29" fmla="*/ 11 h 12"/>
                  <a:gd name="T30" fmla="*/ 35 w 51"/>
                  <a:gd name="T31" fmla="*/ 11 h 12"/>
                  <a:gd name="T32" fmla="*/ 36 w 51"/>
                  <a:gd name="T33" fmla="*/ 11 h 12"/>
                  <a:gd name="T34" fmla="*/ 38 w 51"/>
                  <a:gd name="T35" fmla="*/ 9 h 12"/>
                  <a:gd name="T36" fmla="*/ 38 w 51"/>
                  <a:gd name="T37" fmla="*/ 9 h 12"/>
                  <a:gd name="T38" fmla="*/ 39 w 51"/>
                  <a:gd name="T39" fmla="*/ 9 h 12"/>
                  <a:gd name="T40" fmla="*/ 40 w 51"/>
                  <a:gd name="T41" fmla="*/ 8 h 12"/>
                  <a:gd name="T42" fmla="*/ 42 w 51"/>
                  <a:gd name="T43" fmla="*/ 8 h 12"/>
                  <a:gd name="T44" fmla="*/ 43 w 51"/>
                  <a:gd name="T45" fmla="*/ 8 h 12"/>
                  <a:gd name="T46" fmla="*/ 45 w 51"/>
                  <a:gd name="T47" fmla="*/ 6 h 12"/>
                  <a:gd name="T48" fmla="*/ 46 w 51"/>
                  <a:gd name="T49" fmla="*/ 6 h 12"/>
                  <a:gd name="T50" fmla="*/ 47 w 51"/>
                  <a:gd name="T51" fmla="*/ 6 h 12"/>
                  <a:gd name="T52" fmla="*/ 47 w 51"/>
                  <a:gd name="T53" fmla="*/ 8 h 12"/>
                  <a:gd name="T54" fmla="*/ 49 w 51"/>
                  <a:gd name="T55" fmla="*/ 8 h 12"/>
                  <a:gd name="T56" fmla="*/ 50 w 51"/>
                  <a:gd name="T57" fmla="*/ 8 h 12"/>
                  <a:gd name="T58" fmla="*/ 51 w 51"/>
                  <a:gd name="T59" fmla="*/ 6 h 12"/>
                  <a:gd name="T60" fmla="*/ 51 w 51"/>
                  <a:gd name="T61" fmla="*/ 6 h 12"/>
                  <a:gd name="T62" fmla="*/ 51 w 51"/>
                  <a:gd name="T63" fmla="*/ 6 h 12"/>
                  <a:gd name="T64" fmla="*/ 51 w 51"/>
                  <a:gd name="T65" fmla="*/ 5 h 12"/>
                  <a:gd name="T66" fmla="*/ 50 w 51"/>
                  <a:gd name="T67" fmla="*/ 4 h 12"/>
                  <a:gd name="T68" fmla="*/ 47 w 51"/>
                  <a:gd name="T69" fmla="*/ 4 h 12"/>
                  <a:gd name="T70" fmla="*/ 45 w 51"/>
                  <a:gd name="T71" fmla="*/ 2 h 12"/>
                  <a:gd name="T72" fmla="*/ 42 w 51"/>
                  <a:gd name="T73" fmla="*/ 2 h 12"/>
                  <a:gd name="T74" fmla="*/ 39 w 51"/>
                  <a:gd name="T75" fmla="*/ 1 h 12"/>
                  <a:gd name="T76" fmla="*/ 36 w 51"/>
                  <a:gd name="T77" fmla="*/ 1 h 12"/>
                  <a:gd name="T78" fmla="*/ 35 w 51"/>
                  <a:gd name="T79" fmla="*/ 1 h 12"/>
                  <a:gd name="T80" fmla="*/ 32 w 51"/>
                  <a:gd name="T81" fmla="*/ 1 h 12"/>
                  <a:gd name="T82" fmla="*/ 31 w 51"/>
                  <a:gd name="T83" fmla="*/ 2 h 12"/>
                  <a:gd name="T84" fmla="*/ 29 w 51"/>
                  <a:gd name="T85" fmla="*/ 2 h 12"/>
                  <a:gd name="T86" fmla="*/ 28 w 51"/>
                  <a:gd name="T87" fmla="*/ 2 h 12"/>
                  <a:gd name="T88" fmla="*/ 25 w 51"/>
                  <a:gd name="T89" fmla="*/ 4 h 12"/>
                  <a:gd name="T90" fmla="*/ 23 w 51"/>
                  <a:gd name="T91" fmla="*/ 4 h 12"/>
                  <a:gd name="T92" fmla="*/ 20 w 51"/>
                  <a:gd name="T93" fmla="*/ 4 h 12"/>
                  <a:gd name="T94" fmla="*/ 17 w 51"/>
                  <a:gd name="T95" fmla="*/ 2 h 12"/>
                  <a:gd name="T96" fmla="*/ 16 w 51"/>
                  <a:gd name="T97" fmla="*/ 2 h 12"/>
                  <a:gd name="T98" fmla="*/ 14 w 51"/>
                  <a:gd name="T99" fmla="*/ 1 h 12"/>
                  <a:gd name="T100" fmla="*/ 13 w 51"/>
                  <a:gd name="T101" fmla="*/ 1 h 12"/>
                  <a:gd name="T102" fmla="*/ 12 w 51"/>
                  <a:gd name="T103" fmla="*/ 0 h 12"/>
                  <a:gd name="T104" fmla="*/ 9 w 51"/>
                  <a:gd name="T105" fmla="*/ 0 h 12"/>
                  <a:gd name="T106" fmla="*/ 7 w 51"/>
                  <a:gd name="T107" fmla="*/ 0 h 12"/>
                  <a:gd name="T108" fmla="*/ 5 w 51"/>
                  <a:gd name="T109" fmla="*/ 0 h 12"/>
                  <a:gd name="T110" fmla="*/ 3 w 51"/>
                  <a:gd name="T111" fmla="*/ 0 h 12"/>
                  <a:gd name="T112" fmla="*/ 2 w 51"/>
                  <a:gd name="T113" fmla="*/ 0 h 12"/>
                  <a:gd name="T114" fmla="*/ 0 w 51"/>
                  <a:gd name="T1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" h="12">
                    <a:moveTo>
                      <a:pt x="0" y="0"/>
                    </a:moveTo>
                    <a:lnTo>
                      <a:pt x="2" y="9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4" y="11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2" y="12"/>
                    </a:lnTo>
                    <a:lnTo>
                      <a:pt x="34" y="11"/>
                    </a:lnTo>
                    <a:lnTo>
                      <a:pt x="35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3" y="8"/>
                    </a:lnTo>
                    <a:lnTo>
                      <a:pt x="45" y="6"/>
                    </a:lnTo>
                    <a:lnTo>
                      <a:pt x="46" y="6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9" y="8"/>
                    </a:lnTo>
                    <a:lnTo>
                      <a:pt x="50" y="8"/>
                    </a:lnTo>
                    <a:lnTo>
                      <a:pt x="51" y="6"/>
                    </a:lnTo>
                    <a:lnTo>
                      <a:pt x="51" y="6"/>
                    </a:lnTo>
                    <a:lnTo>
                      <a:pt x="51" y="6"/>
                    </a:lnTo>
                    <a:lnTo>
                      <a:pt x="51" y="5"/>
                    </a:lnTo>
                    <a:lnTo>
                      <a:pt x="50" y="4"/>
                    </a:lnTo>
                    <a:lnTo>
                      <a:pt x="47" y="4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9" y="1"/>
                    </a:lnTo>
                    <a:lnTo>
                      <a:pt x="36" y="1"/>
                    </a:lnTo>
                    <a:lnTo>
                      <a:pt x="35" y="1"/>
                    </a:lnTo>
                    <a:lnTo>
                      <a:pt x="32" y="1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8" y="2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13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651" name="Group 951"/>
            <p:cNvGrpSpPr>
              <a:grpSpLocks/>
            </p:cNvGrpSpPr>
            <p:nvPr/>
          </p:nvGrpSpPr>
          <p:grpSpPr bwMode="auto">
            <a:xfrm>
              <a:off x="2626" y="1684"/>
              <a:ext cx="2455" cy="1432"/>
              <a:chOff x="2451" y="2315"/>
              <a:chExt cx="3034" cy="1770"/>
            </a:xfrm>
            <a:grpFill/>
          </p:grpSpPr>
          <p:sp>
            <p:nvSpPr>
              <p:cNvPr id="819" name="Freeform 952"/>
              <p:cNvSpPr>
                <a:spLocks/>
              </p:cNvSpPr>
              <p:nvPr/>
            </p:nvSpPr>
            <p:spPr bwMode="auto">
              <a:xfrm>
                <a:off x="2451" y="2699"/>
                <a:ext cx="51" cy="12"/>
              </a:xfrm>
              <a:custGeom>
                <a:avLst/>
                <a:gdLst>
                  <a:gd name="T0" fmla="*/ 0 w 51"/>
                  <a:gd name="T1" fmla="*/ 0 h 12"/>
                  <a:gd name="T2" fmla="*/ 2 w 51"/>
                  <a:gd name="T3" fmla="*/ 9 h 12"/>
                  <a:gd name="T4" fmla="*/ 3 w 51"/>
                  <a:gd name="T5" fmla="*/ 9 h 12"/>
                  <a:gd name="T6" fmla="*/ 5 w 51"/>
                  <a:gd name="T7" fmla="*/ 9 h 12"/>
                  <a:gd name="T8" fmla="*/ 6 w 51"/>
                  <a:gd name="T9" fmla="*/ 8 h 12"/>
                  <a:gd name="T10" fmla="*/ 9 w 51"/>
                  <a:gd name="T11" fmla="*/ 8 h 12"/>
                  <a:gd name="T12" fmla="*/ 12 w 51"/>
                  <a:gd name="T13" fmla="*/ 8 h 12"/>
                  <a:gd name="T14" fmla="*/ 14 w 51"/>
                  <a:gd name="T15" fmla="*/ 8 h 12"/>
                  <a:gd name="T16" fmla="*/ 18 w 51"/>
                  <a:gd name="T17" fmla="*/ 9 h 12"/>
                  <a:gd name="T18" fmla="*/ 21 w 51"/>
                  <a:gd name="T19" fmla="*/ 9 h 12"/>
                  <a:gd name="T20" fmla="*/ 24 w 51"/>
                  <a:gd name="T21" fmla="*/ 11 h 12"/>
                  <a:gd name="T22" fmla="*/ 27 w 51"/>
                  <a:gd name="T23" fmla="*/ 12 h 12"/>
                  <a:gd name="T24" fmla="*/ 29 w 51"/>
                  <a:gd name="T25" fmla="*/ 12 h 12"/>
                  <a:gd name="T26" fmla="*/ 32 w 51"/>
                  <a:gd name="T27" fmla="*/ 12 h 12"/>
                  <a:gd name="T28" fmla="*/ 34 w 51"/>
                  <a:gd name="T29" fmla="*/ 11 h 12"/>
                  <a:gd name="T30" fmla="*/ 35 w 51"/>
                  <a:gd name="T31" fmla="*/ 11 h 12"/>
                  <a:gd name="T32" fmla="*/ 36 w 51"/>
                  <a:gd name="T33" fmla="*/ 11 h 12"/>
                  <a:gd name="T34" fmla="*/ 38 w 51"/>
                  <a:gd name="T35" fmla="*/ 9 h 12"/>
                  <a:gd name="T36" fmla="*/ 39 w 51"/>
                  <a:gd name="T37" fmla="*/ 9 h 12"/>
                  <a:gd name="T38" fmla="*/ 40 w 51"/>
                  <a:gd name="T39" fmla="*/ 8 h 12"/>
                  <a:gd name="T40" fmla="*/ 42 w 51"/>
                  <a:gd name="T41" fmla="*/ 8 h 12"/>
                  <a:gd name="T42" fmla="*/ 43 w 51"/>
                  <a:gd name="T43" fmla="*/ 8 h 12"/>
                  <a:gd name="T44" fmla="*/ 45 w 51"/>
                  <a:gd name="T45" fmla="*/ 6 h 12"/>
                  <a:gd name="T46" fmla="*/ 46 w 51"/>
                  <a:gd name="T47" fmla="*/ 6 h 12"/>
                  <a:gd name="T48" fmla="*/ 47 w 51"/>
                  <a:gd name="T49" fmla="*/ 6 h 12"/>
                  <a:gd name="T50" fmla="*/ 47 w 51"/>
                  <a:gd name="T51" fmla="*/ 8 h 12"/>
                  <a:gd name="T52" fmla="*/ 49 w 51"/>
                  <a:gd name="T53" fmla="*/ 8 h 12"/>
                  <a:gd name="T54" fmla="*/ 50 w 51"/>
                  <a:gd name="T55" fmla="*/ 8 h 12"/>
                  <a:gd name="T56" fmla="*/ 51 w 51"/>
                  <a:gd name="T57" fmla="*/ 6 h 12"/>
                  <a:gd name="T58" fmla="*/ 51 w 51"/>
                  <a:gd name="T59" fmla="*/ 5 h 12"/>
                  <a:gd name="T60" fmla="*/ 50 w 51"/>
                  <a:gd name="T61" fmla="*/ 4 h 12"/>
                  <a:gd name="T62" fmla="*/ 47 w 51"/>
                  <a:gd name="T63" fmla="*/ 4 h 12"/>
                  <a:gd name="T64" fmla="*/ 45 w 51"/>
                  <a:gd name="T65" fmla="*/ 2 h 12"/>
                  <a:gd name="T66" fmla="*/ 42 w 51"/>
                  <a:gd name="T67" fmla="*/ 2 h 12"/>
                  <a:gd name="T68" fmla="*/ 39 w 51"/>
                  <a:gd name="T69" fmla="*/ 1 h 12"/>
                  <a:gd name="T70" fmla="*/ 36 w 51"/>
                  <a:gd name="T71" fmla="*/ 1 h 12"/>
                  <a:gd name="T72" fmla="*/ 35 w 51"/>
                  <a:gd name="T73" fmla="*/ 1 h 12"/>
                  <a:gd name="T74" fmla="*/ 32 w 51"/>
                  <a:gd name="T75" fmla="*/ 1 h 12"/>
                  <a:gd name="T76" fmla="*/ 31 w 51"/>
                  <a:gd name="T77" fmla="*/ 2 h 12"/>
                  <a:gd name="T78" fmla="*/ 29 w 51"/>
                  <a:gd name="T79" fmla="*/ 2 h 12"/>
                  <a:gd name="T80" fmla="*/ 28 w 51"/>
                  <a:gd name="T81" fmla="*/ 2 h 12"/>
                  <a:gd name="T82" fmla="*/ 25 w 51"/>
                  <a:gd name="T83" fmla="*/ 4 h 12"/>
                  <a:gd name="T84" fmla="*/ 23 w 51"/>
                  <a:gd name="T85" fmla="*/ 4 h 12"/>
                  <a:gd name="T86" fmla="*/ 20 w 51"/>
                  <a:gd name="T87" fmla="*/ 4 h 12"/>
                  <a:gd name="T88" fmla="*/ 17 w 51"/>
                  <a:gd name="T89" fmla="*/ 2 h 12"/>
                  <a:gd name="T90" fmla="*/ 16 w 51"/>
                  <a:gd name="T91" fmla="*/ 2 h 12"/>
                  <a:gd name="T92" fmla="*/ 14 w 51"/>
                  <a:gd name="T93" fmla="*/ 1 h 12"/>
                  <a:gd name="T94" fmla="*/ 13 w 51"/>
                  <a:gd name="T95" fmla="*/ 1 h 12"/>
                  <a:gd name="T96" fmla="*/ 12 w 51"/>
                  <a:gd name="T97" fmla="*/ 0 h 12"/>
                  <a:gd name="T98" fmla="*/ 9 w 51"/>
                  <a:gd name="T99" fmla="*/ 0 h 12"/>
                  <a:gd name="T100" fmla="*/ 7 w 51"/>
                  <a:gd name="T101" fmla="*/ 0 h 12"/>
                  <a:gd name="T102" fmla="*/ 5 w 51"/>
                  <a:gd name="T103" fmla="*/ 0 h 12"/>
                  <a:gd name="T104" fmla="*/ 3 w 51"/>
                  <a:gd name="T105" fmla="*/ 0 h 12"/>
                  <a:gd name="T106" fmla="*/ 2 w 51"/>
                  <a:gd name="T107" fmla="*/ 0 h 12"/>
                  <a:gd name="T108" fmla="*/ 0 w 51"/>
                  <a:gd name="T10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1" h="12">
                    <a:moveTo>
                      <a:pt x="0" y="0"/>
                    </a:moveTo>
                    <a:lnTo>
                      <a:pt x="2" y="9"/>
                    </a:lnTo>
                    <a:lnTo>
                      <a:pt x="3" y="9"/>
                    </a:lnTo>
                    <a:lnTo>
                      <a:pt x="5" y="9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4" y="11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2" y="12"/>
                    </a:lnTo>
                    <a:lnTo>
                      <a:pt x="34" y="11"/>
                    </a:lnTo>
                    <a:lnTo>
                      <a:pt x="35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40" y="8"/>
                    </a:lnTo>
                    <a:lnTo>
                      <a:pt x="42" y="8"/>
                    </a:lnTo>
                    <a:lnTo>
                      <a:pt x="43" y="8"/>
                    </a:lnTo>
                    <a:lnTo>
                      <a:pt x="45" y="6"/>
                    </a:lnTo>
                    <a:lnTo>
                      <a:pt x="46" y="6"/>
                    </a:lnTo>
                    <a:lnTo>
                      <a:pt x="47" y="6"/>
                    </a:lnTo>
                    <a:lnTo>
                      <a:pt x="47" y="8"/>
                    </a:lnTo>
                    <a:lnTo>
                      <a:pt x="49" y="8"/>
                    </a:lnTo>
                    <a:lnTo>
                      <a:pt x="50" y="8"/>
                    </a:lnTo>
                    <a:lnTo>
                      <a:pt x="51" y="6"/>
                    </a:lnTo>
                    <a:lnTo>
                      <a:pt x="51" y="5"/>
                    </a:lnTo>
                    <a:lnTo>
                      <a:pt x="50" y="4"/>
                    </a:lnTo>
                    <a:lnTo>
                      <a:pt x="47" y="4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9" y="1"/>
                    </a:lnTo>
                    <a:lnTo>
                      <a:pt x="36" y="1"/>
                    </a:lnTo>
                    <a:lnTo>
                      <a:pt x="35" y="1"/>
                    </a:lnTo>
                    <a:lnTo>
                      <a:pt x="32" y="1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8" y="2"/>
                    </a:lnTo>
                    <a:lnTo>
                      <a:pt x="25" y="4"/>
                    </a:lnTo>
                    <a:lnTo>
                      <a:pt x="23" y="4"/>
                    </a:lnTo>
                    <a:lnTo>
                      <a:pt x="20" y="4"/>
                    </a:lnTo>
                    <a:lnTo>
                      <a:pt x="17" y="2"/>
                    </a:lnTo>
                    <a:lnTo>
                      <a:pt x="16" y="2"/>
                    </a:lnTo>
                    <a:lnTo>
                      <a:pt x="14" y="1"/>
                    </a:lnTo>
                    <a:lnTo>
                      <a:pt x="13" y="1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0" name="Freeform 953"/>
              <p:cNvSpPr>
                <a:spLocks/>
              </p:cNvSpPr>
              <p:nvPr/>
            </p:nvSpPr>
            <p:spPr bwMode="auto">
              <a:xfrm>
                <a:off x="2542" y="2799"/>
                <a:ext cx="101" cy="67"/>
              </a:xfrm>
              <a:custGeom>
                <a:avLst/>
                <a:gdLst>
                  <a:gd name="T0" fmla="*/ 28 w 101"/>
                  <a:gd name="T1" fmla="*/ 45 h 67"/>
                  <a:gd name="T2" fmla="*/ 2 w 101"/>
                  <a:gd name="T3" fmla="*/ 25 h 67"/>
                  <a:gd name="T4" fmla="*/ 6 w 101"/>
                  <a:gd name="T5" fmla="*/ 22 h 67"/>
                  <a:gd name="T6" fmla="*/ 14 w 101"/>
                  <a:gd name="T7" fmla="*/ 16 h 67"/>
                  <a:gd name="T8" fmla="*/ 20 w 101"/>
                  <a:gd name="T9" fmla="*/ 7 h 67"/>
                  <a:gd name="T10" fmla="*/ 35 w 101"/>
                  <a:gd name="T11" fmla="*/ 0 h 67"/>
                  <a:gd name="T12" fmla="*/ 37 w 101"/>
                  <a:gd name="T13" fmla="*/ 3 h 67"/>
                  <a:gd name="T14" fmla="*/ 44 w 101"/>
                  <a:gd name="T15" fmla="*/ 7 h 67"/>
                  <a:gd name="T16" fmla="*/ 51 w 101"/>
                  <a:gd name="T17" fmla="*/ 10 h 67"/>
                  <a:gd name="T18" fmla="*/ 57 w 101"/>
                  <a:gd name="T19" fmla="*/ 11 h 67"/>
                  <a:gd name="T20" fmla="*/ 59 w 101"/>
                  <a:gd name="T21" fmla="*/ 8 h 67"/>
                  <a:gd name="T22" fmla="*/ 65 w 101"/>
                  <a:gd name="T23" fmla="*/ 5 h 67"/>
                  <a:gd name="T24" fmla="*/ 72 w 101"/>
                  <a:gd name="T25" fmla="*/ 4 h 67"/>
                  <a:gd name="T26" fmla="*/ 77 w 101"/>
                  <a:gd name="T27" fmla="*/ 11 h 67"/>
                  <a:gd name="T28" fmla="*/ 77 w 101"/>
                  <a:gd name="T29" fmla="*/ 14 h 67"/>
                  <a:gd name="T30" fmla="*/ 77 w 101"/>
                  <a:gd name="T31" fmla="*/ 18 h 67"/>
                  <a:gd name="T32" fmla="*/ 79 w 101"/>
                  <a:gd name="T33" fmla="*/ 25 h 67"/>
                  <a:gd name="T34" fmla="*/ 86 w 101"/>
                  <a:gd name="T35" fmla="*/ 29 h 67"/>
                  <a:gd name="T36" fmla="*/ 88 w 101"/>
                  <a:gd name="T37" fmla="*/ 29 h 67"/>
                  <a:gd name="T38" fmla="*/ 91 w 101"/>
                  <a:gd name="T39" fmla="*/ 29 h 67"/>
                  <a:gd name="T40" fmla="*/ 95 w 101"/>
                  <a:gd name="T41" fmla="*/ 30 h 67"/>
                  <a:gd name="T42" fmla="*/ 99 w 101"/>
                  <a:gd name="T43" fmla="*/ 36 h 67"/>
                  <a:gd name="T44" fmla="*/ 101 w 101"/>
                  <a:gd name="T45" fmla="*/ 44 h 67"/>
                  <a:gd name="T46" fmla="*/ 99 w 101"/>
                  <a:gd name="T47" fmla="*/ 49 h 67"/>
                  <a:gd name="T48" fmla="*/ 97 w 101"/>
                  <a:gd name="T49" fmla="*/ 53 h 67"/>
                  <a:gd name="T50" fmla="*/ 95 w 101"/>
                  <a:gd name="T51" fmla="*/ 53 h 67"/>
                  <a:gd name="T52" fmla="*/ 58 w 101"/>
                  <a:gd name="T53" fmla="*/ 67 h 67"/>
                  <a:gd name="T54" fmla="*/ 57 w 101"/>
                  <a:gd name="T55" fmla="*/ 67 h 67"/>
                  <a:gd name="T56" fmla="*/ 53 w 101"/>
                  <a:gd name="T57" fmla="*/ 66 h 67"/>
                  <a:gd name="T58" fmla="*/ 46 w 101"/>
                  <a:gd name="T59" fmla="*/ 64 h 67"/>
                  <a:gd name="T60" fmla="*/ 40 w 101"/>
                  <a:gd name="T61" fmla="*/ 63 h 67"/>
                  <a:gd name="T62" fmla="*/ 37 w 101"/>
                  <a:gd name="T63" fmla="*/ 62 h 67"/>
                  <a:gd name="T64" fmla="*/ 35 w 101"/>
                  <a:gd name="T65" fmla="*/ 59 h 67"/>
                  <a:gd name="T66" fmla="*/ 31 w 101"/>
                  <a:gd name="T67" fmla="*/ 5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1" h="67">
                    <a:moveTo>
                      <a:pt x="29" y="52"/>
                    </a:moveTo>
                    <a:lnTo>
                      <a:pt x="28" y="45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3" y="23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14" y="16"/>
                    </a:lnTo>
                    <a:lnTo>
                      <a:pt x="17" y="12"/>
                    </a:lnTo>
                    <a:lnTo>
                      <a:pt x="20" y="7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7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1" y="10"/>
                    </a:lnTo>
                    <a:lnTo>
                      <a:pt x="54" y="11"/>
                    </a:lnTo>
                    <a:lnTo>
                      <a:pt x="57" y="11"/>
                    </a:lnTo>
                    <a:lnTo>
                      <a:pt x="57" y="11"/>
                    </a:lnTo>
                    <a:lnTo>
                      <a:pt x="59" y="8"/>
                    </a:lnTo>
                    <a:lnTo>
                      <a:pt x="61" y="7"/>
                    </a:lnTo>
                    <a:lnTo>
                      <a:pt x="65" y="5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5" y="7"/>
                    </a:lnTo>
                    <a:lnTo>
                      <a:pt x="77" y="11"/>
                    </a:lnTo>
                    <a:lnTo>
                      <a:pt x="77" y="11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7" y="18"/>
                    </a:lnTo>
                    <a:lnTo>
                      <a:pt x="77" y="22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6" y="29"/>
                    </a:lnTo>
                    <a:lnTo>
                      <a:pt x="87" y="30"/>
                    </a:lnTo>
                    <a:lnTo>
                      <a:pt x="88" y="29"/>
                    </a:lnTo>
                    <a:lnTo>
                      <a:pt x="90" y="29"/>
                    </a:lnTo>
                    <a:lnTo>
                      <a:pt x="91" y="29"/>
                    </a:lnTo>
                    <a:lnTo>
                      <a:pt x="94" y="29"/>
                    </a:lnTo>
                    <a:lnTo>
                      <a:pt x="95" y="30"/>
                    </a:lnTo>
                    <a:lnTo>
                      <a:pt x="98" y="31"/>
                    </a:lnTo>
                    <a:lnTo>
                      <a:pt x="99" y="36"/>
                    </a:lnTo>
                    <a:lnTo>
                      <a:pt x="101" y="40"/>
                    </a:lnTo>
                    <a:lnTo>
                      <a:pt x="101" y="44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98" y="51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5" y="53"/>
                    </a:lnTo>
                    <a:lnTo>
                      <a:pt x="58" y="67"/>
                    </a:lnTo>
                    <a:lnTo>
                      <a:pt x="58" y="67"/>
                    </a:lnTo>
                    <a:lnTo>
                      <a:pt x="58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6"/>
                    </a:lnTo>
                    <a:lnTo>
                      <a:pt x="50" y="66"/>
                    </a:lnTo>
                    <a:lnTo>
                      <a:pt x="46" y="64"/>
                    </a:lnTo>
                    <a:lnTo>
                      <a:pt x="40" y="63"/>
                    </a:lnTo>
                    <a:lnTo>
                      <a:pt x="40" y="63"/>
                    </a:lnTo>
                    <a:lnTo>
                      <a:pt x="39" y="62"/>
                    </a:lnTo>
                    <a:lnTo>
                      <a:pt x="37" y="62"/>
                    </a:lnTo>
                    <a:lnTo>
                      <a:pt x="36" y="60"/>
                    </a:lnTo>
                    <a:lnTo>
                      <a:pt x="35" y="59"/>
                    </a:lnTo>
                    <a:lnTo>
                      <a:pt x="32" y="58"/>
                    </a:lnTo>
                    <a:lnTo>
                      <a:pt x="31" y="55"/>
                    </a:lnTo>
                    <a:lnTo>
                      <a:pt x="29" y="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1" name="Freeform 954"/>
              <p:cNvSpPr>
                <a:spLocks/>
              </p:cNvSpPr>
              <p:nvPr/>
            </p:nvSpPr>
            <p:spPr bwMode="auto">
              <a:xfrm>
                <a:off x="2542" y="2799"/>
                <a:ext cx="101" cy="67"/>
              </a:xfrm>
              <a:custGeom>
                <a:avLst/>
                <a:gdLst>
                  <a:gd name="T0" fmla="*/ 29 w 101"/>
                  <a:gd name="T1" fmla="*/ 52 h 67"/>
                  <a:gd name="T2" fmla="*/ 28 w 101"/>
                  <a:gd name="T3" fmla="*/ 45 h 67"/>
                  <a:gd name="T4" fmla="*/ 0 w 101"/>
                  <a:gd name="T5" fmla="*/ 25 h 67"/>
                  <a:gd name="T6" fmla="*/ 2 w 101"/>
                  <a:gd name="T7" fmla="*/ 25 h 67"/>
                  <a:gd name="T8" fmla="*/ 3 w 101"/>
                  <a:gd name="T9" fmla="*/ 23 h 67"/>
                  <a:gd name="T10" fmla="*/ 6 w 101"/>
                  <a:gd name="T11" fmla="*/ 22 h 67"/>
                  <a:gd name="T12" fmla="*/ 10 w 101"/>
                  <a:gd name="T13" fmla="*/ 19 h 67"/>
                  <a:gd name="T14" fmla="*/ 14 w 101"/>
                  <a:gd name="T15" fmla="*/ 16 h 67"/>
                  <a:gd name="T16" fmla="*/ 17 w 101"/>
                  <a:gd name="T17" fmla="*/ 12 h 67"/>
                  <a:gd name="T18" fmla="*/ 20 w 101"/>
                  <a:gd name="T19" fmla="*/ 7 h 67"/>
                  <a:gd name="T20" fmla="*/ 22 w 101"/>
                  <a:gd name="T21" fmla="*/ 0 h 67"/>
                  <a:gd name="T22" fmla="*/ 35 w 101"/>
                  <a:gd name="T23" fmla="*/ 0 h 67"/>
                  <a:gd name="T24" fmla="*/ 36 w 101"/>
                  <a:gd name="T25" fmla="*/ 0 h 67"/>
                  <a:gd name="T26" fmla="*/ 37 w 101"/>
                  <a:gd name="T27" fmla="*/ 3 h 67"/>
                  <a:gd name="T28" fmla="*/ 40 w 101"/>
                  <a:gd name="T29" fmla="*/ 4 h 67"/>
                  <a:gd name="T30" fmla="*/ 44 w 101"/>
                  <a:gd name="T31" fmla="*/ 7 h 67"/>
                  <a:gd name="T32" fmla="*/ 47 w 101"/>
                  <a:gd name="T33" fmla="*/ 8 h 67"/>
                  <a:gd name="T34" fmla="*/ 51 w 101"/>
                  <a:gd name="T35" fmla="*/ 10 h 67"/>
                  <a:gd name="T36" fmla="*/ 54 w 101"/>
                  <a:gd name="T37" fmla="*/ 11 h 67"/>
                  <a:gd name="T38" fmla="*/ 57 w 101"/>
                  <a:gd name="T39" fmla="*/ 11 h 67"/>
                  <a:gd name="T40" fmla="*/ 59 w 101"/>
                  <a:gd name="T41" fmla="*/ 8 h 67"/>
                  <a:gd name="T42" fmla="*/ 61 w 101"/>
                  <a:gd name="T43" fmla="*/ 7 h 67"/>
                  <a:gd name="T44" fmla="*/ 65 w 101"/>
                  <a:gd name="T45" fmla="*/ 5 h 67"/>
                  <a:gd name="T46" fmla="*/ 68 w 101"/>
                  <a:gd name="T47" fmla="*/ 4 h 67"/>
                  <a:gd name="T48" fmla="*/ 72 w 101"/>
                  <a:gd name="T49" fmla="*/ 4 h 67"/>
                  <a:gd name="T50" fmla="*/ 75 w 101"/>
                  <a:gd name="T51" fmla="*/ 7 h 67"/>
                  <a:gd name="T52" fmla="*/ 77 w 101"/>
                  <a:gd name="T53" fmla="*/ 11 h 67"/>
                  <a:gd name="T54" fmla="*/ 77 w 101"/>
                  <a:gd name="T55" fmla="*/ 14 h 67"/>
                  <a:gd name="T56" fmla="*/ 77 w 101"/>
                  <a:gd name="T57" fmla="*/ 15 h 67"/>
                  <a:gd name="T58" fmla="*/ 77 w 101"/>
                  <a:gd name="T59" fmla="*/ 18 h 67"/>
                  <a:gd name="T60" fmla="*/ 77 w 101"/>
                  <a:gd name="T61" fmla="*/ 22 h 67"/>
                  <a:gd name="T62" fmla="*/ 79 w 101"/>
                  <a:gd name="T63" fmla="*/ 25 h 67"/>
                  <a:gd name="T64" fmla="*/ 81 w 101"/>
                  <a:gd name="T65" fmla="*/ 27 h 67"/>
                  <a:gd name="T66" fmla="*/ 86 w 101"/>
                  <a:gd name="T67" fmla="*/ 29 h 67"/>
                  <a:gd name="T68" fmla="*/ 87 w 101"/>
                  <a:gd name="T69" fmla="*/ 30 h 67"/>
                  <a:gd name="T70" fmla="*/ 88 w 101"/>
                  <a:gd name="T71" fmla="*/ 29 h 67"/>
                  <a:gd name="T72" fmla="*/ 90 w 101"/>
                  <a:gd name="T73" fmla="*/ 29 h 67"/>
                  <a:gd name="T74" fmla="*/ 91 w 101"/>
                  <a:gd name="T75" fmla="*/ 29 h 67"/>
                  <a:gd name="T76" fmla="*/ 94 w 101"/>
                  <a:gd name="T77" fmla="*/ 29 h 67"/>
                  <a:gd name="T78" fmla="*/ 95 w 101"/>
                  <a:gd name="T79" fmla="*/ 30 h 67"/>
                  <a:gd name="T80" fmla="*/ 98 w 101"/>
                  <a:gd name="T81" fmla="*/ 31 h 67"/>
                  <a:gd name="T82" fmla="*/ 99 w 101"/>
                  <a:gd name="T83" fmla="*/ 36 h 67"/>
                  <a:gd name="T84" fmla="*/ 101 w 101"/>
                  <a:gd name="T85" fmla="*/ 40 h 67"/>
                  <a:gd name="T86" fmla="*/ 101 w 101"/>
                  <a:gd name="T87" fmla="*/ 44 h 67"/>
                  <a:gd name="T88" fmla="*/ 99 w 101"/>
                  <a:gd name="T89" fmla="*/ 47 h 67"/>
                  <a:gd name="T90" fmla="*/ 99 w 101"/>
                  <a:gd name="T91" fmla="*/ 49 h 67"/>
                  <a:gd name="T92" fmla="*/ 98 w 101"/>
                  <a:gd name="T93" fmla="*/ 51 h 67"/>
                  <a:gd name="T94" fmla="*/ 97 w 101"/>
                  <a:gd name="T95" fmla="*/ 53 h 67"/>
                  <a:gd name="T96" fmla="*/ 95 w 101"/>
                  <a:gd name="T97" fmla="*/ 53 h 67"/>
                  <a:gd name="T98" fmla="*/ 58 w 101"/>
                  <a:gd name="T99" fmla="*/ 67 h 67"/>
                  <a:gd name="T100" fmla="*/ 57 w 101"/>
                  <a:gd name="T101" fmla="*/ 67 h 67"/>
                  <a:gd name="T102" fmla="*/ 55 w 101"/>
                  <a:gd name="T103" fmla="*/ 67 h 67"/>
                  <a:gd name="T104" fmla="*/ 53 w 101"/>
                  <a:gd name="T105" fmla="*/ 66 h 67"/>
                  <a:gd name="T106" fmla="*/ 50 w 101"/>
                  <a:gd name="T107" fmla="*/ 66 h 67"/>
                  <a:gd name="T108" fmla="*/ 46 w 101"/>
                  <a:gd name="T109" fmla="*/ 64 h 67"/>
                  <a:gd name="T110" fmla="*/ 40 w 101"/>
                  <a:gd name="T111" fmla="*/ 63 h 67"/>
                  <a:gd name="T112" fmla="*/ 39 w 101"/>
                  <a:gd name="T113" fmla="*/ 62 h 67"/>
                  <a:gd name="T114" fmla="*/ 37 w 101"/>
                  <a:gd name="T115" fmla="*/ 62 h 67"/>
                  <a:gd name="T116" fmla="*/ 36 w 101"/>
                  <a:gd name="T117" fmla="*/ 60 h 67"/>
                  <a:gd name="T118" fmla="*/ 35 w 101"/>
                  <a:gd name="T119" fmla="*/ 59 h 67"/>
                  <a:gd name="T120" fmla="*/ 32 w 101"/>
                  <a:gd name="T121" fmla="*/ 58 h 67"/>
                  <a:gd name="T122" fmla="*/ 31 w 101"/>
                  <a:gd name="T123" fmla="*/ 55 h 67"/>
                  <a:gd name="T124" fmla="*/ 29 w 101"/>
                  <a:gd name="T125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1" h="67">
                    <a:moveTo>
                      <a:pt x="29" y="52"/>
                    </a:moveTo>
                    <a:lnTo>
                      <a:pt x="28" y="45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3" y="23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14" y="16"/>
                    </a:lnTo>
                    <a:lnTo>
                      <a:pt x="17" y="12"/>
                    </a:lnTo>
                    <a:lnTo>
                      <a:pt x="20" y="7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7" y="3"/>
                    </a:lnTo>
                    <a:lnTo>
                      <a:pt x="40" y="4"/>
                    </a:lnTo>
                    <a:lnTo>
                      <a:pt x="44" y="7"/>
                    </a:lnTo>
                    <a:lnTo>
                      <a:pt x="47" y="8"/>
                    </a:lnTo>
                    <a:lnTo>
                      <a:pt x="51" y="10"/>
                    </a:lnTo>
                    <a:lnTo>
                      <a:pt x="54" y="11"/>
                    </a:lnTo>
                    <a:lnTo>
                      <a:pt x="57" y="11"/>
                    </a:lnTo>
                    <a:lnTo>
                      <a:pt x="59" y="8"/>
                    </a:lnTo>
                    <a:lnTo>
                      <a:pt x="61" y="7"/>
                    </a:lnTo>
                    <a:lnTo>
                      <a:pt x="65" y="5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5" y="7"/>
                    </a:lnTo>
                    <a:lnTo>
                      <a:pt x="77" y="11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7" y="18"/>
                    </a:lnTo>
                    <a:lnTo>
                      <a:pt x="77" y="22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6" y="29"/>
                    </a:lnTo>
                    <a:lnTo>
                      <a:pt x="87" y="30"/>
                    </a:lnTo>
                    <a:lnTo>
                      <a:pt x="88" y="29"/>
                    </a:lnTo>
                    <a:lnTo>
                      <a:pt x="90" y="29"/>
                    </a:lnTo>
                    <a:lnTo>
                      <a:pt x="91" y="29"/>
                    </a:lnTo>
                    <a:lnTo>
                      <a:pt x="94" y="29"/>
                    </a:lnTo>
                    <a:lnTo>
                      <a:pt x="95" y="30"/>
                    </a:lnTo>
                    <a:lnTo>
                      <a:pt x="98" y="31"/>
                    </a:lnTo>
                    <a:lnTo>
                      <a:pt x="99" y="36"/>
                    </a:lnTo>
                    <a:lnTo>
                      <a:pt x="101" y="40"/>
                    </a:lnTo>
                    <a:lnTo>
                      <a:pt x="101" y="44"/>
                    </a:lnTo>
                    <a:lnTo>
                      <a:pt x="99" y="47"/>
                    </a:lnTo>
                    <a:lnTo>
                      <a:pt x="99" y="49"/>
                    </a:lnTo>
                    <a:lnTo>
                      <a:pt x="98" y="51"/>
                    </a:lnTo>
                    <a:lnTo>
                      <a:pt x="97" y="53"/>
                    </a:lnTo>
                    <a:lnTo>
                      <a:pt x="95" y="53"/>
                    </a:lnTo>
                    <a:lnTo>
                      <a:pt x="58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6"/>
                    </a:lnTo>
                    <a:lnTo>
                      <a:pt x="50" y="66"/>
                    </a:lnTo>
                    <a:lnTo>
                      <a:pt x="46" y="64"/>
                    </a:lnTo>
                    <a:lnTo>
                      <a:pt x="40" y="63"/>
                    </a:lnTo>
                    <a:lnTo>
                      <a:pt x="39" y="62"/>
                    </a:lnTo>
                    <a:lnTo>
                      <a:pt x="37" y="62"/>
                    </a:lnTo>
                    <a:lnTo>
                      <a:pt x="36" y="60"/>
                    </a:lnTo>
                    <a:lnTo>
                      <a:pt x="35" y="59"/>
                    </a:lnTo>
                    <a:lnTo>
                      <a:pt x="32" y="58"/>
                    </a:lnTo>
                    <a:lnTo>
                      <a:pt x="31" y="55"/>
                    </a:lnTo>
                    <a:lnTo>
                      <a:pt x="29" y="5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2" name="Freeform 955"/>
              <p:cNvSpPr>
                <a:spLocks/>
              </p:cNvSpPr>
              <p:nvPr/>
            </p:nvSpPr>
            <p:spPr bwMode="auto">
              <a:xfrm>
                <a:off x="2522" y="2770"/>
                <a:ext cx="42" cy="54"/>
              </a:xfrm>
              <a:custGeom>
                <a:avLst/>
                <a:gdLst>
                  <a:gd name="T0" fmla="*/ 0 w 42"/>
                  <a:gd name="T1" fmla="*/ 22 h 54"/>
                  <a:gd name="T2" fmla="*/ 0 w 42"/>
                  <a:gd name="T3" fmla="*/ 21 h 54"/>
                  <a:gd name="T4" fmla="*/ 0 w 42"/>
                  <a:gd name="T5" fmla="*/ 19 h 54"/>
                  <a:gd name="T6" fmla="*/ 0 w 42"/>
                  <a:gd name="T7" fmla="*/ 18 h 54"/>
                  <a:gd name="T8" fmla="*/ 1 w 42"/>
                  <a:gd name="T9" fmla="*/ 15 h 54"/>
                  <a:gd name="T10" fmla="*/ 1 w 42"/>
                  <a:gd name="T11" fmla="*/ 12 h 54"/>
                  <a:gd name="T12" fmla="*/ 4 w 42"/>
                  <a:gd name="T13" fmla="*/ 10 h 54"/>
                  <a:gd name="T14" fmla="*/ 7 w 42"/>
                  <a:gd name="T15" fmla="*/ 6 h 54"/>
                  <a:gd name="T16" fmla="*/ 11 w 42"/>
                  <a:gd name="T17" fmla="*/ 4 h 54"/>
                  <a:gd name="T18" fmla="*/ 15 w 42"/>
                  <a:gd name="T19" fmla="*/ 1 h 54"/>
                  <a:gd name="T20" fmla="*/ 18 w 42"/>
                  <a:gd name="T21" fmla="*/ 1 h 54"/>
                  <a:gd name="T22" fmla="*/ 22 w 42"/>
                  <a:gd name="T23" fmla="*/ 0 h 54"/>
                  <a:gd name="T24" fmla="*/ 23 w 42"/>
                  <a:gd name="T25" fmla="*/ 0 h 54"/>
                  <a:gd name="T26" fmla="*/ 26 w 42"/>
                  <a:gd name="T27" fmla="*/ 0 h 54"/>
                  <a:gd name="T28" fmla="*/ 27 w 42"/>
                  <a:gd name="T29" fmla="*/ 1 h 54"/>
                  <a:gd name="T30" fmla="*/ 29 w 42"/>
                  <a:gd name="T31" fmla="*/ 1 h 54"/>
                  <a:gd name="T32" fmla="*/ 30 w 42"/>
                  <a:gd name="T33" fmla="*/ 3 h 54"/>
                  <a:gd name="T34" fmla="*/ 31 w 42"/>
                  <a:gd name="T35" fmla="*/ 3 h 54"/>
                  <a:gd name="T36" fmla="*/ 33 w 42"/>
                  <a:gd name="T37" fmla="*/ 3 h 54"/>
                  <a:gd name="T38" fmla="*/ 35 w 42"/>
                  <a:gd name="T39" fmla="*/ 4 h 54"/>
                  <a:gd name="T40" fmla="*/ 37 w 42"/>
                  <a:gd name="T41" fmla="*/ 6 h 54"/>
                  <a:gd name="T42" fmla="*/ 40 w 42"/>
                  <a:gd name="T43" fmla="*/ 7 h 54"/>
                  <a:gd name="T44" fmla="*/ 41 w 42"/>
                  <a:gd name="T45" fmla="*/ 8 h 54"/>
                  <a:gd name="T46" fmla="*/ 42 w 42"/>
                  <a:gd name="T47" fmla="*/ 11 h 54"/>
                  <a:gd name="T48" fmla="*/ 42 w 42"/>
                  <a:gd name="T49" fmla="*/ 14 h 54"/>
                  <a:gd name="T50" fmla="*/ 42 w 42"/>
                  <a:gd name="T51" fmla="*/ 18 h 54"/>
                  <a:gd name="T52" fmla="*/ 42 w 42"/>
                  <a:gd name="T53" fmla="*/ 21 h 54"/>
                  <a:gd name="T54" fmla="*/ 42 w 42"/>
                  <a:gd name="T55" fmla="*/ 25 h 54"/>
                  <a:gd name="T56" fmla="*/ 42 w 42"/>
                  <a:gd name="T57" fmla="*/ 29 h 54"/>
                  <a:gd name="T58" fmla="*/ 41 w 42"/>
                  <a:gd name="T59" fmla="*/ 32 h 54"/>
                  <a:gd name="T60" fmla="*/ 40 w 42"/>
                  <a:gd name="T61" fmla="*/ 36 h 54"/>
                  <a:gd name="T62" fmla="*/ 38 w 42"/>
                  <a:gd name="T63" fmla="*/ 39 h 54"/>
                  <a:gd name="T64" fmla="*/ 37 w 42"/>
                  <a:gd name="T65" fmla="*/ 41 h 54"/>
                  <a:gd name="T66" fmla="*/ 37 w 42"/>
                  <a:gd name="T67" fmla="*/ 41 h 54"/>
                  <a:gd name="T68" fmla="*/ 37 w 42"/>
                  <a:gd name="T69" fmla="*/ 41 h 54"/>
                  <a:gd name="T70" fmla="*/ 35 w 42"/>
                  <a:gd name="T71" fmla="*/ 43 h 54"/>
                  <a:gd name="T72" fmla="*/ 34 w 42"/>
                  <a:gd name="T73" fmla="*/ 45 h 54"/>
                  <a:gd name="T74" fmla="*/ 33 w 42"/>
                  <a:gd name="T75" fmla="*/ 47 h 54"/>
                  <a:gd name="T76" fmla="*/ 30 w 42"/>
                  <a:gd name="T77" fmla="*/ 49 h 54"/>
                  <a:gd name="T78" fmla="*/ 27 w 42"/>
                  <a:gd name="T79" fmla="*/ 51 h 54"/>
                  <a:gd name="T80" fmla="*/ 23 w 42"/>
                  <a:gd name="T81" fmla="*/ 54 h 54"/>
                  <a:gd name="T82" fmla="*/ 23 w 42"/>
                  <a:gd name="T83" fmla="*/ 54 h 54"/>
                  <a:gd name="T84" fmla="*/ 22 w 42"/>
                  <a:gd name="T85" fmla="*/ 52 h 54"/>
                  <a:gd name="T86" fmla="*/ 20 w 42"/>
                  <a:gd name="T87" fmla="*/ 52 h 54"/>
                  <a:gd name="T88" fmla="*/ 18 w 42"/>
                  <a:gd name="T89" fmla="*/ 52 h 54"/>
                  <a:gd name="T90" fmla="*/ 16 w 42"/>
                  <a:gd name="T91" fmla="*/ 51 h 54"/>
                  <a:gd name="T92" fmla="*/ 13 w 42"/>
                  <a:gd name="T93" fmla="*/ 49 h 54"/>
                  <a:gd name="T94" fmla="*/ 12 w 42"/>
                  <a:gd name="T95" fmla="*/ 48 h 54"/>
                  <a:gd name="T96" fmla="*/ 11 w 42"/>
                  <a:gd name="T97" fmla="*/ 45 h 54"/>
                  <a:gd name="T98" fmla="*/ 0 w 42"/>
                  <a:gd name="T99" fmla="*/ 2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2" h="54">
                    <a:moveTo>
                      <a:pt x="0" y="22"/>
                    </a:moveTo>
                    <a:lnTo>
                      <a:pt x="0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1" y="12"/>
                    </a:lnTo>
                    <a:lnTo>
                      <a:pt x="4" y="10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3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2" y="29"/>
                    </a:lnTo>
                    <a:lnTo>
                      <a:pt x="41" y="32"/>
                    </a:lnTo>
                    <a:lnTo>
                      <a:pt x="40" y="36"/>
                    </a:lnTo>
                    <a:lnTo>
                      <a:pt x="38" y="39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7" y="41"/>
                    </a:lnTo>
                    <a:lnTo>
                      <a:pt x="35" y="43"/>
                    </a:lnTo>
                    <a:lnTo>
                      <a:pt x="34" y="45"/>
                    </a:lnTo>
                    <a:lnTo>
                      <a:pt x="33" y="47"/>
                    </a:lnTo>
                    <a:lnTo>
                      <a:pt x="30" y="49"/>
                    </a:lnTo>
                    <a:lnTo>
                      <a:pt x="27" y="51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6" y="51"/>
                    </a:lnTo>
                    <a:lnTo>
                      <a:pt x="13" y="49"/>
                    </a:lnTo>
                    <a:lnTo>
                      <a:pt x="12" y="48"/>
                    </a:lnTo>
                    <a:lnTo>
                      <a:pt x="11" y="45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3" name="Freeform 956"/>
              <p:cNvSpPr>
                <a:spLocks/>
              </p:cNvSpPr>
              <p:nvPr/>
            </p:nvSpPr>
            <p:spPr bwMode="auto">
              <a:xfrm>
                <a:off x="2522" y="2770"/>
                <a:ext cx="42" cy="54"/>
              </a:xfrm>
              <a:custGeom>
                <a:avLst/>
                <a:gdLst>
                  <a:gd name="T0" fmla="*/ 0 w 42"/>
                  <a:gd name="T1" fmla="*/ 22 h 54"/>
                  <a:gd name="T2" fmla="*/ 0 w 42"/>
                  <a:gd name="T3" fmla="*/ 21 h 54"/>
                  <a:gd name="T4" fmla="*/ 0 w 42"/>
                  <a:gd name="T5" fmla="*/ 19 h 54"/>
                  <a:gd name="T6" fmla="*/ 0 w 42"/>
                  <a:gd name="T7" fmla="*/ 18 h 54"/>
                  <a:gd name="T8" fmla="*/ 1 w 42"/>
                  <a:gd name="T9" fmla="*/ 15 h 54"/>
                  <a:gd name="T10" fmla="*/ 1 w 42"/>
                  <a:gd name="T11" fmla="*/ 12 h 54"/>
                  <a:gd name="T12" fmla="*/ 4 w 42"/>
                  <a:gd name="T13" fmla="*/ 10 h 54"/>
                  <a:gd name="T14" fmla="*/ 7 w 42"/>
                  <a:gd name="T15" fmla="*/ 6 h 54"/>
                  <a:gd name="T16" fmla="*/ 11 w 42"/>
                  <a:gd name="T17" fmla="*/ 4 h 54"/>
                  <a:gd name="T18" fmla="*/ 15 w 42"/>
                  <a:gd name="T19" fmla="*/ 1 h 54"/>
                  <a:gd name="T20" fmla="*/ 18 w 42"/>
                  <a:gd name="T21" fmla="*/ 1 h 54"/>
                  <a:gd name="T22" fmla="*/ 22 w 42"/>
                  <a:gd name="T23" fmla="*/ 0 h 54"/>
                  <a:gd name="T24" fmla="*/ 23 w 42"/>
                  <a:gd name="T25" fmla="*/ 0 h 54"/>
                  <a:gd name="T26" fmla="*/ 26 w 42"/>
                  <a:gd name="T27" fmla="*/ 0 h 54"/>
                  <a:gd name="T28" fmla="*/ 27 w 42"/>
                  <a:gd name="T29" fmla="*/ 1 h 54"/>
                  <a:gd name="T30" fmla="*/ 29 w 42"/>
                  <a:gd name="T31" fmla="*/ 1 h 54"/>
                  <a:gd name="T32" fmla="*/ 30 w 42"/>
                  <a:gd name="T33" fmla="*/ 3 h 54"/>
                  <a:gd name="T34" fmla="*/ 31 w 42"/>
                  <a:gd name="T35" fmla="*/ 3 h 54"/>
                  <a:gd name="T36" fmla="*/ 33 w 42"/>
                  <a:gd name="T37" fmla="*/ 3 h 54"/>
                  <a:gd name="T38" fmla="*/ 35 w 42"/>
                  <a:gd name="T39" fmla="*/ 4 h 54"/>
                  <a:gd name="T40" fmla="*/ 37 w 42"/>
                  <a:gd name="T41" fmla="*/ 6 h 54"/>
                  <a:gd name="T42" fmla="*/ 40 w 42"/>
                  <a:gd name="T43" fmla="*/ 7 h 54"/>
                  <a:gd name="T44" fmla="*/ 41 w 42"/>
                  <a:gd name="T45" fmla="*/ 8 h 54"/>
                  <a:gd name="T46" fmla="*/ 42 w 42"/>
                  <a:gd name="T47" fmla="*/ 11 h 54"/>
                  <a:gd name="T48" fmla="*/ 42 w 42"/>
                  <a:gd name="T49" fmla="*/ 14 h 54"/>
                  <a:gd name="T50" fmla="*/ 42 w 42"/>
                  <a:gd name="T51" fmla="*/ 18 h 54"/>
                  <a:gd name="T52" fmla="*/ 42 w 42"/>
                  <a:gd name="T53" fmla="*/ 21 h 54"/>
                  <a:gd name="T54" fmla="*/ 42 w 42"/>
                  <a:gd name="T55" fmla="*/ 25 h 54"/>
                  <a:gd name="T56" fmla="*/ 42 w 42"/>
                  <a:gd name="T57" fmla="*/ 29 h 54"/>
                  <a:gd name="T58" fmla="*/ 41 w 42"/>
                  <a:gd name="T59" fmla="*/ 32 h 54"/>
                  <a:gd name="T60" fmla="*/ 40 w 42"/>
                  <a:gd name="T61" fmla="*/ 36 h 54"/>
                  <a:gd name="T62" fmla="*/ 38 w 42"/>
                  <a:gd name="T63" fmla="*/ 39 h 54"/>
                  <a:gd name="T64" fmla="*/ 37 w 42"/>
                  <a:gd name="T65" fmla="*/ 41 h 54"/>
                  <a:gd name="T66" fmla="*/ 35 w 42"/>
                  <a:gd name="T67" fmla="*/ 43 h 54"/>
                  <a:gd name="T68" fmla="*/ 34 w 42"/>
                  <a:gd name="T69" fmla="*/ 45 h 54"/>
                  <a:gd name="T70" fmla="*/ 33 w 42"/>
                  <a:gd name="T71" fmla="*/ 47 h 54"/>
                  <a:gd name="T72" fmla="*/ 30 w 42"/>
                  <a:gd name="T73" fmla="*/ 49 h 54"/>
                  <a:gd name="T74" fmla="*/ 27 w 42"/>
                  <a:gd name="T75" fmla="*/ 51 h 54"/>
                  <a:gd name="T76" fmla="*/ 23 w 42"/>
                  <a:gd name="T77" fmla="*/ 54 h 54"/>
                  <a:gd name="T78" fmla="*/ 22 w 42"/>
                  <a:gd name="T79" fmla="*/ 52 h 54"/>
                  <a:gd name="T80" fmla="*/ 20 w 42"/>
                  <a:gd name="T81" fmla="*/ 52 h 54"/>
                  <a:gd name="T82" fmla="*/ 18 w 42"/>
                  <a:gd name="T83" fmla="*/ 52 h 54"/>
                  <a:gd name="T84" fmla="*/ 16 w 42"/>
                  <a:gd name="T85" fmla="*/ 51 h 54"/>
                  <a:gd name="T86" fmla="*/ 13 w 42"/>
                  <a:gd name="T87" fmla="*/ 49 h 54"/>
                  <a:gd name="T88" fmla="*/ 12 w 42"/>
                  <a:gd name="T89" fmla="*/ 48 h 54"/>
                  <a:gd name="T90" fmla="*/ 11 w 42"/>
                  <a:gd name="T91" fmla="*/ 45 h 54"/>
                  <a:gd name="T92" fmla="*/ 0 w 42"/>
                  <a:gd name="T93" fmla="*/ 2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2" h="54">
                    <a:moveTo>
                      <a:pt x="0" y="22"/>
                    </a:moveTo>
                    <a:lnTo>
                      <a:pt x="0" y="21"/>
                    </a:lnTo>
                    <a:lnTo>
                      <a:pt x="0" y="19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1" y="12"/>
                    </a:lnTo>
                    <a:lnTo>
                      <a:pt x="4" y="10"/>
                    </a:lnTo>
                    <a:lnTo>
                      <a:pt x="7" y="6"/>
                    </a:lnTo>
                    <a:lnTo>
                      <a:pt x="11" y="4"/>
                    </a:lnTo>
                    <a:lnTo>
                      <a:pt x="15" y="1"/>
                    </a:lnTo>
                    <a:lnTo>
                      <a:pt x="18" y="1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1"/>
                    </a:lnTo>
                    <a:lnTo>
                      <a:pt x="30" y="3"/>
                    </a:lnTo>
                    <a:lnTo>
                      <a:pt x="31" y="3"/>
                    </a:lnTo>
                    <a:lnTo>
                      <a:pt x="33" y="3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40" y="7"/>
                    </a:lnTo>
                    <a:lnTo>
                      <a:pt x="41" y="8"/>
                    </a:lnTo>
                    <a:lnTo>
                      <a:pt x="42" y="11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42" y="21"/>
                    </a:lnTo>
                    <a:lnTo>
                      <a:pt x="42" y="25"/>
                    </a:lnTo>
                    <a:lnTo>
                      <a:pt x="42" y="29"/>
                    </a:lnTo>
                    <a:lnTo>
                      <a:pt x="41" y="32"/>
                    </a:lnTo>
                    <a:lnTo>
                      <a:pt x="40" y="36"/>
                    </a:lnTo>
                    <a:lnTo>
                      <a:pt x="38" y="39"/>
                    </a:lnTo>
                    <a:lnTo>
                      <a:pt x="37" y="41"/>
                    </a:lnTo>
                    <a:lnTo>
                      <a:pt x="35" y="43"/>
                    </a:lnTo>
                    <a:lnTo>
                      <a:pt x="34" y="45"/>
                    </a:lnTo>
                    <a:lnTo>
                      <a:pt x="33" y="47"/>
                    </a:lnTo>
                    <a:lnTo>
                      <a:pt x="30" y="49"/>
                    </a:lnTo>
                    <a:lnTo>
                      <a:pt x="27" y="51"/>
                    </a:lnTo>
                    <a:lnTo>
                      <a:pt x="23" y="54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18" y="52"/>
                    </a:lnTo>
                    <a:lnTo>
                      <a:pt x="16" y="51"/>
                    </a:lnTo>
                    <a:lnTo>
                      <a:pt x="13" y="49"/>
                    </a:lnTo>
                    <a:lnTo>
                      <a:pt x="12" y="48"/>
                    </a:lnTo>
                    <a:lnTo>
                      <a:pt x="11" y="45"/>
                    </a:lnTo>
                    <a:lnTo>
                      <a:pt x="0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4" name="Freeform 957"/>
              <p:cNvSpPr>
                <a:spLocks/>
              </p:cNvSpPr>
              <p:nvPr/>
            </p:nvSpPr>
            <p:spPr bwMode="auto">
              <a:xfrm>
                <a:off x="2485" y="2727"/>
                <a:ext cx="116" cy="83"/>
              </a:xfrm>
              <a:custGeom>
                <a:avLst/>
                <a:gdLst>
                  <a:gd name="T0" fmla="*/ 0 w 116"/>
                  <a:gd name="T1" fmla="*/ 31 h 83"/>
                  <a:gd name="T2" fmla="*/ 20 w 116"/>
                  <a:gd name="T3" fmla="*/ 25 h 83"/>
                  <a:gd name="T4" fmla="*/ 23 w 116"/>
                  <a:gd name="T5" fmla="*/ 24 h 83"/>
                  <a:gd name="T6" fmla="*/ 24 w 116"/>
                  <a:gd name="T7" fmla="*/ 21 h 83"/>
                  <a:gd name="T8" fmla="*/ 27 w 116"/>
                  <a:gd name="T9" fmla="*/ 18 h 83"/>
                  <a:gd name="T10" fmla="*/ 27 w 116"/>
                  <a:gd name="T11" fmla="*/ 13 h 83"/>
                  <a:gd name="T12" fmla="*/ 26 w 116"/>
                  <a:gd name="T13" fmla="*/ 9 h 83"/>
                  <a:gd name="T14" fmla="*/ 26 w 116"/>
                  <a:gd name="T15" fmla="*/ 3 h 83"/>
                  <a:gd name="T16" fmla="*/ 26 w 116"/>
                  <a:gd name="T17" fmla="*/ 0 h 83"/>
                  <a:gd name="T18" fmla="*/ 26 w 116"/>
                  <a:gd name="T19" fmla="*/ 0 h 83"/>
                  <a:gd name="T20" fmla="*/ 30 w 116"/>
                  <a:gd name="T21" fmla="*/ 0 h 83"/>
                  <a:gd name="T22" fmla="*/ 35 w 116"/>
                  <a:gd name="T23" fmla="*/ 0 h 83"/>
                  <a:gd name="T24" fmla="*/ 41 w 116"/>
                  <a:gd name="T25" fmla="*/ 2 h 83"/>
                  <a:gd name="T26" fmla="*/ 42 w 116"/>
                  <a:gd name="T27" fmla="*/ 3 h 83"/>
                  <a:gd name="T28" fmla="*/ 44 w 116"/>
                  <a:gd name="T29" fmla="*/ 6 h 83"/>
                  <a:gd name="T30" fmla="*/ 45 w 116"/>
                  <a:gd name="T31" fmla="*/ 7 h 83"/>
                  <a:gd name="T32" fmla="*/ 48 w 116"/>
                  <a:gd name="T33" fmla="*/ 7 h 83"/>
                  <a:gd name="T34" fmla="*/ 50 w 116"/>
                  <a:gd name="T35" fmla="*/ 7 h 83"/>
                  <a:gd name="T36" fmla="*/ 53 w 116"/>
                  <a:gd name="T37" fmla="*/ 10 h 83"/>
                  <a:gd name="T38" fmla="*/ 57 w 116"/>
                  <a:gd name="T39" fmla="*/ 11 h 83"/>
                  <a:gd name="T40" fmla="*/ 64 w 116"/>
                  <a:gd name="T41" fmla="*/ 13 h 83"/>
                  <a:gd name="T42" fmla="*/ 71 w 116"/>
                  <a:gd name="T43" fmla="*/ 13 h 83"/>
                  <a:gd name="T44" fmla="*/ 75 w 116"/>
                  <a:gd name="T45" fmla="*/ 11 h 83"/>
                  <a:gd name="T46" fmla="*/ 77 w 116"/>
                  <a:gd name="T47" fmla="*/ 9 h 83"/>
                  <a:gd name="T48" fmla="*/ 77 w 116"/>
                  <a:gd name="T49" fmla="*/ 6 h 83"/>
                  <a:gd name="T50" fmla="*/ 77 w 116"/>
                  <a:gd name="T51" fmla="*/ 6 h 83"/>
                  <a:gd name="T52" fmla="*/ 79 w 116"/>
                  <a:gd name="T53" fmla="*/ 5 h 83"/>
                  <a:gd name="T54" fmla="*/ 83 w 116"/>
                  <a:gd name="T55" fmla="*/ 3 h 83"/>
                  <a:gd name="T56" fmla="*/ 89 w 116"/>
                  <a:gd name="T57" fmla="*/ 6 h 83"/>
                  <a:gd name="T58" fmla="*/ 93 w 116"/>
                  <a:gd name="T59" fmla="*/ 10 h 83"/>
                  <a:gd name="T60" fmla="*/ 93 w 116"/>
                  <a:gd name="T61" fmla="*/ 14 h 83"/>
                  <a:gd name="T62" fmla="*/ 96 w 116"/>
                  <a:gd name="T63" fmla="*/ 22 h 83"/>
                  <a:gd name="T64" fmla="*/ 100 w 116"/>
                  <a:gd name="T65" fmla="*/ 29 h 83"/>
                  <a:gd name="T66" fmla="*/ 104 w 116"/>
                  <a:gd name="T67" fmla="*/ 32 h 83"/>
                  <a:gd name="T68" fmla="*/ 104 w 116"/>
                  <a:gd name="T69" fmla="*/ 35 h 83"/>
                  <a:gd name="T70" fmla="*/ 105 w 116"/>
                  <a:gd name="T71" fmla="*/ 40 h 83"/>
                  <a:gd name="T72" fmla="*/ 107 w 116"/>
                  <a:gd name="T73" fmla="*/ 46 h 83"/>
                  <a:gd name="T74" fmla="*/ 111 w 116"/>
                  <a:gd name="T75" fmla="*/ 57 h 83"/>
                  <a:gd name="T76" fmla="*/ 115 w 116"/>
                  <a:gd name="T77" fmla="*/ 68 h 83"/>
                  <a:gd name="T78" fmla="*/ 116 w 116"/>
                  <a:gd name="T79" fmla="*/ 76 h 83"/>
                  <a:gd name="T80" fmla="*/ 115 w 116"/>
                  <a:gd name="T81" fmla="*/ 82 h 83"/>
                  <a:gd name="T82" fmla="*/ 111 w 116"/>
                  <a:gd name="T83" fmla="*/ 83 h 83"/>
                  <a:gd name="T84" fmla="*/ 105 w 116"/>
                  <a:gd name="T85" fmla="*/ 82 h 83"/>
                  <a:gd name="T86" fmla="*/ 100 w 116"/>
                  <a:gd name="T87" fmla="*/ 79 h 83"/>
                  <a:gd name="T88" fmla="*/ 94 w 116"/>
                  <a:gd name="T89" fmla="*/ 73 h 83"/>
                  <a:gd name="T90" fmla="*/ 93 w 116"/>
                  <a:gd name="T91" fmla="*/ 72 h 83"/>
                  <a:gd name="T92" fmla="*/ 92 w 116"/>
                  <a:gd name="T93" fmla="*/ 72 h 83"/>
                  <a:gd name="T94" fmla="*/ 89 w 116"/>
                  <a:gd name="T95" fmla="*/ 72 h 83"/>
                  <a:gd name="T96" fmla="*/ 83 w 116"/>
                  <a:gd name="T97" fmla="*/ 72 h 83"/>
                  <a:gd name="T98" fmla="*/ 79 w 116"/>
                  <a:gd name="T99" fmla="*/ 71 h 83"/>
                  <a:gd name="T100" fmla="*/ 79 w 116"/>
                  <a:gd name="T101" fmla="*/ 64 h 83"/>
                  <a:gd name="T102" fmla="*/ 78 w 116"/>
                  <a:gd name="T103" fmla="*/ 53 h 83"/>
                  <a:gd name="T104" fmla="*/ 68 w 116"/>
                  <a:gd name="T105" fmla="*/ 46 h 83"/>
                  <a:gd name="T106" fmla="*/ 59 w 116"/>
                  <a:gd name="T107" fmla="*/ 44 h 83"/>
                  <a:gd name="T108" fmla="*/ 53 w 116"/>
                  <a:gd name="T109" fmla="*/ 44 h 83"/>
                  <a:gd name="T110" fmla="*/ 45 w 116"/>
                  <a:gd name="T111" fmla="*/ 49 h 83"/>
                  <a:gd name="T112" fmla="*/ 38 w 116"/>
                  <a:gd name="T113" fmla="*/ 57 h 83"/>
                  <a:gd name="T114" fmla="*/ 20 w 116"/>
                  <a:gd name="T115" fmla="*/ 49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6" h="83">
                    <a:moveTo>
                      <a:pt x="20" y="49"/>
                    </a:moveTo>
                    <a:lnTo>
                      <a:pt x="0" y="31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4" y="21"/>
                    </a:lnTo>
                    <a:lnTo>
                      <a:pt x="26" y="20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6" y="9"/>
                    </a:lnTo>
                    <a:lnTo>
                      <a:pt x="26" y="6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8" y="0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5" y="7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7"/>
                    </a:lnTo>
                    <a:lnTo>
                      <a:pt x="52" y="9"/>
                    </a:lnTo>
                    <a:lnTo>
                      <a:pt x="53" y="10"/>
                    </a:lnTo>
                    <a:lnTo>
                      <a:pt x="55" y="10"/>
                    </a:lnTo>
                    <a:lnTo>
                      <a:pt x="57" y="11"/>
                    </a:lnTo>
                    <a:lnTo>
                      <a:pt x="60" y="13"/>
                    </a:lnTo>
                    <a:lnTo>
                      <a:pt x="64" y="13"/>
                    </a:lnTo>
                    <a:lnTo>
                      <a:pt x="68" y="13"/>
                    </a:lnTo>
                    <a:lnTo>
                      <a:pt x="71" y="13"/>
                    </a:lnTo>
                    <a:lnTo>
                      <a:pt x="74" y="11"/>
                    </a:lnTo>
                    <a:lnTo>
                      <a:pt x="75" y="11"/>
                    </a:lnTo>
                    <a:lnTo>
                      <a:pt x="77" y="10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6"/>
                    </a:lnTo>
                    <a:lnTo>
                      <a:pt x="77" y="6"/>
                    </a:lnTo>
                    <a:lnTo>
                      <a:pt x="77" y="6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6" y="3"/>
                    </a:lnTo>
                    <a:lnTo>
                      <a:pt x="89" y="6"/>
                    </a:lnTo>
                    <a:lnTo>
                      <a:pt x="93" y="9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3" y="18"/>
                    </a:lnTo>
                    <a:lnTo>
                      <a:pt x="96" y="22"/>
                    </a:lnTo>
                    <a:lnTo>
                      <a:pt x="97" y="25"/>
                    </a:lnTo>
                    <a:lnTo>
                      <a:pt x="100" y="29"/>
                    </a:lnTo>
                    <a:lnTo>
                      <a:pt x="105" y="32"/>
                    </a:lnTo>
                    <a:lnTo>
                      <a:pt x="104" y="32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4" y="38"/>
                    </a:lnTo>
                    <a:lnTo>
                      <a:pt x="105" y="40"/>
                    </a:lnTo>
                    <a:lnTo>
                      <a:pt x="105" y="43"/>
                    </a:lnTo>
                    <a:lnTo>
                      <a:pt x="107" y="46"/>
                    </a:lnTo>
                    <a:lnTo>
                      <a:pt x="108" y="50"/>
                    </a:lnTo>
                    <a:lnTo>
                      <a:pt x="111" y="57"/>
                    </a:lnTo>
                    <a:lnTo>
                      <a:pt x="114" y="62"/>
                    </a:lnTo>
                    <a:lnTo>
                      <a:pt x="115" y="68"/>
                    </a:lnTo>
                    <a:lnTo>
                      <a:pt x="116" y="73"/>
                    </a:lnTo>
                    <a:lnTo>
                      <a:pt x="116" y="76"/>
                    </a:lnTo>
                    <a:lnTo>
                      <a:pt x="116" y="80"/>
                    </a:lnTo>
                    <a:lnTo>
                      <a:pt x="115" y="82"/>
                    </a:lnTo>
                    <a:lnTo>
                      <a:pt x="114" y="83"/>
                    </a:lnTo>
                    <a:lnTo>
                      <a:pt x="111" y="83"/>
                    </a:lnTo>
                    <a:lnTo>
                      <a:pt x="108" y="83"/>
                    </a:lnTo>
                    <a:lnTo>
                      <a:pt x="105" y="82"/>
                    </a:lnTo>
                    <a:lnTo>
                      <a:pt x="103" y="80"/>
                    </a:lnTo>
                    <a:lnTo>
                      <a:pt x="100" y="79"/>
                    </a:lnTo>
                    <a:lnTo>
                      <a:pt x="97" y="76"/>
                    </a:lnTo>
                    <a:lnTo>
                      <a:pt x="94" y="73"/>
                    </a:lnTo>
                    <a:lnTo>
                      <a:pt x="93" y="72"/>
                    </a:lnTo>
                    <a:lnTo>
                      <a:pt x="93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89" y="72"/>
                    </a:lnTo>
                    <a:lnTo>
                      <a:pt x="86" y="72"/>
                    </a:lnTo>
                    <a:lnTo>
                      <a:pt x="83" y="72"/>
                    </a:lnTo>
                    <a:lnTo>
                      <a:pt x="79" y="72"/>
                    </a:lnTo>
                    <a:lnTo>
                      <a:pt x="79" y="71"/>
                    </a:lnTo>
                    <a:lnTo>
                      <a:pt x="79" y="68"/>
                    </a:lnTo>
                    <a:lnTo>
                      <a:pt x="79" y="64"/>
                    </a:lnTo>
                    <a:lnTo>
                      <a:pt x="79" y="58"/>
                    </a:lnTo>
                    <a:lnTo>
                      <a:pt x="78" y="53"/>
                    </a:lnTo>
                    <a:lnTo>
                      <a:pt x="74" y="49"/>
                    </a:lnTo>
                    <a:lnTo>
                      <a:pt x="68" y="46"/>
                    </a:lnTo>
                    <a:lnTo>
                      <a:pt x="60" y="44"/>
                    </a:lnTo>
                    <a:lnTo>
                      <a:pt x="59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49" y="46"/>
                    </a:lnTo>
                    <a:lnTo>
                      <a:pt x="45" y="49"/>
                    </a:lnTo>
                    <a:lnTo>
                      <a:pt x="41" y="51"/>
                    </a:lnTo>
                    <a:lnTo>
                      <a:pt x="38" y="57"/>
                    </a:lnTo>
                    <a:lnTo>
                      <a:pt x="37" y="62"/>
                    </a:lnTo>
                    <a:lnTo>
                      <a:pt x="20" y="4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5" name="Freeform 958"/>
              <p:cNvSpPr>
                <a:spLocks/>
              </p:cNvSpPr>
              <p:nvPr/>
            </p:nvSpPr>
            <p:spPr bwMode="auto">
              <a:xfrm>
                <a:off x="2485" y="2727"/>
                <a:ext cx="116" cy="83"/>
              </a:xfrm>
              <a:custGeom>
                <a:avLst/>
                <a:gdLst>
                  <a:gd name="T0" fmla="*/ 0 w 116"/>
                  <a:gd name="T1" fmla="*/ 31 h 83"/>
                  <a:gd name="T2" fmla="*/ 22 w 116"/>
                  <a:gd name="T3" fmla="*/ 24 h 83"/>
                  <a:gd name="T4" fmla="*/ 23 w 116"/>
                  <a:gd name="T5" fmla="*/ 22 h 83"/>
                  <a:gd name="T6" fmla="*/ 26 w 116"/>
                  <a:gd name="T7" fmla="*/ 20 h 83"/>
                  <a:gd name="T8" fmla="*/ 27 w 116"/>
                  <a:gd name="T9" fmla="*/ 16 h 83"/>
                  <a:gd name="T10" fmla="*/ 27 w 116"/>
                  <a:gd name="T11" fmla="*/ 11 h 83"/>
                  <a:gd name="T12" fmla="*/ 26 w 116"/>
                  <a:gd name="T13" fmla="*/ 6 h 83"/>
                  <a:gd name="T14" fmla="*/ 26 w 116"/>
                  <a:gd name="T15" fmla="*/ 2 h 83"/>
                  <a:gd name="T16" fmla="*/ 27 w 116"/>
                  <a:gd name="T17" fmla="*/ 0 h 83"/>
                  <a:gd name="T18" fmla="*/ 33 w 116"/>
                  <a:gd name="T19" fmla="*/ 0 h 83"/>
                  <a:gd name="T20" fmla="*/ 38 w 116"/>
                  <a:gd name="T21" fmla="*/ 0 h 83"/>
                  <a:gd name="T22" fmla="*/ 42 w 116"/>
                  <a:gd name="T23" fmla="*/ 2 h 83"/>
                  <a:gd name="T24" fmla="*/ 42 w 116"/>
                  <a:gd name="T25" fmla="*/ 5 h 83"/>
                  <a:gd name="T26" fmla="*/ 45 w 116"/>
                  <a:gd name="T27" fmla="*/ 7 h 83"/>
                  <a:gd name="T28" fmla="*/ 48 w 116"/>
                  <a:gd name="T29" fmla="*/ 7 h 83"/>
                  <a:gd name="T30" fmla="*/ 52 w 116"/>
                  <a:gd name="T31" fmla="*/ 9 h 83"/>
                  <a:gd name="T32" fmla="*/ 55 w 116"/>
                  <a:gd name="T33" fmla="*/ 10 h 83"/>
                  <a:gd name="T34" fmla="*/ 60 w 116"/>
                  <a:gd name="T35" fmla="*/ 13 h 83"/>
                  <a:gd name="T36" fmla="*/ 68 w 116"/>
                  <a:gd name="T37" fmla="*/ 13 h 83"/>
                  <a:gd name="T38" fmla="*/ 74 w 116"/>
                  <a:gd name="T39" fmla="*/ 11 h 83"/>
                  <a:gd name="T40" fmla="*/ 77 w 116"/>
                  <a:gd name="T41" fmla="*/ 10 h 83"/>
                  <a:gd name="T42" fmla="*/ 77 w 116"/>
                  <a:gd name="T43" fmla="*/ 7 h 83"/>
                  <a:gd name="T44" fmla="*/ 78 w 116"/>
                  <a:gd name="T45" fmla="*/ 5 h 83"/>
                  <a:gd name="T46" fmla="*/ 82 w 116"/>
                  <a:gd name="T47" fmla="*/ 3 h 83"/>
                  <a:gd name="T48" fmla="*/ 86 w 116"/>
                  <a:gd name="T49" fmla="*/ 3 h 83"/>
                  <a:gd name="T50" fmla="*/ 93 w 116"/>
                  <a:gd name="T51" fmla="*/ 9 h 83"/>
                  <a:gd name="T52" fmla="*/ 93 w 116"/>
                  <a:gd name="T53" fmla="*/ 11 h 83"/>
                  <a:gd name="T54" fmla="*/ 93 w 116"/>
                  <a:gd name="T55" fmla="*/ 18 h 83"/>
                  <a:gd name="T56" fmla="*/ 97 w 116"/>
                  <a:gd name="T57" fmla="*/ 25 h 83"/>
                  <a:gd name="T58" fmla="*/ 105 w 116"/>
                  <a:gd name="T59" fmla="*/ 32 h 83"/>
                  <a:gd name="T60" fmla="*/ 104 w 116"/>
                  <a:gd name="T61" fmla="*/ 33 h 83"/>
                  <a:gd name="T62" fmla="*/ 104 w 116"/>
                  <a:gd name="T63" fmla="*/ 38 h 83"/>
                  <a:gd name="T64" fmla="*/ 105 w 116"/>
                  <a:gd name="T65" fmla="*/ 43 h 83"/>
                  <a:gd name="T66" fmla="*/ 108 w 116"/>
                  <a:gd name="T67" fmla="*/ 50 h 83"/>
                  <a:gd name="T68" fmla="*/ 114 w 116"/>
                  <a:gd name="T69" fmla="*/ 62 h 83"/>
                  <a:gd name="T70" fmla="*/ 116 w 116"/>
                  <a:gd name="T71" fmla="*/ 73 h 83"/>
                  <a:gd name="T72" fmla="*/ 116 w 116"/>
                  <a:gd name="T73" fmla="*/ 80 h 83"/>
                  <a:gd name="T74" fmla="*/ 114 w 116"/>
                  <a:gd name="T75" fmla="*/ 83 h 83"/>
                  <a:gd name="T76" fmla="*/ 108 w 116"/>
                  <a:gd name="T77" fmla="*/ 83 h 83"/>
                  <a:gd name="T78" fmla="*/ 103 w 116"/>
                  <a:gd name="T79" fmla="*/ 80 h 83"/>
                  <a:gd name="T80" fmla="*/ 97 w 116"/>
                  <a:gd name="T81" fmla="*/ 76 h 83"/>
                  <a:gd name="T82" fmla="*/ 93 w 116"/>
                  <a:gd name="T83" fmla="*/ 72 h 83"/>
                  <a:gd name="T84" fmla="*/ 90 w 116"/>
                  <a:gd name="T85" fmla="*/ 72 h 83"/>
                  <a:gd name="T86" fmla="*/ 86 w 116"/>
                  <a:gd name="T87" fmla="*/ 72 h 83"/>
                  <a:gd name="T88" fmla="*/ 79 w 116"/>
                  <a:gd name="T89" fmla="*/ 72 h 83"/>
                  <a:gd name="T90" fmla="*/ 79 w 116"/>
                  <a:gd name="T91" fmla="*/ 68 h 83"/>
                  <a:gd name="T92" fmla="*/ 79 w 116"/>
                  <a:gd name="T93" fmla="*/ 58 h 83"/>
                  <a:gd name="T94" fmla="*/ 74 w 116"/>
                  <a:gd name="T95" fmla="*/ 49 h 83"/>
                  <a:gd name="T96" fmla="*/ 60 w 116"/>
                  <a:gd name="T97" fmla="*/ 44 h 83"/>
                  <a:gd name="T98" fmla="*/ 56 w 116"/>
                  <a:gd name="T99" fmla="*/ 44 h 83"/>
                  <a:gd name="T100" fmla="*/ 49 w 116"/>
                  <a:gd name="T101" fmla="*/ 46 h 83"/>
                  <a:gd name="T102" fmla="*/ 41 w 116"/>
                  <a:gd name="T103" fmla="*/ 51 h 83"/>
                  <a:gd name="T104" fmla="*/ 37 w 116"/>
                  <a:gd name="T105" fmla="*/ 6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16" h="83">
                    <a:moveTo>
                      <a:pt x="20" y="49"/>
                    </a:moveTo>
                    <a:lnTo>
                      <a:pt x="0" y="31"/>
                    </a:lnTo>
                    <a:lnTo>
                      <a:pt x="20" y="25"/>
                    </a:lnTo>
                    <a:lnTo>
                      <a:pt x="22" y="24"/>
                    </a:lnTo>
                    <a:lnTo>
                      <a:pt x="23" y="24"/>
                    </a:lnTo>
                    <a:lnTo>
                      <a:pt x="23" y="22"/>
                    </a:lnTo>
                    <a:lnTo>
                      <a:pt x="24" y="21"/>
                    </a:lnTo>
                    <a:lnTo>
                      <a:pt x="26" y="20"/>
                    </a:lnTo>
                    <a:lnTo>
                      <a:pt x="27" y="18"/>
                    </a:lnTo>
                    <a:lnTo>
                      <a:pt x="27" y="16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6" y="9"/>
                    </a:lnTo>
                    <a:lnTo>
                      <a:pt x="26" y="6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8" y="0"/>
                    </a:lnTo>
                    <a:lnTo>
                      <a:pt x="41" y="2"/>
                    </a:lnTo>
                    <a:lnTo>
                      <a:pt x="42" y="2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4" y="6"/>
                    </a:lnTo>
                    <a:lnTo>
                      <a:pt x="45" y="7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2" y="9"/>
                    </a:lnTo>
                    <a:lnTo>
                      <a:pt x="53" y="10"/>
                    </a:lnTo>
                    <a:lnTo>
                      <a:pt x="55" y="10"/>
                    </a:lnTo>
                    <a:lnTo>
                      <a:pt x="57" y="11"/>
                    </a:lnTo>
                    <a:lnTo>
                      <a:pt x="60" y="13"/>
                    </a:lnTo>
                    <a:lnTo>
                      <a:pt x="64" y="13"/>
                    </a:lnTo>
                    <a:lnTo>
                      <a:pt x="68" y="13"/>
                    </a:lnTo>
                    <a:lnTo>
                      <a:pt x="71" y="13"/>
                    </a:lnTo>
                    <a:lnTo>
                      <a:pt x="74" y="11"/>
                    </a:lnTo>
                    <a:lnTo>
                      <a:pt x="75" y="11"/>
                    </a:lnTo>
                    <a:lnTo>
                      <a:pt x="77" y="10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6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6" y="3"/>
                    </a:lnTo>
                    <a:lnTo>
                      <a:pt x="89" y="6"/>
                    </a:lnTo>
                    <a:lnTo>
                      <a:pt x="93" y="9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3" y="18"/>
                    </a:lnTo>
                    <a:lnTo>
                      <a:pt x="96" y="22"/>
                    </a:lnTo>
                    <a:lnTo>
                      <a:pt x="97" y="25"/>
                    </a:lnTo>
                    <a:lnTo>
                      <a:pt x="100" y="29"/>
                    </a:lnTo>
                    <a:lnTo>
                      <a:pt x="105" y="32"/>
                    </a:lnTo>
                    <a:lnTo>
                      <a:pt x="104" y="32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4" y="38"/>
                    </a:lnTo>
                    <a:lnTo>
                      <a:pt x="105" y="40"/>
                    </a:lnTo>
                    <a:lnTo>
                      <a:pt x="105" y="43"/>
                    </a:lnTo>
                    <a:lnTo>
                      <a:pt x="107" y="46"/>
                    </a:lnTo>
                    <a:lnTo>
                      <a:pt x="108" y="50"/>
                    </a:lnTo>
                    <a:lnTo>
                      <a:pt x="111" y="57"/>
                    </a:lnTo>
                    <a:lnTo>
                      <a:pt x="114" y="62"/>
                    </a:lnTo>
                    <a:lnTo>
                      <a:pt x="115" y="68"/>
                    </a:lnTo>
                    <a:lnTo>
                      <a:pt x="116" y="73"/>
                    </a:lnTo>
                    <a:lnTo>
                      <a:pt x="116" y="76"/>
                    </a:lnTo>
                    <a:lnTo>
                      <a:pt x="116" y="80"/>
                    </a:lnTo>
                    <a:lnTo>
                      <a:pt x="115" y="82"/>
                    </a:lnTo>
                    <a:lnTo>
                      <a:pt x="114" y="83"/>
                    </a:lnTo>
                    <a:lnTo>
                      <a:pt x="111" y="83"/>
                    </a:lnTo>
                    <a:lnTo>
                      <a:pt x="108" y="83"/>
                    </a:lnTo>
                    <a:lnTo>
                      <a:pt x="105" y="82"/>
                    </a:lnTo>
                    <a:lnTo>
                      <a:pt x="103" y="80"/>
                    </a:lnTo>
                    <a:lnTo>
                      <a:pt x="100" y="79"/>
                    </a:lnTo>
                    <a:lnTo>
                      <a:pt x="97" y="76"/>
                    </a:lnTo>
                    <a:lnTo>
                      <a:pt x="94" y="73"/>
                    </a:lnTo>
                    <a:lnTo>
                      <a:pt x="93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89" y="72"/>
                    </a:lnTo>
                    <a:lnTo>
                      <a:pt x="86" y="72"/>
                    </a:lnTo>
                    <a:lnTo>
                      <a:pt x="83" y="72"/>
                    </a:lnTo>
                    <a:lnTo>
                      <a:pt x="79" y="72"/>
                    </a:lnTo>
                    <a:lnTo>
                      <a:pt x="79" y="71"/>
                    </a:lnTo>
                    <a:lnTo>
                      <a:pt x="79" y="68"/>
                    </a:lnTo>
                    <a:lnTo>
                      <a:pt x="79" y="64"/>
                    </a:lnTo>
                    <a:lnTo>
                      <a:pt x="79" y="58"/>
                    </a:lnTo>
                    <a:lnTo>
                      <a:pt x="78" y="53"/>
                    </a:lnTo>
                    <a:lnTo>
                      <a:pt x="74" y="49"/>
                    </a:lnTo>
                    <a:lnTo>
                      <a:pt x="68" y="46"/>
                    </a:lnTo>
                    <a:lnTo>
                      <a:pt x="60" y="44"/>
                    </a:lnTo>
                    <a:lnTo>
                      <a:pt x="59" y="44"/>
                    </a:lnTo>
                    <a:lnTo>
                      <a:pt x="56" y="44"/>
                    </a:lnTo>
                    <a:lnTo>
                      <a:pt x="53" y="44"/>
                    </a:lnTo>
                    <a:lnTo>
                      <a:pt x="49" y="46"/>
                    </a:lnTo>
                    <a:lnTo>
                      <a:pt x="45" y="49"/>
                    </a:lnTo>
                    <a:lnTo>
                      <a:pt x="41" y="51"/>
                    </a:lnTo>
                    <a:lnTo>
                      <a:pt x="38" y="57"/>
                    </a:lnTo>
                    <a:lnTo>
                      <a:pt x="37" y="62"/>
                    </a:lnTo>
                    <a:lnTo>
                      <a:pt x="20" y="4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6" name="Freeform 959"/>
              <p:cNvSpPr>
                <a:spLocks/>
              </p:cNvSpPr>
              <p:nvPr/>
            </p:nvSpPr>
            <p:spPr bwMode="auto">
              <a:xfrm>
                <a:off x="2589" y="2751"/>
                <a:ext cx="100" cy="106"/>
              </a:xfrm>
              <a:custGeom>
                <a:avLst/>
                <a:gdLst>
                  <a:gd name="T0" fmla="*/ 50 w 100"/>
                  <a:gd name="T1" fmla="*/ 101 h 106"/>
                  <a:gd name="T2" fmla="*/ 51 w 100"/>
                  <a:gd name="T3" fmla="*/ 99 h 106"/>
                  <a:gd name="T4" fmla="*/ 52 w 100"/>
                  <a:gd name="T5" fmla="*/ 93 h 106"/>
                  <a:gd name="T6" fmla="*/ 52 w 100"/>
                  <a:gd name="T7" fmla="*/ 85 h 106"/>
                  <a:gd name="T8" fmla="*/ 51 w 100"/>
                  <a:gd name="T9" fmla="*/ 81 h 106"/>
                  <a:gd name="T10" fmla="*/ 50 w 100"/>
                  <a:gd name="T11" fmla="*/ 79 h 106"/>
                  <a:gd name="T12" fmla="*/ 47 w 100"/>
                  <a:gd name="T13" fmla="*/ 78 h 106"/>
                  <a:gd name="T14" fmla="*/ 41 w 100"/>
                  <a:gd name="T15" fmla="*/ 77 h 106"/>
                  <a:gd name="T16" fmla="*/ 39 w 100"/>
                  <a:gd name="T17" fmla="*/ 77 h 106"/>
                  <a:gd name="T18" fmla="*/ 34 w 100"/>
                  <a:gd name="T19" fmla="*/ 75 h 106"/>
                  <a:gd name="T20" fmla="*/ 32 w 100"/>
                  <a:gd name="T21" fmla="*/ 71 h 106"/>
                  <a:gd name="T22" fmla="*/ 30 w 100"/>
                  <a:gd name="T23" fmla="*/ 64 h 106"/>
                  <a:gd name="T24" fmla="*/ 30 w 100"/>
                  <a:gd name="T25" fmla="*/ 59 h 106"/>
                  <a:gd name="T26" fmla="*/ 29 w 100"/>
                  <a:gd name="T27" fmla="*/ 55 h 106"/>
                  <a:gd name="T28" fmla="*/ 23 w 100"/>
                  <a:gd name="T29" fmla="*/ 52 h 106"/>
                  <a:gd name="T30" fmla="*/ 17 w 100"/>
                  <a:gd name="T31" fmla="*/ 53 h 106"/>
                  <a:gd name="T32" fmla="*/ 12 w 100"/>
                  <a:gd name="T33" fmla="*/ 56 h 106"/>
                  <a:gd name="T34" fmla="*/ 12 w 100"/>
                  <a:gd name="T35" fmla="*/ 55 h 106"/>
                  <a:gd name="T36" fmla="*/ 12 w 100"/>
                  <a:gd name="T37" fmla="*/ 51 h 106"/>
                  <a:gd name="T38" fmla="*/ 12 w 100"/>
                  <a:gd name="T39" fmla="*/ 47 h 106"/>
                  <a:gd name="T40" fmla="*/ 11 w 100"/>
                  <a:gd name="T41" fmla="*/ 42 h 106"/>
                  <a:gd name="T42" fmla="*/ 7 w 100"/>
                  <a:gd name="T43" fmla="*/ 36 h 106"/>
                  <a:gd name="T44" fmla="*/ 3 w 100"/>
                  <a:gd name="T45" fmla="*/ 23 h 106"/>
                  <a:gd name="T46" fmla="*/ 0 w 100"/>
                  <a:gd name="T47" fmla="*/ 12 h 106"/>
                  <a:gd name="T48" fmla="*/ 1 w 100"/>
                  <a:gd name="T49" fmla="*/ 8 h 106"/>
                  <a:gd name="T50" fmla="*/ 6 w 100"/>
                  <a:gd name="T51" fmla="*/ 9 h 106"/>
                  <a:gd name="T52" fmla="*/ 12 w 100"/>
                  <a:gd name="T53" fmla="*/ 9 h 106"/>
                  <a:gd name="T54" fmla="*/ 21 w 100"/>
                  <a:gd name="T55" fmla="*/ 8 h 106"/>
                  <a:gd name="T56" fmla="*/ 25 w 100"/>
                  <a:gd name="T57" fmla="*/ 5 h 106"/>
                  <a:gd name="T58" fmla="*/ 26 w 100"/>
                  <a:gd name="T59" fmla="*/ 3 h 106"/>
                  <a:gd name="T60" fmla="*/ 29 w 100"/>
                  <a:gd name="T61" fmla="*/ 1 h 106"/>
                  <a:gd name="T62" fmla="*/ 33 w 100"/>
                  <a:gd name="T63" fmla="*/ 1 h 106"/>
                  <a:gd name="T64" fmla="*/ 36 w 100"/>
                  <a:gd name="T65" fmla="*/ 4 h 106"/>
                  <a:gd name="T66" fmla="*/ 37 w 100"/>
                  <a:gd name="T67" fmla="*/ 5 h 106"/>
                  <a:gd name="T68" fmla="*/ 40 w 100"/>
                  <a:gd name="T69" fmla="*/ 7 h 106"/>
                  <a:gd name="T70" fmla="*/ 43 w 100"/>
                  <a:gd name="T71" fmla="*/ 5 h 106"/>
                  <a:gd name="T72" fmla="*/ 45 w 100"/>
                  <a:gd name="T73" fmla="*/ 4 h 106"/>
                  <a:gd name="T74" fmla="*/ 47 w 100"/>
                  <a:gd name="T75" fmla="*/ 3 h 106"/>
                  <a:gd name="T76" fmla="*/ 51 w 100"/>
                  <a:gd name="T77" fmla="*/ 1 h 106"/>
                  <a:gd name="T78" fmla="*/ 56 w 100"/>
                  <a:gd name="T79" fmla="*/ 1 h 106"/>
                  <a:gd name="T80" fmla="*/ 63 w 100"/>
                  <a:gd name="T81" fmla="*/ 3 h 106"/>
                  <a:gd name="T82" fmla="*/ 69 w 100"/>
                  <a:gd name="T83" fmla="*/ 3 h 106"/>
                  <a:gd name="T84" fmla="*/ 73 w 100"/>
                  <a:gd name="T85" fmla="*/ 3 h 106"/>
                  <a:gd name="T86" fmla="*/ 77 w 100"/>
                  <a:gd name="T87" fmla="*/ 1 h 106"/>
                  <a:gd name="T88" fmla="*/ 83 w 100"/>
                  <a:gd name="T89" fmla="*/ 0 h 106"/>
                  <a:gd name="T90" fmla="*/ 87 w 100"/>
                  <a:gd name="T91" fmla="*/ 1 h 106"/>
                  <a:gd name="T92" fmla="*/ 89 w 100"/>
                  <a:gd name="T93" fmla="*/ 4 h 106"/>
                  <a:gd name="T94" fmla="*/ 91 w 100"/>
                  <a:gd name="T95" fmla="*/ 7 h 106"/>
                  <a:gd name="T96" fmla="*/ 91 w 100"/>
                  <a:gd name="T97" fmla="*/ 11 h 106"/>
                  <a:gd name="T98" fmla="*/ 94 w 100"/>
                  <a:gd name="T99" fmla="*/ 19 h 106"/>
                  <a:gd name="T100" fmla="*/ 95 w 100"/>
                  <a:gd name="T101" fmla="*/ 31 h 106"/>
                  <a:gd name="T102" fmla="*/ 96 w 100"/>
                  <a:gd name="T103" fmla="*/ 45 h 106"/>
                  <a:gd name="T104" fmla="*/ 95 w 100"/>
                  <a:gd name="T105" fmla="*/ 52 h 106"/>
                  <a:gd name="T106" fmla="*/ 92 w 100"/>
                  <a:gd name="T107" fmla="*/ 60 h 106"/>
                  <a:gd name="T108" fmla="*/ 91 w 100"/>
                  <a:gd name="T109" fmla="*/ 74 h 106"/>
                  <a:gd name="T110" fmla="*/ 91 w 100"/>
                  <a:gd name="T111" fmla="*/ 88 h 106"/>
                  <a:gd name="T112" fmla="*/ 100 w 100"/>
                  <a:gd name="T113" fmla="*/ 106 h 106"/>
                  <a:gd name="T114" fmla="*/ 48 w 100"/>
                  <a:gd name="T115" fmla="*/ 101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0" h="106">
                    <a:moveTo>
                      <a:pt x="48" y="101"/>
                    </a:moveTo>
                    <a:lnTo>
                      <a:pt x="50" y="101"/>
                    </a:lnTo>
                    <a:lnTo>
                      <a:pt x="50" y="100"/>
                    </a:lnTo>
                    <a:lnTo>
                      <a:pt x="51" y="99"/>
                    </a:lnTo>
                    <a:lnTo>
                      <a:pt x="52" y="96"/>
                    </a:lnTo>
                    <a:lnTo>
                      <a:pt x="52" y="93"/>
                    </a:lnTo>
                    <a:lnTo>
                      <a:pt x="54" y="89"/>
                    </a:lnTo>
                    <a:lnTo>
                      <a:pt x="52" y="85"/>
                    </a:lnTo>
                    <a:lnTo>
                      <a:pt x="51" y="81"/>
                    </a:lnTo>
                    <a:lnTo>
                      <a:pt x="51" y="81"/>
                    </a:lnTo>
                    <a:lnTo>
                      <a:pt x="51" y="81"/>
                    </a:lnTo>
                    <a:lnTo>
                      <a:pt x="50" y="79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7"/>
                    </a:lnTo>
                    <a:lnTo>
                      <a:pt x="39" y="77"/>
                    </a:lnTo>
                    <a:lnTo>
                      <a:pt x="37" y="77"/>
                    </a:lnTo>
                    <a:lnTo>
                      <a:pt x="34" y="75"/>
                    </a:lnTo>
                    <a:lnTo>
                      <a:pt x="33" y="74"/>
                    </a:lnTo>
                    <a:lnTo>
                      <a:pt x="32" y="71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59"/>
                    </a:lnTo>
                    <a:lnTo>
                      <a:pt x="30" y="59"/>
                    </a:lnTo>
                    <a:lnTo>
                      <a:pt x="30" y="5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7" y="53"/>
                    </a:lnTo>
                    <a:lnTo>
                      <a:pt x="12" y="58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2" y="51"/>
                    </a:lnTo>
                    <a:lnTo>
                      <a:pt x="12" y="48"/>
                    </a:lnTo>
                    <a:lnTo>
                      <a:pt x="12" y="47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10" y="40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3" y="23"/>
                    </a:lnTo>
                    <a:lnTo>
                      <a:pt x="1" y="18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17" y="9"/>
                    </a:lnTo>
                    <a:lnTo>
                      <a:pt x="21" y="8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1"/>
                    </a:lnTo>
                    <a:lnTo>
                      <a:pt x="29" y="1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7" y="5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1" y="7"/>
                    </a:lnTo>
                    <a:lnTo>
                      <a:pt x="43" y="5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48" y="1"/>
                    </a:lnTo>
                    <a:lnTo>
                      <a:pt x="51" y="1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61" y="1"/>
                    </a:lnTo>
                    <a:lnTo>
                      <a:pt x="63" y="3"/>
                    </a:lnTo>
                    <a:lnTo>
                      <a:pt x="67" y="3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3" y="3"/>
                    </a:lnTo>
                    <a:lnTo>
                      <a:pt x="76" y="3"/>
                    </a:lnTo>
                    <a:lnTo>
                      <a:pt x="77" y="1"/>
                    </a:lnTo>
                    <a:lnTo>
                      <a:pt x="80" y="1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3"/>
                    </a:lnTo>
                    <a:lnTo>
                      <a:pt x="89" y="4"/>
                    </a:lnTo>
                    <a:lnTo>
                      <a:pt x="89" y="5"/>
                    </a:lnTo>
                    <a:lnTo>
                      <a:pt x="91" y="7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92" y="14"/>
                    </a:lnTo>
                    <a:lnTo>
                      <a:pt x="94" y="19"/>
                    </a:lnTo>
                    <a:lnTo>
                      <a:pt x="95" y="25"/>
                    </a:lnTo>
                    <a:lnTo>
                      <a:pt x="95" y="31"/>
                    </a:lnTo>
                    <a:lnTo>
                      <a:pt x="96" y="38"/>
                    </a:lnTo>
                    <a:lnTo>
                      <a:pt x="96" y="45"/>
                    </a:lnTo>
                    <a:lnTo>
                      <a:pt x="95" y="51"/>
                    </a:lnTo>
                    <a:lnTo>
                      <a:pt x="95" y="52"/>
                    </a:lnTo>
                    <a:lnTo>
                      <a:pt x="94" y="55"/>
                    </a:lnTo>
                    <a:lnTo>
                      <a:pt x="92" y="60"/>
                    </a:lnTo>
                    <a:lnTo>
                      <a:pt x="91" y="67"/>
                    </a:lnTo>
                    <a:lnTo>
                      <a:pt x="91" y="74"/>
                    </a:lnTo>
                    <a:lnTo>
                      <a:pt x="91" y="81"/>
                    </a:lnTo>
                    <a:lnTo>
                      <a:pt x="91" y="88"/>
                    </a:lnTo>
                    <a:lnTo>
                      <a:pt x="94" y="92"/>
                    </a:lnTo>
                    <a:lnTo>
                      <a:pt x="100" y="106"/>
                    </a:lnTo>
                    <a:lnTo>
                      <a:pt x="78" y="97"/>
                    </a:lnTo>
                    <a:lnTo>
                      <a:pt x="48" y="10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7" name="Freeform 960"/>
              <p:cNvSpPr>
                <a:spLocks/>
              </p:cNvSpPr>
              <p:nvPr/>
            </p:nvSpPr>
            <p:spPr bwMode="auto">
              <a:xfrm>
                <a:off x="2589" y="2751"/>
                <a:ext cx="100" cy="106"/>
              </a:xfrm>
              <a:custGeom>
                <a:avLst/>
                <a:gdLst>
                  <a:gd name="T0" fmla="*/ 50 w 100"/>
                  <a:gd name="T1" fmla="*/ 101 h 106"/>
                  <a:gd name="T2" fmla="*/ 51 w 100"/>
                  <a:gd name="T3" fmla="*/ 99 h 106"/>
                  <a:gd name="T4" fmla="*/ 52 w 100"/>
                  <a:gd name="T5" fmla="*/ 93 h 106"/>
                  <a:gd name="T6" fmla="*/ 52 w 100"/>
                  <a:gd name="T7" fmla="*/ 85 h 106"/>
                  <a:gd name="T8" fmla="*/ 50 w 100"/>
                  <a:gd name="T9" fmla="*/ 79 h 106"/>
                  <a:gd name="T10" fmla="*/ 47 w 100"/>
                  <a:gd name="T11" fmla="*/ 78 h 106"/>
                  <a:gd name="T12" fmla="*/ 41 w 100"/>
                  <a:gd name="T13" fmla="*/ 77 h 106"/>
                  <a:gd name="T14" fmla="*/ 37 w 100"/>
                  <a:gd name="T15" fmla="*/ 77 h 106"/>
                  <a:gd name="T16" fmla="*/ 33 w 100"/>
                  <a:gd name="T17" fmla="*/ 74 h 106"/>
                  <a:gd name="T18" fmla="*/ 30 w 100"/>
                  <a:gd name="T19" fmla="*/ 68 h 106"/>
                  <a:gd name="T20" fmla="*/ 30 w 100"/>
                  <a:gd name="T21" fmla="*/ 59 h 106"/>
                  <a:gd name="T22" fmla="*/ 29 w 100"/>
                  <a:gd name="T23" fmla="*/ 55 h 106"/>
                  <a:gd name="T24" fmla="*/ 23 w 100"/>
                  <a:gd name="T25" fmla="*/ 52 h 106"/>
                  <a:gd name="T26" fmla="*/ 17 w 100"/>
                  <a:gd name="T27" fmla="*/ 53 h 106"/>
                  <a:gd name="T28" fmla="*/ 12 w 100"/>
                  <a:gd name="T29" fmla="*/ 56 h 106"/>
                  <a:gd name="T30" fmla="*/ 12 w 100"/>
                  <a:gd name="T31" fmla="*/ 52 h 106"/>
                  <a:gd name="T32" fmla="*/ 12 w 100"/>
                  <a:gd name="T33" fmla="*/ 48 h 106"/>
                  <a:gd name="T34" fmla="*/ 11 w 100"/>
                  <a:gd name="T35" fmla="*/ 44 h 106"/>
                  <a:gd name="T36" fmla="*/ 10 w 100"/>
                  <a:gd name="T37" fmla="*/ 40 h 106"/>
                  <a:gd name="T38" fmla="*/ 6 w 100"/>
                  <a:gd name="T39" fmla="*/ 29 h 106"/>
                  <a:gd name="T40" fmla="*/ 1 w 100"/>
                  <a:gd name="T41" fmla="*/ 18 h 106"/>
                  <a:gd name="T42" fmla="*/ 1 w 100"/>
                  <a:gd name="T43" fmla="*/ 8 h 106"/>
                  <a:gd name="T44" fmla="*/ 6 w 100"/>
                  <a:gd name="T45" fmla="*/ 9 h 106"/>
                  <a:gd name="T46" fmla="*/ 12 w 100"/>
                  <a:gd name="T47" fmla="*/ 9 h 106"/>
                  <a:gd name="T48" fmla="*/ 21 w 100"/>
                  <a:gd name="T49" fmla="*/ 8 h 106"/>
                  <a:gd name="T50" fmla="*/ 25 w 100"/>
                  <a:gd name="T51" fmla="*/ 5 h 106"/>
                  <a:gd name="T52" fmla="*/ 26 w 100"/>
                  <a:gd name="T53" fmla="*/ 3 h 106"/>
                  <a:gd name="T54" fmla="*/ 29 w 100"/>
                  <a:gd name="T55" fmla="*/ 1 h 106"/>
                  <a:gd name="T56" fmla="*/ 33 w 100"/>
                  <a:gd name="T57" fmla="*/ 1 h 106"/>
                  <a:gd name="T58" fmla="*/ 36 w 100"/>
                  <a:gd name="T59" fmla="*/ 4 h 106"/>
                  <a:gd name="T60" fmla="*/ 39 w 100"/>
                  <a:gd name="T61" fmla="*/ 7 h 106"/>
                  <a:gd name="T62" fmla="*/ 41 w 100"/>
                  <a:gd name="T63" fmla="*/ 7 h 106"/>
                  <a:gd name="T64" fmla="*/ 44 w 100"/>
                  <a:gd name="T65" fmla="*/ 4 h 106"/>
                  <a:gd name="T66" fmla="*/ 45 w 100"/>
                  <a:gd name="T67" fmla="*/ 3 h 106"/>
                  <a:gd name="T68" fmla="*/ 48 w 100"/>
                  <a:gd name="T69" fmla="*/ 1 h 106"/>
                  <a:gd name="T70" fmla="*/ 54 w 100"/>
                  <a:gd name="T71" fmla="*/ 1 h 106"/>
                  <a:gd name="T72" fmla="*/ 61 w 100"/>
                  <a:gd name="T73" fmla="*/ 1 h 106"/>
                  <a:gd name="T74" fmla="*/ 67 w 100"/>
                  <a:gd name="T75" fmla="*/ 3 h 106"/>
                  <a:gd name="T76" fmla="*/ 72 w 100"/>
                  <a:gd name="T77" fmla="*/ 3 h 106"/>
                  <a:gd name="T78" fmla="*/ 76 w 100"/>
                  <a:gd name="T79" fmla="*/ 3 h 106"/>
                  <a:gd name="T80" fmla="*/ 80 w 100"/>
                  <a:gd name="T81" fmla="*/ 1 h 106"/>
                  <a:gd name="T82" fmla="*/ 84 w 100"/>
                  <a:gd name="T83" fmla="*/ 0 h 106"/>
                  <a:gd name="T84" fmla="*/ 88 w 100"/>
                  <a:gd name="T85" fmla="*/ 3 h 106"/>
                  <a:gd name="T86" fmla="*/ 89 w 100"/>
                  <a:gd name="T87" fmla="*/ 5 h 106"/>
                  <a:gd name="T88" fmla="*/ 91 w 100"/>
                  <a:gd name="T89" fmla="*/ 9 h 106"/>
                  <a:gd name="T90" fmla="*/ 92 w 100"/>
                  <a:gd name="T91" fmla="*/ 14 h 106"/>
                  <a:gd name="T92" fmla="*/ 95 w 100"/>
                  <a:gd name="T93" fmla="*/ 25 h 106"/>
                  <a:gd name="T94" fmla="*/ 96 w 100"/>
                  <a:gd name="T95" fmla="*/ 38 h 106"/>
                  <a:gd name="T96" fmla="*/ 95 w 100"/>
                  <a:gd name="T97" fmla="*/ 51 h 106"/>
                  <a:gd name="T98" fmla="*/ 94 w 100"/>
                  <a:gd name="T99" fmla="*/ 55 h 106"/>
                  <a:gd name="T100" fmla="*/ 91 w 100"/>
                  <a:gd name="T101" fmla="*/ 67 h 106"/>
                  <a:gd name="T102" fmla="*/ 91 w 100"/>
                  <a:gd name="T103" fmla="*/ 81 h 106"/>
                  <a:gd name="T104" fmla="*/ 94 w 100"/>
                  <a:gd name="T105" fmla="*/ 92 h 106"/>
                  <a:gd name="T106" fmla="*/ 78 w 100"/>
                  <a:gd name="T107" fmla="*/ 9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0" h="106">
                    <a:moveTo>
                      <a:pt x="48" y="101"/>
                    </a:moveTo>
                    <a:lnTo>
                      <a:pt x="50" y="101"/>
                    </a:lnTo>
                    <a:lnTo>
                      <a:pt x="50" y="100"/>
                    </a:lnTo>
                    <a:lnTo>
                      <a:pt x="51" y="99"/>
                    </a:lnTo>
                    <a:lnTo>
                      <a:pt x="52" y="96"/>
                    </a:lnTo>
                    <a:lnTo>
                      <a:pt x="52" y="93"/>
                    </a:lnTo>
                    <a:lnTo>
                      <a:pt x="54" y="89"/>
                    </a:lnTo>
                    <a:lnTo>
                      <a:pt x="52" y="85"/>
                    </a:lnTo>
                    <a:lnTo>
                      <a:pt x="51" y="81"/>
                    </a:lnTo>
                    <a:lnTo>
                      <a:pt x="50" y="79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5" y="77"/>
                    </a:lnTo>
                    <a:lnTo>
                      <a:pt x="41" y="77"/>
                    </a:lnTo>
                    <a:lnTo>
                      <a:pt x="39" y="77"/>
                    </a:lnTo>
                    <a:lnTo>
                      <a:pt x="37" y="77"/>
                    </a:lnTo>
                    <a:lnTo>
                      <a:pt x="34" y="75"/>
                    </a:lnTo>
                    <a:lnTo>
                      <a:pt x="33" y="74"/>
                    </a:lnTo>
                    <a:lnTo>
                      <a:pt x="32" y="71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59"/>
                    </a:lnTo>
                    <a:lnTo>
                      <a:pt x="30" y="56"/>
                    </a:lnTo>
                    <a:lnTo>
                      <a:pt x="29" y="55"/>
                    </a:lnTo>
                    <a:lnTo>
                      <a:pt x="26" y="53"/>
                    </a:lnTo>
                    <a:lnTo>
                      <a:pt x="23" y="52"/>
                    </a:lnTo>
                    <a:lnTo>
                      <a:pt x="21" y="52"/>
                    </a:lnTo>
                    <a:lnTo>
                      <a:pt x="17" y="53"/>
                    </a:lnTo>
                    <a:lnTo>
                      <a:pt x="12" y="58"/>
                    </a:lnTo>
                    <a:lnTo>
                      <a:pt x="12" y="56"/>
                    </a:lnTo>
                    <a:lnTo>
                      <a:pt x="12" y="55"/>
                    </a:lnTo>
                    <a:lnTo>
                      <a:pt x="12" y="52"/>
                    </a:lnTo>
                    <a:lnTo>
                      <a:pt x="12" y="51"/>
                    </a:lnTo>
                    <a:lnTo>
                      <a:pt x="12" y="48"/>
                    </a:lnTo>
                    <a:lnTo>
                      <a:pt x="12" y="47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10" y="40"/>
                    </a:lnTo>
                    <a:lnTo>
                      <a:pt x="7" y="36"/>
                    </a:lnTo>
                    <a:lnTo>
                      <a:pt x="6" y="29"/>
                    </a:lnTo>
                    <a:lnTo>
                      <a:pt x="3" y="23"/>
                    </a:lnTo>
                    <a:lnTo>
                      <a:pt x="1" y="18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6" y="9"/>
                    </a:lnTo>
                    <a:lnTo>
                      <a:pt x="8" y="9"/>
                    </a:lnTo>
                    <a:lnTo>
                      <a:pt x="12" y="9"/>
                    </a:lnTo>
                    <a:lnTo>
                      <a:pt x="17" y="9"/>
                    </a:lnTo>
                    <a:lnTo>
                      <a:pt x="21" y="8"/>
                    </a:lnTo>
                    <a:lnTo>
                      <a:pt x="23" y="5"/>
                    </a:lnTo>
                    <a:lnTo>
                      <a:pt x="25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1"/>
                    </a:lnTo>
                    <a:lnTo>
                      <a:pt x="29" y="1"/>
                    </a:lnTo>
                    <a:lnTo>
                      <a:pt x="32" y="1"/>
                    </a:lnTo>
                    <a:lnTo>
                      <a:pt x="33" y="1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7" y="5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1" y="7"/>
                    </a:lnTo>
                    <a:lnTo>
                      <a:pt x="43" y="5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48" y="1"/>
                    </a:lnTo>
                    <a:lnTo>
                      <a:pt x="51" y="1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61" y="1"/>
                    </a:lnTo>
                    <a:lnTo>
                      <a:pt x="63" y="3"/>
                    </a:lnTo>
                    <a:lnTo>
                      <a:pt x="67" y="3"/>
                    </a:lnTo>
                    <a:lnTo>
                      <a:pt x="69" y="3"/>
                    </a:lnTo>
                    <a:lnTo>
                      <a:pt x="72" y="3"/>
                    </a:lnTo>
                    <a:lnTo>
                      <a:pt x="73" y="3"/>
                    </a:lnTo>
                    <a:lnTo>
                      <a:pt x="76" y="3"/>
                    </a:lnTo>
                    <a:lnTo>
                      <a:pt x="77" y="1"/>
                    </a:lnTo>
                    <a:lnTo>
                      <a:pt x="80" y="1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7" y="1"/>
                    </a:lnTo>
                    <a:lnTo>
                      <a:pt x="88" y="3"/>
                    </a:lnTo>
                    <a:lnTo>
                      <a:pt x="89" y="4"/>
                    </a:lnTo>
                    <a:lnTo>
                      <a:pt x="89" y="5"/>
                    </a:lnTo>
                    <a:lnTo>
                      <a:pt x="91" y="7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92" y="14"/>
                    </a:lnTo>
                    <a:lnTo>
                      <a:pt x="94" y="19"/>
                    </a:lnTo>
                    <a:lnTo>
                      <a:pt x="95" y="25"/>
                    </a:lnTo>
                    <a:lnTo>
                      <a:pt x="95" y="31"/>
                    </a:lnTo>
                    <a:lnTo>
                      <a:pt x="96" y="38"/>
                    </a:lnTo>
                    <a:lnTo>
                      <a:pt x="96" y="45"/>
                    </a:lnTo>
                    <a:lnTo>
                      <a:pt x="95" y="51"/>
                    </a:lnTo>
                    <a:lnTo>
                      <a:pt x="95" y="52"/>
                    </a:lnTo>
                    <a:lnTo>
                      <a:pt x="94" y="55"/>
                    </a:lnTo>
                    <a:lnTo>
                      <a:pt x="92" y="60"/>
                    </a:lnTo>
                    <a:lnTo>
                      <a:pt x="91" y="67"/>
                    </a:lnTo>
                    <a:lnTo>
                      <a:pt x="91" y="74"/>
                    </a:lnTo>
                    <a:lnTo>
                      <a:pt x="91" y="81"/>
                    </a:lnTo>
                    <a:lnTo>
                      <a:pt x="91" y="88"/>
                    </a:lnTo>
                    <a:lnTo>
                      <a:pt x="94" y="92"/>
                    </a:lnTo>
                    <a:lnTo>
                      <a:pt x="100" y="106"/>
                    </a:lnTo>
                    <a:lnTo>
                      <a:pt x="78" y="97"/>
                    </a:lnTo>
                    <a:lnTo>
                      <a:pt x="48" y="10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8" name="Freeform 961"/>
              <p:cNvSpPr>
                <a:spLocks/>
              </p:cNvSpPr>
              <p:nvPr/>
            </p:nvSpPr>
            <p:spPr bwMode="auto">
              <a:xfrm>
                <a:off x="2633" y="2708"/>
                <a:ext cx="88" cy="47"/>
              </a:xfrm>
              <a:custGeom>
                <a:avLst/>
                <a:gdLst>
                  <a:gd name="T0" fmla="*/ 34 w 88"/>
                  <a:gd name="T1" fmla="*/ 10 h 47"/>
                  <a:gd name="T2" fmla="*/ 28 w 88"/>
                  <a:gd name="T3" fmla="*/ 10 h 47"/>
                  <a:gd name="T4" fmla="*/ 18 w 88"/>
                  <a:gd name="T5" fmla="*/ 13 h 47"/>
                  <a:gd name="T6" fmla="*/ 8 w 88"/>
                  <a:gd name="T7" fmla="*/ 21 h 47"/>
                  <a:gd name="T8" fmla="*/ 0 w 88"/>
                  <a:gd name="T9" fmla="*/ 47 h 47"/>
                  <a:gd name="T10" fmla="*/ 1 w 88"/>
                  <a:gd name="T11" fmla="*/ 46 h 47"/>
                  <a:gd name="T12" fmla="*/ 6 w 88"/>
                  <a:gd name="T13" fmla="*/ 44 h 47"/>
                  <a:gd name="T14" fmla="*/ 11 w 88"/>
                  <a:gd name="T15" fmla="*/ 44 h 47"/>
                  <a:gd name="T16" fmla="*/ 19 w 88"/>
                  <a:gd name="T17" fmla="*/ 46 h 47"/>
                  <a:gd name="T18" fmla="*/ 21 w 88"/>
                  <a:gd name="T19" fmla="*/ 46 h 47"/>
                  <a:gd name="T20" fmla="*/ 23 w 88"/>
                  <a:gd name="T21" fmla="*/ 46 h 47"/>
                  <a:gd name="T22" fmla="*/ 28 w 88"/>
                  <a:gd name="T23" fmla="*/ 46 h 47"/>
                  <a:gd name="T24" fmla="*/ 33 w 88"/>
                  <a:gd name="T25" fmla="*/ 44 h 47"/>
                  <a:gd name="T26" fmla="*/ 34 w 88"/>
                  <a:gd name="T27" fmla="*/ 44 h 47"/>
                  <a:gd name="T28" fmla="*/ 36 w 88"/>
                  <a:gd name="T29" fmla="*/ 43 h 47"/>
                  <a:gd name="T30" fmla="*/ 40 w 88"/>
                  <a:gd name="T31" fmla="*/ 43 h 47"/>
                  <a:gd name="T32" fmla="*/ 44 w 88"/>
                  <a:gd name="T33" fmla="*/ 44 h 47"/>
                  <a:gd name="T34" fmla="*/ 44 w 88"/>
                  <a:gd name="T35" fmla="*/ 44 h 47"/>
                  <a:gd name="T36" fmla="*/ 43 w 88"/>
                  <a:gd name="T37" fmla="*/ 43 h 47"/>
                  <a:gd name="T38" fmla="*/ 44 w 88"/>
                  <a:gd name="T39" fmla="*/ 40 h 47"/>
                  <a:gd name="T40" fmla="*/ 45 w 88"/>
                  <a:gd name="T41" fmla="*/ 37 h 47"/>
                  <a:gd name="T42" fmla="*/ 48 w 88"/>
                  <a:gd name="T43" fmla="*/ 33 h 47"/>
                  <a:gd name="T44" fmla="*/ 51 w 88"/>
                  <a:gd name="T45" fmla="*/ 29 h 47"/>
                  <a:gd name="T46" fmla="*/ 54 w 88"/>
                  <a:gd name="T47" fmla="*/ 26 h 47"/>
                  <a:gd name="T48" fmla="*/ 61 w 88"/>
                  <a:gd name="T49" fmla="*/ 25 h 47"/>
                  <a:gd name="T50" fmla="*/ 74 w 88"/>
                  <a:gd name="T51" fmla="*/ 25 h 47"/>
                  <a:gd name="T52" fmla="*/ 78 w 88"/>
                  <a:gd name="T53" fmla="*/ 26 h 47"/>
                  <a:gd name="T54" fmla="*/ 84 w 88"/>
                  <a:gd name="T55" fmla="*/ 26 h 47"/>
                  <a:gd name="T56" fmla="*/ 88 w 88"/>
                  <a:gd name="T57" fmla="*/ 26 h 47"/>
                  <a:gd name="T58" fmla="*/ 88 w 88"/>
                  <a:gd name="T59" fmla="*/ 25 h 47"/>
                  <a:gd name="T60" fmla="*/ 88 w 88"/>
                  <a:gd name="T61" fmla="*/ 22 h 47"/>
                  <a:gd name="T62" fmla="*/ 87 w 88"/>
                  <a:gd name="T63" fmla="*/ 21 h 47"/>
                  <a:gd name="T64" fmla="*/ 85 w 88"/>
                  <a:gd name="T65" fmla="*/ 19 h 47"/>
                  <a:gd name="T66" fmla="*/ 83 w 88"/>
                  <a:gd name="T67" fmla="*/ 19 h 47"/>
                  <a:gd name="T68" fmla="*/ 80 w 88"/>
                  <a:gd name="T69" fmla="*/ 18 h 47"/>
                  <a:gd name="T70" fmla="*/ 77 w 88"/>
                  <a:gd name="T71" fmla="*/ 15 h 47"/>
                  <a:gd name="T72" fmla="*/ 76 w 88"/>
                  <a:gd name="T73" fmla="*/ 11 h 47"/>
                  <a:gd name="T74" fmla="*/ 74 w 88"/>
                  <a:gd name="T75" fmla="*/ 7 h 47"/>
                  <a:gd name="T76" fmla="*/ 73 w 88"/>
                  <a:gd name="T77" fmla="*/ 4 h 47"/>
                  <a:gd name="T78" fmla="*/ 70 w 88"/>
                  <a:gd name="T79" fmla="*/ 2 h 47"/>
                  <a:gd name="T80" fmla="*/ 69 w 88"/>
                  <a:gd name="T81" fmla="*/ 0 h 47"/>
                  <a:gd name="T82" fmla="*/ 69 w 88"/>
                  <a:gd name="T83" fmla="*/ 0 h 47"/>
                  <a:gd name="T84" fmla="*/ 63 w 88"/>
                  <a:gd name="T85" fmla="*/ 3 h 47"/>
                  <a:gd name="T86" fmla="*/ 56 w 88"/>
                  <a:gd name="T87" fmla="*/ 6 h 47"/>
                  <a:gd name="T88" fmla="*/ 48 w 88"/>
                  <a:gd name="T89" fmla="*/ 8 h 47"/>
                  <a:gd name="T90" fmla="*/ 34 w 88"/>
                  <a:gd name="T91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" h="47">
                    <a:moveTo>
                      <a:pt x="34" y="10"/>
                    </a:moveTo>
                    <a:lnTo>
                      <a:pt x="34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3" y="11"/>
                    </a:lnTo>
                    <a:lnTo>
                      <a:pt x="18" y="13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6" y="28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1" y="46"/>
                    </a:lnTo>
                    <a:lnTo>
                      <a:pt x="3" y="46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1" y="44"/>
                    </a:lnTo>
                    <a:lnTo>
                      <a:pt x="15" y="44"/>
                    </a:lnTo>
                    <a:lnTo>
                      <a:pt x="19" y="46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22" y="46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3" y="44"/>
                    </a:lnTo>
                    <a:lnTo>
                      <a:pt x="33" y="44"/>
                    </a:lnTo>
                    <a:lnTo>
                      <a:pt x="34" y="44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7" y="43"/>
                    </a:lnTo>
                    <a:lnTo>
                      <a:pt x="40" y="43"/>
                    </a:lnTo>
                    <a:lnTo>
                      <a:pt x="41" y="43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3" y="43"/>
                    </a:lnTo>
                    <a:lnTo>
                      <a:pt x="43" y="43"/>
                    </a:lnTo>
                    <a:lnTo>
                      <a:pt x="43" y="41"/>
                    </a:lnTo>
                    <a:lnTo>
                      <a:pt x="44" y="40"/>
                    </a:lnTo>
                    <a:lnTo>
                      <a:pt x="44" y="39"/>
                    </a:lnTo>
                    <a:lnTo>
                      <a:pt x="45" y="37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50" y="32"/>
                    </a:lnTo>
                    <a:lnTo>
                      <a:pt x="51" y="29"/>
                    </a:lnTo>
                    <a:lnTo>
                      <a:pt x="51" y="28"/>
                    </a:lnTo>
                    <a:lnTo>
                      <a:pt x="54" y="26"/>
                    </a:lnTo>
                    <a:lnTo>
                      <a:pt x="56" y="25"/>
                    </a:lnTo>
                    <a:lnTo>
                      <a:pt x="61" y="25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1" y="26"/>
                    </a:lnTo>
                    <a:lnTo>
                      <a:pt x="84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5"/>
                    </a:lnTo>
                    <a:lnTo>
                      <a:pt x="88" y="25"/>
                    </a:lnTo>
                    <a:lnTo>
                      <a:pt x="88" y="24"/>
                    </a:lnTo>
                    <a:lnTo>
                      <a:pt x="88" y="22"/>
                    </a:lnTo>
                    <a:lnTo>
                      <a:pt x="88" y="21"/>
                    </a:lnTo>
                    <a:lnTo>
                      <a:pt x="87" y="21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4" y="19"/>
                    </a:lnTo>
                    <a:lnTo>
                      <a:pt x="83" y="19"/>
                    </a:lnTo>
                    <a:lnTo>
                      <a:pt x="81" y="18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7" y="15"/>
                    </a:lnTo>
                    <a:lnTo>
                      <a:pt x="76" y="13"/>
                    </a:lnTo>
                    <a:lnTo>
                      <a:pt x="76" y="11"/>
                    </a:lnTo>
                    <a:lnTo>
                      <a:pt x="74" y="10"/>
                    </a:lnTo>
                    <a:lnTo>
                      <a:pt x="74" y="7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2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3" y="3"/>
                    </a:lnTo>
                    <a:lnTo>
                      <a:pt x="61" y="4"/>
                    </a:lnTo>
                    <a:lnTo>
                      <a:pt x="56" y="6"/>
                    </a:lnTo>
                    <a:lnTo>
                      <a:pt x="52" y="7"/>
                    </a:lnTo>
                    <a:lnTo>
                      <a:pt x="48" y="8"/>
                    </a:lnTo>
                    <a:lnTo>
                      <a:pt x="44" y="10"/>
                    </a:lnTo>
                    <a:lnTo>
                      <a:pt x="34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9" name="Freeform 962"/>
              <p:cNvSpPr>
                <a:spLocks/>
              </p:cNvSpPr>
              <p:nvPr/>
            </p:nvSpPr>
            <p:spPr bwMode="auto">
              <a:xfrm>
                <a:off x="2633" y="2708"/>
                <a:ext cx="88" cy="47"/>
              </a:xfrm>
              <a:custGeom>
                <a:avLst/>
                <a:gdLst>
                  <a:gd name="T0" fmla="*/ 32 w 88"/>
                  <a:gd name="T1" fmla="*/ 10 h 47"/>
                  <a:gd name="T2" fmla="*/ 23 w 88"/>
                  <a:gd name="T3" fmla="*/ 11 h 47"/>
                  <a:gd name="T4" fmla="*/ 14 w 88"/>
                  <a:gd name="T5" fmla="*/ 15 h 47"/>
                  <a:gd name="T6" fmla="*/ 6 w 88"/>
                  <a:gd name="T7" fmla="*/ 28 h 47"/>
                  <a:gd name="T8" fmla="*/ 1 w 88"/>
                  <a:gd name="T9" fmla="*/ 46 h 47"/>
                  <a:gd name="T10" fmla="*/ 6 w 88"/>
                  <a:gd name="T11" fmla="*/ 44 h 47"/>
                  <a:gd name="T12" fmla="*/ 11 w 88"/>
                  <a:gd name="T13" fmla="*/ 44 h 47"/>
                  <a:gd name="T14" fmla="*/ 19 w 88"/>
                  <a:gd name="T15" fmla="*/ 46 h 47"/>
                  <a:gd name="T16" fmla="*/ 22 w 88"/>
                  <a:gd name="T17" fmla="*/ 46 h 47"/>
                  <a:gd name="T18" fmla="*/ 25 w 88"/>
                  <a:gd name="T19" fmla="*/ 46 h 47"/>
                  <a:gd name="T20" fmla="*/ 30 w 88"/>
                  <a:gd name="T21" fmla="*/ 46 h 47"/>
                  <a:gd name="T22" fmla="*/ 34 w 88"/>
                  <a:gd name="T23" fmla="*/ 44 h 47"/>
                  <a:gd name="T24" fmla="*/ 36 w 88"/>
                  <a:gd name="T25" fmla="*/ 43 h 47"/>
                  <a:gd name="T26" fmla="*/ 40 w 88"/>
                  <a:gd name="T27" fmla="*/ 43 h 47"/>
                  <a:gd name="T28" fmla="*/ 44 w 88"/>
                  <a:gd name="T29" fmla="*/ 44 h 47"/>
                  <a:gd name="T30" fmla="*/ 43 w 88"/>
                  <a:gd name="T31" fmla="*/ 41 h 47"/>
                  <a:gd name="T32" fmla="*/ 44 w 88"/>
                  <a:gd name="T33" fmla="*/ 39 h 47"/>
                  <a:gd name="T34" fmla="*/ 47 w 88"/>
                  <a:gd name="T35" fmla="*/ 35 h 47"/>
                  <a:gd name="T36" fmla="*/ 50 w 88"/>
                  <a:gd name="T37" fmla="*/ 32 h 47"/>
                  <a:gd name="T38" fmla="*/ 51 w 88"/>
                  <a:gd name="T39" fmla="*/ 28 h 47"/>
                  <a:gd name="T40" fmla="*/ 56 w 88"/>
                  <a:gd name="T41" fmla="*/ 25 h 47"/>
                  <a:gd name="T42" fmla="*/ 73 w 88"/>
                  <a:gd name="T43" fmla="*/ 25 h 47"/>
                  <a:gd name="T44" fmla="*/ 76 w 88"/>
                  <a:gd name="T45" fmla="*/ 26 h 47"/>
                  <a:gd name="T46" fmla="*/ 81 w 88"/>
                  <a:gd name="T47" fmla="*/ 26 h 47"/>
                  <a:gd name="T48" fmla="*/ 85 w 88"/>
                  <a:gd name="T49" fmla="*/ 26 h 47"/>
                  <a:gd name="T50" fmla="*/ 88 w 88"/>
                  <a:gd name="T51" fmla="*/ 25 h 47"/>
                  <a:gd name="T52" fmla="*/ 88 w 88"/>
                  <a:gd name="T53" fmla="*/ 22 h 47"/>
                  <a:gd name="T54" fmla="*/ 87 w 88"/>
                  <a:gd name="T55" fmla="*/ 21 h 47"/>
                  <a:gd name="T56" fmla="*/ 85 w 88"/>
                  <a:gd name="T57" fmla="*/ 19 h 47"/>
                  <a:gd name="T58" fmla="*/ 83 w 88"/>
                  <a:gd name="T59" fmla="*/ 19 h 47"/>
                  <a:gd name="T60" fmla="*/ 80 w 88"/>
                  <a:gd name="T61" fmla="*/ 18 h 47"/>
                  <a:gd name="T62" fmla="*/ 77 w 88"/>
                  <a:gd name="T63" fmla="*/ 15 h 47"/>
                  <a:gd name="T64" fmla="*/ 76 w 88"/>
                  <a:gd name="T65" fmla="*/ 11 h 47"/>
                  <a:gd name="T66" fmla="*/ 74 w 88"/>
                  <a:gd name="T67" fmla="*/ 7 h 47"/>
                  <a:gd name="T68" fmla="*/ 73 w 88"/>
                  <a:gd name="T69" fmla="*/ 4 h 47"/>
                  <a:gd name="T70" fmla="*/ 70 w 88"/>
                  <a:gd name="T71" fmla="*/ 2 h 47"/>
                  <a:gd name="T72" fmla="*/ 69 w 88"/>
                  <a:gd name="T73" fmla="*/ 0 h 47"/>
                  <a:gd name="T74" fmla="*/ 63 w 88"/>
                  <a:gd name="T75" fmla="*/ 3 h 47"/>
                  <a:gd name="T76" fmla="*/ 56 w 88"/>
                  <a:gd name="T77" fmla="*/ 6 h 47"/>
                  <a:gd name="T78" fmla="*/ 48 w 88"/>
                  <a:gd name="T79" fmla="*/ 8 h 47"/>
                  <a:gd name="T80" fmla="*/ 34 w 88"/>
                  <a:gd name="T81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8" h="47">
                    <a:moveTo>
                      <a:pt x="34" y="10"/>
                    </a:moveTo>
                    <a:lnTo>
                      <a:pt x="32" y="10"/>
                    </a:lnTo>
                    <a:lnTo>
                      <a:pt x="28" y="10"/>
                    </a:lnTo>
                    <a:lnTo>
                      <a:pt x="23" y="11"/>
                    </a:lnTo>
                    <a:lnTo>
                      <a:pt x="18" y="13"/>
                    </a:lnTo>
                    <a:lnTo>
                      <a:pt x="14" y="15"/>
                    </a:lnTo>
                    <a:lnTo>
                      <a:pt x="8" y="21"/>
                    </a:lnTo>
                    <a:lnTo>
                      <a:pt x="6" y="28"/>
                    </a:lnTo>
                    <a:lnTo>
                      <a:pt x="0" y="47"/>
                    </a:lnTo>
                    <a:lnTo>
                      <a:pt x="1" y="46"/>
                    </a:lnTo>
                    <a:lnTo>
                      <a:pt x="3" y="46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11" y="44"/>
                    </a:lnTo>
                    <a:lnTo>
                      <a:pt x="15" y="44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22" y="46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8" y="46"/>
                    </a:lnTo>
                    <a:lnTo>
                      <a:pt x="30" y="46"/>
                    </a:lnTo>
                    <a:lnTo>
                      <a:pt x="33" y="44"/>
                    </a:lnTo>
                    <a:lnTo>
                      <a:pt x="34" y="44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7" y="43"/>
                    </a:lnTo>
                    <a:lnTo>
                      <a:pt x="40" y="43"/>
                    </a:lnTo>
                    <a:lnTo>
                      <a:pt x="41" y="43"/>
                    </a:lnTo>
                    <a:lnTo>
                      <a:pt x="44" y="44"/>
                    </a:lnTo>
                    <a:lnTo>
                      <a:pt x="43" y="43"/>
                    </a:lnTo>
                    <a:lnTo>
                      <a:pt x="43" y="41"/>
                    </a:lnTo>
                    <a:lnTo>
                      <a:pt x="44" y="40"/>
                    </a:lnTo>
                    <a:lnTo>
                      <a:pt x="44" y="39"/>
                    </a:lnTo>
                    <a:lnTo>
                      <a:pt x="45" y="37"/>
                    </a:lnTo>
                    <a:lnTo>
                      <a:pt x="47" y="35"/>
                    </a:lnTo>
                    <a:lnTo>
                      <a:pt x="48" y="33"/>
                    </a:lnTo>
                    <a:lnTo>
                      <a:pt x="50" y="32"/>
                    </a:lnTo>
                    <a:lnTo>
                      <a:pt x="51" y="29"/>
                    </a:lnTo>
                    <a:lnTo>
                      <a:pt x="51" y="28"/>
                    </a:lnTo>
                    <a:lnTo>
                      <a:pt x="54" y="26"/>
                    </a:lnTo>
                    <a:lnTo>
                      <a:pt x="56" y="25"/>
                    </a:lnTo>
                    <a:lnTo>
                      <a:pt x="61" y="25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1" y="26"/>
                    </a:lnTo>
                    <a:lnTo>
                      <a:pt x="84" y="26"/>
                    </a:lnTo>
                    <a:lnTo>
                      <a:pt x="85" y="26"/>
                    </a:lnTo>
                    <a:lnTo>
                      <a:pt x="88" y="26"/>
                    </a:lnTo>
                    <a:lnTo>
                      <a:pt x="88" y="25"/>
                    </a:lnTo>
                    <a:lnTo>
                      <a:pt x="88" y="24"/>
                    </a:lnTo>
                    <a:lnTo>
                      <a:pt x="88" y="22"/>
                    </a:lnTo>
                    <a:lnTo>
                      <a:pt x="88" y="21"/>
                    </a:lnTo>
                    <a:lnTo>
                      <a:pt x="87" y="21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4" y="19"/>
                    </a:lnTo>
                    <a:lnTo>
                      <a:pt x="83" y="19"/>
                    </a:lnTo>
                    <a:lnTo>
                      <a:pt x="81" y="18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7" y="15"/>
                    </a:lnTo>
                    <a:lnTo>
                      <a:pt x="76" y="13"/>
                    </a:lnTo>
                    <a:lnTo>
                      <a:pt x="76" y="11"/>
                    </a:lnTo>
                    <a:lnTo>
                      <a:pt x="74" y="10"/>
                    </a:lnTo>
                    <a:lnTo>
                      <a:pt x="74" y="7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2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69" y="0"/>
                    </a:lnTo>
                    <a:lnTo>
                      <a:pt x="66" y="2"/>
                    </a:lnTo>
                    <a:lnTo>
                      <a:pt x="63" y="3"/>
                    </a:lnTo>
                    <a:lnTo>
                      <a:pt x="61" y="4"/>
                    </a:lnTo>
                    <a:lnTo>
                      <a:pt x="56" y="6"/>
                    </a:lnTo>
                    <a:lnTo>
                      <a:pt x="52" y="7"/>
                    </a:lnTo>
                    <a:lnTo>
                      <a:pt x="48" y="8"/>
                    </a:lnTo>
                    <a:lnTo>
                      <a:pt x="44" y="10"/>
                    </a:lnTo>
                    <a:lnTo>
                      <a:pt x="34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0" name="Freeform 963"/>
              <p:cNvSpPr>
                <a:spLocks/>
              </p:cNvSpPr>
              <p:nvPr/>
            </p:nvSpPr>
            <p:spPr bwMode="auto">
              <a:xfrm>
                <a:off x="2676" y="2733"/>
                <a:ext cx="38" cy="126"/>
              </a:xfrm>
              <a:custGeom>
                <a:avLst/>
                <a:gdLst>
                  <a:gd name="T0" fmla="*/ 16 w 38"/>
                  <a:gd name="T1" fmla="*/ 0 h 126"/>
                  <a:gd name="T2" fmla="*/ 15 w 38"/>
                  <a:gd name="T3" fmla="*/ 0 h 126"/>
                  <a:gd name="T4" fmla="*/ 11 w 38"/>
                  <a:gd name="T5" fmla="*/ 1 h 126"/>
                  <a:gd name="T6" fmla="*/ 8 w 38"/>
                  <a:gd name="T7" fmla="*/ 4 h 126"/>
                  <a:gd name="T8" fmla="*/ 7 w 38"/>
                  <a:gd name="T9" fmla="*/ 7 h 126"/>
                  <a:gd name="T10" fmla="*/ 5 w 38"/>
                  <a:gd name="T11" fmla="*/ 8 h 126"/>
                  <a:gd name="T12" fmla="*/ 5 w 38"/>
                  <a:gd name="T13" fmla="*/ 10 h 126"/>
                  <a:gd name="T14" fmla="*/ 2 w 38"/>
                  <a:gd name="T15" fmla="*/ 12 h 126"/>
                  <a:gd name="T16" fmla="*/ 1 w 38"/>
                  <a:gd name="T17" fmla="*/ 14 h 126"/>
                  <a:gd name="T18" fmla="*/ 1 w 38"/>
                  <a:gd name="T19" fmla="*/ 15 h 126"/>
                  <a:gd name="T20" fmla="*/ 1 w 38"/>
                  <a:gd name="T21" fmla="*/ 16 h 126"/>
                  <a:gd name="T22" fmla="*/ 1 w 38"/>
                  <a:gd name="T23" fmla="*/ 19 h 126"/>
                  <a:gd name="T24" fmla="*/ 2 w 38"/>
                  <a:gd name="T25" fmla="*/ 25 h 126"/>
                  <a:gd name="T26" fmla="*/ 5 w 38"/>
                  <a:gd name="T27" fmla="*/ 30 h 126"/>
                  <a:gd name="T28" fmla="*/ 7 w 38"/>
                  <a:gd name="T29" fmla="*/ 36 h 126"/>
                  <a:gd name="T30" fmla="*/ 8 w 38"/>
                  <a:gd name="T31" fmla="*/ 40 h 126"/>
                  <a:gd name="T32" fmla="*/ 8 w 38"/>
                  <a:gd name="T33" fmla="*/ 44 h 126"/>
                  <a:gd name="T34" fmla="*/ 9 w 38"/>
                  <a:gd name="T35" fmla="*/ 49 h 126"/>
                  <a:gd name="T36" fmla="*/ 9 w 38"/>
                  <a:gd name="T37" fmla="*/ 56 h 126"/>
                  <a:gd name="T38" fmla="*/ 9 w 38"/>
                  <a:gd name="T39" fmla="*/ 63 h 126"/>
                  <a:gd name="T40" fmla="*/ 8 w 38"/>
                  <a:gd name="T41" fmla="*/ 69 h 126"/>
                  <a:gd name="T42" fmla="*/ 7 w 38"/>
                  <a:gd name="T43" fmla="*/ 74 h 126"/>
                  <a:gd name="T44" fmla="*/ 5 w 38"/>
                  <a:gd name="T45" fmla="*/ 85 h 126"/>
                  <a:gd name="T46" fmla="*/ 4 w 38"/>
                  <a:gd name="T47" fmla="*/ 97 h 126"/>
                  <a:gd name="T48" fmla="*/ 13 w 38"/>
                  <a:gd name="T49" fmla="*/ 124 h 126"/>
                  <a:gd name="T50" fmla="*/ 34 w 38"/>
                  <a:gd name="T51" fmla="*/ 125 h 126"/>
                  <a:gd name="T52" fmla="*/ 35 w 38"/>
                  <a:gd name="T53" fmla="*/ 118 h 126"/>
                  <a:gd name="T54" fmla="*/ 37 w 38"/>
                  <a:gd name="T55" fmla="*/ 107 h 126"/>
                  <a:gd name="T56" fmla="*/ 38 w 38"/>
                  <a:gd name="T57" fmla="*/ 93 h 126"/>
                  <a:gd name="T58" fmla="*/ 38 w 38"/>
                  <a:gd name="T59" fmla="*/ 81 h 126"/>
                  <a:gd name="T60" fmla="*/ 38 w 38"/>
                  <a:gd name="T61" fmla="*/ 66 h 126"/>
                  <a:gd name="T62" fmla="*/ 37 w 38"/>
                  <a:gd name="T63" fmla="*/ 52 h 126"/>
                  <a:gd name="T64" fmla="*/ 37 w 38"/>
                  <a:gd name="T65" fmla="*/ 44 h 126"/>
                  <a:gd name="T66" fmla="*/ 30 w 38"/>
                  <a:gd name="T67" fmla="*/ 8 h 126"/>
                  <a:gd name="T68" fmla="*/ 18 w 38"/>
                  <a:gd name="T69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8" h="126">
                    <a:moveTo>
                      <a:pt x="18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9" y="3"/>
                    </a:lnTo>
                    <a:lnTo>
                      <a:pt x="8" y="4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8" y="40"/>
                    </a:lnTo>
                    <a:lnTo>
                      <a:pt x="8" y="43"/>
                    </a:lnTo>
                    <a:lnTo>
                      <a:pt x="8" y="44"/>
                    </a:lnTo>
                    <a:lnTo>
                      <a:pt x="8" y="47"/>
                    </a:lnTo>
                    <a:lnTo>
                      <a:pt x="9" y="49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9" y="59"/>
                    </a:lnTo>
                    <a:lnTo>
                      <a:pt x="9" y="63"/>
                    </a:lnTo>
                    <a:lnTo>
                      <a:pt x="8" y="69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7" y="74"/>
                    </a:lnTo>
                    <a:lnTo>
                      <a:pt x="5" y="80"/>
                    </a:lnTo>
                    <a:lnTo>
                      <a:pt x="5" y="85"/>
                    </a:lnTo>
                    <a:lnTo>
                      <a:pt x="4" y="91"/>
                    </a:lnTo>
                    <a:lnTo>
                      <a:pt x="4" y="97"/>
                    </a:lnTo>
                    <a:lnTo>
                      <a:pt x="4" y="103"/>
                    </a:lnTo>
                    <a:lnTo>
                      <a:pt x="13" y="124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4" y="122"/>
                    </a:lnTo>
                    <a:lnTo>
                      <a:pt x="35" y="118"/>
                    </a:lnTo>
                    <a:lnTo>
                      <a:pt x="35" y="113"/>
                    </a:lnTo>
                    <a:lnTo>
                      <a:pt x="37" y="107"/>
                    </a:lnTo>
                    <a:lnTo>
                      <a:pt x="37" y="100"/>
                    </a:lnTo>
                    <a:lnTo>
                      <a:pt x="38" y="93"/>
                    </a:lnTo>
                    <a:lnTo>
                      <a:pt x="38" y="88"/>
                    </a:lnTo>
                    <a:lnTo>
                      <a:pt x="38" y="81"/>
                    </a:lnTo>
                    <a:lnTo>
                      <a:pt x="38" y="74"/>
                    </a:lnTo>
                    <a:lnTo>
                      <a:pt x="38" y="66"/>
                    </a:lnTo>
                    <a:lnTo>
                      <a:pt x="38" y="59"/>
                    </a:lnTo>
                    <a:lnTo>
                      <a:pt x="37" y="52"/>
                    </a:lnTo>
                    <a:lnTo>
                      <a:pt x="37" y="47"/>
                    </a:lnTo>
                    <a:lnTo>
                      <a:pt x="37" y="44"/>
                    </a:lnTo>
                    <a:lnTo>
                      <a:pt x="37" y="43"/>
                    </a:lnTo>
                    <a:lnTo>
                      <a:pt x="30" y="8"/>
                    </a:lnTo>
                    <a:lnTo>
                      <a:pt x="24" y="1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1" name="Freeform 964"/>
              <p:cNvSpPr>
                <a:spLocks/>
              </p:cNvSpPr>
              <p:nvPr/>
            </p:nvSpPr>
            <p:spPr bwMode="auto">
              <a:xfrm>
                <a:off x="2676" y="2733"/>
                <a:ext cx="38" cy="126"/>
              </a:xfrm>
              <a:custGeom>
                <a:avLst/>
                <a:gdLst>
                  <a:gd name="T0" fmla="*/ 16 w 38"/>
                  <a:gd name="T1" fmla="*/ 0 h 126"/>
                  <a:gd name="T2" fmla="*/ 12 w 38"/>
                  <a:gd name="T3" fmla="*/ 0 h 126"/>
                  <a:gd name="T4" fmla="*/ 9 w 38"/>
                  <a:gd name="T5" fmla="*/ 3 h 126"/>
                  <a:gd name="T6" fmla="*/ 7 w 38"/>
                  <a:gd name="T7" fmla="*/ 7 h 126"/>
                  <a:gd name="T8" fmla="*/ 5 w 38"/>
                  <a:gd name="T9" fmla="*/ 8 h 126"/>
                  <a:gd name="T10" fmla="*/ 4 w 38"/>
                  <a:gd name="T11" fmla="*/ 11 h 126"/>
                  <a:gd name="T12" fmla="*/ 1 w 38"/>
                  <a:gd name="T13" fmla="*/ 14 h 126"/>
                  <a:gd name="T14" fmla="*/ 0 w 38"/>
                  <a:gd name="T15" fmla="*/ 15 h 126"/>
                  <a:gd name="T16" fmla="*/ 1 w 38"/>
                  <a:gd name="T17" fmla="*/ 18 h 126"/>
                  <a:gd name="T18" fmla="*/ 2 w 38"/>
                  <a:gd name="T19" fmla="*/ 22 h 126"/>
                  <a:gd name="T20" fmla="*/ 4 w 38"/>
                  <a:gd name="T21" fmla="*/ 27 h 126"/>
                  <a:gd name="T22" fmla="*/ 5 w 38"/>
                  <a:gd name="T23" fmla="*/ 33 h 126"/>
                  <a:gd name="T24" fmla="*/ 7 w 38"/>
                  <a:gd name="T25" fmla="*/ 38 h 126"/>
                  <a:gd name="T26" fmla="*/ 8 w 38"/>
                  <a:gd name="T27" fmla="*/ 43 h 126"/>
                  <a:gd name="T28" fmla="*/ 8 w 38"/>
                  <a:gd name="T29" fmla="*/ 47 h 126"/>
                  <a:gd name="T30" fmla="*/ 9 w 38"/>
                  <a:gd name="T31" fmla="*/ 52 h 126"/>
                  <a:gd name="T32" fmla="*/ 9 w 38"/>
                  <a:gd name="T33" fmla="*/ 59 h 126"/>
                  <a:gd name="T34" fmla="*/ 8 w 38"/>
                  <a:gd name="T35" fmla="*/ 69 h 126"/>
                  <a:gd name="T36" fmla="*/ 7 w 38"/>
                  <a:gd name="T37" fmla="*/ 74 h 126"/>
                  <a:gd name="T38" fmla="*/ 5 w 38"/>
                  <a:gd name="T39" fmla="*/ 85 h 126"/>
                  <a:gd name="T40" fmla="*/ 4 w 38"/>
                  <a:gd name="T41" fmla="*/ 97 h 126"/>
                  <a:gd name="T42" fmla="*/ 13 w 38"/>
                  <a:gd name="T43" fmla="*/ 124 h 126"/>
                  <a:gd name="T44" fmla="*/ 34 w 38"/>
                  <a:gd name="T45" fmla="*/ 125 h 126"/>
                  <a:gd name="T46" fmla="*/ 35 w 38"/>
                  <a:gd name="T47" fmla="*/ 118 h 126"/>
                  <a:gd name="T48" fmla="*/ 37 w 38"/>
                  <a:gd name="T49" fmla="*/ 107 h 126"/>
                  <a:gd name="T50" fmla="*/ 38 w 38"/>
                  <a:gd name="T51" fmla="*/ 93 h 126"/>
                  <a:gd name="T52" fmla="*/ 38 w 38"/>
                  <a:gd name="T53" fmla="*/ 81 h 126"/>
                  <a:gd name="T54" fmla="*/ 38 w 38"/>
                  <a:gd name="T55" fmla="*/ 66 h 126"/>
                  <a:gd name="T56" fmla="*/ 37 w 38"/>
                  <a:gd name="T57" fmla="*/ 52 h 126"/>
                  <a:gd name="T58" fmla="*/ 37 w 38"/>
                  <a:gd name="T59" fmla="*/ 44 h 126"/>
                  <a:gd name="T60" fmla="*/ 30 w 38"/>
                  <a:gd name="T61" fmla="*/ 8 h 126"/>
                  <a:gd name="T62" fmla="*/ 18 w 38"/>
                  <a:gd name="T63" fmla="*/ 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8" h="126">
                    <a:moveTo>
                      <a:pt x="18" y="0"/>
                    </a:move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9" y="3"/>
                    </a:lnTo>
                    <a:lnTo>
                      <a:pt x="8" y="4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4" y="11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1" y="16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8" y="40"/>
                    </a:lnTo>
                    <a:lnTo>
                      <a:pt x="8" y="43"/>
                    </a:lnTo>
                    <a:lnTo>
                      <a:pt x="8" y="44"/>
                    </a:lnTo>
                    <a:lnTo>
                      <a:pt x="8" y="47"/>
                    </a:lnTo>
                    <a:lnTo>
                      <a:pt x="9" y="49"/>
                    </a:lnTo>
                    <a:lnTo>
                      <a:pt x="9" y="52"/>
                    </a:lnTo>
                    <a:lnTo>
                      <a:pt x="9" y="56"/>
                    </a:lnTo>
                    <a:lnTo>
                      <a:pt x="9" y="59"/>
                    </a:lnTo>
                    <a:lnTo>
                      <a:pt x="9" y="63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7" y="74"/>
                    </a:lnTo>
                    <a:lnTo>
                      <a:pt x="5" y="80"/>
                    </a:lnTo>
                    <a:lnTo>
                      <a:pt x="5" y="85"/>
                    </a:lnTo>
                    <a:lnTo>
                      <a:pt x="4" y="91"/>
                    </a:lnTo>
                    <a:lnTo>
                      <a:pt x="4" y="97"/>
                    </a:lnTo>
                    <a:lnTo>
                      <a:pt x="4" y="103"/>
                    </a:lnTo>
                    <a:lnTo>
                      <a:pt x="13" y="124"/>
                    </a:lnTo>
                    <a:lnTo>
                      <a:pt x="34" y="126"/>
                    </a:lnTo>
                    <a:lnTo>
                      <a:pt x="34" y="125"/>
                    </a:lnTo>
                    <a:lnTo>
                      <a:pt x="34" y="122"/>
                    </a:lnTo>
                    <a:lnTo>
                      <a:pt x="35" y="118"/>
                    </a:lnTo>
                    <a:lnTo>
                      <a:pt x="35" y="113"/>
                    </a:lnTo>
                    <a:lnTo>
                      <a:pt x="37" y="107"/>
                    </a:lnTo>
                    <a:lnTo>
                      <a:pt x="37" y="100"/>
                    </a:lnTo>
                    <a:lnTo>
                      <a:pt x="38" y="93"/>
                    </a:lnTo>
                    <a:lnTo>
                      <a:pt x="38" y="88"/>
                    </a:lnTo>
                    <a:lnTo>
                      <a:pt x="38" y="81"/>
                    </a:lnTo>
                    <a:lnTo>
                      <a:pt x="38" y="74"/>
                    </a:lnTo>
                    <a:lnTo>
                      <a:pt x="38" y="66"/>
                    </a:lnTo>
                    <a:lnTo>
                      <a:pt x="38" y="59"/>
                    </a:lnTo>
                    <a:lnTo>
                      <a:pt x="37" y="52"/>
                    </a:lnTo>
                    <a:lnTo>
                      <a:pt x="37" y="47"/>
                    </a:lnTo>
                    <a:lnTo>
                      <a:pt x="37" y="44"/>
                    </a:lnTo>
                    <a:lnTo>
                      <a:pt x="37" y="43"/>
                    </a:lnTo>
                    <a:lnTo>
                      <a:pt x="30" y="8"/>
                    </a:lnTo>
                    <a:lnTo>
                      <a:pt x="24" y="1"/>
                    </a:lnTo>
                    <a:lnTo>
                      <a:pt x="1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2" name="Freeform 965"/>
              <p:cNvSpPr>
                <a:spLocks/>
              </p:cNvSpPr>
              <p:nvPr/>
            </p:nvSpPr>
            <p:spPr bwMode="auto">
              <a:xfrm>
                <a:off x="2700" y="2733"/>
                <a:ext cx="32" cy="126"/>
              </a:xfrm>
              <a:custGeom>
                <a:avLst/>
                <a:gdLst>
                  <a:gd name="T0" fmla="*/ 0 w 32"/>
                  <a:gd name="T1" fmla="*/ 1 h 126"/>
                  <a:gd name="T2" fmla="*/ 3 w 32"/>
                  <a:gd name="T3" fmla="*/ 1 h 126"/>
                  <a:gd name="T4" fmla="*/ 7 w 32"/>
                  <a:gd name="T5" fmla="*/ 1 h 126"/>
                  <a:gd name="T6" fmla="*/ 13 w 32"/>
                  <a:gd name="T7" fmla="*/ 1 h 126"/>
                  <a:gd name="T8" fmla="*/ 17 w 32"/>
                  <a:gd name="T9" fmla="*/ 3 h 126"/>
                  <a:gd name="T10" fmla="*/ 16 w 32"/>
                  <a:gd name="T11" fmla="*/ 5 h 126"/>
                  <a:gd name="T12" fmla="*/ 17 w 32"/>
                  <a:gd name="T13" fmla="*/ 10 h 126"/>
                  <a:gd name="T14" fmla="*/ 18 w 32"/>
                  <a:gd name="T15" fmla="*/ 14 h 126"/>
                  <a:gd name="T16" fmla="*/ 21 w 32"/>
                  <a:gd name="T17" fmla="*/ 15 h 126"/>
                  <a:gd name="T18" fmla="*/ 24 w 32"/>
                  <a:gd name="T19" fmla="*/ 18 h 126"/>
                  <a:gd name="T20" fmla="*/ 28 w 32"/>
                  <a:gd name="T21" fmla="*/ 23 h 126"/>
                  <a:gd name="T22" fmla="*/ 31 w 32"/>
                  <a:gd name="T23" fmla="*/ 34 h 126"/>
                  <a:gd name="T24" fmla="*/ 31 w 32"/>
                  <a:gd name="T25" fmla="*/ 44 h 126"/>
                  <a:gd name="T26" fmla="*/ 32 w 32"/>
                  <a:gd name="T27" fmla="*/ 63 h 126"/>
                  <a:gd name="T28" fmla="*/ 32 w 32"/>
                  <a:gd name="T29" fmla="*/ 91 h 126"/>
                  <a:gd name="T30" fmla="*/ 32 w 32"/>
                  <a:gd name="T31" fmla="*/ 110 h 126"/>
                  <a:gd name="T32" fmla="*/ 31 w 32"/>
                  <a:gd name="T33" fmla="*/ 114 h 126"/>
                  <a:gd name="T34" fmla="*/ 28 w 32"/>
                  <a:gd name="T35" fmla="*/ 115 h 126"/>
                  <a:gd name="T36" fmla="*/ 24 w 32"/>
                  <a:gd name="T37" fmla="*/ 117 h 126"/>
                  <a:gd name="T38" fmla="*/ 20 w 32"/>
                  <a:gd name="T39" fmla="*/ 118 h 126"/>
                  <a:gd name="T40" fmla="*/ 10 w 32"/>
                  <a:gd name="T41" fmla="*/ 126 h 126"/>
                  <a:gd name="T42" fmla="*/ 10 w 32"/>
                  <a:gd name="T43" fmla="*/ 119 h 126"/>
                  <a:gd name="T44" fmla="*/ 13 w 32"/>
                  <a:gd name="T45" fmla="*/ 106 h 126"/>
                  <a:gd name="T46" fmla="*/ 14 w 32"/>
                  <a:gd name="T47" fmla="*/ 86 h 126"/>
                  <a:gd name="T48" fmla="*/ 14 w 32"/>
                  <a:gd name="T49" fmla="*/ 70 h 126"/>
                  <a:gd name="T50" fmla="*/ 13 w 32"/>
                  <a:gd name="T51" fmla="*/ 58 h 126"/>
                  <a:gd name="T52" fmla="*/ 13 w 32"/>
                  <a:gd name="T53" fmla="*/ 48 h 126"/>
                  <a:gd name="T54" fmla="*/ 11 w 32"/>
                  <a:gd name="T55" fmla="*/ 40 h 126"/>
                  <a:gd name="T56" fmla="*/ 10 w 32"/>
                  <a:gd name="T57" fmla="*/ 33 h 126"/>
                  <a:gd name="T58" fmla="*/ 7 w 32"/>
                  <a:gd name="T59" fmla="*/ 11 h 126"/>
                  <a:gd name="T60" fmla="*/ 6 w 32"/>
                  <a:gd name="T61" fmla="*/ 8 h 126"/>
                  <a:gd name="T62" fmla="*/ 3 w 32"/>
                  <a:gd name="T63" fmla="*/ 4 h 126"/>
                  <a:gd name="T64" fmla="*/ 0 w 32"/>
                  <a:gd name="T65" fmla="*/ 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2" h="126">
                    <a:moveTo>
                      <a:pt x="0" y="1"/>
                    </a:moveTo>
                    <a:lnTo>
                      <a:pt x="0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3" y="1"/>
                    </a:lnTo>
                    <a:lnTo>
                      <a:pt x="17" y="3"/>
                    </a:lnTo>
                    <a:lnTo>
                      <a:pt x="17" y="3"/>
                    </a:lnTo>
                    <a:lnTo>
                      <a:pt x="17" y="4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1"/>
                    </a:lnTo>
                    <a:lnTo>
                      <a:pt x="18" y="14"/>
                    </a:lnTo>
                    <a:lnTo>
                      <a:pt x="21" y="15"/>
                    </a:lnTo>
                    <a:lnTo>
                      <a:pt x="21" y="15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5" y="21"/>
                    </a:lnTo>
                    <a:lnTo>
                      <a:pt x="28" y="23"/>
                    </a:lnTo>
                    <a:lnTo>
                      <a:pt x="29" y="29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1" y="44"/>
                    </a:lnTo>
                    <a:lnTo>
                      <a:pt x="31" y="52"/>
                    </a:lnTo>
                    <a:lnTo>
                      <a:pt x="32" y="63"/>
                    </a:lnTo>
                    <a:lnTo>
                      <a:pt x="32" y="77"/>
                    </a:lnTo>
                    <a:lnTo>
                      <a:pt x="32" y="91"/>
                    </a:lnTo>
                    <a:lnTo>
                      <a:pt x="32" y="102"/>
                    </a:lnTo>
                    <a:lnTo>
                      <a:pt x="32" y="110"/>
                    </a:lnTo>
                    <a:lnTo>
                      <a:pt x="31" y="114"/>
                    </a:lnTo>
                    <a:lnTo>
                      <a:pt x="31" y="114"/>
                    </a:lnTo>
                    <a:lnTo>
                      <a:pt x="29" y="114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24" y="117"/>
                    </a:lnTo>
                    <a:lnTo>
                      <a:pt x="21" y="117"/>
                    </a:lnTo>
                    <a:lnTo>
                      <a:pt x="20" y="118"/>
                    </a:lnTo>
                    <a:lnTo>
                      <a:pt x="18" y="119"/>
                    </a:lnTo>
                    <a:lnTo>
                      <a:pt x="10" y="126"/>
                    </a:lnTo>
                    <a:lnTo>
                      <a:pt x="10" y="125"/>
                    </a:lnTo>
                    <a:lnTo>
                      <a:pt x="10" y="119"/>
                    </a:lnTo>
                    <a:lnTo>
                      <a:pt x="11" y="114"/>
                    </a:lnTo>
                    <a:lnTo>
                      <a:pt x="13" y="106"/>
                    </a:lnTo>
                    <a:lnTo>
                      <a:pt x="13" y="96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4" y="70"/>
                    </a:lnTo>
                    <a:lnTo>
                      <a:pt x="13" y="63"/>
                    </a:lnTo>
                    <a:lnTo>
                      <a:pt x="13" y="58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3" y="44"/>
                    </a:lnTo>
                    <a:lnTo>
                      <a:pt x="11" y="40"/>
                    </a:lnTo>
                    <a:lnTo>
                      <a:pt x="11" y="36"/>
                    </a:lnTo>
                    <a:lnTo>
                      <a:pt x="10" y="33"/>
                    </a:lnTo>
                    <a:lnTo>
                      <a:pt x="7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3" name="Freeform 966"/>
              <p:cNvSpPr>
                <a:spLocks/>
              </p:cNvSpPr>
              <p:nvPr/>
            </p:nvSpPr>
            <p:spPr bwMode="auto">
              <a:xfrm>
                <a:off x="2700" y="2733"/>
                <a:ext cx="32" cy="126"/>
              </a:xfrm>
              <a:custGeom>
                <a:avLst/>
                <a:gdLst>
                  <a:gd name="T0" fmla="*/ 0 w 32"/>
                  <a:gd name="T1" fmla="*/ 1 h 126"/>
                  <a:gd name="T2" fmla="*/ 2 w 32"/>
                  <a:gd name="T3" fmla="*/ 1 h 126"/>
                  <a:gd name="T4" fmla="*/ 3 w 32"/>
                  <a:gd name="T5" fmla="*/ 1 h 126"/>
                  <a:gd name="T6" fmla="*/ 5 w 32"/>
                  <a:gd name="T7" fmla="*/ 0 h 126"/>
                  <a:gd name="T8" fmla="*/ 7 w 32"/>
                  <a:gd name="T9" fmla="*/ 1 h 126"/>
                  <a:gd name="T10" fmla="*/ 10 w 32"/>
                  <a:gd name="T11" fmla="*/ 1 h 126"/>
                  <a:gd name="T12" fmla="*/ 13 w 32"/>
                  <a:gd name="T13" fmla="*/ 1 h 126"/>
                  <a:gd name="T14" fmla="*/ 17 w 32"/>
                  <a:gd name="T15" fmla="*/ 3 h 126"/>
                  <a:gd name="T16" fmla="*/ 17 w 32"/>
                  <a:gd name="T17" fmla="*/ 4 h 126"/>
                  <a:gd name="T18" fmla="*/ 16 w 32"/>
                  <a:gd name="T19" fmla="*/ 5 h 126"/>
                  <a:gd name="T20" fmla="*/ 16 w 32"/>
                  <a:gd name="T21" fmla="*/ 7 h 126"/>
                  <a:gd name="T22" fmla="*/ 17 w 32"/>
                  <a:gd name="T23" fmla="*/ 10 h 126"/>
                  <a:gd name="T24" fmla="*/ 17 w 32"/>
                  <a:gd name="T25" fmla="*/ 11 h 126"/>
                  <a:gd name="T26" fmla="*/ 18 w 32"/>
                  <a:gd name="T27" fmla="*/ 14 h 126"/>
                  <a:gd name="T28" fmla="*/ 21 w 32"/>
                  <a:gd name="T29" fmla="*/ 15 h 126"/>
                  <a:gd name="T30" fmla="*/ 22 w 32"/>
                  <a:gd name="T31" fmla="*/ 16 h 126"/>
                  <a:gd name="T32" fmla="*/ 24 w 32"/>
                  <a:gd name="T33" fmla="*/ 18 h 126"/>
                  <a:gd name="T34" fmla="*/ 25 w 32"/>
                  <a:gd name="T35" fmla="*/ 21 h 126"/>
                  <a:gd name="T36" fmla="*/ 28 w 32"/>
                  <a:gd name="T37" fmla="*/ 23 h 126"/>
                  <a:gd name="T38" fmla="*/ 29 w 32"/>
                  <a:gd name="T39" fmla="*/ 29 h 126"/>
                  <a:gd name="T40" fmla="*/ 31 w 32"/>
                  <a:gd name="T41" fmla="*/ 34 h 126"/>
                  <a:gd name="T42" fmla="*/ 31 w 32"/>
                  <a:gd name="T43" fmla="*/ 41 h 126"/>
                  <a:gd name="T44" fmla="*/ 31 w 32"/>
                  <a:gd name="T45" fmla="*/ 44 h 126"/>
                  <a:gd name="T46" fmla="*/ 31 w 32"/>
                  <a:gd name="T47" fmla="*/ 52 h 126"/>
                  <a:gd name="T48" fmla="*/ 32 w 32"/>
                  <a:gd name="T49" fmla="*/ 63 h 126"/>
                  <a:gd name="T50" fmla="*/ 32 w 32"/>
                  <a:gd name="T51" fmla="*/ 77 h 126"/>
                  <a:gd name="T52" fmla="*/ 32 w 32"/>
                  <a:gd name="T53" fmla="*/ 91 h 126"/>
                  <a:gd name="T54" fmla="*/ 32 w 32"/>
                  <a:gd name="T55" fmla="*/ 102 h 126"/>
                  <a:gd name="T56" fmla="*/ 32 w 32"/>
                  <a:gd name="T57" fmla="*/ 110 h 126"/>
                  <a:gd name="T58" fmla="*/ 31 w 32"/>
                  <a:gd name="T59" fmla="*/ 114 h 126"/>
                  <a:gd name="T60" fmla="*/ 29 w 32"/>
                  <a:gd name="T61" fmla="*/ 114 h 126"/>
                  <a:gd name="T62" fmla="*/ 28 w 32"/>
                  <a:gd name="T63" fmla="*/ 115 h 126"/>
                  <a:gd name="T64" fmla="*/ 25 w 32"/>
                  <a:gd name="T65" fmla="*/ 115 h 126"/>
                  <a:gd name="T66" fmla="*/ 24 w 32"/>
                  <a:gd name="T67" fmla="*/ 117 h 126"/>
                  <a:gd name="T68" fmla="*/ 21 w 32"/>
                  <a:gd name="T69" fmla="*/ 117 h 126"/>
                  <a:gd name="T70" fmla="*/ 20 w 32"/>
                  <a:gd name="T71" fmla="*/ 118 h 126"/>
                  <a:gd name="T72" fmla="*/ 18 w 32"/>
                  <a:gd name="T73" fmla="*/ 119 h 126"/>
                  <a:gd name="T74" fmla="*/ 10 w 32"/>
                  <a:gd name="T75" fmla="*/ 126 h 126"/>
                  <a:gd name="T76" fmla="*/ 10 w 32"/>
                  <a:gd name="T77" fmla="*/ 125 h 126"/>
                  <a:gd name="T78" fmla="*/ 10 w 32"/>
                  <a:gd name="T79" fmla="*/ 119 h 126"/>
                  <a:gd name="T80" fmla="*/ 11 w 32"/>
                  <a:gd name="T81" fmla="*/ 114 h 126"/>
                  <a:gd name="T82" fmla="*/ 13 w 32"/>
                  <a:gd name="T83" fmla="*/ 106 h 126"/>
                  <a:gd name="T84" fmla="*/ 13 w 32"/>
                  <a:gd name="T85" fmla="*/ 96 h 126"/>
                  <a:gd name="T86" fmla="*/ 14 w 32"/>
                  <a:gd name="T87" fmla="*/ 86 h 126"/>
                  <a:gd name="T88" fmla="*/ 14 w 32"/>
                  <a:gd name="T89" fmla="*/ 78 h 126"/>
                  <a:gd name="T90" fmla="*/ 14 w 32"/>
                  <a:gd name="T91" fmla="*/ 70 h 126"/>
                  <a:gd name="T92" fmla="*/ 13 w 32"/>
                  <a:gd name="T93" fmla="*/ 63 h 126"/>
                  <a:gd name="T94" fmla="*/ 13 w 32"/>
                  <a:gd name="T95" fmla="*/ 58 h 126"/>
                  <a:gd name="T96" fmla="*/ 13 w 32"/>
                  <a:gd name="T97" fmla="*/ 52 h 126"/>
                  <a:gd name="T98" fmla="*/ 13 w 32"/>
                  <a:gd name="T99" fmla="*/ 48 h 126"/>
                  <a:gd name="T100" fmla="*/ 13 w 32"/>
                  <a:gd name="T101" fmla="*/ 44 h 126"/>
                  <a:gd name="T102" fmla="*/ 11 w 32"/>
                  <a:gd name="T103" fmla="*/ 40 h 126"/>
                  <a:gd name="T104" fmla="*/ 11 w 32"/>
                  <a:gd name="T105" fmla="*/ 36 h 126"/>
                  <a:gd name="T106" fmla="*/ 10 w 32"/>
                  <a:gd name="T107" fmla="*/ 33 h 126"/>
                  <a:gd name="T108" fmla="*/ 7 w 32"/>
                  <a:gd name="T109" fmla="*/ 12 h 126"/>
                  <a:gd name="T110" fmla="*/ 7 w 32"/>
                  <a:gd name="T111" fmla="*/ 11 h 126"/>
                  <a:gd name="T112" fmla="*/ 6 w 32"/>
                  <a:gd name="T113" fmla="*/ 10 h 126"/>
                  <a:gd name="T114" fmla="*/ 6 w 32"/>
                  <a:gd name="T115" fmla="*/ 8 h 126"/>
                  <a:gd name="T116" fmla="*/ 5 w 32"/>
                  <a:gd name="T117" fmla="*/ 7 h 126"/>
                  <a:gd name="T118" fmla="*/ 3 w 32"/>
                  <a:gd name="T119" fmla="*/ 4 h 126"/>
                  <a:gd name="T120" fmla="*/ 2 w 32"/>
                  <a:gd name="T121" fmla="*/ 3 h 126"/>
                  <a:gd name="T122" fmla="*/ 0 w 32"/>
                  <a:gd name="T123" fmla="*/ 1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" h="126">
                    <a:moveTo>
                      <a:pt x="0" y="1"/>
                    </a:moveTo>
                    <a:lnTo>
                      <a:pt x="2" y="1"/>
                    </a:lnTo>
                    <a:lnTo>
                      <a:pt x="3" y="1"/>
                    </a:lnTo>
                    <a:lnTo>
                      <a:pt x="5" y="0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3" y="1"/>
                    </a:lnTo>
                    <a:lnTo>
                      <a:pt x="17" y="3"/>
                    </a:lnTo>
                    <a:lnTo>
                      <a:pt x="17" y="4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10"/>
                    </a:lnTo>
                    <a:lnTo>
                      <a:pt x="17" y="11"/>
                    </a:lnTo>
                    <a:lnTo>
                      <a:pt x="18" y="14"/>
                    </a:lnTo>
                    <a:lnTo>
                      <a:pt x="21" y="15"/>
                    </a:lnTo>
                    <a:lnTo>
                      <a:pt x="22" y="16"/>
                    </a:lnTo>
                    <a:lnTo>
                      <a:pt x="24" y="18"/>
                    </a:lnTo>
                    <a:lnTo>
                      <a:pt x="25" y="21"/>
                    </a:lnTo>
                    <a:lnTo>
                      <a:pt x="28" y="23"/>
                    </a:lnTo>
                    <a:lnTo>
                      <a:pt x="29" y="29"/>
                    </a:lnTo>
                    <a:lnTo>
                      <a:pt x="31" y="34"/>
                    </a:lnTo>
                    <a:lnTo>
                      <a:pt x="31" y="41"/>
                    </a:lnTo>
                    <a:lnTo>
                      <a:pt x="31" y="44"/>
                    </a:lnTo>
                    <a:lnTo>
                      <a:pt x="31" y="52"/>
                    </a:lnTo>
                    <a:lnTo>
                      <a:pt x="32" y="63"/>
                    </a:lnTo>
                    <a:lnTo>
                      <a:pt x="32" y="77"/>
                    </a:lnTo>
                    <a:lnTo>
                      <a:pt x="32" y="91"/>
                    </a:lnTo>
                    <a:lnTo>
                      <a:pt x="32" y="102"/>
                    </a:lnTo>
                    <a:lnTo>
                      <a:pt x="32" y="110"/>
                    </a:lnTo>
                    <a:lnTo>
                      <a:pt x="31" y="114"/>
                    </a:lnTo>
                    <a:lnTo>
                      <a:pt x="29" y="114"/>
                    </a:lnTo>
                    <a:lnTo>
                      <a:pt x="28" y="115"/>
                    </a:lnTo>
                    <a:lnTo>
                      <a:pt x="25" y="115"/>
                    </a:lnTo>
                    <a:lnTo>
                      <a:pt x="24" y="117"/>
                    </a:lnTo>
                    <a:lnTo>
                      <a:pt x="21" y="117"/>
                    </a:lnTo>
                    <a:lnTo>
                      <a:pt x="20" y="118"/>
                    </a:lnTo>
                    <a:lnTo>
                      <a:pt x="18" y="119"/>
                    </a:lnTo>
                    <a:lnTo>
                      <a:pt x="10" y="126"/>
                    </a:lnTo>
                    <a:lnTo>
                      <a:pt x="10" y="125"/>
                    </a:lnTo>
                    <a:lnTo>
                      <a:pt x="10" y="119"/>
                    </a:lnTo>
                    <a:lnTo>
                      <a:pt x="11" y="114"/>
                    </a:lnTo>
                    <a:lnTo>
                      <a:pt x="13" y="106"/>
                    </a:lnTo>
                    <a:lnTo>
                      <a:pt x="13" y="96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4" y="70"/>
                    </a:lnTo>
                    <a:lnTo>
                      <a:pt x="13" y="63"/>
                    </a:lnTo>
                    <a:lnTo>
                      <a:pt x="13" y="58"/>
                    </a:lnTo>
                    <a:lnTo>
                      <a:pt x="13" y="52"/>
                    </a:lnTo>
                    <a:lnTo>
                      <a:pt x="13" y="48"/>
                    </a:lnTo>
                    <a:lnTo>
                      <a:pt x="13" y="44"/>
                    </a:lnTo>
                    <a:lnTo>
                      <a:pt x="11" y="40"/>
                    </a:lnTo>
                    <a:lnTo>
                      <a:pt x="11" y="36"/>
                    </a:lnTo>
                    <a:lnTo>
                      <a:pt x="10" y="33"/>
                    </a:lnTo>
                    <a:lnTo>
                      <a:pt x="7" y="12"/>
                    </a:lnTo>
                    <a:lnTo>
                      <a:pt x="7" y="11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4" name="Freeform 967"/>
              <p:cNvSpPr>
                <a:spLocks/>
              </p:cNvSpPr>
              <p:nvPr/>
            </p:nvSpPr>
            <p:spPr bwMode="auto">
              <a:xfrm>
                <a:off x="2716" y="2726"/>
                <a:ext cx="48" cy="121"/>
              </a:xfrm>
              <a:custGeom>
                <a:avLst/>
                <a:gdLst>
                  <a:gd name="T0" fmla="*/ 15 w 48"/>
                  <a:gd name="T1" fmla="*/ 121 h 121"/>
                  <a:gd name="T2" fmla="*/ 15 w 48"/>
                  <a:gd name="T3" fmla="*/ 118 h 121"/>
                  <a:gd name="T4" fmla="*/ 16 w 48"/>
                  <a:gd name="T5" fmla="*/ 110 h 121"/>
                  <a:gd name="T6" fmla="*/ 16 w 48"/>
                  <a:gd name="T7" fmla="*/ 99 h 121"/>
                  <a:gd name="T8" fmla="*/ 16 w 48"/>
                  <a:gd name="T9" fmla="*/ 85 h 121"/>
                  <a:gd name="T10" fmla="*/ 16 w 48"/>
                  <a:gd name="T11" fmla="*/ 72 h 121"/>
                  <a:gd name="T12" fmla="*/ 16 w 48"/>
                  <a:gd name="T13" fmla="*/ 59 h 121"/>
                  <a:gd name="T14" fmla="*/ 15 w 48"/>
                  <a:gd name="T15" fmla="*/ 50 h 121"/>
                  <a:gd name="T16" fmla="*/ 15 w 48"/>
                  <a:gd name="T17" fmla="*/ 43 h 121"/>
                  <a:gd name="T18" fmla="*/ 15 w 48"/>
                  <a:gd name="T19" fmla="*/ 39 h 121"/>
                  <a:gd name="T20" fmla="*/ 13 w 48"/>
                  <a:gd name="T21" fmla="*/ 36 h 121"/>
                  <a:gd name="T22" fmla="*/ 12 w 48"/>
                  <a:gd name="T23" fmla="*/ 33 h 121"/>
                  <a:gd name="T24" fmla="*/ 11 w 48"/>
                  <a:gd name="T25" fmla="*/ 30 h 121"/>
                  <a:gd name="T26" fmla="*/ 11 w 48"/>
                  <a:gd name="T27" fmla="*/ 29 h 121"/>
                  <a:gd name="T28" fmla="*/ 9 w 48"/>
                  <a:gd name="T29" fmla="*/ 26 h 121"/>
                  <a:gd name="T30" fmla="*/ 6 w 48"/>
                  <a:gd name="T31" fmla="*/ 25 h 121"/>
                  <a:gd name="T32" fmla="*/ 5 w 48"/>
                  <a:gd name="T33" fmla="*/ 23 h 121"/>
                  <a:gd name="T34" fmla="*/ 4 w 48"/>
                  <a:gd name="T35" fmla="*/ 22 h 121"/>
                  <a:gd name="T36" fmla="*/ 2 w 48"/>
                  <a:gd name="T37" fmla="*/ 21 h 121"/>
                  <a:gd name="T38" fmla="*/ 1 w 48"/>
                  <a:gd name="T39" fmla="*/ 19 h 121"/>
                  <a:gd name="T40" fmla="*/ 1 w 48"/>
                  <a:gd name="T41" fmla="*/ 18 h 121"/>
                  <a:gd name="T42" fmla="*/ 0 w 48"/>
                  <a:gd name="T43" fmla="*/ 15 h 121"/>
                  <a:gd name="T44" fmla="*/ 0 w 48"/>
                  <a:gd name="T45" fmla="*/ 14 h 121"/>
                  <a:gd name="T46" fmla="*/ 0 w 48"/>
                  <a:gd name="T47" fmla="*/ 11 h 121"/>
                  <a:gd name="T48" fmla="*/ 1 w 48"/>
                  <a:gd name="T49" fmla="*/ 10 h 121"/>
                  <a:gd name="T50" fmla="*/ 16 w 48"/>
                  <a:gd name="T51" fmla="*/ 8 h 121"/>
                  <a:gd name="T52" fmla="*/ 17 w 48"/>
                  <a:gd name="T53" fmla="*/ 0 h 121"/>
                  <a:gd name="T54" fmla="*/ 31 w 48"/>
                  <a:gd name="T55" fmla="*/ 11 h 121"/>
                  <a:gd name="T56" fmla="*/ 33 w 48"/>
                  <a:gd name="T57" fmla="*/ 12 h 121"/>
                  <a:gd name="T58" fmla="*/ 35 w 48"/>
                  <a:gd name="T59" fmla="*/ 14 h 121"/>
                  <a:gd name="T60" fmla="*/ 38 w 48"/>
                  <a:gd name="T61" fmla="*/ 17 h 121"/>
                  <a:gd name="T62" fmla="*/ 42 w 48"/>
                  <a:gd name="T63" fmla="*/ 22 h 121"/>
                  <a:gd name="T64" fmla="*/ 46 w 48"/>
                  <a:gd name="T65" fmla="*/ 28 h 121"/>
                  <a:gd name="T66" fmla="*/ 48 w 48"/>
                  <a:gd name="T67" fmla="*/ 36 h 121"/>
                  <a:gd name="T68" fmla="*/ 48 w 48"/>
                  <a:gd name="T69" fmla="*/ 45 h 121"/>
                  <a:gd name="T70" fmla="*/ 45 w 48"/>
                  <a:gd name="T71" fmla="*/ 58 h 121"/>
                  <a:gd name="T72" fmla="*/ 45 w 48"/>
                  <a:gd name="T73" fmla="*/ 58 h 121"/>
                  <a:gd name="T74" fmla="*/ 44 w 48"/>
                  <a:gd name="T75" fmla="*/ 59 h 121"/>
                  <a:gd name="T76" fmla="*/ 44 w 48"/>
                  <a:gd name="T77" fmla="*/ 63 h 121"/>
                  <a:gd name="T78" fmla="*/ 42 w 48"/>
                  <a:gd name="T79" fmla="*/ 67 h 121"/>
                  <a:gd name="T80" fmla="*/ 42 w 48"/>
                  <a:gd name="T81" fmla="*/ 73 h 121"/>
                  <a:gd name="T82" fmla="*/ 41 w 48"/>
                  <a:gd name="T83" fmla="*/ 80 h 121"/>
                  <a:gd name="T84" fmla="*/ 41 w 48"/>
                  <a:gd name="T85" fmla="*/ 88 h 121"/>
                  <a:gd name="T86" fmla="*/ 41 w 48"/>
                  <a:gd name="T87" fmla="*/ 98 h 121"/>
                  <a:gd name="T88" fmla="*/ 41 w 48"/>
                  <a:gd name="T89" fmla="*/ 115 h 121"/>
                  <a:gd name="T90" fmla="*/ 15 w 48"/>
                  <a:gd name="T91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121">
                    <a:moveTo>
                      <a:pt x="15" y="121"/>
                    </a:moveTo>
                    <a:lnTo>
                      <a:pt x="15" y="118"/>
                    </a:lnTo>
                    <a:lnTo>
                      <a:pt x="16" y="110"/>
                    </a:lnTo>
                    <a:lnTo>
                      <a:pt x="16" y="99"/>
                    </a:lnTo>
                    <a:lnTo>
                      <a:pt x="16" y="85"/>
                    </a:lnTo>
                    <a:lnTo>
                      <a:pt x="16" y="72"/>
                    </a:lnTo>
                    <a:lnTo>
                      <a:pt x="16" y="59"/>
                    </a:lnTo>
                    <a:lnTo>
                      <a:pt x="15" y="50"/>
                    </a:lnTo>
                    <a:lnTo>
                      <a:pt x="15" y="43"/>
                    </a:lnTo>
                    <a:lnTo>
                      <a:pt x="15" y="39"/>
                    </a:lnTo>
                    <a:lnTo>
                      <a:pt x="13" y="36"/>
                    </a:lnTo>
                    <a:lnTo>
                      <a:pt x="12" y="33"/>
                    </a:lnTo>
                    <a:lnTo>
                      <a:pt x="11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6" y="8"/>
                    </a:lnTo>
                    <a:lnTo>
                      <a:pt x="17" y="0"/>
                    </a:lnTo>
                    <a:lnTo>
                      <a:pt x="31" y="11"/>
                    </a:lnTo>
                    <a:lnTo>
                      <a:pt x="33" y="12"/>
                    </a:lnTo>
                    <a:lnTo>
                      <a:pt x="35" y="14"/>
                    </a:lnTo>
                    <a:lnTo>
                      <a:pt x="38" y="17"/>
                    </a:lnTo>
                    <a:lnTo>
                      <a:pt x="42" y="22"/>
                    </a:lnTo>
                    <a:lnTo>
                      <a:pt x="46" y="28"/>
                    </a:lnTo>
                    <a:lnTo>
                      <a:pt x="48" y="36"/>
                    </a:lnTo>
                    <a:lnTo>
                      <a:pt x="48" y="45"/>
                    </a:lnTo>
                    <a:lnTo>
                      <a:pt x="45" y="58"/>
                    </a:lnTo>
                    <a:lnTo>
                      <a:pt x="45" y="58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2" y="67"/>
                    </a:lnTo>
                    <a:lnTo>
                      <a:pt x="42" y="73"/>
                    </a:lnTo>
                    <a:lnTo>
                      <a:pt x="41" y="80"/>
                    </a:lnTo>
                    <a:lnTo>
                      <a:pt x="41" y="88"/>
                    </a:lnTo>
                    <a:lnTo>
                      <a:pt x="41" y="98"/>
                    </a:lnTo>
                    <a:lnTo>
                      <a:pt x="41" y="115"/>
                    </a:lnTo>
                    <a:lnTo>
                      <a:pt x="15" y="12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5" name="Freeform 968"/>
              <p:cNvSpPr>
                <a:spLocks/>
              </p:cNvSpPr>
              <p:nvPr/>
            </p:nvSpPr>
            <p:spPr bwMode="auto">
              <a:xfrm>
                <a:off x="2716" y="2726"/>
                <a:ext cx="48" cy="121"/>
              </a:xfrm>
              <a:custGeom>
                <a:avLst/>
                <a:gdLst>
                  <a:gd name="T0" fmla="*/ 15 w 48"/>
                  <a:gd name="T1" fmla="*/ 121 h 121"/>
                  <a:gd name="T2" fmla="*/ 15 w 48"/>
                  <a:gd name="T3" fmla="*/ 118 h 121"/>
                  <a:gd name="T4" fmla="*/ 16 w 48"/>
                  <a:gd name="T5" fmla="*/ 110 h 121"/>
                  <a:gd name="T6" fmla="*/ 16 w 48"/>
                  <a:gd name="T7" fmla="*/ 99 h 121"/>
                  <a:gd name="T8" fmla="*/ 16 w 48"/>
                  <a:gd name="T9" fmla="*/ 85 h 121"/>
                  <a:gd name="T10" fmla="*/ 16 w 48"/>
                  <a:gd name="T11" fmla="*/ 72 h 121"/>
                  <a:gd name="T12" fmla="*/ 16 w 48"/>
                  <a:gd name="T13" fmla="*/ 59 h 121"/>
                  <a:gd name="T14" fmla="*/ 15 w 48"/>
                  <a:gd name="T15" fmla="*/ 50 h 121"/>
                  <a:gd name="T16" fmla="*/ 15 w 48"/>
                  <a:gd name="T17" fmla="*/ 43 h 121"/>
                  <a:gd name="T18" fmla="*/ 15 w 48"/>
                  <a:gd name="T19" fmla="*/ 39 h 121"/>
                  <a:gd name="T20" fmla="*/ 13 w 48"/>
                  <a:gd name="T21" fmla="*/ 36 h 121"/>
                  <a:gd name="T22" fmla="*/ 12 w 48"/>
                  <a:gd name="T23" fmla="*/ 33 h 121"/>
                  <a:gd name="T24" fmla="*/ 11 w 48"/>
                  <a:gd name="T25" fmla="*/ 30 h 121"/>
                  <a:gd name="T26" fmla="*/ 11 w 48"/>
                  <a:gd name="T27" fmla="*/ 29 h 121"/>
                  <a:gd name="T28" fmla="*/ 9 w 48"/>
                  <a:gd name="T29" fmla="*/ 26 h 121"/>
                  <a:gd name="T30" fmla="*/ 6 w 48"/>
                  <a:gd name="T31" fmla="*/ 25 h 121"/>
                  <a:gd name="T32" fmla="*/ 5 w 48"/>
                  <a:gd name="T33" fmla="*/ 23 h 121"/>
                  <a:gd name="T34" fmla="*/ 4 w 48"/>
                  <a:gd name="T35" fmla="*/ 22 h 121"/>
                  <a:gd name="T36" fmla="*/ 2 w 48"/>
                  <a:gd name="T37" fmla="*/ 21 h 121"/>
                  <a:gd name="T38" fmla="*/ 1 w 48"/>
                  <a:gd name="T39" fmla="*/ 19 h 121"/>
                  <a:gd name="T40" fmla="*/ 1 w 48"/>
                  <a:gd name="T41" fmla="*/ 18 h 121"/>
                  <a:gd name="T42" fmla="*/ 0 w 48"/>
                  <a:gd name="T43" fmla="*/ 15 h 121"/>
                  <a:gd name="T44" fmla="*/ 0 w 48"/>
                  <a:gd name="T45" fmla="*/ 14 h 121"/>
                  <a:gd name="T46" fmla="*/ 0 w 48"/>
                  <a:gd name="T47" fmla="*/ 11 h 121"/>
                  <a:gd name="T48" fmla="*/ 1 w 48"/>
                  <a:gd name="T49" fmla="*/ 10 h 121"/>
                  <a:gd name="T50" fmla="*/ 16 w 48"/>
                  <a:gd name="T51" fmla="*/ 8 h 121"/>
                  <a:gd name="T52" fmla="*/ 17 w 48"/>
                  <a:gd name="T53" fmla="*/ 0 h 121"/>
                  <a:gd name="T54" fmla="*/ 31 w 48"/>
                  <a:gd name="T55" fmla="*/ 11 h 121"/>
                  <a:gd name="T56" fmla="*/ 33 w 48"/>
                  <a:gd name="T57" fmla="*/ 12 h 121"/>
                  <a:gd name="T58" fmla="*/ 35 w 48"/>
                  <a:gd name="T59" fmla="*/ 14 h 121"/>
                  <a:gd name="T60" fmla="*/ 38 w 48"/>
                  <a:gd name="T61" fmla="*/ 17 h 121"/>
                  <a:gd name="T62" fmla="*/ 42 w 48"/>
                  <a:gd name="T63" fmla="*/ 22 h 121"/>
                  <a:gd name="T64" fmla="*/ 46 w 48"/>
                  <a:gd name="T65" fmla="*/ 28 h 121"/>
                  <a:gd name="T66" fmla="*/ 48 w 48"/>
                  <a:gd name="T67" fmla="*/ 36 h 121"/>
                  <a:gd name="T68" fmla="*/ 48 w 48"/>
                  <a:gd name="T69" fmla="*/ 45 h 121"/>
                  <a:gd name="T70" fmla="*/ 45 w 48"/>
                  <a:gd name="T71" fmla="*/ 58 h 121"/>
                  <a:gd name="T72" fmla="*/ 44 w 48"/>
                  <a:gd name="T73" fmla="*/ 59 h 121"/>
                  <a:gd name="T74" fmla="*/ 44 w 48"/>
                  <a:gd name="T75" fmla="*/ 63 h 121"/>
                  <a:gd name="T76" fmla="*/ 42 w 48"/>
                  <a:gd name="T77" fmla="*/ 67 h 121"/>
                  <a:gd name="T78" fmla="*/ 42 w 48"/>
                  <a:gd name="T79" fmla="*/ 73 h 121"/>
                  <a:gd name="T80" fmla="*/ 41 w 48"/>
                  <a:gd name="T81" fmla="*/ 80 h 121"/>
                  <a:gd name="T82" fmla="*/ 41 w 48"/>
                  <a:gd name="T83" fmla="*/ 88 h 121"/>
                  <a:gd name="T84" fmla="*/ 41 w 48"/>
                  <a:gd name="T85" fmla="*/ 98 h 121"/>
                  <a:gd name="T86" fmla="*/ 41 w 48"/>
                  <a:gd name="T87" fmla="*/ 115 h 121"/>
                  <a:gd name="T88" fmla="*/ 15 w 48"/>
                  <a:gd name="T89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8" h="121">
                    <a:moveTo>
                      <a:pt x="15" y="121"/>
                    </a:moveTo>
                    <a:lnTo>
                      <a:pt x="15" y="118"/>
                    </a:lnTo>
                    <a:lnTo>
                      <a:pt x="16" y="110"/>
                    </a:lnTo>
                    <a:lnTo>
                      <a:pt x="16" y="99"/>
                    </a:lnTo>
                    <a:lnTo>
                      <a:pt x="16" y="85"/>
                    </a:lnTo>
                    <a:lnTo>
                      <a:pt x="16" y="72"/>
                    </a:lnTo>
                    <a:lnTo>
                      <a:pt x="16" y="59"/>
                    </a:lnTo>
                    <a:lnTo>
                      <a:pt x="15" y="50"/>
                    </a:lnTo>
                    <a:lnTo>
                      <a:pt x="15" y="43"/>
                    </a:lnTo>
                    <a:lnTo>
                      <a:pt x="15" y="39"/>
                    </a:lnTo>
                    <a:lnTo>
                      <a:pt x="13" y="36"/>
                    </a:lnTo>
                    <a:lnTo>
                      <a:pt x="12" y="33"/>
                    </a:lnTo>
                    <a:lnTo>
                      <a:pt x="11" y="30"/>
                    </a:lnTo>
                    <a:lnTo>
                      <a:pt x="11" y="29"/>
                    </a:lnTo>
                    <a:lnTo>
                      <a:pt x="9" y="26"/>
                    </a:lnTo>
                    <a:lnTo>
                      <a:pt x="6" y="25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2" y="21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14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6" y="8"/>
                    </a:lnTo>
                    <a:lnTo>
                      <a:pt x="17" y="0"/>
                    </a:lnTo>
                    <a:lnTo>
                      <a:pt x="31" y="11"/>
                    </a:lnTo>
                    <a:lnTo>
                      <a:pt x="33" y="12"/>
                    </a:lnTo>
                    <a:lnTo>
                      <a:pt x="35" y="14"/>
                    </a:lnTo>
                    <a:lnTo>
                      <a:pt x="38" y="17"/>
                    </a:lnTo>
                    <a:lnTo>
                      <a:pt x="42" y="22"/>
                    </a:lnTo>
                    <a:lnTo>
                      <a:pt x="46" y="28"/>
                    </a:lnTo>
                    <a:lnTo>
                      <a:pt x="48" y="36"/>
                    </a:lnTo>
                    <a:lnTo>
                      <a:pt x="48" y="45"/>
                    </a:lnTo>
                    <a:lnTo>
                      <a:pt x="45" y="58"/>
                    </a:lnTo>
                    <a:lnTo>
                      <a:pt x="44" y="59"/>
                    </a:lnTo>
                    <a:lnTo>
                      <a:pt x="44" y="63"/>
                    </a:lnTo>
                    <a:lnTo>
                      <a:pt x="42" y="67"/>
                    </a:lnTo>
                    <a:lnTo>
                      <a:pt x="42" y="73"/>
                    </a:lnTo>
                    <a:lnTo>
                      <a:pt x="41" y="80"/>
                    </a:lnTo>
                    <a:lnTo>
                      <a:pt x="41" y="88"/>
                    </a:lnTo>
                    <a:lnTo>
                      <a:pt x="41" y="98"/>
                    </a:lnTo>
                    <a:lnTo>
                      <a:pt x="41" y="115"/>
                    </a:lnTo>
                    <a:lnTo>
                      <a:pt x="15" y="12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6" name="Freeform 969"/>
              <p:cNvSpPr>
                <a:spLocks/>
              </p:cNvSpPr>
              <p:nvPr/>
            </p:nvSpPr>
            <p:spPr bwMode="auto">
              <a:xfrm>
                <a:off x="2527" y="2340"/>
                <a:ext cx="187" cy="150"/>
              </a:xfrm>
              <a:custGeom>
                <a:avLst/>
                <a:gdLst>
                  <a:gd name="T0" fmla="*/ 0 w 187"/>
                  <a:gd name="T1" fmla="*/ 141 h 150"/>
                  <a:gd name="T2" fmla="*/ 0 w 187"/>
                  <a:gd name="T3" fmla="*/ 140 h 150"/>
                  <a:gd name="T4" fmla="*/ 2 w 187"/>
                  <a:gd name="T5" fmla="*/ 140 h 150"/>
                  <a:gd name="T6" fmla="*/ 2 w 187"/>
                  <a:gd name="T7" fmla="*/ 139 h 150"/>
                  <a:gd name="T8" fmla="*/ 15 w 187"/>
                  <a:gd name="T9" fmla="*/ 132 h 150"/>
                  <a:gd name="T10" fmla="*/ 28 w 187"/>
                  <a:gd name="T11" fmla="*/ 125 h 150"/>
                  <a:gd name="T12" fmla="*/ 41 w 187"/>
                  <a:gd name="T13" fmla="*/ 113 h 150"/>
                  <a:gd name="T14" fmla="*/ 51 w 187"/>
                  <a:gd name="T15" fmla="*/ 100 h 150"/>
                  <a:gd name="T16" fmla="*/ 55 w 187"/>
                  <a:gd name="T17" fmla="*/ 95 h 150"/>
                  <a:gd name="T18" fmla="*/ 55 w 187"/>
                  <a:gd name="T19" fmla="*/ 82 h 150"/>
                  <a:gd name="T20" fmla="*/ 59 w 187"/>
                  <a:gd name="T21" fmla="*/ 73 h 150"/>
                  <a:gd name="T22" fmla="*/ 66 w 187"/>
                  <a:gd name="T23" fmla="*/ 64 h 150"/>
                  <a:gd name="T24" fmla="*/ 70 w 187"/>
                  <a:gd name="T25" fmla="*/ 56 h 150"/>
                  <a:gd name="T26" fmla="*/ 74 w 187"/>
                  <a:gd name="T27" fmla="*/ 48 h 150"/>
                  <a:gd name="T28" fmla="*/ 81 w 187"/>
                  <a:gd name="T29" fmla="*/ 41 h 150"/>
                  <a:gd name="T30" fmla="*/ 88 w 187"/>
                  <a:gd name="T31" fmla="*/ 37 h 150"/>
                  <a:gd name="T32" fmla="*/ 91 w 187"/>
                  <a:gd name="T33" fmla="*/ 36 h 150"/>
                  <a:gd name="T34" fmla="*/ 91 w 187"/>
                  <a:gd name="T35" fmla="*/ 20 h 150"/>
                  <a:gd name="T36" fmla="*/ 92 w 187"/>
                  <a:gd name="T37" fmla="*/ 9 h 150"/>
                  <a:gd name="T38" fmla="*/ 95 w 187"/>
                  <a:gd name="T39" fmla="*/ 3 h 150"/>
                  <a:gd name="T40" fmla="*/ 95 w 187"/>
                  <a:gd name="T41" fmla="*/ 0 h 150"/>
                  <a:gd name="T42" fmla="*/ 98 w 187"/>
                  <a:gd name="T43" fmla="*/ 1 h 150"/>
                  <a:gd name="T44" fmla="*/ 102 w 187"/>
                  <a:gd name="T45" fmla="*/ 4 h 150"/>
                  <a:gd name="T46" fmla="*/ 109 w 187"/>
                  <a:gd name="T47" fmla="*/ 7 h 150"/>
                  <a:gd name="T48" fmla="*/ 117 w 187"/>
                  <a:gd name="T49" fmla="*/ 9 h 150"/>
                  <a:gd name="T50" fmla="*/ 123 w 187"/>
                  <a:gd name="T51" fmla="*/ 11 h 150"/>
                  <a:gd name="T52" fmla="*/ 135 w 187"/>
                  <a:gd name="T53" fmla="*/ 14 h 150"/>
                  <a:gd name="T54" fmla="*/ 150 w 187"/>
                  <a:gd name="T55" fmla="*/ 15 h 150"/>
                  <a:gd name="T56" fmla="*/ 160 w 187"/>
                  <a:gd name="T57" fmla="*/ 14 h 150"/>
                  <a:gd name="T58" fmla="*/ 161 w 187"/>
                  <a:gd name="T59" fmla="*/ 15 h 150"/>
                  <a:gd name="T60" fmla="*/ 165 w 187"/>
                  <a:gd name="T61" fmla="*/ 16 h 150"/>
                  <a:gd name="T62" fmla="*/ 171 w 187"/>
                  <a:gd name="T63" fmla="*/ 20 h 150"/>
                  <a:gd name="T64" fmla="*/ 173 w 187"/>
                  <a:gd name="T65" fmla="*/ 27 h 150"/>
                  <a:gd name="T66" fmla="*/ 175 w 187"/>
                  <a:gd name="T67" fmla="*/ 36 h 150"/>
                  <a:gd name="T68" fmla="*/ 175 w 187"/>
                  <a:gd name="T69" fmla="*/ 42 h 150"/>
                  <a:gd name="T70" fmla="*/ 175 w 187"/>
                  <a:gd name="T71" fmla="*/ 49 h 150"/>
                  <a:gd name="T72" fmla="*/ 178 w 187"/>
                  <a:gd name="T73" fmla="*/ 55 h 150"/>
                  <a:gd name="T74" fmla="*/ 186 w 187"/>
                  <a:gd name="T75" fmla="*/ 64 h 150"/>
                  <a:gd name="T76" fmla="*/ 179 w 187"/>
                  <a:gd name="T77" fmla="*/ 64 h 150"/>
                  <a:gd name="T78" fmla="*/ 169 w 187"/>
                  <a:gd name="T79" fmla="*/ 64 h 150"/>
                  <a:gd name="T80" fmla="*/ 162 w 187"/>
                  <a:gd name="T81" fmla="*/ 70 h 150"/>
                  <a:gd name="T82" fmla="*/ 160 w 187"/>
                  <a:gd name="T83" fmla="*/ 88 h 150"/>
                  <a:gd name="T84" fmla="*/ 80 w 187"/>
                  <a:gd name="T85" fmla="*/ 115 h 150"/>
                  <a:gd name="T86" fmla="*/ 58 w 187"/>
                  <a:gd name="T87" fmla="*/ 130 h 150"/>
                  <a:gd name="T88" fmla="*/ 0 w 187"/>
                  <a:gd name="T89" fmla="*/ 141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87" h="150">
                    <a:moveTo>
                      <a:pt x="0" y="141"/>
                    </a:moveTo>
                    <a:lnTo>
                      <a:pt x="0" y="141"/>
                    </a:lnTo>
                    <a:lnTo>
                      <a:pt x="0" y="141"/>
                    </a:lnTo>
                    <a:lnTo>
                      <a:pt x="0" y="140"/>
                    </a:lnTo>
                    <a:lnTo>
                      <a:pt x="2" y="140"/>
                    </a:lnTo>
                    <a:lnTo>
                      <a:pt x="2" y="140"/>
                    </a:lnTo>
                    <a:lnTo>
                      <a:pt x="2" y="140"/>
                    </a:lnTo>
                    <a:lnTo>
                      <a:pt x="2" y="139"/>
                    </a:lnTo>
                    <a:lnTo>
                      <a:pt x="3" y="139"/>
                    </a:lnTo>
                    <a:lnTo>
                      <a:pt x="15" y="132"/>
                    </a:lnTo>
                    <a:lnTo>
                      <a:pt x="21" y="129"/>
                    </a:lnTo>
                    <a:lnTo>
                      <a:pt x="28" y="125"/>
                    </a:lnTo>
                    <a:lnTo>
                      <a:pt x="35" y="118"/>
                    </a:lnTo>
                    <a:lnTo>
                      <a:pt x="41" y="113"/>
                    </a:lnTo>
                    <a:lnTo>
                      <a:pt x="47" y="106"/>
                    </a:lnTo>
                    <a:lnTo>
                      <a:pt x="51" y="100"/>
                    </a:lnTo>
                    <a:lnTo>
                      <a:pt x="54" y="96"/>
                    </a:lnTo>
                    <a:lnTo>
                      <a:pt x="55" y="95"/>
                    </a:lnTo>
                    <a:lnTo>
                      <a:pt x="54" y="88"/>
                    </a:lnTo>
                    <a:lnTo>
                      <a:pt x="55" y="82"/>
                    </a:lnTo>
                    <a:lnTo>
                      <a:pt x="57" y="77"/>
                    </a:lnTo>
                    <a:lnTo>
                      <a:pt x="59" y="73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9" y="60"/>
                    </a:lnTo>
                    <a:lnTo>
                      <a:pt x="70" y="56"/>
                    </a:lnTo>
                    <a:lnTo>
                      <a:pt x="72" y="52"/>
                    </a:lnTo>
                    <a:lnTo>
                      <a:pt x="74" y="48"/>
                    </a:lnTo>
                    <a:lnTo>
                      <a:pt x="79" y="45"/>
                    </a:lnTo>
                    <a:lnTo>
                      <a:pt x="81" y="41"/>
                    </a:lnTo>
                    <a:lnTo>
                      <a:pt x="85" y="38"/>
                    </a:lnTo>
                    <a:lnTo>
                      <a:pt x="88" y="37"/>
                    </a:lnTo>
                    <a:lnTo>
                      <a:pt x="91" y="36"/>
                    </a:lnTo>
                    <a:lnTo>
                      <a:pt x="91" y="36"/>
                    </a:lnTo>
                    <a:lnTo>
                      <a:pt x="91" y="27"/>
                    </a:lnTo>
                    <a:lnTo>
                      <a:pt x="91" y="20"/>
                    </a:lnTo>
                    <a:lnTo>
                      <a:pt x="91" y="15"/>
                    </a:lnTo>
                    <a:lnTo>
                      <a:pt x="92" y="9"/>
                    </a:lnTo>
                    <a:lnTo>
                      <a:pt x="94" y="5"/>
                    </a:lnTo>
                    <a:lnTo>
                      <a:pt x="95" y="3"/>
                    </a:lnTo>
                    <a:lnTo>
                      <a:pt x="95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1"/>
                    </a:lnTo>
                    <a:lnTo>
                      <a:pt x="99" y="3"/>
                    </a:lnTo>
                    <a:lnTo>
                      <a:pt x="102" y="4"/>
                    </a:lnTo>
                    <a:lnTo>
                      <a:pt x="105" y="5"/>
                    </a:lnTo>
                    <a:lnTo>
                      <a:pt x="109" y="7"/>
                    </a:lnTo>
                    <a:lnTo>
                      <a:pt x="113" y="8"/>
                    </a:lnTo>
                    <a:lnTo>
                      <a:pt x="117" y="9"/>
                    </a:lnTo>
                    <a:lnTo>
                      <a:pt x="118" y="9"/>
                    </a:lnTo>
                    <a:lnTo>
                      <a:pt x="123" y="11"/>
                    </a:lnTo>
                    <a:lnTo>
                      <a:pt x="128" y="12"/>
                    </a:lnTo>
                    <a:lnTo>
                      <a:pt x="135" y="14"/>
                    </a:lnTo>
                    <a:lnTo>
                      <a:pt x="143" y="15"/>
                    </a:lnTo>
                    <a:lnTo>
                      <a:pt x="150" y="15"/>
                    </a:lnTo>
                    <a:lnTo>
                      <a:pt x="156" y="15"/>
                    </a:lnTo>
                    <a:lnTo>
                      <a:pt x="160" y="14"/>
                    </a:lnTo>
                    <a:lnTo>
                      <a:pt x="160" y="14"/>
                    </a:lnTo>
                    <a:lnTo>
                      <a:pt x="161" y="15"/>
                    </a:lnTo>
                    <a:lnTo>
                      <a:pt x="164" y="15"/>
                    </a:lnTo>
                    <a:lnTo>
                      <a:pt x="165" y="16"/>
                    </a:lnTo>
                    <a:lnTo>
                      <a:pt x="168" y="18"/>
                    </a:lnTo>
                    <a:lnTo>
                      <a:pt x="171" y="20"/>
                    </a:lnTo>
                    <a:lnTo>
                      <a:pt x="172" y="23"/>
                    </a:lnTo>
                    <a:lnTo>
                      <a:pt x="173" y="27"/>
                    </a:lnTo>
                    <a:lnTo>
                      <a:pt x="175" y="31"/>
                    </a:lnTo>
                    <a:lnTo>
                      <a:pt x="175" y="36"/>
                    </a:lnTo>
                    <a:lnTo>
                      <a:pt x="175" y="38"/>
                    </a:lnTo>
                    <a:lnTo>
                      <a:pt x="175" y="42"/>
                    </a:lnTo>
                    <a:lnTo>
                      <a:pt x="175" y="47"/>
                    </a:lnTo>
                    <a:lnTo>
                      <a:pt x="175" y="49"/>
                    </a:lnTo>
                    <a:lnTo>
                      <a:pt x="176" y="52"/>
                    </a:lnTo>
                    <a:lnTo>
                      <a:pt x="178" y="55"/>
                    </a:lnTo>
                    <a:lnTo>
                      <a:pt x="187" y="64"/>
                    </a:lnTo>
                    <a:lnTo>
                      <a:pt x="186" y="64"/>
                    </a:lnTo>
                    <a:lnTo>
                      <a:pt x="183" y="64"/>
                    </a:lnTo>
                    <a:lnTo>
                      <a:pt x="179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5" y="67"/>
                    </a:lnTo>
                    <a:lnTo>
                      <a:pt x="162" y="70"/>
                    </a:lnTo>
                    <a:lnTo>
                      <a:pt x="161" y="74"/>
                    </a:lnTo>
                    <a:lnTo>
                      <a:pt x="160" y="88"/>
                    </a:lnTo>
                    <a:lnTo>
                      <a:pt x="98" y="108"/>
                    </a:lnTo>
                    <a:lnTo>
                      <a:pt x="80" y="115"/>
                    </a:lnTo>
                    <a:lnTo>
                      <a:pt x="70" y="124"/>
                    </a:lnTo>
                    <a:lnTo>
                      <a:pt x="58" y="130"/>
                    </a:lnTo>
                    <a:lnTo>
                      <a:pt x="62" y="150"/>
                    </a:lnTo>
                    <a:lnTo>
                      <a:pt x="0" y="1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7" name="Freeform 970"/>
              <p:cNvSpPr>
                <a:spLocks/>
              </p:cNvSpPr>
              <p:nvPr/>
            </p:nvSpPr>
            <p:spPr bwMode="auto">
              <a:xfrm>
                <a:off x="2527" y="2340"/>
                <a:ext cx="187" cy="150"/>
              </a:xfrm>
              <a:custGeom>
                <a:avLst/>
                <a:gdLst>
                  <a:gd name="T0" fmla="*/ 0 w 187"/>
                  <a:gd name="T1" fmla="*/ 140 h 150"/>
                  <a:gd name="T2" fmla="*/ 2 w 187"/>
                  <a:gd name="T3" fmla="*/ 139 h 150"/>
                  <a:gd name="T4" fmla="*/ 15 w 187"/>
                  <a:gd name="T5" fmla="*/ 132 h 150"/>
                  <a:gd name="T6" fmla="*/ 28 w 187"/>
                  <a:gd name="T7" fmla="*/ 125 h 150"/>
                  <a:gd name="T8" fmla="*/ 41 w 187"/>
                  <a:gd name="T9" fmla="*/ 113 h 150"/>
                  <a:gd name="T10" fmla="*/ 51 w 187"/>
                  <a:gd name="T11" fmla="*/ 100 h 150"/>
                  <a:gd name="T12" fmla="*/ 55 w 187"/>
                  <a:gd name="T13" fmla="*/ 95 h 150"/>
                  <a:gd name="T14" fmla="*/ 55 w 187"/>
                  <a:gd name="T15" fmla="*/ 82 h 150"/>
                  <a:gd name="T16" fmla="*/ 59 w 187"/>
                  <a:gd name="T17" fmla="*/ 73 h 150"/>
                  <a:gd name="T18" fmla="*/ 66 w 187"/>
                  <a:gd name="T19" fmla="*/ 64 h 150"/>
                  <a:gd name="T20" fmla="*/ 70 w 187"/>
                  <a:gd name="T21" fmla="*/ 56 h 150"/>
                  <a:gd name="T22" fmla="*/ 74 w 187"/>
                  <a:gd name="T23" fmla="*/ 48 h 150"/>
                  <a:gd name="T24" fmla="*/ 81 w 187"/>
                  <a:gd name="T25" fmla="*/ 41 h 150"/>
                  <a:gd name="T26" fmla="*/ 88 w 187"/>
                  <a:gd name="T27" fmla="*/ 37 h 150"/>
                  <a:gd name="T28" fmla="*/ 91 w 187"/>
                  <a:gd name="T29" fmla="*/ 27 h 150"/>
                  <a:gd name="T30" fmla="*/ 91 w 187"/>
                  <a:gd name="T31" fmla="*/ 15 h 150"/>
                  <a:gd name="T32" fmla="*/ 94 w 187"/>
                  <a:gd name="T33" fmla="*/ 5 h 150"/>
                  <a:gd name="T34" fmla="*/ 95 w 187"/>
                  <a:gd name="T35" fmla="*/ 0 h 150"/>
                  <a:gd name="T36" fmla="*/ 98 w 187"/>
                  <a:gd name="T37" fmla="*/ 1 h 150"/>
                  <a:gd name="T38" fmla="*/ 102 w 187"/>
                  <a:gd name="T39" fmla="*/ 4 h 150"/>
                  <a:gd name="T40" fmla="*/ 109 w 187"/>
                  <a:gd name="T41" fmla="*/ 7 h 150"/>
                  <a:gd name="T42" fmla="*/ 117 w 187"/>
                  <a:gd name="T43" fmla="*/ 9 h 150"/>
                  <a:gd name="T44" fmla="*/ 123 w 187"/>
                  <a:gd name="T45" fmla="*/ 11 h 150"/>
                  <a:gd name="T46" fmla="*/ 135 w 187"/>
                  <a:gd name="T47" fmla="*/ 14 h 150"/>
                  <a:gd name="T48" fmla="*/ 150 w 187"/>
                  <a:gd name="T49" fmla="*/ 15 h 150"/>
                  <a:gd name="T50" fmla="*/ 160 w 187"/>
                  <a:gd name="T51" fmla="*/ 14 h 150"/>
                  <a:gd name="T52" fmla="*/ 164 w 187"/>
                  <a:gd name="T53" fmla="*/ 15 h 150"/>
                  <a:gd name="T54" fmla="*/ 168 w 187"/>
                  <a:gd name="T55" fmla="*/ 18 h 150"/>
                  <a:gd name="T56" fmla="*/ 172 w 187"/>
                  <a:gd name="T57" fmla="*/ 23 h 150"/>
                  <a:gd name="T58" fmla="*/ 175 w 187"/>
                  <a:gd name="T59" fmla="*/ 31 h 150"/>
                  <a:gd name="T60" fmla="*/ 175 w 187"/>
                  <a:gd name="T61" fmla="*/ 38 h 150"/>
                  <a:gd name="T62" fmla="*/ 175 w 187"/>
                  <a:gd name="T63" fmla="*/ 47 h 150"/>
                  <a:gd name="T64" fmla="*/ 176 w 187"/>
                  <a:gd name="T65" fmla="*/ 52 h 150"/>
                  <a:gd name="T66" fmla="*/ 187 w 187"/>
                  <a:gd name="T67" fmla="*/ 64 h 150"/>
                  <a:gd name="T68" fmla="*/ 183 w 187"/>
                  <a:gd name="T69" fmla="*/ 64 h 150"/>
                  <a:gd name="T70" fmla="*/ 173 w 187"/>
                  <a:gd name="T71" fmla="*/ 64 h 150"/>
                  <a:gd name="T72" fmla="*/ 165 w 187"/>
                  <a:gd name="T73" fmla="*/ 67 h 150"/>
                  <a:gd name="T74" fmla="*/ 161 w 187"/>
                  <a:gd name="T75" fmla="*/ 74 h 150"/>
                  <a:gd name="T76" fmla="*/ 98 w 187"/>
                  <a:gd name="T77" fmla="*/ 108 h 150"/>
                  <a:gd name="T78" fmla="*/ 70 w 187"/>
                  <a:gd name="T79" fmla="*/ 124 h 150"/>
                  <a:gd name="T80" fmla="*/ 62 w 187"/>
                  <a:gd name="T81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7" h="150">
                    <a:moveTo>
                      <a:pt x="0" y="141"/>
                    </a:moveTo>
                    <a:lnTo>
                      <a:pt x="0" y="140"/>
                    </a:lnTo>
                    <a:lnTo>
                      <a:pt x="2" y="140"/>
                    </a:lnTo>
                    <a:lnTo>
                      <a:pt x="2" y="139"/>
                    </a:lnTo>
                    <a:lnTo>
                      <a:pt x="3" y="139"/>
                    </a:lnTo>
                    <a:lnTo>
                      <a:pt x="15" y="132"/>
                    </a:lnTo>
                    <a:lnTo>
                      <a:pt x="21" y="129"/>
                    </a:lnTo>
                    <a:lnTo>
                      <a:pt x="28" y="125"/>
                    </a:lnTo>
                    <a:lnTo>
                      <a:pt x="35" y="118"/>
                    </a:lnTo>
                    <a:lnTo>
                      <a:pt x="41" y="113"/>
                    </a:lnTo>
                    <a:lnTo>
                      <a:pt x="47" y="106"/>
                    </a:lnTo>
                    <a:lnTo>
                      <a:pt x="51" y="100"/>
                    </a:lnTo>
                    <a:lnTo>
                      <a:pt x="54" y="96"/>
                    </a:lnTo>
                    <a:lnTo>
                      <a:pt x="55" y="95"/>
                    </a:lnTo>
                    <a:lnTo>
                      <a:pt x="54" y="88"/>
                    </a:lnTo>
                    <a:lnTo>
                      <a:pt x="55" y="82"/>
                    </a:lnTo>
                    <a:lnTo>
                      <a:pt x="57" y="77"/>
                    </a:lnTo>
                    <a:lnTo>
                      <a:pt x="59" y="73"/>
                    </a:lnTo>
                    <a:lnTo>
                      <a:pt x="63" y="69"/>
                    </a:lnTo>
                    <a:lnTo>
                      <a:pt x="66" y="64"/>
                    </a:lnTo>
                    <a:lnTo>
                      <a:pt x="69" y="60"/>
                    </a:lnTo>
                    <a:lnTo>
                      <a:pt x="70" y="56"/>
                    </a:lnTo>
                    <a:lnTo>
                      <a:pt x="72" y="52"/>
                    </a:lnTo>
                    <a:lnTo>
                      <a:pt x="74" y="48"/>
                    </a:lnTo>
                    <a:lnTo>
                      <a:pt x="79" y="45"/>
                    </a:lnTo>
                    <a:lnTo>
                      <a:pt x="81" y="41"/>
                    </a:lnTo>
                    <a:lnTo>
                      <a:pt x="85" y="38"/>
                    </a:lnTo>
                    <a:lnTo>
                      <a:pt x="88" y="37"/>
                    </a:lnTo>
                    <a:lnTo>
                      <a:pt x="91" y="36"/>
                    </a:lnTo>
                    <a:lnTo>
                      <a:pt x="91" y="27"/>
                    </a:lnTo>
                    <a:lnTo>
                      <a:pt x="91" y="20"/>
                    </a:lnTo>
                    <a:lnTo>
                      <a:pt x="91" y="15"/>
                    </a:lnTo>
                    <a:lnTo>
                      <a:pt x="92" y="9"/>
                    </a:lnTo>
                    <a:lnTo>
                      <a:pt x="94" y="5"/>
                    </a:lnTo>
                    <a:lnTo>
                      <a:pt x="95" y="3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1"/>
                    </a:lnTo>
                    <a:lnTo>
                      <a:pt x="99" y="3"/>
                    </a:lnTo>
                    <a:lnTo>
                      <a:pt x="102" y="4"/>
                    </a:lnTo>
                    <a:lnTo>
                      <a:pt x="105" y="5"/>
                    </a:lnTo>
                    <a:lnTo>
                      <a:pt x="109" y="7"/>
                    </a:lnTo>
                    <a:lnTo>
                      <a:pt x="113" y="8"/>
                    </a:lnTo>
                    <a:lnTo>
                      <a:pt x="117" y="9"/>
                    </a:lnTo>
                    <a:lnTo>
                      <a:pt x="118" y="9"/>
                    </a:lnTo>
                    <a:lnTo>
                      <a:pt x="123" y="11"/>
                    </a:lnTo>
                    <a:lnTo>
                      <a:pt x="128" y="12"/>
                    </a:lnTo>
                    <a:lnTo>
                      <a:pt x="135" y="14"/>
                    </a:lnTo>
                    <a:lnTo>
                      <a:pt x="143" y="15"/>
                    </a:lnTo>
                    <a:lnTo>
                      <a:pt x="150" y="15"/>
                    </a:lnTo>
                    <a:lnTo>
                      <a:pt x="156" y="15"/>
                    </a:lnTo>
                    <a:lnTo>
                      <a:pt x="160" y="14"/>
                    </a:lnTo>
                    <a:lnTo>
                      <a:pt x="161" y="15"/>
                    </a:lnTo>
                    <a:lnTo>
                      <a:pt x="164" y="15"/>
                    </a:lnTo>
                    <a:lnTo>
                      <a:pt x="165" y="16"/>
                    </a:lnTo>
                    <a:lnTo>
                      <a:pt x="168" y="18"/>
                    </a:lnTo>
                    <a:lnTo>
                      <a:pt x="171" y="20"/>
                    </a:lnTo>
                    <a:lnTo>
                      <a:pt x="172" y="23"/>
                    </a:lnTo>
                    <a:lnTo>
                      <a:pt x="173" y="27"/>
                    </a:lnTo>
                    <a:lnTo>
                      <a:pt x="175" y="31"/>
                    </a:lnTo>
                    <a:lnTo>
                      <a:pt x="175" y="36"/>
                    </a:lnTo>
                    <a:lnTo>
                      <a:pt x="175" y="38"/>
                    </a:lnTo>
                    <a:lnTo>
                      <a:pt x="175" y="42"/>
                    </a:lnTo>
                    <a:lnTo>
                      <a:pt x="175" y="47"/>
                    </a:lnTo>
                    <a:lnTo>
                      <a:pt x="175" y="49"/>
                    </a:lnTo>
                    <a:lnTo>
                      <a:pt x="176" y="52"/>
                    </a:lnTo>
                    <a:lnTo>
                      <a:pt x="178" y="55"/>
                    </a:lnTo>
                    <a:lnTo>
                      <a:pt x="187" y="64"/>
                    </a:lnTo>
                    <a:lnTo>
                      <a:pt x="186" y="64"/>
                    </a:lnTo>
                    <a:lnTo>
                      <a:pt x="183" y="64"/>
                    </a:lnTo>
                    <a:lnTo>
                      <a:pt x="179" y="64"/>
                    </a:lnTo>
                    <a:lnTo>
                      <a:pt x="173" y="64"/>
                    </a:lnTo>
                    <a:lnTo>
                      <a:pt x="169" y="64"/>
                    </a:lnTo>
                    <a:lnTo>
                      <a:pt x="165" y="67"/>
                    </a:lnTo>
                    <a:lnTo>
                      <a:pt x="162" y="70"/>
                    </a:lnTo>
                    <a:lnTo>
                      <a:pt x="161" y="74"/>
                    </a:lnTo>
                    <a:lnTo>
                      <a:pt x="160" y="88"/>
                    </a:lnTo>
                    <a:lnTo>
                      <a:pt x="98" y="108"/>
                    </a:lnTo>
                    <a:lnTo>
                      <a:pt x="80" y="115"/>
                    </a:lnTo>
                    <a:lnTo>
                      <a:pt x="70" y="124"/>
                    </a:lnTo>
                    <a:lnTo>
                      <a:pt x="58" y="130"/>
                    </a:lnTo>
                    <a:lnTo>
                      <a:pt x="62" y="150"/>
                    </a:lnTo>
                    <a:lnTo>
                      <a:pt x="0" y="1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8" name="Freeform 971"/>
              <p:cNvSpPr>
                <a:spLocks/>
              </p:cNvSpPr>
              <p:nvPr/>
            </p:nvSpPr>
            <p:spPr bwMode="auto">
              <a:xfrm>
                <a:off x="2833" y="2315"/>
                <a:ext cx="63" cy="132"/>
              </a:xfrm>
              <a:custGeom>
                <a:avLst/>
                <a:gdLst>
                  <a:gd name="T0" fmla="*/ 11 w 63"/>
                  <a:gd name="T1" fmla="*/ 14 h 132"/>
                  <a:gd name="T2" fmla="*/ 8 w 63"/>
                  <a:gd name="T3" fmla="*/ 18 h 132"/>
                  <a:gd name="T4" fmla="*/ 6 w 63"/>
                  <a:gd name="T5" fmla="*/ 25 h 132"/>
                  <a:gd name="T6" fmla="*/ 6 w 63"/>
                  <a:gd name="T7" fmla="*/ 34 h 132"/>
                  <a:gd name="T8" fmla="*/ 5 w 63"/>
                  <a:gd name="T9" fmla="*/ 41 h 132"/>
                  <a:gd name="T10" fmla="*/ 1 w 63"/>
                  <a:gd name="T11" fmla="*/ 45 h 132"/>
                  <a:gd name="T12" fmla="*/ 0 w 63"/>
                  <a:gd name="T13" fmla="*/ 48 h 132"/>
                  <a:gd name="T14" fmla="*/ 0 w 63"/>
                  <a:gd name="T15" fmla="*/ 52 h 132"/>
                  <a:gd name="T16" fmla="*/ 1 w 63"/>
                  <a:gd name="T17" fmla="*/ 56 h 132"/>
                  <a:gd name="T18" fmla="*/ 2 w 63"/>
                  <a:gd name="T19" fmla="*/ 59 h 132"/>
                  <a:gd name="T20" fmla="*/ 4 w 63"/>
                  <a:gd name="T21" fmla="*/ 62 h 132"/>
                  <a:gd name="T22" fmla="*/ 4 w 63"/>
                  <a:gd name="T23" fmla="*/ 65 h 132"/>
                  <a:gd name="T24" fmla="*/ 5 w 63"/>
                  <a:gd name="T25" fmla="*/ 70 h 132"/>
                  <a:gd name="T26" fmla="*/ 8 w 63"/>
                  <a:gd name="T27" fmla="*/ 76 h 132"/>
                  <a:gd name="T28" fmla="*/ 9 w 63"/>
                  <a:gd name="T29" fmla="*/ 76 h 132"/>
                  <a:gd name="T30" fmla="*/ 12 w 63"/>
                  <a:gd name="T31" fmla="*/ 77 h 132"/>
                  <a:gd name="T32" fmla="*/ 13 w 63"/>
                  <a:gd name="T33" fmla="*/ 83 h 132"/>
                  <a:gd name="T34" fmla="*/ 17 w 63"/>
                  <a:gd name="T35" fmla="*/ 105 h 132"/>
                  <a:gd name="T36" fmla="*/ 24 w 63"/>
                  <a:gd name="T37" fmla="*/ 128 h 132"/>
                  <a:gd name="T38" fmla="*/ 31 w 63"/>
                  <a:gd name="T39" fmla="*/ 129 h 132"/>
                  <a:gd name="T40" fmla="*/ 42 w 63"/>
                  <a:gd name="T41" fmla="*/ 120 h 132"/>
                  <a:gd name="T42" fmla="*/ 48 w 63"/>
                  <a:gd name="T43" fmla="*/ 109 h 132"/>
                  <a:gd name="T44" fmla="*/ 46 w 63"/>
                  <a:gd name="T45" fmla="*/ 106 h 132"/>
                  <a:gd name="T46" fmla="*/ 46 w 63"/>
                  <a:gd name="T47" fmla="*/ 99 h 132"/>
                  <a:gd name="T48" fmla="*/ 53 w 63"/>
                  <a:gd name="T49" fmla="*/ 96 h 132"/>
                  <a:gd name="T50" fmla="*/ 57 w 63"/>
                  <a:gd name="T51" fmla="*/ 87 h 132"/>
                  <a:gd name="T52" fmla="*/ 55 w 63"/>
                  <a:gd name="T53" fmla="*/ 74 h 132"/>
                  <a:gd name="T54" fmla="*/ 52 w 63"/>
                  <a:gd name="T55" fmla="*/ 70 h 132"/>
                  <a:gd name="T56" fmla="*/ 50 w 63"/>
                  <a:gd name="T57" fmla="*/ 66 h 132"/>
                  <a:gd name="T58" fmla="*/ 53 w 63"/>
                  <a:gd name="T59" fmla="*/ 59 h 132"/>
                  <a:gd name="T60" fmla="*/ 55 w 63"/>
                  <a:gd name="T61" fmla="*/ 58 h 132"/>
                  <a:gd name="T62" fmla="*/ 59 w 63"/>
                  <a:gd name="T63" fmla="*/ 55 h 132"/>
                  <a:gd name="T64" fmla="*/ 60 w 63"/>
                  <a:gd name="T65" fmla="*/ 54 h 132"/>
                  <a:gd name="T66" fmla="*/ 61 w 63"/>
                  <a:gd name="T67" fmla="*/ 51 h 132"/>
                  <a:gd name="T68" fmla="*/ 60 w 63"/>
                  <a:gd name="T69" fmla="*/ 48 h 132"/>
                  <a:gd name="T70" fmla="*/ 57 w 63"/>
                  <a:gd name="T71" fmla="*/ 47 h 132"/>
                  <a:gd name="T72" fmla="*/ 55 w 63"/>
                  <a:gd name="T73" fmla="*/ 41 h 132"/>
                  <a:gd name="T74" fmla="*/ 55 w 63"/>
                  <a:gd name="T75" fmla="*/ 32 h 132"/>
                  <a:gd name="T76" fmla="*/ 56 w 63"/>
                  <a:gd name="T77" fmla="*/ 29 h 132"/>
                  <a:gd name="T78" fmla="*/ 59 w 63"/>
                  <a:gd name="T79" fmla="*/ 25 h 132"/>
                  <a:gd name="T80" fmla="*/ 59 w 63"/>
                  <a:gd name="T81" fmla="*/ 14 h 132"/>
                  <a:gd name="T82" fmla="*/ 38 w 63"/>
                  <a:gd name="T83" fmla="*/ 0 h 132"/>
                  <a:gd name="T84" fmla="*/ 33 w 63"/>
                  <a:gd name="T85" fmla="*/ 0 h 132"/>
                  <a:gd name="T86" fmla="*/ 22 w 63"/>
                  <a:gd name="T87" fmla="*/ 3 h 132"/>
                  <a:gd name="T88" fmla="*/ 20 w 63"/>
                  <a:gd name="T89" fmla="*/ 6 h 132"/>
                  <a:gd name="T90" fmla="*/ 15 w 63"/>
                  <a:gd name="T91" fmla="*/ 1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3" h="132">
                    <a:moveTo>
                      <a:pt x="12" y="14"/>
                    </a:moveTo>
                    <a:lnTo>
                      <a:pt x="12" y="14"/>
                    </a:lnTo>
                    <a:lnTo>
                      <a:pt x="11" y="14"/>
                    </a:lnTo>
                    <a:lnTo>
                      <a:pt x="11" y="15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8" y="21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6" y="33"/>
                    </a:lnTo>
                    <a:lnTo>
                      <a:pt x="6" y="33"/>
                    </a:lnTo>
                    <a:lnTo>
                      <a:pt x="6" y="34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5" y="41"/>
                    </a:lnTo>
                    <a:lnTo>
                      <a:pt x="4" y="44"/>
                    </a:lnTo>
                    <a:lnTo>
                      <a:pt x="2" y="45"/>
                    </a:lnTo>
                    <a:lnTo>
                      <a:pt x="1" y="45"/>
                    </a:lnTo>
                    <a:lnTo>
                      <a:pt x="1" y="45"/>
                    </a:lnTo>
                    <a:lnTo>
                      <a:pt x="1" y="47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1"/>
                    </a:lnTo>
                    <a:lnTo>
                      <a:pt x="0" y="52"/>
                    </a:lnTo>
                    <a:lnTo>
                      <a:pt x="1" y="55"/>
                    </a:lnTo>
                    <a:lnTo>
                      <a:pt x="1" y="56"/>
                    </a:lnTo>
                    <a:lnTo>
                      <a:pt x="1" y="56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9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6" y="73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9" y="76"/>
                    </a:lnTo>
                    <a:lnTo>
                      <a:pt x="9" y="76"/>
                    </a:lnTo>
                    <a:lnTo>
                      <a:pt x="11" y="76"/>
                    </a:lnTo>
                    <a:lnTo>
                      <a:pt x="11" y="76"/>
                    </a:lnTo>
                    <a:lnTo>
                      <a:pt x="12" y="77"/>
                    </a:lnTo>
                    <a:lnTo>
                      <a:pt x="13" y="78"/>
                    </a:lnTo>
                    <a:lnTo>
                      <a:pt x="13" y="81"/>
                    </a:lnTo>
                    <a:lnTo>
                      <a:pt x="13" y="83"/>
                    </a:lnTo>
                    <a:lnTo>
                      <a:pt x="15" y="88"/>
                    </a:lnTo>
                    <a:lnTo>
                      <a:pt x="16" y="96"/>
                    </a:lnTo>
                    <a:lnTo>
                      <a:pt x="17" y="105"/>
                    </a:lnTo>
                    <a:lnTo>
                      <a:pt x="19" y="113"/>
                    </a:lnTo>
                    <a:lnTo>
                      <a:pt x="22" y="121"/>
                    </a:lnTo>
                    <a:lnTo>
                      <a:pt x="24" y="128"/>
                    </a:lnTo>
                    <a:lnTo>
                      <a:pt x="27" y="132"/>
                    </a:lnTo>
                    <a:lnTo>
                      <a:pt x="28" y="131"/>
                    </a:lnTo>
                    <a:lnTo>
                      <a:pt x="31" y="129"/>
                    </a:lnTo>
                    <a:lnTo>
                      <a:pt x="34" y="127"/>
                    </a:lnTo>
                    <a:lnTo>
                      <a:pt x="38" y="122"/>
                    </a:lnTo>
                    <a:lnTo>
                      <a:pt x="42" y="120"/>
                    </a:lnTo>
                    <a:lnTo>
                      <a:pt x="45" y="116"/>
                    </a:lnTo>
                    <a:lnTo>
                      <a:pt x="48" y="111"/>
                    </a:lnTo>
                    <a:lnTo>
                      <a:pt x="48" y="109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6" y="106"/>
                    </a:lnTo>
                    <a:lnTo>
                      <a:pt x="46" y="103"/>
                    </a:lnTo>
                    <a:lnTo>
                      <a:pt x="46" y="102"/>
                    </a:lnTo>
                    <a:lnTo>
                      <a:pt x="46" y="99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3" y="96"/>
                    </a:lnTo>
                    <a:lnTo>
                      <a:pt x="56" y="94"/>
                    </a:lnTo>
                    <a:lnTo>
                      <a:pt x="57" y="91"/>
                    </a:lnTo>
                    <a:lnTo>
                      <a:pt x="57" y="87"/>
                    </a:lnTo>
                    <a:lnTo>
                      <a:pt x="57" y="83"/>
                    </a:lnTo>
                    <a:lnTo>
                      <a:pt x="56" y="78"/>
                    </a:lnTo>
                    <a:lnTo>
                      <a:pt x="55" y="74"/>
                    </a:lnTo>
                    <a:lnTo>
                      <a:pt x="53" y="72"/>
                    </a:lnTo>
                    <a:lnTo>
                      <a:pt x="53" y="72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0" y="67"/>
                    </a:lnTo>
                    <a:lnTo>
                      <a:pt x="50" y="66"/>
                    </a:lnTo>
                    <a:lnTo>
                      <a:pt x="50" y="63"/>
                    </a:lnTo>
                    <a:lnTo>
                      <a:pt x="52" y="62"/>
                    </a:lnTo>
                    <a:lnTo>
                      <a:pt x="53" y="59"/>
                    </a:lnTo>
                    <a:lnTo>
                      <a:pt x="53" y="59"/>
                    </a:lnTo>
                    <a:lnTo>
                      <a:pt x="55" y="58"/>
                    </a:lnTo>
                    <a:lnTo>
                      <a:pt x="55" y="58"/>
                    </a:lnTo>
                    <a:lnTo>
                      <a:pt x="56" y="56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2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1" y="50"/>
                    </a:lnTo>
                    <a:lnTo>
                      <a:pt x="61" y="48"/>
                    </a:lnTo>
                    <a:lnTo>
                      <a:pt x="60" y="48"/>
                    </a:lnTo>
                    <a:lnTo>
                      <a:pt x="59" y="47"/>
                    </a:lnTo>
                    <a:lnTo>
                      <a:pt x="59" y="47"/>
                    </a:lnTo>
                    <a:lnTo>
                      <a:pt x="57" y="47"/>
                    </a:lnTo>
                    <a:lnTo>
                      <a:pt x="56" y="45"/>
                    </a:lnTo>
                    <a:lnTo>
                      <a:pt x="56" y="44"/>
                    </a:lnTo>
                    <a:lnTo>
                      <a:pt x="55" y="41"/>
                    </a:lnTo>
                    <a:lnTo>
                      <a:pt x="53" y="39"/>
                    </a:lnTo>
                    <a:lnTo>
                      <a:pt x="53" y="36"/>
                    </a:lnTo>
                    <a:lnTo>
                      <a:pt x="55" y="32"/>
                    </a:lnTo>
                    <a:lnTo>
                      <a:pt x="55" y="32"/>
                    </a:lnTo>
                    <a:lnTo>
                      <a:pt x="55" y="30"/>
                    </a:lnTo>
                    <a:lnTo>
                      <a:pt x="56" y="29"/>
                    </a:lnTo>
                    <a:lnTo>
                      <a:pt x="57" y="28"/>
                    </a:lnTo>
                    <a:lnTo>
                      <a:pt x="57" y="26"/>
                    </a:lnTo>
                    <a:lnTo>
                      <a:pt x="59" y="25"/>
                    </a:lnTo>
                    <a:lnTo>
                      <a:pt x="61" y="23"/>
                    </a:lnTo>
                    <a:lnTo>
                      <a:pt x="63" y="22"/>
                    </a:lnTo>
                    <a:lnTo>
                      <a:pt x="59" y="14"/>
                    </a:lnTo>
                    <a:lnTo>
                      <a:pt x="39" y="1"/>
                    </a:lnTo>
                    <a:lnTo>
                      <a:pt x="39" y="1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17" y="7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3" y="11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9" name="Freeform 972"/>
              <p:cNvSpPr>
                <a:spLocks/>
              </p:cNvSpPr>
              <p:nvPr/>
            </p:nvSpPr>
            <p:spPr bwMode="auto">
              <a:xfrm>
                <a:off x="2833" y="2315"/>
                <a:ext cx="63" cy="132"/>
              </a:xfrm>
              <a:custGeom>
                <a:avLst/>
                <a:gdLst>
                  <a:gd name="T0" fmla="*/ 11 w 63"/>
                  <a:gd name="T1" fmla="*/ 14 h 132"/>
                  <a:gd name="T2" fmla="*/ 9 w 63"/>
                  <a:gd name="T3" fmla="*/ 17 h 132"/>
                  <a:gd name="T4" fmla="*/ 8 w 63"/>
                  <a:gd name="T5" fmla="*/ 21 h 132"/>
                  <a:gd name="T6" fmla="*/ 6 w 63"/>
                  <a:gd name="T7" fmla="*/ 25 h 132"/>
                  <a:gd name="T8" fmla="*/ 6 w 63"/>
                  <a:gd name="T9" fmla="*/ 34 h 132"/>
                  <a:gd name="T10" fmla="*/ 5 w 63"/>
                  <a:gd name="T11" fmla="*/ 39 h 132"/>
                  <a:gd name="T12" fmla="*/ 4 w 63"/>
                  <a:gd name="T13" fmla="*/ 44 h 132"/>
                  <a:gd name="T14" fmla="*/ 1 w 63"/>
                  <a:gd name="T15" fmla="*/ 45 h 132"/>
                  <a:gd name="T16" fmla="*/ 0 w 63"/>
                  <a:gd name="T17" fmla="*/ 48 h 132"/>
                  <a:gd name="T18" fmla="*/ 0 w 63"/>
                  <a:gd name="T19" fmla="*/ 51 h 132"/>
                  <a:gd name="T20" fmla="*/ 1 w 63"/>
                  <a:gd name="T21" fmla="*/ 55 h 132"/>
                  <a:gd name="T22" fmla="*/ 2 w 63"/>
                  <a:gd name="T23" fmla="*/ 58 h 132"/>
                  <a:gd name="T24" fmla="*/ 4 w 63"/>
                  <a:gd name="T25" fmla="*/ 61 h 132"/>
                  <a:gd name="T26" fmla="*/ 4 w 63"/>
                  <a:gd name="T27" fmla="*/ 63 h 132"/>
                  <a:gd name="T28" fmla="*/ 4 w 63"/>
                  <a:gd name="T29" fmla="*/ 66 h 132"/>
                  <a:gd name="T30" fmla="*/ 5 w 63"/>
                  <a:gd name="T31" fmla="*/ 70 h 132"/>
                  <a:gd name="T32" fmla="*/ 6 w 63"/>
                  <a:gd name="T33" fmla="*/ 73 h 132"/>
                  <a:gd name="T34" fmla="*/ 9 w 63"/>
                  <a:gd name="T35" fmla="*/ 76 h 132"/>
                  <a:gd name="T36" fmla="*/ 12 w 63"/>
                  <a:gd name="T37" fmla="*/ 77 h 132"/>
                  <a:gd name="T38" fmla="*/ 13 w 63"/>
                  <a:gd name="T39" fmla="*/ 81 h 132"/>
                  <a:gd name="T40" fmla="*/ 15 w 63"/>
                  <a:gd name="T41" fmla="*/ 88 h 132"/>
                  <a:gd name="T42" fmla="*/ 17 w 63"/>
                  <a:gd name="T43" fmla="*/ 105 h 132"/>
                  <a:gd name="T44" fmla="*/ 22 w 63"/>
                  <a:gd name="T45" fmla="*/ 121 h 132"/>
                  <a:gd name="T46" fmla="*/ 27 w 63"/>
                  <a:gd name="T47" fmla="*/ 132 h 132"/>
                  <a:gd name="T48" fmla="*/ 31 w 63"/>
                  <a:gd name="T49" fmla="*/ 129 h 132"/>
                  <a:gd name="T50" fmla="*/ 38 w 63"/>
                  <a:gd name="T51" fmla="*/ 122 h 132"/>
                  <a:gd name="T52" fmla="*/ 45 w 63"/>
                  <a:gd name="T53" fmla="*/ 116 h 132"/>
                  <a:gd name="T54" fmla="*/ 48 w 63"/>
                  <a:gd name="T55" fmla="*/ 109 h 132"/>
                  <a:gd name="T56" fmla="*/ 46 w 63"/>
                  <a:gd name="T57" fmla="*/ 106 h 132"/>
                  <a:gd name="T58" fmla="*/ 46 w 63"/>
                  <a:gd name="T59" fmla="*/ 102 h 132"/>
                  <a:gd name="T60" fmla="*/ 48 w 63"/>
                  <a:gd name="T61" fmla="*/ 98 h 132"/>
                  <a:gd name="T62" fmla="*/ 53 w 63"/>
                  <a:gd name="T63" fmla="*/ 96 h 132"/>
                  <a:gd name="T64" fmla="*/ 57 w 63"/>
                  <a:gd name="T65" fmla="*/ 91 h 132"/>
                  <a:gd name="T66" fmla="*/ 57 w 63"/>
                  <a:gd name="T67" fmla="*/ 83 h 132"/>
                  <a:gd name="T68" fmla="*/ 55 w 63"/>
                  <a:gd name="T69" fmla="*/ 74 h 132"/>
                  <a:gd name="T70" fmla="*/ 52 w 63"/>
                  <a:gd name="T71" fmla="*/ 70 h 132"/>
                  <a:gd name="T72" fmla="*/ 50 w 63"/>
                  <a:gd name="T73" fmla="*/ 66 h 132"/>
                  <a:gd name="T74" fmla="*/ 52 w 63"/>
                  <a:gd name="T75" fmla="*/ 62 h 132"/>
                  <a:gd name="T76" fmla="*/ 55 w 63"/>
                  <a:gd name="T77" fmla="*/ 58 h 132"/>
                  <a:gd name="T78" fmla="*/ 57 w 63"/>
                  <a:gd name="T79" fmla="*/ 55 h 132"/>
                  <a:gd name="T80" fmla="*/ 59 w 63"/>
                  <a:gd name="T81" fmla="*/ 54 h 132"/>
                  <a:gd name="T82" fmla="*/ 60 w 63"/>
                  <a:gd name="T83" fmla="*/ 52 h 132"/>
                  <a:gd name="T84" fmla="*/ 61 w 63"/>
                  <a:gd name="T85" fmla="*/ 51 h 132"/>
                  <a:gd name="T86" fmla="*/ 61 w 63"/>
                  <a:gd name="T87" fmla="*/ 48 h 132"/>
                  <a:gd name="T88" fmla="*/ 59 w 63"/>
                  <a:gd name="T89" fmla="*/ 47 h 132"/>
                  <a:gd name="T90" fmla="*/ 56 w 63"/>
                  <a:gd name="T91" fmla="*/ 45 h 132"/>
                  <a:gd name="T92" fmla="*/ 55 w 63"/>
                  <a:gd name="T93" fmla="*/ 41 h 132"/>
                  <a:gd name="T94" fmla="*/ 53 w 63"/>
                  <a:gd name="T95" fmla="*/ 36 h 132"/>
                  <a:gd name="T96" fmla="*/ 55 w 63"/>
                  <a:gd name="T97" fmla="*/ 30 h 132"/>
                  <a:gd name="T98" fmla="*/ 57 w 63"/>
                  <a:gd name="T99" fmla="*/ 28 h 132"/>
                  <a:gd name="T100" fmla="*/ 59 w 63"/>
                  <a:gd name="T101" fmla="*/ 25 h 132"/>
                  <a:gd name="T102" fmla="*/ 63 w 63"/>
                  <a:gd name="T103" fmla="*/ 22 h 132"/>
                  <a:gd name="T104" fmla="*/ 39 w 63"/>
                  <a:gd name="T105" fmla="*/ 1 h 132"/>
                  <a:gd name="T106" fmla="*/ 37 w 63"/>
                  <a:gd name="T107" fmla="*/ 0 h 132"/>
                  <a:gd name="T108" fmla="*/ 33 w 63"/>
                  <a:gd name="T109" fmla="*/ 0 h 132"/>
                  <a:gd name="T110" fmla="*/ 26 w 63"/>
                  <a:gd name="T111" fmla="*/ 1 h 132"/>
                  <a:gd name="T112" fmla="*/ 20 w 63"/>
                  <a:gd name="T113" fmla="*/ 4 h 132"/>
                  <a:gd name="T114" fmla="*/ 17 w 63"/>
                  <a:gd name="T115" fmla="*/ 7 h 132"/>
                  <a:gd name="T116" fmla="*/ 15 w 63"/>
                  <a:gd name="T117" fmla="*/ 10 h 132"/>
                  <a:gd name="T118" fmla="*/ 12 w 63"/>
                  <a:gd name="T119" fmla="*/ 14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3" h="132">
                    <a:moveTo>
                      <a:pt x="12" y="14"/>
                    </a:moveTo>
                    <a:lnTo>
                      <a:pt x="11" y="14"/>
                    </a:lnTo>
                    <a:lnTo>
                      <a:pt x="11" y="15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8" y="21"/>
                    </a:lnTo>
                    <a:lnTo>
                      <a:pt x="6" y="22"/>
                    </a:lnTo>
                    <a:lnTo>
                      <a:pt x="6" y="25"/>
                    </a:lnTo>
                    <a:lnTo>
                      <a:pt x="6" y="33"/>
                    </a:lnTo>
                    <a:lnTo>
                      <a:pt x="6" y="34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5" y="41"/>
                    </a:lnTo>
                    <a:lnTo>
                      <a:pt x="4" y="44"/>
                    </a:lnTo>
                    <a:lnTo>
                      <a:pt x="2" y="45"/>
                    </a:lnTo>
                    <a:lnTo>
                      <a:pt x="1" y="45"/>
                    </a:lnTo>
                    <a:lnTo>
                      <a:pt x="1" y="47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0" y="51"/>
                    </a:lnTo>
                    <a:lnTo>
                      <a:pt x="0" y="52"/>
                    </a:lnTo>
                    <a:lnTo>
                      <a:pt x="1" y="55"/>
                    </a:lnTo>
                    <a:lnTo>
                      <a:pt x="1" y="56"/>
                    </a:lnTo>
                    <a:lnTo>
                      <a:pt x="2" y="58"/>
                    </a:lnTo>
                    <a:lnTo>
                      <a:pt x="2" y="59"/>
                    </a:lnTo>
                    <a:lnTo>
                      <a:pt x="4" y="61"/>
                    </a:lnTo>
                    <a:lnTo>
                      <a:pt x="4" y="62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6" y="73"/>
                    </a:lnTo>
                    <a:lnTo>
                      <a:pt x="8" y="76"/>
                    </a:lnTo>
                    <a:lnTo>
                      <a:pt x="9" y="76"/>
                    </a:lnTo>
                    <a:lnTo>
                      <a:pt x="11" y="76"/>
                    </a:lnTo>
                    <a:lnTo>
                      <a:pt x="12" y="77"/>
                    </a:lnTo>
                    <a:lnTo>
                      <a:pt x="13" y="78"/>
                    </a:lnTo>
                    <a:lnTo>
                      <a:pt x="13" y="81"/>
                    </a:lnTo>
                    <a:lnTo>
                      <a:pt x="13" y="83"/>
                    </a:lnTo>
                    <a:lnTo>
                      <a:pt x="15" y="88"/>
                    </a:lnTo>
                    <a:lnTo>
                      <a:pt x="16" y="96"/>
                    </a:lnTo>
                    <a:lnTo>
                      <a:pt x="17" y="105"/>
                    </a:lnTo>
                    <a:lnTo>
                      <a:pt x="19" y="113"/>
                    </a:lnTo>
                    <a:lnTo>
                      <a:pt x="22" y="121"/>
                    </a:lnTo>
                    <a:lnTo>
                      <a:pt x="24" y="128"/>
                    </a:lnTo>
                    <a:lnTo>
                      <a:pt x="27" y="132"/>
                    </a:lnTo>
                    <a:lnTo>
                      <a:pt x="28" y="131"/>
                    </a:lnTo>
                    <a:lnTo>
                      <a:pt x="31" y="129"/>
                    </a:lnTo>
                    <a:lnTo>
                      <a:pt x="34" y="127"/>
                    </a:lnTo>
                    <a:lnTo>
                      <a:pt x="38" y="122"/>
                    </a:lnTo>
                    <a:lnTo>
                      <a:pt x="42" y="120"/>
                    </a:lnTo>
                    <a:lnTo>
                      <a:pt x="45" y="116"/>
                    </a:lnTo>
                    <a:lnTo>
                      <a:pt x="48" y="111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6" y="106"/>
                    </a:lnTo>
                    <a:lnTo>
                      <a:pt x="46" y="103"/>
                    </a:lnTo>
                    <a:lnTo>
                      <a:pt x="46" y="102"/>
                    </a:lnTo>
                    <a:lnTo>
                      <a:pt x="46" y="99"/>
                    </a:lnTo>
                    <a:lnTo>
                      <a:pt x="48" y="98"/>
                    </a:lnTo>
                    <a:lnTo>
                      <a:pt x="50" y="98"/>
                    </a:lnTo>
                    <a:lnTo>
                      <a:pt x="53" y="96"/>
                    </a:lnTo>
                    <a:lnTo>
                      <a:pt x="56" y="94"/>
                    </a:lnTo>
                    <a:lnTo>
                      <a:pt x="57" y="91"/>
                    </a:lnTo>
                    <a:lnTo>
                      <a:pt x="57" y="87"/>
                    </a:lnTo>
                    <a:lnTo>
                      <a:pt x="57" y="83"/>
                    </a:lnTo>
                    <a:lnTo>
                      <a:pt x="56" y="78"/>
                    </a:lnTo>
                    <a:lnTo>
                      <a:pt x="55" y="74"/>
                    </a:lnTo>
                    <a:lnTo>
                      <a:pt x="53" y="72"/>
                    </a:lnTo>
                    <a:lnTo>
                      <a:pt x="52" y="70"/>
                    </a:lnTo>
                    <a:lnTo>
                      <a:pt x="50" y="67"/>
                    </a:lnTo>
                    <a:lnTo>
                      <a:pt x="50" y="66"/>
                    </a:lnTo>
                    <a:lnTo>
                      <a:pt x="50" y="63"/>
                    </a:lnTo>
                    <a:lnTo>
                      <a:pt x="52" y="62"/>
                    </a:lnTo>
                    <a:lnTo>
                      <a:pt x="53" y="59"/>
                    </a:lnTo>
                    <a:lnTo>
                      <a:pt x="55" y="58"/>
                    </a:lnTo>
                    <a:lnTo>
                      <a:pt x="56" y="56"/>
                    </a:lnTo>
                    <a:lnTo>
                      <a:pt x="57" y="55"/>
                    </a:lnTo>
                    <a:lnTo>
                      <a:pt x="59" y="55"/>
                    </a:lnTo>
                    <a:lnTo>
                      <a:pt x="59" y="54"/>
                    </a:lnTo>
                    <a:lnTo>
                      <a:pt x="60" y="54"/>
                    </a:lnTo>
                    <a:lnTo>
                      <a:pt x="60" y="52"/>
                    </a:lnTo>
                    <a:lnTo>
                      <a:pt x="60" y="51"/>
                    </a:lnTo>
                    <a:lnTo>
                      <a:pt x="61" y="51"/>
                    </a:lnTo>
                    <a:lnTo>
                      <a:pt x="61" y="50"/>
                    </a:lnTo>
                    <a:lnTo>
                      <a:pt x="61" y="48"/>
                    </a:lnTo>
                    <a:lnTo>
                      <a:pt x="60" y="48"/>
                    </a:lnTo>
                    <a:lnTo>
                      <a:pt x="59" y="47"/>
                    </a:lnTo>
                    <a:lnTo>
                      <a:pt x="57" y="47"/>
                    </a:lnTo>
                    <a:lnTo>
                      <a:pt x="56" y="45"/>
                    </a:lnTo>
                    <a:lnTo>
                      <a:pt x="56" y="44"/>
                    </a:lnTo>
                    <a:lnTo>
                      <a:pt x="55" y="41"/>
                    </a:lnTo>
                    <a:lnTo>
                      <a:pt x="53" y="39"/>
                    </a:lnTo>
                    <a:lnTo>
                      <a:pt x="53" y="36"/>
                    </a:lnTo>
                    <a:lnTo>
                      <a:pt x="55" y="32"/>
                    </a:lnTo>
                    <a:lnTo>
                      <a:pt x="55" y="30"/>
                    </a:lnTo>
                    <a:lnTo>
                      <a:pt x="56" y="29"/>
                    </a:lnTo>
                    <a:lnTo>
                      <a:pt x="57" y="28"/>
                    </a:lnTo>
                    <a:lnTo>
                      <a:pt x="57" y="26"/>
                    </a:lnTo>
                    <a:lnTo>
                      <a:pt x="59" y="25"/>
                    </a:lnTo>
                    <a:lnTo>
                      <a:pt x="61" y="23"/>
                    </a:lnTo>
                    <a:lnTo>
                      <a:pt x="63" y="22"/>
                    </a:lnTo>
                    <a:lnTo>
                      <a:pt x="59" y="14"/>
                    </a:lnTo>
                    <a:lnTo>
                      <a:pt x="39" y="1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0"/>
                    </a:lnTo>
                    <a:lnTo>
                      <a:pt x="26" y="1"/>
                    </a:lnTo>
                    <a:lnTo>
                      <a:pt x="22" y="3"/>
                    </a:lnTo>
                    <a:lnTo>
                      <a:pt x="20" y="4"/>
                    </a:lnTo>
                    <a:lnTo>
                      <a:pt x="20" y="6"/>
                    </a:lnTo>
                    <a:lnTo>
                      <a:pt x="17" y="7"/>
                    </a:lnTo>
                    <a:lnTo>
                      <a:pt x="16" y="8"/>
                    </a:lnTo>
                    <a:lnTo>
                      <a:pt x="15" y="10"/>
                    </a:lnTo>
                    <a:lnTo>
                      <a:pt x="13" y="11"/>
                    </a:lnTo>
                    <a:lnTo>
                      <a:pt x="12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0" name="Freeform 973"/>
              <p:cNvSpPr>
                <a:spLocks/>
              </p:cNvSpPr>
              <p:nvPr/>
            </p:nvSpPr>
            <p:spPr bwMode="auto">
              <a:xfrm>
                <a:off x="2860" y="2388"/>
                <a:ext cx="246" cy="240"/>
              </a:xfrm>
              <a:custGeom>
                <a:avLst/>
                <a:gdLst>
                  <a:gd name="T0" fmla="*/ 234 w 246"/>
                  <a:gd name="T1" fmla="*/ 37 h 240"/>
                  <a:gd name="T2" fmla="*/ 219 w 246"/>
                  <a:gd name="T3" fmla="*/ 30 h 240"/>
                  <a:gd name="T4" fmla="*/ 206 w 246"/>
                  <a:gd name="T5" fmla="*/ 26 h 240"/>
                  <a:gd name="T6" fmla="*/ 201 w 246"/>
                  <a:gd name="T7" fmla="*/ 26 h 240"/>
                  <a:gd name="T8" fmla="*/ 186 w 246"/>
                  <a:gd name="T9" fmla="*/ 27 h 240"/>
                  <a:gd name="T10" fmla="*/ 169 w 246"/>
                  <a:gd name="T11" fmla="*/ 32 h 240"/>
                  <a:gd name="T12" fmla="*/ 162 w 246"/>
                  <a:gd name="T13" fmla="*/ 41 h 240"/>
                  <a:gd name="T14" fmla="*/ 165 w 246"/>
                  <a:gd name="T15" fmla="*/ 52 h 240"/>
                  <a:gd name="T16" fmla="*/ 167 w 246"/>
                  <a:gd name="T17" fmla="*/ 58 h 240"/>
                  <a:gd name="T18" fmla="*/ 162 w 246"/>
                  <a:gd name="T19" fmla="*/ 65 h 240"/>
                  <a:gd name="T20" fmla="*/ 144 w 246"/>
                  <a:gd name="T21" fmla="*/ 67 h 240"/>
                  <a:gd name="T22" fmla="*/ 127 w 246"/>
                  <a:gd name="T23" fmla="*/ 60 h 240"/>
                  <a:gd name="T24" fmla="*/ 114 w 246"/>
                  <a:gd name="T25" fmla="*/ 54 h 240"/>
                  <a:gd name="T26" fmla="*/ 105 w 246"/>
                  <a:gd name="T27" fmla="*/ 44 h 240"/>
                  <a:gd name="T28" fmla="*/ 100 w 246"/>
                  <a:gd name="T29" fmla="*/ 32 h 240"/>
                  <a:gd name="T30" fmla="*/ 96 w 246"/>
                  <a:gd name="T31" fmla="*/ 23 h 240"/>
                  <a:gd name="T32" fmla="*/ 94 w 246"/>
                  <a:gd name="T33" fmla="*/ 19 h 240"/>
                  <a:gd name="T34" fmla="*/ 67 w 246"/>
                  <a:gd name="T35" fmla="*/ 12 h 240"/>
                  <a:gd name="T36" fmla="*/ 55 w 246"/>
                  <a:gd name="T37" fmla="*/ 7 h 240"/>
                  <a:gd name="T38" fmla="*/ 45 w 246"/>
                  <a:gd name="T39" fmla="*/ 4 h 240"/>
                  <a:gd name="T40" fmla="*/ 28 w 246"/>
                  <a:gd name="T41" fmla="*/ 1 h 240"/>
                  <a:gd name="T42" fmla="*/ 30 w 246"/>
                  <a:gd name="T43" fmla="*/ 10 h 240"/>
                  <a:gd name="T44" fmla="*/ 30 w 246"/>
                  <a:gd name="T45" fmla="*/ 19 h 240"/>
                  <a:gd name="T46" fmla="*/ 29 w 246"/>
                  <a:gd name="T47" fmla="*/ 21 h 240"/>
                  <a:gd name="T48" fmla="*/ 28 w 246"/>
                  <a:gd name="T49" fmla="*/ 22 h 240"/>
                  <a:gd name="T50" fmla="*/ 23 w 246"/>
                  <a:gd name="T51" fmla="*/ 25 h 240"/>
                  <a:gd name="T52" fmla="*/ 21 w 246"/>
                  <a:gd name="T53" fmla="*/ 25 h 240"/>
                  <a:gd name="T54" fmla="*/ 19 w 246"/>
                  <a:gd name="T55" fmla="*/ 26 h 240"/>
                  <a:gd name="T56" fmla="*/ 21 w 246"/>
                  <a:gd name="T57" fmla="*/ 36 h 240"/>
                  <a:gd name="T58" fmla="*/ 21 w 246"/>
                  <a:gd name="T59" fmla="*/ 36 h 240"/>
                  <a:gd name="T60" fmla="*/ 21 w 246"/>
                  <a:gd name="T61" fmla="*/ 40 h 240"/>
                  <a:gd name="T62" fmla="*/ 15 w 246"/>
                  <a:gd name="T63" fmla="*/ 45 h 240"/>
                  <a:gd name="T64" fmla="*/ 7 w 246"/>
                  <a:gd name="T65" fmla="*/ 54 h 240"/>
                  <a:gd name="T66" fmla="*/ 1 w 246"/>
                  <a:gd name="T67" fmla="*/ 59 h 240"/>
                  <a:gd name="T68" fmla="*/ 0 w 246"/>
                  <a:gd name="T69" fmla="*/ 59 h 240"/>
                  <a:gd name="T70" fmla="*/ 1 w 246"/>
                  <a:gd name="T71" fmla="*/ 60 h 240"/>
                  <a:gd name="T72" fmla="*/ 3 w 246"/>
                  <a:gd name="T73" fmla="*/ 63 h 240"/>
                  <a:gd name="T74" fmla="*/ 4 w 246"/>
                  <a:gd name="T75" fmla="*/ 76 h 240"/>
                  <a:gd name="T76" fmla="*/ 7 w 246"/>
                  <a:gd name="T77" fmla="*/ 92 h 240"/>
                  <a:gd name="T78" fmla="*/ 7 w 246"/>
                  <a:gd name="T79" fmla="*/ 96 h 240"/>
                  <a:gd name="T80" fmla="*/ 10 w 246"/>
                  <a:gd name="T81" fmla="*/ 98 h 240"/>
                  <a:gd name="T82" fmla="*/ 12 w 246"/>
                  <a:gd name="T83" fmla="*/ 103 h 240"/>
                  <a:gd name="T84" fmla="*/ 15 w 246"/>
                  <a:gd name="T85" fmla="*/ 111 h 240"/>
                  <a:gd name="T86" fmla="*/ 15 w 246"/>
                  <a:gd name="T87" fmla="*/ 121 h 240"/>
                  <a:gd name="T88" fmla="*/ 12 w 246"/>
                  <a:gd name="T89" fmla="*/ 128 h 240"/>
                  <a:gd name="T90" fmla="*/ 14 w 246"/>
                  <a:gd name="T91" fmla="*/ 130 h 240"/>
                  <a:gd name="T92" fmla="*/ 17 w 246"/>
                  <a:gd name="T93" fmla="*/ 137 h 240"/>
                  <a:gd name="T94" fmla="*/ 33 w 246"/>
                  <a:gd name="T95" fmla="*/ 169 h 240"/>
                  <a:gd name="T96" fmla="*/ 36 w 246"/>
                  <a:gd name="T97" fmla="*/ 168 h 240"/>
                  <a:gd name="T98" fmla="*/ 41 w 246"/>
                  <a:gd name="T99" fmla="*/ 169 h 240"/>
                  <a:gd name="T100" fmla="*/ 47 w 246"/>
                  <a:gd name="T101" fmla="*/ 173 h 240"/>
                  <a:gd name="T102" fmla="*/ 51 w 246"/>
                  <a:gd name="T103" fmla="*/ 179 h 240"/>
                  <a:gd name="T104" fmla="*/ 56 w 246"/>
                  <a:gd name="T105" fmla="*/ 185 h 240"/>
                  <a:gd name="T106" fmla="*/ 220 w 246"/>
                  <a:gd name="T107" fmla="*/ 240 h 240"/>
                  <a:gd name="T108" fmla="*/ 246 w 246"/>
                  <a:gd name="T109" fmla="*/ 4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6" h="240">
                    <a:moveTo>
                      <a:pt x="246" y="41"/>
                    </a:moveTo>
                    <a:lnTo>
                      <a:pt x="237" y="40"/>
                    </a:lnTo>
                    <a:lnTo>
                      <a:pt x="234" y="37"/>
                    </a:lnTo>
                    <a:lnTo>
                      <a:pt x="230" y="36"/>
                    </a:lnTo>
                    <a:lnTo>
                      <a:pt x="224" y="33"/>
                    </a:lnTo>
                    <a:lnTo>
                      <a:pt x="219" y="30"/>
                    </a:lnTo>
                    <a:lnTo>
                      <a:pt x="213" y="29"/>
                    </a:lnTo>
                    <a:lnTo>
                      <a:pt x="209" y="27"/>
                    </a:lnTo>
                    <a:lnTo>
                      <a:pt x="206" y="26"/>
                    </a:lnTo>
                    <a:lnTo>
                      <a:pt x="205" y="26"/>
                    </a:lnTo>
                    <a:lnTo>
                      <a:pt x="204" y="26"/>
                    </a:lnTo>
                    <a:lnTo>
                      <a:pt x="201" y="26"/>
                    </a:lnTo>
                    <a:lnTo>
                      <a:pt x="197" y="26"/>
                    </a:lnTo>
                    <a:lnTo>
                      <a:pt x="191" y="27"/>
                    </a:lnTo>
                    <a:lnTo>
                      <a:pt x="186" y="27"/>
                    </a:lnTo>
                    <a:lnTo>
                      <a:pt x="180" y="29"/>
                    </a:lnTo>
                    <a:lnTo>
                      <a:pt x="175" y="30"/>
                    </a:lnTo>
                    <a:lnTo>
                      <a:pt x="169" y="32"/>
                    </a:lnTo>
                    <a:lnTo>
                      <a:pt x="165" y="34"/>
                    </a:lnTo>
                    <a:lnTo>
                      <a:pt x="164" y="37"/>
                    </a:lnTo>
                    <a:lnTo>
                      <a:pt x="162" y="41"/>
                    </a:lnTo>
                    <a:lnTo>
                      <a:pt x="164" y="45"/>
                    </a:lnTo>
                    <a:lnTo>
                      <a:pt x="164" y="48"/>
                    </a:lnTo>
                    <a:lnTo>
                      <a:pt x="165" y="52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7" y="58"/>
                    </a:lnTo>
                    <a:lnTo>
                      <a:pt x="167" y="60"/>
                    </a:lnTo>
                    <a:lnTo>
                      <a:pt x="165" y="63"/>
                    </a:lnTo>
                    <a:lnTo>
                      <a:pt x="162" y="65"/>
                    </a:lnTo>
                    <a:lnTo>
                      <a:pt x="158" y="67"/>
                    </a:lnTo>
                    <a:lnTo>
                      <a:pt x="151" y="67"/>
                    </a:lnTo>
                    <a:lnTo>
                      <a:pt x="144" y="67"/>
                    </a:lnTo>
                    <a:lnTo>
                      <a:pt x="138" y="66"/>
                    </a:lnTo>
                    <a:lnTo>
                      <a:pt x="132" y="63"/>
                    </a:lnTo>
                    <a:lnTo>
                      <a:pt x="127" y="60"/>
                    </a:lnTo>
                    <a:lnTo>
                      <a:pt x="122" y="59"/>
                    </a:lnTo>
                    <a:lnTo>
                      <a:pt x="118" y="56"/>
                    </a:lnTo>
                    <a:lnTo>
                      <a:pt x="114" y="54"/>
                    </a:lnTo>
                    <a:lnTo>
                      <a:pt x="110" y="51"/>
                    </a:lnTo>
                    <a:lnTo>
                      <a:pt x="107" y="47"/>
                    </a:lnTo>
                    <a:lnTo>
                      <a:pt x="105" y="44"/>
                    </a:lnTo>
                    <a:lnTo>
                      <a:pt x="102" y="40"/>
                    </a:lnTo>
                    <a:lnTo>
                      <a:pt x="102" y="36"/>
                    </a:lnTo>
                    <a:lnTo>
                      <a:pt x="100" y="32"/>
                    </a:lnTo>
                    <a:lnTo>
                      <a:pt x="99" y="29"/>
                    </a:lnTo>
                    <a:lnTo>
                      <a:pt x="98" y="26"/>
                    </a:lnTo>
                    <a:lnTo>
                      <a:pt x="96" y="23"/>
                    </a:lnTo>
                    <a:lnTo>
                      <a:pt x="95" y="22"/>
                    </a:lnTo>
                    <a:lnTo>
                      <a:pt x="94" y="19"/>
                    </a:lnTo>
                    <a:lnTo>
                      <a:pt x="94" y="19"/>
                    </a:lnTo>
                    <a:lnTo>
                      <a:pt x="94" y="19"/>
                    </a:lnTo>
                    <a:lnTo>
                      <a:pt x="70" y="15"/>
                    </a:lnTo>
                    <a:lnTo>
                      <a:pt x="67" y="12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1" y="5"/>
                    </a:lnTo>
                    <a:lnTo>
                      <a:pt x="48" y="4"/>
                    </a:lnTo>
                    <a:lnTo>
                      <a:pt x="45" y="4"/>
                    </a:lnTo>
                    <a:lnTo>
                      <a:pt x="44" y="4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9" y="3"/>
                    </a:lnTo>
                    <a:lnTo>
                      <a:pt x="29" y="5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19" y="26"/>
                    </a:lnTo>
                    <a:lnTo>
                      <a:pt x="19" y="26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1" y="37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19" y="41"/>
                    </a:lnTo>
                    <a:lnTo>
                      <a:pt x="17" y="44"/>
                    </a:lnTo>
                    <a:lnTo>
                      <a:pt x="15" y="45"/>
                    </a:lnTo>
                    <a:lnTo>
                      <a:pt x="12" y="48"/>
                    </a:lnTo>
                    <a:lnTo>
                      <a:pt x="10" y="51"/>
                    </a:lnTo>
                    <a:lnTo>
                      <a:pt x="7" y="54"/>
                    </a:lnTo>
                    <a:lnTo>
                      <a:pt x="4" y="56"/>
                    </a:lnTo>
                    <a:lnTo>
                      <a:pt x="3" y="58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1" y="59"/>
                    </a:lnTo>
                    <a:lnTo>
                      <a:pt x="1" y="59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3" y="63"/>
                    </a:lnTo>
                    <a:lnTo>
                      <a:pt x="3" y="66"/>
                    </a:lnTo>
                    <a:lnTo>
                      <a:pt x="4" y="70"/>
                    </a:lnTo>
                    <a:lnTo>
                      <a:pt x="4" y="76"/>
                    </a:lnTo>
                    <a:lnTo>
                      <a:pt x="6" y="81"/>
                    </a:lnTo>
                    <a:lnTo>
                      <a:pt x="6" y="87"/>
                    </a:lnTo>
                    <a:lnTo>
                      <a:pt x="7" y="92"/>
                    </a:lnTo>
                    <a:lnTo>
                      <a:pt x="7" y="95"/>
                    </a:lnTo>
                    <a:lnTo>
                      <a:pt x="7" y="96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2" y="103"/>
                    </a:lnTo>
                    <a:lnTo>
                      <a:pt x="14" y="104"/>
                    </a:lnTo>
                    <a:lnTo>
                      <a:pt x="14" y="107"/>
                    </a:lnTo>
                    <a:lnTo>
                      <a:pt x="15" y="111"/>
                    </a:lnTo>
                    <a:lnTo>
                      <a:pt x="15" y="114"/>
                    </a:lnTo>
                    <a:lnTo>
                      <a:pt x="15" y="118"/>
                    </a:lnTo>
                    <a:lnTo>
                      <a:pt x="15" y="121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2" y="128"/>
                    </a:lnTo>
                    <a:lnTo>
                      <a:pt x="12" y="128"/>
                    </a:lnTo>
                    <a:lnTo>
                      <a:pt x="12" y="129"/>
                    </a:lnTo>
                    <a:lnTo>
                      <a:pt x="14" y="130"/>
                    </a:lnTo>
                    <a:lnTo>
                      <a:pt x="15" y="132"/>
                    </a:lnTo>
                    <a:lnTo>
                      <a:pt x="15" y="135"/>
                    </a:lnTo>
                    <a:lnTo>
                      <a:pt x="17" y="137"/>
                    </a:lnTo>
                    <a:lnTo>
                      <a:pt x="18" y="140"/>
                    </a:lnTo>
                    <a:lnTo>
                      <a:pt x="18" y="144"/>
                    </a:lnTo>
                    <a:lnTo>
                      <a:pt x="33" y="169"/>
                    </a:lnTo>
                    <a:lnTo>
                      <a:pt x="33" y="169"/>
                    </a:lnTo>
                    <a:lnTo>
                      <a:pt x="34" y="168"/>
                    </a:lnTo>
                    <a:lnTo>
                      <a:pt x="36" y="168"/>
                    </a:lnTo>
                    <a:lnTo>
                      <a:pt x="37" y="168"/>
                    </a:lnTo>
                    <a:lnTo>
                      <a:pt x="40" y="169"/>
                    </a:lnTo>
                    <a:lnTo>
                      <a:pt x="41" y="169"/>
                    </a:lnTo>
                    <a:lnTo>
                      <a:pt x="44" y="170"/>
                    </a:lnTo>
                    <a:lnTo>
                      <a:pt x="47" y="173"/>
                    </a:lnTo>
                    <a:lnTo>
                      <a:pt x="47" y="173"/>
                    </a:lnTo>
                    <a:lnTo>
                      <a:pt x="48" y="174"/>
                    </a:lnTo>
                    <a:lnTo>
                      <a:pt x="50" y="176"/>
                    </a:lnTo>
                    <a:lnTo>
                      <a:pt x="51" y="179"/>
                    </a:lnTo>
                    <a:lnTo>
                      <a:pt x="54" y="180"/>
                    </a:lnTo>
                    <a:lnTo>
                      <a:pt x="55" y="183"/>
                    </a:lnTo>
                    <a:lnTo>
                      <a:pt x="56" y="185"/>
                    </a:lnTo>
                    <a:lnTo>
                      <a:pt x="56" y="187"/>
                    </a:lnTo>
                    <a:lnTo>
                      <a:pt x="91" y="185"/>
                    </a:lnTo>
                    <a:lnTo>
                      <a:pt x="220" y="240"/>
                    </a:lnTo>
                    <a:lnTo>
                      <a:pt x="220" y="220"/>
                    </a:lnTo>
                    <a:lnTo>
                      <a:pt x="245" y="220"/>
                    </a:lnTo>
                    <a:lnTo>
                      <a:pt x="246" y="4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1" name="Freeform 974"/>
              <p:cNvSpPr>
                <a:spLocks/>
              </p:cNvSpPr>
              <p:nvPr/>
            </p:nvSpPr>
            <p:spPr bwMode="auto">
              <a:xfrm>
                <a:off x="2860" y="2388"/>
                <a:ext cx="246" cy="240"/>
              </a:xfrm>
              <a:custGeom>
                <a:avLst/>
                <a:gdLst>
                  <a:gd name="T0" fmla="*/ 234 w 246"/>
                  <a:gd name="T1" fmla="*/ 37 h 240"/>
                  <a:gd name="T2" fmla="*/ 219 w 246"/>
                  <a:gd name="T3" fmla="*/ 30 h 240"/>
                  <a:gd name="T4" fmla="*/ 206 w 246"/>
                  <a:gd name="T5" fmla="*/ 26 h 240"/>
                  <a:gd name="T6" fmla="*/ 201 w 246"/>
                  <a:gd name="T7" fmla="*/ 26 h 240"/>
                  <a:gd name="T8" fmla="*/ 186 w 246"/>
                  <a:gd name="T9" fmla="*/ 27 h 240"/>
                  <a:gd name="T10" fmla="*/ 169 w 246"/>
                  <a:gd name="T11" fmla="*/ 32 h 240"/>
                  <a:gd name="T12" fmla="*/ 162 w 246"/>
                  <a:gd name="T13" fmla="*/ 41 h 240"/>
                  <a:gd name="T14" fmla="*/ 165 w 246"/>
                  <a:gd name="T15" fmla="*/ 52 h 240"/>
                  <a:gd name="T16" fmla="*/ 167 w 246"/>
                  <a:gd name="T17" fmla="*/ 58 h 240"/>
                  <a:gd name="T18" fmla="*/ 162 w 246"/>
                  <a:gd name="T19" fmla="*/ 65 h 240"/>
                  <a:gd name="T20" fmla="*/ 144 w 246"/>
                  <a:gd name="T21" fmla="*/ 67 h 240"/>
                  <a:gd name="T22" fmla="*/ 127 w 246"/>
                  <a:gd name="T23" fmla="*/ 60 h 240"/>
                  <a:gd name="T24" fmla="*/ 114 w 246"/>
                  <a:gd name="T25" fmla="*/ 54 h 240"/>
                  <a:gd name="T26" fmla="*/ 105 w 246"/>
                  <a:gd name="T27" fmla="*/ 44 h 240"/>
                  <a:gd name="T28" fmla="*/ 100 w 246"/>
                  <a:gd name="T29" fmla="*/ 32 h 240"/>
                  <a:gd name="T30" fmla="*/ 96 w 246"/>
                  <a:gd name="T31" fmla="*/ 23 h 240"/>
                  <a:gd name="T32" fmla="*/ 70 w 246"/>
                  <a:gd name="T33" fmla="*/ 15 h 240"/>
                  <a:gd name="T34" fmla="*/ 59 w 246"/>
                  <a:gd name="T35" fmla="*/ 8 h 240"/>
                  <a:gd name="T36" fmla="*/ 48 w 246"/>
                  <a:gd name="T37" fmla="*/ 4 h 240"/>
                  <a:gd name="T38" fmla="*/ 28 w 246"/>
                  <a:gd name="T39" fmla="*/ 0 h 240"/>
                  <a:gd name="T40" fmla="*/ 29 w 246"/>
                  <a:gd name="T41" fmla="*/ 5 h 240"/>
                  <a:gd name="T42" fmla="*/ 30 w 246"/>
                  <a:gd name="T43" fmla="*/ 16 h 240"/>
                  <a:gd name="T44" fmla="*/ 28 w 246"/>
                  <a:gd name="T45" fmla="*/ 22 h 240"/>
                  <a:gd name="T46" fmla="*/ 23 w 246"/>
                  <a:gd name="T47" fmla="*/ 25 h 240"/>
                  <a:gd name="T48" fmla="*/ 19 w 246"/>
                  <a:gd name="T49" fmla="*/ 26 h 240"/>
                  <a:gd name="T50" fmla="*/ 21 w 246"/>
                  <a:gd name="T51" fmla="*/ 36 h 240"/>
                  <a:gd name="T52" fmla="*/ 21 w 246"/>
                  <a:gd name="T53" fmla="*/ 40 h 240"/>
                  <a:gd name="T54" fmla="*/ 15 w 246"/>
                  <a:gd name="T55" fmla="*/ 45 h 240"/>
                  <a:gd name="T56" fmla="*/ 7 w 246"/>
                  <a:gd name="T57" fmla="*/ 54 h 240"/>
                  <a:gd name="T58" fmla="*/ 1 w 246"/>
                  <a:gd name="T59" fmla="*/ 59 h 240"/>
                  <a:gd name="T60" fmla="*/ 1 w 246"/>
                  <a:gd name="T61" fmla="*/ 60 h 240"/>
                  <a:gd name="T62" fmla="*/ 3 w 246"/>
                  <a:gd name="T63" fmla="*/ 66 h 240"/>
                  <a:gd name="T64" fmla="*/ 6 w 246"/>
                  <a:gd name="T65" fmla="*/ 81 h 240"/>
                  <a:gd name="T66" fmla="*/ 7 w 246"/>
                  <a:gd name="T67" fmla="*/ 95 h 240"/>
                  <a:gd name="T68" fmla="*/ 8 w 246"/>
                  <a:gd name="T69" fmla="*/ 98 h 240"/>
                  <a:gd name="T70" fmla="*/ 11 w 246"/>
                  <a:gd name="T71" fmla="*/ 100 h 240"/>
                  <a:gd name="T72" fmla="*/ 14 w 246"/>
                  <a:gd name="T73" fmla="*/ 107 h 240"/>
                  <a:gd name="T74" fmla="*/ 15 w 246"/>
                  <a:gd name="T75" fmla="*/ 118 h 240"/>
                  <a:gd name="T76" fmla="*/ 14 w 246"/>
                  <a:gd name="T77" fmla="*/ 126 h 240"/>
                  <a:gd name="T78" fmla="*/ 14 w 246"/>
                  <a:gd name="T79" fmla="*/ 130 h 240"/>
                  <a:gd name="T80" fmla="*/ 17 w 246"/>
                  <a:gd name="T81" fmla="*/ 137 h 240"/>
                  <a:gd name="T82" fmla="*/ 33 w 246"/>
                  <a:gd name="T83" fmla="*/ 169 h 240"/>
                  <a:gd name="T84" fmla="*/ 37 w 246"/>
                  <a:gd name="T85" fmla="*/ 168 h 240"/>
                  <a:gd name="T86" fmla="*/ 44 w 246"/>
                  <a:gd name="T87" fmla="*/ 170 h 240"/>
                  <a:gd name="T88" fmla="*/ 50 w 246"/>
                  <a:gd name="T89" fmla="*/ 176 h 240"/>
                  <a:gd name="T90" fmla="*/ 55 w 246"/>
                  <a:gd name="T91" fmla="*/ 183 h 240"/>
                  <a:gd name="T92" fmla="*/ 91 w 246"/>
                  <a:gd name="T93" fmla="*/ 185 h 240"/>
                  <a:gd name="T94" fmla="*/ 245 w 246"/>
                  <a:gd name="T95" fmla="*/ 22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46" h="240">
                    <a:moveTo>
                      <a:pt x="246" y="41"/>
                    </a:moveTo>
                    <a:lnTo>
                      <a:pt x="237" y="40"/>
                    </a:lnTo>
                    <a:lnTo>
                      <a:pt x="234" y="37"/>
                    </a:lnTo>
                    <a:lnTo>
                      <a:pt x="230" y="36"/>
                    </a:lnTo>
                    <a:lnTo>
                      <a:pt x="224" y="33"/>
                    </a:lnTo>
                    <a:lnTo>
                      <a:pt x="219" y="30"/>
                    </a:lnTo>
                    <a:lnTo>
                      <a:pt x="213" y="29"/>
                    </a:lnTo>
                    <a:lnTo>
                      <a:pt x="209" y="27"/>
                    </a:lnTo>
                    <a:lnTo>
                      <a:pt x="206" y="26"/>
                    </a:lnTo>
                    <a:lnTo>
                      <a:pt x="205" y="26"/>
                    </a:lnTo>
                    <a:lnTo>
                      <a:pt x="204" y="26"/>
                    </a:lnTo>
                    <a:lnTo>
                      <a:pt x="201" y="26"/>
                    </a:lnTo>
                    <a:lnTo>
                      <a:pt x="197" y="26"/>
                    </a:lnTo>
                    <a:lnTo>
                      <a:pt x="191" y="27"/>
                    </a:lnTo>
                    <a:lnTo>
                      <a:pt x="186" y="27"/>
                    </a:lnTo>
                    <a:lnTo>
                      <a:pt x="180" y="29"/>
                    </a:lnTo>
                    <a:lnTo>
                      <a:pt x="175" y="30"/>
                    </a:lnTo>
                    <a:lnTo>
                      <a:pt x="169" y="32"/>
                    </a:lnTo>
                    <a:lnTo>
                      <a:pt x="165" y="34"/>
                    </a:lnTo>
                    <a:lnTo>
                      <a:pt x="164" y="37"/>
                    </a:lnTo>
                    <a:lnTo>
                      <a:pt x="162" y="41"/>
                    </a:lnTo>
                    <a:lnTo>
                      <a:pt x="164" y="45"/>
                    </a:lnTo>
                    <a:lnTo>
                      <a:pt x="164" y="48"/>
                    </a:lnTo>
                    <a:lnTo>
                      <a:pt x="165" y="52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7" y="58"/>
                    </a:lnTo>
                    <a:lnTo>
                      <a:pt x="167" y="60"/>
                    </a:lnTo>
                    <a:lnTo>
                      <a:pt x="165" y="63"/>
                    </a:lnTo>
                    <a:lnTo>
                      <a:pt x="162" y="65"/>
                    </a:lnTo>
                    <a:lnTo>
                      <a:pt x="158" y="67"/>
                    </a:lnTo>
                    <a:lnTo>
                      <a:pt x="151" y="67"/>
                    </a:lnTo>
                    <a:lnTo>
                      <a:pt x="144" y="67"/>
                    </a:lnTo>
                    <a:lnTo>
                      <a:pt x="138" y="66"/>
                    </a:lnTo>
                    <a:lnTo>
                      <a:pt x="132" y="63"/>
                    </a:lnTo>
                    <a:lnTo>
                      <a:pt x="127" y="60"/>
                    </a:lnTo>
                    <a:lnTo>
                      <a:pt x="122" y="59"/>
                    </a:lnTo>
                    <a:lnTo>
                      <a:pt x="118" y="56"/>
                    </a:lnTo>
                    <a:lnTo>
                      <a:pt x="114" y="54"/>
                    </a:lnTo>
                    <a:lnTo>
                      <a:pt x="110" y="51"/>
                    </a:lnTo>
                    <a:lnTo>
                      <a:pt x="107" y="47"/>
                    </a:lnTo>
                    <a:lnTo>
                      <a:pt x="105" y="44"/>
                    </a:lnTo>
                    <a:lnTo>
                      <a:pt x="102" y="40"/>
                    </a:lnTo>
                    <a:lnTo>
                      <a:pt x="102" y="36"/>
                    </a:lnTo>
                    <a:lnTo>
                      <a:pt x="100" y="32"/>
                    </a:lnTo>
                    <a:lnTo>
                      <a:pt x="99" y="29"/>
                    </a:lnTo>
                    <a:lnTo>
                      <a:pt x="98" y="26"/>
                    </a:lnTo>
                    <a:lnTo>
                      <a:pt x="96" y="23"/>
                    </a:lnTo>
                    <a:lnTo>
                      <a:pt x="95" y="22"/>
                    </a:lnTo>
                    <a:lnTo>
                      <a:pt x="94" y="19"/>
                    </a:lnTo>
                    <a:lnTo>
                      <a:pt x="70" y="15"/>
                    </a:lnTo>
                    <a:lnTo>
                      <a:pt x="67" y="12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1" y="5"/>
                    </a:lnTo>
                    <a:lnTo>
                      <a:pt x="48" y="4"/>
                    </a:lnTo>
                    <a:lnTo>
                      <a:pt x="45" y="4"/>
                    </a:lnTo>
                    <a:lnTo>
                      <a:pt x="44" y="4"/>
                    </a:lnTo>
                    <a:lnTo>
                      <a:pt x="28" y="0"/>
                    </a:lnTo>
                    <a:lnTo>
                      <a:pt x="28" y="1"/>
                    </a:lnTo>
                    <a:lnTo>
                      <a:pt x="29" y="3"/>
                    </a:lnTo>
                    <a:lnTo>
                      <a:pt x="29" y="5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9"/>
                    </a:lnTo>
                    <a:lnTo>
                      <a:pt x="29" y="21"/>
                    </a:lnTo>
                    <a:lnTo>
                      <a:pt x="28" y="22"/>
                    </a:lnTo>
                    <a:lnTo>
                      <a:pt x="26" y="23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2" y="25"/>
                    </a:lnTo>
                    <a:lnTo>
                      <a:pt x="21" y="25"/>
                    </a:lnTo>
                    <a:lnTo>
                      <a:pt x="19" y="26"/>
                    </a:lnTo>
                    <a:lnTo>
                      <a:pt x="19" y="27"/>
                    </a:lnTo>
                    <a:lnTo>
                      <a:pt x="19" y="30"/>
                    </a:lnTo>
                    <a:lnTo>
                      <a:pt x="21" y="36"/>
                    </a:lnTo>
                    <a:lnTo>
                      <a:pt x="21" y="37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19" y="41"/>
                    </a:lnTo>
                    <a:lnTo>
                      <a:pt x="17" y="44"/>
                    </a:lnTo>
                    <a:lnTo>
                      <a:pt x="15" y="45"/>
                    </a:lnTo>
                    <a:lnTo>
                      <a:pt x="12" y="48"/>
                    </a:lnTo>
                    <a:lnTo>
                      <a:pt x="10" y="51"/>
                    </a:lnTo>
                    <a:lnTo>
                      <a:pt x="7" y="54"/>
                    </a:lnTo>
                    <a:lnTo>
                      <a:pt x="4" y="56"/>
                    </a:lnTo>
                    <a:lnTo>
                      <a:pt x="3" y="58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1" y="59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3" y="63"/>
                    </a:lnTo>
                    <a:lnTo>
                      <a:pt x="3" y="66"/>
                    </a:lnTo>
                    <a:lnTo>
                      <a:pt x="4" y="70"/>
                    </a:lnTo>
                    <a:lnTo>
                      <a:pt x="4" y="76"/>
                    </a:lnTo>
                    <a:lnTo>
                      <a:pt x="6" y="81"/>
                    </a:lnTo>
                    <a:lnTo>
                      <a:pt x="6" y="87"/>
                    </a:lnTo>
                    <a:lnTo>
                      <a:pt x="7" y="92"/>
                    </a:lnTo>
                    <a:lnTo>
                      <a:pt x="7" y="95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1" y="99"/>
                    </a:lnTo>
                    <a:lnTo>
                      <a:pt x="11" y="100"/>
                    </a:lnTo>
                    <a:lnTo>
                      <a:pt x="12" y="103"/>
                    </a:lnTo>
                    <a:lnTo>
                      <a:pt x="14" y="104"/>
                    </a:lnTo>
                    <a:lnTo>
                      <a:pt x="14" y="107"/>
                    </a:lnTo>
                    <a:lnTo>
                      <a:pt x="15" y="111"/>
                    </a:lnTo>
                    <a:lnTo>
                      <a:pt x="15" y="114"/>
                    </a:lnTo>
                    <a:lnTo>
                      <a:pt x="15" y="118"/>
                    </a:lnTo>
                    <a:lnTo>
                      <a:pt x="15" y="121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2" y="128"/>
                    </a:lnTo>
                    <a:lnTo>
                      <a:pt x="12" y="129"/>
                    </a:lnTo>
                    <a:lnTo>
                      <a:pt x="14" y="130"/>
                    </a:lnTo>
                    <a:lnTo>
                      <a:pt x="15" y="132"/>
                    </a:lnTo>
                    <a:lnTo>
                      <a:pt x="15" y="135"/>
                    </a:lnTo>
                    <a:lnTo>
                      <a:pt x="17" y="137"/>
                    </a:lnTo>
                    <a:lnTo>
                      <a:pt x="18" y="140"/>
                    </a:lnTo>
                    <a:lnTo>
                      <a:pt x="18" y="144"/>
                    </a:lnTo>
                    <a:lnTo>
                      <a:pt x="33" y="169"/>
                    </a:lnTo>
                    <a:lnTo>
                      <a:pt x="34" y="168"/>
                    </a:lnTo>
                    <a:lnTo>
                      <a:pt x="36" y="168"/>
                    </a:lnTo>
                    <a:lnTo>
                      <a:pt x="37" y="168"/>
                    </a:lnTo>
                    <a:lnTo>
                      <a:pt x="40" y="169"/>
                    </a:lnTo>
                    <a:lnTo>
                      <a:pt x="41" y="169"/>
                    </a:lnTo>
                    <a:lnTo>
                      <a:pt x="44" y="170"/>
                    </a:lnTo>
                    <a:lnTo>
                      <a:pt x="47" y="173"/>
                    </a:lnTo>
                    <a:lnTo>
                      <a:pt x="48" y="174"/>
                    </a:lnTo>
                    <a:lnTo>
                      <a:pt x="50" y="176"/>
                    </a:lnTo>
                    <a:lnTo>
                      <a:pt x="51" y="179"/>
                    </a:lnTo>
                    <a:lnTo>
                      <a:pt x="54" y="180"/>
                    </a:lnTo>
                    <a:lnTo>
                      <a:pt x="55" y="183"/>
                    </a:lnTo>
                    <a:lnTo>
                      <a:pt x="56" y="185"/>
                    </a:lnTo>
                    <a:lnTo>
                      <a:pt x="56" y="187"/>
                    </a:lnTo>
                    <a:lnTo>
                      <a:pt x="91" y="185"/>
                    </a:lnTo>
                    <a:lnTo>
                      <a:pt x="220" y="240"/>
                    </a:lnTo>
                    <a:lnTo>
                      <a:pt x="220" y="220"/>
                    </a:lnTo>
                    <a:lnTo>
                      <a:pt x="245" y="220"/>
                    </a:lnTo>
                    <a:lnTo>
                      <a:pt x="246" y="4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2" name="Freeform 975"/>
              <p:cNvSpPr>
                <a:spLocks/>
              </p:cNvSpPr>
              <p:nvPr/>
            </p:nvSpPr>
            <p:spPr bwMode="auto">
              <a:xfrm>
                <a:off x="2756" y="2722"/>
                <a:ext cx="173" cy="144"/>
              </a:xfrm>
              <a:custGeom>
                <a:avLst/>
                <a:gdLst>
                  <a:gd name="T0" fmla="*/ 169 w 173"/>
                  <a:gd name="T1" fmla="*/ 0 h 144"/>
                  <a:gd name="T2" fmla="*/ 158 w 173"/>
                  <a:gd name="T3" fmla="*/ 3 h 144"/>
                  <a:gd name="T4" fmla="*/ 148 w 173"/>
                  <a:gd name="T5" fmla="*/ 7 h 144"/>
                  <a:gd name="T6" fmla="*/ 143 w 173"/>
                  <a:gd name="T7" fmla="*/ 10 h 144"/>
                  <a:gd name="T8" fmla="*/ 136 w 173"/>
                  <a:gd name="T9" fmla="*/ 5 h 144"/>
                  <a:gd name="T10" fmla="*/ 121 w 173"/>
                  <a:gd name="T11" fmla="*/ 4 h 144"/>
                  <a:gd name="T12" fmla="*/ 108 w 173"/>
                  <a:gd name="T13" fmla="*/ 7 h 144"/>
                  <a:gd name="T14" fmla="*/ 101 w 173"/>
                  <a:gd name="T15" fmla="*/ 11 h 144"/>
                  <a:gd name="T16" fmla="*/ 94 w 173"/>
                  <a:gd name="T17" fmla="*/ 10 h 144"/>
                  <a:gd name="T18" fmla="*/ 85 w 173"/>
                  <a:gd name="T19" fmla="*/ 11 h 144"/>
                  <a:gd name="T20" fmla="*/ 78 w 173"/>
                  <a:gd name="T21" fmla="*/ 15 h 144"/>
                  <a:gd name="T22" fmla="*/ 74 w 173"/>
                  <a:gd name="T23" fmla="*/ 21 h 144"/>
                  <a:gd name="T24" fmla="*/ 70 w 173"/>
                  <a:gd name="T25" fmla="*/ 18 h 144"/>
                  <a:gd name="T26" fmla="*/ 63 w 173"/>
                  <a:gd name="T27" fmla="*/ 14 h 144"/>
                  <a:gd name="T28" fmla="*/ 55 w 173"/>
                  <a:gd name="T29" fmla="*/ 11 h 144"/>
                  <a:gd name="T30" fmla="*/ 49 w 173"/>
                  <a:gd name="T31" fmla="*/ 10 h 144"/>
                  <a:gd name="T32" fmla="*/ 48 w 173"/>
                  <a:gd name="T33" fmla="*/ 10 h 144"/>
                  <a:gd name="T34" fmla="*/ 46 w 173"/>
                  <a:gd name="T35" fmla="*/ 8 h 144"/>
                  <a:gd name="T36" fmla="*/ 44 w 173"/>
                  <a:gd name="T37" fmla="*/ 8 h 144"/>
                  <a:gd name="T38" fmla="*/ 38 w 173"/>
                  <a:gd name="T39" fmla="*/ 7 h 144"/>
                  <a:gd name="T40" fmla="*/ 26 w 173"/>
                  <a:gd name="T41" fmla="*/ 8 h 144"/>
                  <a:gd name="T42" fmla="*/ 13 w 173"/>
                  <a:gd name="T43" fmla="*/ 14 h 144"/>
                  <a:gd name="T44" fmla="*/ 6 w 173"/>
                  <a:gd name="T45" fmla="*/ 19 h 144"/>
                  <a:gd name="T46" fmla="*/ 2 w 173"/>
                  <a:gd name="T47" fmla="*/ 25 h 144"/>
                  <a:gd name="T48" fmla="*/ 2 w 173"/>
                  <a:gd name="T49" fmla="*/ 26 h 144"/>
                  <a:gd name="T50" fmla="*/ 5 w 173"/>
                  <a:gd name="T51" fmla="*/ 30 h 144"/>
                  <a:gd name="T52" fmla="*/ 6 w 173"/>
                  <a:gd name="T53" fmla="*/ 38 h 144"/>
                  <a:gd name="T54" fmla="*/ 8 w 173"/>
                  <a:gd name="T55" fmla="*/ 49 h 144"/>
                  <a:gd name="T56" fmla="*/ 6 w 173"/>
                  <a:gd name="T57" fmla="*/ 56 h 144"/>
                  <a:gd name="T58" fmla="*/ 4 w 173"/>
                  <a:gd name="T59" fmla="*/ 60 h 144"/>
                  <a:gd name="T60" fmla="*/ 2 w 173"/>
                  <a:gd name="T61" fmla="*/ 69 h 144"/>
                  <a:gd name="T62" fmla="*/ 0 w 173"/>
                  <a:gd name="T63" fmla="*/ 78 h 144"/>
                  <a:gd name="T64" fmla="*/ 0 w 173"/>
                  <a:gd name="T65" fmla="*/ 118 h 144"/>
                  <a:gd name="T66" fmla="*/ 17 w 173"/>
                  <a:gd name="T67" fmla="*/ 118 h 144"/>
                  <a:gd name="T68" fmla="*/ 23 w 173"/>
                  <a:gd name="T69" fmla="*/ 124 h 144"/>
                  <a:gd name="T70" fmla="*/ 33 w 173"/>
                  <a:gd name="T71" fmla="*/ 130 h 144"/>
                  <a:gd name="T72" fmla="*/ 48 w 173"/>
                  <a:gd name="T73" fmla="*/ 139 h 144"/>
                  <a:gd name="T74" fmla="*/ 57 w 173"/>
                  <a:gd name="T75" fmla="*/ 141 h 144"/>
                  <a:gd name="T76" fmla="*/ 67 w 173"/>
                  <a:gd name="T77" fmla="*/ 143 h 144"/>
                  <a:gd name="T78" fmla="*/ 82 w 173"/>
                  <a:gd name="T79" fmla="*/ 144 h 144"/>
                  <a:gd name="T80" fmla="*/ 96 w 173"/>
                  <a:gd name="T81" fmla="*/ 144 h 144"/>
                  <a:gd name="T82" fmla="*/ 111 w 173"/>
                  <a:gd name="T83" fmla="*/ 122 h 144"/>
                  <a:gd name="T84" fmla="*/ 112 w 173"/>
                  <a:gd name="T85" fmla="*/ 103 h 144"/>
                  <a:gd name="T86" fmla="*/ 118 w 173"/>
                  <a:gd name="T87" fmla="*/ 95 h 144"/>
                  <a:gd name="T88" fmla="*/ 127 w 173"/>
                  <a:gd name="T89" fmla="*/ 87 h 144"/>
                  <a:gd name="T90" fmla="*/ 136 w 173"/>
                  <a:gd name="T91" fmla="*/ 82 h 144"/>
                  <a:gd name="T92" fmla="*/ 143 w 173"/>
                  <a:gd name="T93" fmla="*/ 84 h 144"/>
                  <a:gd name="T94" fmla="*/ 145 w 173"/>
                  <a:gd name="T95" fmla="*/ 87 h 144"/>
                  <a:gd name="T96" fmla="*/ 149 w 173"/>
                  <a:gd name="T97" fmla="*/ 87 h 144"/>
                  <a:gd name="T98" fmla="*/ 156 w 173"/>
                  <a:gd name="T99" fmla="*/ 82 h 144"/>
                  <a:gd name="T100" fmla="*/ 165 w 173"/>
                  <a:gd name="T101" fmla="*/ 69 h 144"/>
                  <a:gd name="T102" fmla="*/ 169 w 173"/>
                  <a:gd name="T103" fmla="*/ 56 h 144"/>
                  <a:gd name="T104" fmla="*/ 170 w 173"/>
                  <a:gd name="T105" fmla="*/ 51 h 144"/>
                  <a:gd name="T106" fmla="*/ 171 w 173"/>
                  <a:gd name="T107" fmla="*/ 44 h 144"/>
                  <a:gd name="T108" fmla="*/ 171 w 173"/>
                  <a:gd name="T109" fmla="*/ 34 h 144"/>
                  <a:gd name="T110" fmla="*/ 171 w 173"/>
                  <a:gd name="T111" fmla="*/ 25 h 144"/>
                  <a:gd name="T112" fmla="*/ 170 w 173"/>
                  <a:gd name="T113" fmla="*/ 15 h 144"/>
                  <a:gd name="T114" fmla="*/ 171 w 173"/>
                  <a:gd name="T115" fmla="*/ 7 h 144"/>
                  <a:gd name="T116" fmla="*/ 173 w 173"/>
                  <a:gd name="T117" fmla="*/ 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3" h="144">
                    <a:moveTo>
                      <a:pt x="173" y="1"/>
                    </a:moveTo>
                    <a:lnTo>
                      <a:pt x="169" y="0"/>
                    </a:lnTo>
                    <a:lnTo>
                      <a:pt x="163" y="1"/>
                    </a:lnTo>
                    <a:lnTo>
                      <a:pt x="158" y="3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5" y="8"/>
                    </a:lnTo>
                    <a:lnTo>
                      <a:pt x="143" y="10"/>
                    </a:lnTo>
                    <a:lnTo>
                      <a:pt x="143" y="10"/>
                    </a:lnTo>
                    <a:lnTo>
                      <a:pt x="136" y="5"/>
                    </a:lnTo>
                    <a:lnTo>
                      <a:pt x="129" y="4"/>
                    </a:lnTo>
                    <a:lnTo>
                      <a:pt x="121" y="4"/>
                    </a:lnTo>
                    <a:lnTo>
                      <a:pt x="115" y="5"/>
                    </a:lnTo>
                    <a:lnTo>
                      <a:pt x="108" y="7"/>
                    </a:lnTo>
                    <a:lnTo>
                      <a:pt x="104" y="10"/>
                    </a:lnTo>
                    <a:lnTo>
                      <a:pt x="101" y="11"/>
                    </a:lnTo>
                    <a:lnTo>
                      <a:pt x="100" y="11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85" y="11"/>
                    </a:lnTo>
                    <a:lnTo>
                      <a:pt x="82" y="12"/>
                    </a:lnTo>
                    <a:lnTo>
                      <a:pt x="78" y="15"/>
                    </a:lnTo>
                    <a:lnTo>
                      <a:pt x="75" y="18"/>
                    </a:lnTo>
                    <a:lnTo>
                      <a:pt x="74" y="21"/>
                    </a:lnTo>
                    <a:lnTo>
                      <a:pt x="72" y="21"/>
                    </a:lnTo>
                    <a:lnTo>
                      <a:pt x="70" y="18"/>
                    </a:lnTo>
                    <a:lnTo>
                      <a:pt x="67" y="15"/>
                    </a:lnTo>
                    <a:lnTo>
                      <a:pt x="63" y="14"/>
                    </a:lnTo>
                    <a:lnTo>
                      <a:pt x="59" y="12"/>
                    </a:lnTo>
                    <a:lnTo>
                      <a:pt x="55" y="11"/>
                    </a:lnTo>
                    <a:lnTo>
                      <a:pt x="50" y="10"/>
                    </a:lnTo>
                    <a:lnTo>
                      <a:pt x="49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4" y="7"/>
                    </a:lnTo>
                    <a:lnTo>
                      <a:pt x="26" y="8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16"/>
                    </a:lnTo>
                    <a:lnTo>
                      <a:pt x="6" y="19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4"/>
                    </a:lnTo>
                    <a:lnTo>
                      <a:pt x="6" y="38"/>
                    </a:lnTo>
                    <a:lnTo>
                      <a:pt x="8" y="44"/>
                    </a:lnTo>
                    <a:lnTo>
                      <a:pt x="8" y="49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5" y="58"/>
                    </a:lnTo>
                    <a:lnTo>
                      <a:pt x="4" y="60"/>
                    </a:lnTo>
                    <a:lnTo>
                      <a:pt x="2" y="65"/>
                    </a:lnTo>
                    <a:lnTo>
                      <a:pt x="2" y="69"/>
                    </a:lnTo>
                    <a:lnTo>
                      <a:pt x="1" y="74"/>
                    </a:lnTo>
                    <a:lnTo>
                      <a:pt x="0" y="78"/>
                    </a:lnTo>
                    <a:lnTo>
                      <a:pt x="1" y="84"/>
                    </a:lnTo>
                    <a:lnTo>
                      <a:pt x="0" y="118"/>
                    </a:lnTo>
                    <a:lnTo>
                      <a:pt x="16" y="118"/>
                    </a:lnTo>
                    <a:lnTo>
                      <a:pt x="17" y="118"/>
                    </a:lnTo>
                    <a:lnTo>
                      <a:pt x="19" y="121"/>
                    </a:lnTo>
                    <a:lnTo>
                      <a:pt x="23" y="124"/>
                    </a:lnTo>
                    <a:lnTo>
                      <a:pt x="27" y="128"/>
                    </a:lnTo>
                    <a:lnTo>
                      <a:pt x="33" y="130"/>
                    </a:lnTo>
                    <a:lnTo>
                      <a:pt x="39" y="135"/>
                    </a:lnTo>
                    <a:lnTo>
                      <a:pt x="48" y="139"/>
                    </a:lnTo>
                    <a:lnTo>
                      <a:pt x="56" y="141"/>
                    </a:lnTo>
                    <a:lnTo>
                      <a:pt x="57" y="141"/>
                    </a:lnTo>
                    <a:lnTo>
                      <a:pt x="61" y="143"/>
                    </a:lnTo>
                    <a:lnTo>
                      <a:pt x="67" y="143"/>
                    </a:lnTo>
                    <a:lnTo>
                      <a:pt x="74" y="144"/>
                    </a:lnTo>
                    <a:lnTo>
                      <a:pt x="82" y="144"/>
                    </a:lnTo>
                    <a:lnTo>
                      <a:pt x="89" y="144"/>
                    </a:lnTo>
                    <a:lnTo>
                      <a:pt x="96" y="144"/>
                    </a:lnTo>
                    <a:lnTo>
                      <a:pt x="103" y="143"/>
                    </a:lnTo>
                    <a:lnTo>
                      <a:pt x="111" y="122"/>
                    </a:lnTo>
                    <a:lnTo>
                      <a:pt x="112" y="106"/>
                    </a:lnTo>
                    <a:lnTo>
                      <a:pt x="112" y="103"/>
                    </a:lnTo>
                    <a:lnTo>
                      <a:pt x="115" y="100"/>
                    </a:lnTo>
                    <a:lnTo>
                      <a:pt x="118" y="95"/>
                    </a:lnTo>
                    <a:lnTo>
                      <a:pt x="122" y="91"/>
                    </a:lnTo>
                    <a:lnTo>
                      <a:pt x="127" y="87"/>
                    </a:lnTo>
                    <a:lnTo>
                      <a:pt x="133" y="84"/>
                    </a:lnTo>
                    <a:lnTo>
                      <a:pt x="136" y="82"/>
                    </a:lnTo>
                    <a:lnTo>
                      <a:pt x="138" y="82"/>
                    </a:lnTo>
                    <a:lnTo>
                      <a:pt x="143" y="84"/>
                    </a:lnTo>
                    <a:lnTo>
                      <a:pt x="145" y="87"/>
                    </a:lnTo>
                    <a:lnTo>
                      <a:pt x="145" y="87"/>
                    </a:lnTo>
                    <a:lnTo>
                      <a:pt x="147" y="87"/>
                    </a:lnTo>
                    <a:lnTo>
                      <a:pt x="149" y="87"/>
                    </a:lnTo>
                    <a:lnTo>
                      <a:pt x="152" y="85"/>
                    </a:lnTo>
                    <a:lnTo>
                      <a:pt x="156" y="82"/>
                    </a:lnTo>
                    <a:lnTo>
                      <a:pt x="160" y="77"/>
                    </a:lnTo>
                    <a:lnTo>
                      <a:pt x="165" y="69"/>
                    </a:lnTo>
                    <a:lnTo>
                      <a:pt x="169" y="56"/>
                    </a:lnTo>
                    <a:lnTo>
                      <a:pt x="169" y="56"/>
                    </a:lnTo>
                    <a:lnTo>
                      <a:pt x="169" y="54"/>
                    </a:lnTo>
                    <a:lnTo>
                      <a:pt x="170" y="51"/>
                    </a:lnTo>
                    <a:lnTo>
                      <a:pt x="170" y="48"/>
                    </a:lnTo>
                    <a:lnTo>
                      <a:pt x="171" y="44"/>
                    </a:lnTo>
                    <a:lnTo>
                      <a:pt x="171" y="38"/>
                    </a:lnTo>
                    <a:lnTo>
                      <a:pt x="171" y="34"/>
                    </a:lnTo>
                    <a:lnTo>
                      <a:pt x="173" y="29"/>
                    </a:lnTo>
                    <a:lnTo>
                      <a:pt x="171" y="25"/>
                    </a:lnTo>
                    <a:lnTo>
                      <a:pt x="170" y="21"/>
                    </a:lnTo>
                    <a:lnTo>
                      <a:pt x="170" y="15"/>
                    </a:lnTo>
                    <a:lnTo>
                      <a:pt x="171" y="11"/>
                    </a:lnTo>
                    <a:lnTo>
                      <a:pt x="171" y="7"/>
                    </a:lnTo>
                    <a:lnTo>
                      <a:pt x="173" y="4"/>
                    </a:lnTo>
                    <a:lnTo>
                      <a:pt x="173" y="1"/>
                    </a:lnTo>
                    <a:lnTo>
                      <a:pt x="173" y="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3" name="Freeform 976"/>
              <p:cNvSpPr>
                <a:spLocks/>
              </p:cNvSpPr>
              <p:nvPr/>
            </p:nvSpPr>
            <p:spPr bwMode="auto">
              <a:xfrm>
                <a:off x="2756" y="2722"/>
                <a:ext cx="173" cy="144"/>
              </a:xfrm>
              <a:custGeom>
                <a:avLst/>
                <a:gdLst>
                  <a:gd name="T0" fmla="*/ 169 w 173"/>
                  <a:gd name="T1" fmla="*/ 0 h 144"/>
                  <a:gd name="T2" fmla="*/ 158 w 173"/>
                  <a:gd name="T3" fmla="*/ 3 h 144"/>
                  <a:gd name="T4" fmla="*/ 148 w 173"/>
                  <a:gd name="T5" fmla="*/ 7 h 144"/>
                  <a:gd name="T6" fmla="*/ 143 w 173"/>
                  <a:gd name="T7" fmla="*/ 10 h 144"/>
                  <a:gd name="T8" fmla="*/ 129 w 173"/>
                  <a:gd name="T9" fmla="*/ 4 h 144"/>
                  <a:gd name="T10" fmla="*/ 115 w 173"/>
                  <a:gd name="T11" fmla="*/ 5 h 144"/>
                  <a:gd name="T12" fmla="*/ 104 w 173"/>
                  <a:gd name="T13" fmla="*/ 10 h 144"/>
                  <a:gd name="T14" fmla="*/ 100 w 173"/>
                  <a:gd name="T15" fmla="*/ 11 h 144"/>
                  <a:gd name="T16" fmla="*/ 90 w 173"/>
                  <a:gd name="T17" fmla="*/ 10 h 144"/>
                  <a:gd name="T18" fmla="*/ 82 w 173"/>
                  <a:gd name="T19" fmla="*/ 12 h 144"/>
                  <a:gd name="T20" fmla="*/ 75 w 173"/>
                  <a:gd name="T21" fmla="*/ 18 h 144"/>
                  <a:gd name="T22" fmla="*/ 72 w 173"/>
                  <a:gd name="T23" fmla="*/ 21 h 144"/>
                  <a:gd name="T24" fmla="*/ 67 w 173"/>
                  <a:gd name="T25" fmla="*/ 15 h 144"/>
                  <a:gd name="T26" fmla="*/ 59 w 173"/>
                  <a:gd name="T27" fmla="*/ 12 h 144"/>
                  <a:gd name="T28" fmla="*/ 50 w 173"/>
                  <a:gd name="T29" fmla="*/ 10 h 144"/>
                  <a:gd name="T30" fmla="*/ 48 w 173"/>
                  <a:gd name="T31" fmla="*/ 10 h 144"/>
                  <a:gd name="T32" fmla="*/ 46 w 173"/>
                  <a:gd name="T33" fmla="*/ 8 h 144"/>
                  <a:gd name="T34" fmla="*/ 44 w 173"/>
                  <a:gd name="T35" fmla="*/ 8 h 144"/>
                  <a:gd name="T36" fmla="*/ 38 w 173"/>
                  <a:gd name="T37" fmla="*/ 7 h 144"/>
                  <a:gd name="T38" fmla="*/ 26 w 173"/>
                  <a:gd name="T39" fmla="*/ 8 h 144"/>
                  <a:gd name="T40" fmla="*/ 13 w 173"/>
                  <a:gd name="T41" fmla="*/ 14 h 144"/>
                  <a:gd name="T42" fmla="*/ 6 w 173"/>
                  <a:gd name="T43" fmla="*/ 19 h 144"/>
                  <a:gd name="T44" fmla="*/ 2 w 173"/>
                  <a:gd name="T45" fmla="*/ 25 h 144"/>
                  <a:gd name="T46" fmla="*/ 4 w 173"/>
                  <a:gd name="T47" fmla="*/ 27 h 144"/>
                  <a:gd name="T48" fmla="*/ 5 w 173"/>
                  <a:gd name="T49" fmla="*/ 34 h 144"/>
                  <a:gd name="T50" fmla="*/ 8 w 173"/>
                  <a:gd name="T51" fmla="*/ 44 h 144"/>
                  <a:gd name="T52" fmla="*/ 6 w 173"/>
                  <a:gd name="T53" fmla="*/ 56 h 144"/>
                  <a:gd name="T54" fmla="*/ 4 w 173"/>
                  <a:gd name="T55" fmla="*/ 60 h 144"/>
                  <a:gd name="T56" fmla="*/ 2 w 173"/>
                  <a:gd name="T57" fmla="*/ 69 h 144"/>
                  <a:gd name="T58" fmla="*/ 0 w 173"/>
                  <a:gd name="T59" fmla="*/ 78 h 144"/>
                  <a:gd name="T60" fmla="*/ 0 w 173"/>
                  <a:gd name="T61" fmla="*/ 118 h 144"/>
                  <a:gd name="T62" fmla="*/ 17 w 173"/>
                  <a:gd name="T63" fmla="*/ 118 h 144"/>
                  <a:gd name="T64" fmla="*/ 23 w 173"/>
                  <a:gd name="T65" fmla="*/ 124 h 144"/>
                  <a:gd name="T66" fmla="*/ 33 w 173"/>
                  <a:gd name="T67" fmla="*/ 130 h 144"/>
                  <a:gd name="T68" fmla="*/ 48 w 173"/>
                  <a:gd name="T69" fmla="*/ 139 h 144"/>
                  <a:gd name="T70" fmla="*/ 57 w 173"/>
                  <a:gd name="T71" fmla="*/ 141 h 144"/>
                  <a:gd name="T72" fmla="*/ 67 w 173"/>
                  <a:gd name="T73" fmla="*/ 143 h 144"/>
                  <a:gd name="T74" fmla="*/ 82 w 173"/>
                  <a:gd name="T75" fmla="*/ 144 h 144"/>
                  <a:gd name="T76" fmla="*/ 96 w 173"/>
                  <a:gd name="T77" fmla="*/ 144 h 144"/>
                  <a:gd name="T78" fmla="*/ 111 w 173"/>
                  <a:gd name="T79" fmla="*/ 122 h 144"/>
                  <a:gd name="T80" fmla="*/ 112 w 173"/>
                  <a:gd name="T81" fmla="*/ 103 h 144"/>
                  <a:gd name="T82" fmla="*/ 118 w 173"/>
                  <a:gd name="T83" fmla="*/ 95 h 144"/>
                  <a:gd name="T84" fmla="*/ 127 w 173"/>
                  <a:gd name="T85" fmla="*/ 87 h 144"/>
                  <a:gd name="T86" fmla="*/ 136 w 173"/>
                  <a:gd name="T87" fmla="*/ 82 h 144"/>
                  <a:gd name="T88" fmla="*/ 143 w 173"/>
                  <a:gd name="T89" fmla="*/ 84 h 144"/>
                  <a:gd name="T90" fmla="*/ 147 w 173"/>
                  <a:gd name="T91" fmla="*/ 87 h 144"/>
                  <a:gd name="T92" fmla="*/ 152 w 173"/>
                  <a:gd name="T93" fmla="*/ 85 h 144"/>
                  <a:gd name="T94" fmla="*/ 160 w 173"/>
                  <a:gd name="T95" fmla="*/ 77 h 144"/>
                  <a:gd name="T96" fmla="*/ 169 w 173"/>
                  <a:gd name="T97" fmla="*/ 56 h 144"/>
                  <a:gd name="T98" fmla="*/ 170 w 173"/>
                  <a:gd name="T99" fmla="*/ 51 h 144"/>
                  <a:gd name="T100" fmla="*/ 171 w 173"/>
                  <a:gd name="T101" fmla="*/ 44 h 144"/>
                  <a:gd name="T102" fmla="*/ 171 w 173"/>
                  <a:gd name="T103" fmla="*/ 34 h 144"/>
                  <a:gd name="T104" fmla="*/ 171 w 173"/>
                  <a:gd name="T105" fmla="*/ 25 h 144"/>
                  <a:gd name="T106" fmla="*/ 170 w 173"/>
                  <a:gd name="T107" fmla="*/ 15 h 144"/>
                  <a:gd name="T108" fmla="*/ 171 w 173"/>
                  <a:gd name="T109" fmla="*/ 7 h 144"/>
                  <a:gd name="T110" fmla="*/ 173 w 173"/>
                  <a:gd name="T111" fmla="*/ 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3" h="144">
                    <a:moveTo>
                      <a:pt x="173" y="1"/>
                    </a:moveTo>
                    <a:lnTo>
                      <a:pt x="169" y="0"/>
                    </a:lnTo>
                    <a:lnTo>
                      <a:pt x="163" y="1"/>
                    </a:lnTo>
                    <a:lnTo>
                      <a:pt x="158" y="3"/>
                    </a:lnTo>
                    <a:lnTo>
                      <a:pt x="154" y="4"/>
                    </a:lnTo>
                    <a:lnTo>
                      <a:pt x="148" y="7"/>
                    </a:lnTo>
                    <a:lnTo>
                      <a:pt x="145" y="8"/>
                    </a:lnTo>
                    <a:lnTo>
                      <a:pt x="143" y="10"/>
                    </a:lnTo>
                    <a:lnTo>
                      <a:pt x="136" y="5"/>
                    </a:lnTo>
                    <a:lnTo>
                      <a:pt x="129" y="4"/>
                    </a:lnTo>
                    <a:lnTo>
                      <a:pt x="121" y="4"/>
                    </a:lnTo>
                    <a:lnTo>
                      <a:pt x="115" y="5"/>
                    </a:lnTo>
                    <a:lnTo>
                      <a:pt x="108" y="7"/>
                    </a:lnTo>
                    <a:lnTo>
                      <a:pt x="104" y="10"/>
                    </a:lnTo>
                    <a:lnTo>
                      <a:pt x="101" y="11"/>
                    </a:lnTo>
                    <a:lnTo>
                      <a:pt x="100" y="11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85" y="11"/>
                    </a:lnTo>
                    <a:lnTo>
                      <a:pt x="82" y="12"/>
                    </a:lnTo>
                    <a:lnTo>
                      <a:pt x="78" y="15"/>
                    </a:lnTo>
                    <a:lnTo>
                      <a:pt x="75" y="18"/>
                    </a:lnTo>
                    <a:lnTo>
                      <a:pt x="74" y="21"/>
                    </a:lnTo>
                    <a:lnTo>
                      <a:pt x="72" y="21"/>
                    </a:lnTo>
                    <a:lnTo>
                      <a:pt x="70" y="18"/>
                    </a:lnTo>
                    <a:lnTo>
                      <a:pt x="67" y="15"/>
                    </a:lnTo>
                    <a:lnTo>
                      <a:pt x="63" y="14"/>
                    </a:lnTo>
                    <a:lnTo>
                      <a:pt x="59" y="12"/>
                    </a:lnTo>
                    <a:lnTo>
                      <a:pt x="55" y="11"/>
                    </a:lnTo>
                    <a:lnTo>
                      <a:pt x="50" y="10"/>
                    </a:lnTo>
                    <a:lnTo>
                      <a:pt x="49" y="10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6" y="8"/>
                    </a:lnTo>
                    <a:lnTo>
                      <a:pt x="45" y="8"/>
                    </a:lnTo>
                    <a:lnTo>
                      <a:pt x="44" y="8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4" y="7"/>
                    </a:lnTo>
                    <a:lnTo>
                      <a:pt x="26" y="8"/>
                    </a:lnTo>
                    <a:lnTo>
                      <a:pt x="19" y="10"/>
                    </a:lnTo>
                    <a:lnTo>
                      <a:pt x="13" y="14"/>
                    </a:lnTo>
                    <a:lnTo>
                      <a:pt x="9" y="16"/>
                    </a:lnTo>
                    <a:lnTo>
                      <a:pt x="6" y="19"/>
                    </a:lnTo>
                    <a:lnTo>
                      <a:pt x="4" y="23"/>
                    </a:lnTo>
                    <a:lnTo>
                      <a:pt x="2" y="25"/>
                    </a:lnTo>
                    <a:lnTo>
                      <a:pt x="2" y="26"/>
                    </a:lnTo>
                    <a:lnTo>
                      <a:pt x="4" y="27"/>
                    </a:lnTo>
                    <a:lnTo>
                      <a:pt x="5" y="30"/>
                    </a:lnTo>
                    <a:lnTo>
                      <a:pt x="5" y="34"/>
                    </a:lnTo>
                    <a:lnTo>
                      <a:pt x="6" y="38"/>
                    </a:lnTo>
                    <a:lnTo>
                      <a:pt x="8" y="44"/>
                    </a:lnTo>
                    <a:lnTo>
                      <a:pt x="8" y="49"/>
                    </a:lnTo>
                    <a:lnTo>
                      <a:pt x="6" y="56"/>
                    </a:lnTo>
                    <a:lnTo>
                      <a:pt x="5" y="58"/>
                    </a:lnTo>
                    <a:lnTo>
                      <a:pt x="4" y="60"/>
                    </a:lnTo>
                    <a:lnTo>
                      <a:pt x="2" y="65"/>
                    </a:lnTo>
                    <a:lnTo>
                      <a:pt x="2" y="69"/>
                    </a:lnTo>
                    <a:lnTo>
                      <a:pt x="1" y="74"/>
                    </a:lnTo>
                    <a:lnTo>
                      <a:pt x="0" y="78"/>
                    </a:lnTo>
                    <a:lnTo>
                      <a:pt x="1" y="84"/>
                    </a:lnTo>
                    <a:lnTo>
                      <a:pt x="0" y="118"/>
                    </a:lnTo>
                    <a:lnTo>
                      <a:pt x="16" y="118"/>
                    </a:lnTo>
                    <a:lnTo>
                      <a:pt x="17" y="118"/>
                    </a:lnTo>
                    <a:lnTo>
                      <a:pt x="19" y="121"/>
                    </a:lnTo>
                    <a:lnTo>
                      <a:pt x="23" y="124"/>
                    </a:lnTo>
                    <a:lnTo>
                      <a:pt x="27" y="128"/>
                    </a:lnTo>
                    <a:lnTo>
                      <a:pt x="33" y="130"/>
                    </a:lnTo>
                    <a:lnTo>
                      <a:pt x="39" y="135"/>
                    </a:lnTo>
                    <a:lnTo>
                      <a:pt x="48" y="139"/>
                    </a:lnTo>
                    <a:lnTo>
                      <a:pt x="56" y="141"/>
                    </a:lnTo>
                    <a:lnTo>
                      <a:pt x="57" y="141"/>
                    </a:lnTo>
                    <a:lnTo>
                      <a:pt x="61" y="143"/>
                    </a:lnTo>
                    <a:lnTo>
                      <a:pt x="67" y="143"/>
                    </a:lnTo>
                    <a:lnTo>
                      <a:pt x="74" y="144"/>
                    </a:lnTo>
                    <a:lnTo>
                      <a:pt x="82" y="144"/>
                    </a:lnTo>
                    <a:lnTo>
                      <a:pt x="89" y="144"/>
                    </a:lnTo>
                    <a:lnTo>
                      <a:pt x="96" y="144"/>
                    </a:lnTo>
                    <a:lnTo>
                      <a:pt x="103" y="143"/>
                    </a:lnTo>
                    <a:lnTo>
                      <a:pt x="111" y="122"/>
                    </a:lnTo>
                    <a:lnTo>
                      <a:pt x="112" y="106"/>
                    </a:lnTo>
                    <a:lnTo>
                      <a:pt x="112" y="103"/>
                    </a:lnTo>
                    <a:lnTo>
                      <a:pt x="115" y="100"/>
                    </a:lnTo>
                    <a:lnTo>
                      <a:pt x="118" y="95"/>
                    </a:lnTo>
                    <a:lnTo>
                      <a:pt x="122" y="91"/>
                    </a:lnTo>
                    <a:lnTo>
                      <a:pt x="127" y="87"/>
                    </a:lnTo>
                    <a:lnTo>
                      <a:pt x="133" y="84"/>
                    </a:lnTo>
                    <a:lnTo>
                      <a:pt x="136" y="82"/>
                    </a:lnTo>
                    <a:lnTo>
                      <a:pt x="138" y="82"/>
                    </a:lnTo>
                    <a:lnTo>
                      <a:pt x="143" y="84"/>
                    </a:lnTo>
                    <a:lnTo>
                      <a:pt x="145" y="87"/>
                    </a:lnTo>
                    <a:lnTo>
                      <a:pt x="147" y="87"/>
                    </a:lnTo>
                    <a:lnTo>
                      <a:pt x="149" y="87"/>
                    </a:lnTo>
                    <a:lnTo>
                      <a:pt x="152" y="85"/>
                    </a:lnTo>
                    <a:lnTo>
                      <a:pt x="156" y="82"/>
                    </a:lnTo>
                    <a:lnTo>
                      <a:pt x="160" y="77"/>
                    </a:lnTo>
                    <a:lnTo>
                      <a:pt x="165" y="69"/>
                    </a:lnTo>
                    <a:lnTo>
                      <a:pt x="169" y="56"/>
                    </a:lnTo>
                    <a:lnTo>
                      <a:pt x="169" y="54"/>
                    </a:lnTo>
                    <a:lnTo>
                      <a:pt x="170" y="51"/>
                    </a:lnTo>
                    <a:lnTo>
                      <a:pt x="170" y="48"/>
                    </a:lnTo>
                    <a:lnTo>
                      <a:pt x="171" y="44"/>
                    </a:lnTo>
                    <a:lnTo>
                      <a:pt x="171" y="38"/>
                    </a:lnTo>
                    <a:lnTo>
                      <a:pt x="171" y="34"/>
                    </a:lnTo>
                    <a:lnTo>
                      <a:pt x="173" y="29"/>
                    </a:lnTo>
                    <a:lnTo>
                      <a:pt x="171" y="25"/>
                    </a:lnTo>
                    <a:lnTo>
                      <a:pt x="170" y="21"/>
                    </a:lnTo>
                    <a:lnTo>
                      <a:pt x="170" y="15"/>
                    </a:lnTo>
                    <a:lnTo>
                      <a:pt x="171" y="11"/>
                    </a:lnTo>
                    <a:lnTo>
                      <a:pt x="171" y="7"/>
                    </a:lnTo>
                    <a:lnTo>
                      <a:pt x="173" y="4"/>
                    </a:lnTo>
                    <a:lnTo>
                      <a:pt x="173" y="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4" name="Freeform 977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41 h 158"/>
                  <a:gd name="T6" fmla="*/ 35 w 60"/>
                  <a:gd name="T7" fmla="*/ 138 h 158"/>
                  <a:gd name="T8" fmla="*/ 35 w 60"/>
                  <a:gd name="T9" fmla="*/ 136 h 158"/>
                  <a:gd name="T10" fmla="*/ 37 w 60"/>
                  <a:gd name="T11" fmla="*/ 132 h 158"/>
                  <a:gd name="T12" fmla="*/ 38 w 60"/>
                  <a:gd name="T13" fmla="*/ 127 h 158"/>
                  <a:gd name="T14" fmla="*/ 42 w 60"/>
                  <a:gd name="T15" fmla="*/ 123 h 158"/>
                  <a:gd name="T16" fmla="*/ 46 w 60"/>
                  <a:gd name="T17" fmla="*/ 119 h 158"/>
                  <a:gd name="T18" fmla="*/ 53 w 60"/>
                  <a:gd name="T19" fmla="*/ 115 h 158"/>
                  <a:gd name="T20" fmla="*/ 52 w 60"/>
                  <a:gd name="T21" fmla="*/ 112 h 158"/>
                  <a:gd name="T22" fmla="*/ 52 w 60"/>
                  <a:gd name="T23" fmla="*/ 107 h 158"/>
                  <a:gd name="T24" fmla="*/ 52 w 60"/>
                  <a:gd name="T25" fmla="*/ 99 h 158"/>
                  <a:gd name="T26" fmla="*/ 52 w 60"/>
                  <a:gd name="T27" fmla="*/ 88 h 158"/>
                  <a:gd name="T28" fmla="*/ 53 w 60"/>
                  <a:gd name="T29" fmla="*/ 77 h 158"/>
                  <a:gd name="T30" fmla="*/ 55 w 60"/>
                  <a:gd name="T31" fmla="*/ 67 h 158"/>
                  <a:gd name="T32" fmla="*/ 56 w 60"/>
                  <a:gd name="T33" fmla="*/ 59 h 158"/>
                  <a:gd name="T34" fmla="*/ 60 w 60"/>
                  <a:gd name="T35" fmla="*/ 53 h 158"/>
                  <a:gd name="T36" fmla="*/ 60 w 60"/>
                  <a:gd name="T37" fmla="*/ 52 h 158"/>
                  <a:gd name="T38" fmla="*/ 59 w 60"/>
                  <a:gd name="T39" fmla="*/ 49 h 158"/>
                  <a:gd name="T40" fmla="*/ 57 w 60"/>
                  <a:gd name="T41" fmla="*/ 45 h 158"/>
                  <a:gd name="T42" fmla="*/ 55 w 60"/>
                  <a:gd name="T43" fmla="*/ 39 h 158"/>
                  <a:gd name="T44" fmla="*/ 53 w 60"/>
                  <a:gd name="T45" fmla="*/ 34 h 158"/>
                  <a:gd name="T46" fmla="*/ 52 w 60"/>
                  <a:gd name="T47" fmla="*/ 28 h 158"/>
                  <a:gd name="T48" fmla="*/ 50 w 60"/>
                  <a:gd name="T49" fmla="*/ 23 h 158"/>
                  <a:gd name="T50" fmla="*/ 52 w 60"/>
                  <a:gd name="T51" fmla="*/ 17 h 158"/>
                  <a:gd name="T52" fmla="*/ 17 w 60"/>
                  <a:gd name="T53" fmla="*/ 19 h 158"/>
                  <a:gd name="T54" fmla="*/ 17 w 60"/>
                  <a:gd name="T55" fmla="*/ 17 h 158"/>
                  <a:gd name="T56" fmla="*/ 16 w 60"/>
                  <a:gd name="T57" fmla="*/ 16 h 158"/>
                  <a:gd name="T58" fmla="*/ 15 w 60"/>
                  <a:gd name="T59" fmla="*/ 13 h 158"/>
                  <a:gd name="T60" fmla="*/ 12 w 60"/>
                  <a:gd name="T61" fmla="*/ 9 h 158"/>
                  <a:gd name="T62" fmla="*/ 9 w 60"/>
                  <a:gd name="T63" fmla="*/ 6 h 158"/>
                  <a:gd name="T64" fmla="*/ 6 w 60"/>
                  <a:gd name="T65" fmla="*/ 4 h 158"/>
                  <a:gd name="T66" fmla="*/ 4 w 60"/>
                  <a:gd name="T67" fmla="*/ 1 h 158"/>
                  <a:gd name="T68" fmla="*/ 0 w 60"/>
                  <a:gd name="T69" fmla="*/ 0 h 158"/>
                  <a:gd name="T70" fmla="*/ 34 w 60"/>
                  <a:gd name="T71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34" y="15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5" name="Freeform 978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38 h 158"/>
                  <a:gd name="T6" fmla="*/ 35 w 60"/>
                  <a:gd name="T7" fmla="*/ 136 h 158"/>
                  <a:gd name="T8" fmla="*/ 37 w 60"/>
                  <a:gd name="T9" fmla="*/ 132 h 158"/>
                  <a:gd name="T10" fmla="*/ 38 w 60"/>
                  <a:gd name="T11" fmla="*/ 127 h 158"/>
                  <a:gd name="T12" fmla="*/ 42 w 60"/>
                  <a:gd name="T13" fmla="*/ 123 h 158"/>
                  <a:gd name="T14" fmla="*/ 46 w 60"/>
                  <a:gd name="T15" fmla="*/ 119 h 158"/>
                  <a:gd name="T16" fmla="*/ 53 w 60"/>
                  <a:gd name="T17" fmla="*/ 115 h 158"/>
                  <a:gd name="T18" fmla="*/ 52 w 60"/>
                  <a:gd name="T19" fmla="*/ 112 h 158"/>
                  <a:gd name="T20" fmla="*/ 52 w 60"/>
                  <a:gd name="T21" fmla="*/ 107 h 158"/>
                  <a:gd name="T22" fmla="*/ 52 w 60"/>
                  <a:gd name="T23" fmla="*/ 99 h 158"/>
                  <a:gd name="T24" fmla="*/ 52 w 60"/>
                  <a:gd name="T25" fmla="*/ 88 h 158"/>
                  <a:gd name="T26" fmla="*/ 53 w 60"/>
                  <a:gd name="T27" fmla="*/ 77 h 158"/>
                  <a:gd name="T28" fmla="*/ 55 w 60"/>
                  <a:gd name="T29" fmla="*/ 67 h 158"/>
                  <a:gd name="T30" fmla="*/ 56 w 60"/>
                  <a:gd name="T31" fmla="*/ 59 h 158"/>
                  <a:gd name="T32" fmla="*/ 60 w 60"/>
                  <a:gd name="T33" fmla="*/ 53 h 158"/>
                  <a:gd name="T34" fmla="*/ 60 w 60"/>
                  <a:gd name="T35" fmla="*/ 52 h 158"/>
                  <a:gd name="T36" fmla="*/ 59 w 60"/>
                  <a:gd name="T37" fmla="*/ 49 h 158"/>
                  <a:gd name="T38" fmla="*/ 57 w 60"/>
                  <a:gd name="T39" fmla="*/ 45 h 158"/>
                  <a:gd name="T40" fmla="*/ 55 w 60"/>
                  <a:gd name="T41" fmla="*/ 39 h 158"/>
                  <a:gd name="T42" fmla="*/ 53 w 60"/>
                  <a:gd name="T43" fmla="*/ 34 h 158"/>
                  <a:gd name="T44" fmla="*/ 52 w 60"/>
                  <a:gd name="T45" fmla="*/ 28 h 158"/>
                  <a:gd name="T46" fmla="*/ 50 w 60"/>
                  <a:gd name="T47" fmla="*/ 23 h 158"/>
                  <a:gd name="T48" fmla="*/ 52 w 60"/>
                  <a:gd name="T49" fmla="*/ 17 h 158"/>
                  <a:gd name="T50" fmla="*/ 17 w 60"/>
                  <a:gd name="T51" fmla="*/ 19 h 158"/>
                  <a:gd name="T52" fmla="*/ 17 w 60"/>
                  <a:gd name="T53" fmla="*/ 17 h 158"/>
                  <a:gd name="T54" fmla="*/ 16 w 60"/>
                  <a:gd name="T55" fmla="*/ 16 h 158"/>
                  <a:gd name="T56" fmla="*/ 15 w 60"/>
                  <a:gd name="T57" fmla="*/ 13 h 158"/>
                  <a:gd name="T58" fmla="*/ 12 w 60"/>
                  <a:gd name="T59" fmla="*/ 9 h 158"/>
                  <a:gd name="T60" fmla="*/ 9 w 60"/>
                  <a:gd name="T61" fmla="*/ 6 h 158"/>
                  <a:gd name="T62" fmla="*/ 6 w 60"/>
                  <a:gd name="T63" fmla="*/ 4 h 158"/>
                  <a:gd name="T64" fmla="*/ 4 w 60"/>
                  <a:gd name="T65" fmla="*/ 1 h 158"/>
                  <a:gd name="T66" fmla="*/ 0 w 60"/>
                  <a:gd name="T67" fmla="*/ 0 h 158"/>
                  <a:gd name="T68" fmla="*/ 34 w 60"/>
                  <a:gd name="T69" fmla="*/ 158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  <a:lnTo>
                      <a:pt x="34" y="15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6" name="Freeform 979"/>
              <p:cNvSpPr>
                <a:spLocks/>
              </p:cNvSpPr>
              <p:nvPr/>
            </p:nvSpPr>
            <p:spPr bwMode="auto">
              <a:xfrm>
                <a:off x="2899" y="2556"/>
                <a:ext cx="60" cy="158"/>
              </a:xfrm>
              <a:custGeom>
                <a:avLst/>
                <a:gdLst>
                  <a:gd name="T0" fmla="*/ 34 w 60"/>
                  <a:gd name="T1" fmla="*/ 158 h 158"/>
                  <a:gd name="T2" fmla="*/ 35 w 60"/>
                  <a:gd name="T3" fmla="*/ 141 h 158"/>
                  <a:gd name="T4" fmla="*/ 35 w 60"/>
                  <a:gd name="T5" fmla="*/ 138 h 158"/>
                  <a:gd name="T6" fmla="*/ 35 w 60"/>
                  <a:gd name="T7" fmla="*/ 136 h 158"/>
                  <a:gd name="T8" fmla="*/ 37 w 60"/>
                  <a:gd name="T9" fmla="*/ 132 h 158"/>
                  <a:gd name="T10" fmla="*/ 38 w 60"/>
                  <a:gd name="T11" fmla="*/ 127 h 158"/>
                  <a:gd name="T12" fmla="*/ 42 w 60"/>
                  <a:gd name="T13" fmla="*/ 123 h 158"/>
                  <a:gd name="T14" fmla="*/ 46 w 60"/>
                  <a:gd name="T15" fmla="*/ 119 h 158"/>
                  <a:gd name="T16" fmla="*/ 53 w 60"/>
                  <a:gd name="T17" fmla="*/ 115 h 158"/>
                  <a:gd name="T18" fmla="*/ 52 w 60"/>
                  <a:gd name="T19" fmla="*/ 112 h 158"/>
                  <a:gd name="T20" fmla="*/ 52 w 60"/>
                  <a:gd name="T21" fmla="*/ 107 h 158"/>
                  <a:gd name="T22" fmla="*/ 52 w 60"/>
                  <a:gd name="T23" fmla="*/ 99 h 158"/>
                  <a:gd name="T24" fmla="*/ 52 w 60"/>
                  <a:gd name="T25" fmla="*/ 88 h 158"/>
                  <a:gd name="T26" fmla="*/ 53 w 60"/>
                  <a:gd name="T27" fmla="*/ 77 h 158"/>
                  <a:gd name="T28" fmla="*/ 55 w 60"/>
                  <a:gd name="T29" fmla="*/ 67 h 158"/>
                  <a:gd name="T30" fmla="*/ 56 w 60"/>
                  <a:gd name="T31" fmla="*/ 59 h 158"/>
                  <a:gd name="T32" fmla="*/ 60 w 60"/>
                  <a:gd name="T33" fmla="*/ 53 h 158"/>
                  <a:gd name="T34" fmla="*/ 60 w 60"/>
                  <a:gd name="T35" fmla="*/ 52 h 158"/>
                  <a:gd name="T36" fmla="*/ 59 w 60"/>
                  <a:gd name="T37" fmla="*/ 49 h 158"/>
                  <a:gd name="T38" fmla="*/ 57 w 60"/>
                  <a:gd name="T39" fmla="*/ 45 h 158"/>
                  <a:gd name="T40" fmla="*/ 55 w 60"/>
                  <a:gd name="T41" fmla="*/ 39 h 158"/>
                  <a:gd name="T42" fmla="*/ 53 w 60"/>
                  <a:gd name="T43" fmla="*/ 34 h 158"/>
                  <a:gd name="T44" fmla="*/ 52 w 60"/>
                  <a:gd name="T45" fmla="*/ 28 h 158"/>
                  <a:gd name="T46" fmla="*/ 50 w 60"/>
                  <a:gd name="T47" fmla="*/ 23 h 158"/>
                  <a:gd name="T48" fmla="*/ 52 w 60"/>
                  <a:gd name="T49" fmla="*/ 17 h 158"/>
                  <a:gd name="T50" fmla="*/ 17 w 60"/>
                  <a:gd name="T51" fmla="*/ 19 h 158"/>
                  <a:gd name="T52" fmla="*/ 17 w 60"/>
                  <a:gd name="T53" fmla="*/ 17 h 158"/>
                  <a:gd name="T54" fmla="*/ 16 w 60"/>
                  <a:gd name="T55" fmla="*/ 16 h 158"/>
                  <a:gd name="T56" fmla="*/ 15 w 60"/>
                  <a:gd name="T57" fmla="*/ 13 h 158"/>
                  <a:gd name="T58" fmla="*/ 12 w 60"/>
                  <a:gd name="T59" fmla="*/ 9 h 158"/>
                  <a:gd name="T60" fmla="*/ 9 w 60"/>
                  <a:gd name="T61" fmla="*/ 6 h 158"/>
                  <a:gd name="T62" fmla="*/ 6 w 60"/>
                  <a:gd name="T63" fmla="*/ 4 h 158"/>
                  <a:gd name="T64" fmla="*/ 4 w 60"/>
                  <a:gd name="T65" fmla="*/ 1 h 158"/>
                  <a:gd name="T66" fmla="*/ 0 w 60"/>
                  <a:gd name="T67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0" h="158">
                    <a:moveTo>
                      <a:pt x="34" y="158"/>
                    </a:moveTo>
                    <a:lnTo>
                      <a:pt x="35" y="141"/>
                    </a:lnTo>
                    <a:lnTo>
                      <a:pt x="35" y="138"/>
                    </a:lnTo>
                    <a:lnTo>
                      <a:pt x="35" y="136"/>
                    </a:lnTo>
                    <a:lnTo>
                      <a:pt x="37" y="132"/>
                    </a:lnTo>
                    <a:lnTo>
                      <a:pt x="38" y="127"/>
                    </a:lnTo>
                    <a:lnTo>
                      <a:pt x="42" y="123"/>
                    </a:lnTo>
                    <a:lnTo>
                      <a:pt x="46" y="119"/>
                    </a:lnTo>
                    <a:lnTo>
                      <a:pt x="53" y="115"/>
                    </a:lnTo>
                    <a:lnTo>
                      <a:pt x="52" y="112"/>
                    </a:lnTo>
                    <a:lnTo>
                      <a:pt x="52" y="107"/>
                    </a:lnTo>
                    <a:lnTo>
                      <a:pt x="52" y="99"/>
                    </a:lnTo>
                    <a:lnTo>
                      <a:pt x="52" y="88"/>
                    </a:lnTo>
                    <a:lnTo>
                      <a:pt x="53" y="77"/>
                    </a:lnTo>
                    <a:lnTo>
                      <a:pt x="55" y="67"/>
                    </a:lnTo>
                    <a:lnTo>
                      <a:pt x="56" y="59"/>
                    </a:lnTo>
                    <a:lnTo>
                      <a:pt x="60" y="53"/>
                    </a:lnTo>
                    <a:lnTo>
                      <a:pt x="60" y="52"/>
                    </a:lnTo>
                    <a:lnTo>
                      <a:pt x="59" y="49"/>
                    </a:lnTo>
                    <a:lnTo>
                      <a:pt x="57" y="45"/>
                    </a:lnTo>
                    <a:lnTo>
                      <a:pt x="55" y="39"/>
                    </a:lnTo>
                    <a:lnTo>
                      <a:pt x="53" y="34"/>
                    </a:lnTo>
                    <a:lnTo>
                      <a:pt x="52" y="28"/>
                    </a:lnTo>
                    <a:lnTo>
                      <a:pt x="50" y="23"/>
                    </a:lnTo>
                    <a:lnTo>
                      <a:pt x="52" y="17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6" y="16"/>
                    </a:lnTo>
                    <a:lnTo>
                      <a:pt x="15" y="13"/>
                    </a:lnTo>
                    <a:lnTo>
                      <a:pt x="12" y="9"/>
                    </a:lnTo>
                    <a:lnTo>
                      <a:pt x="9" y="6"/>
                    </a:lnTo>
                    <a:lnTo>
                      <a:pt x="6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7" name="Freeform 980"/>
              <p:cNvSpPr>
                <a:spLocks/>
              </p:cNvSpPr>
              <p:nvPr/>
            </p:nvSpPr>
            <p:spPr bwMode="auto">
              <a:xfrm>
                <a:off x="2702" y="2556"/>
                <a:ext cx="257" cy="192"/>
              </a:xfrm>
              <a:custGeom>
                <a:avLst/>
                <a:gdLst>
                  <a:gd name="T0" fmla="*/ 109 w 257"/>
                  <a:gd name="T1" fmla="*/ 45 h 192"/>
                  <a:gd name="T2" fmla="*/ 92 w 257"/>
                  <a:gd name="T3" fmla="*/ 48 h 192"/>
                  <a:gd name="T4" fmla="*/ 74 w 257"/>
                  <a:gd name="T5" fmla="*/ 52 h 192"/>
                  <a:gd name="T6" fmla="*/ 71 w 257"/>
                  <a:gd name="T7" fmla="*/ 61 h 192"/>
                  <a:gd name="T8" fmla="*/ 65 w 257"/>
                  <a:gd name="T9" fmla="*/ 99 h 192"/>
                  <a:gd name="T10" fmla="*/ 54 w 257"/>
                  <a:gd name="T11" fmla="*/ 126 h 192"/>
                  <a:gd name="T12" fmla="*/ 44 w 257"/>
                  <a:gd name="T13" fmla="*/ 138 h 192"/>
                  <a:gd name="T14" fmla="*/ 37 w 257"/>
                  <a:gd name="T15" fmla="*/ 143 h 192"/>
                  <a:gd name="T16" fmla="*/ 26 w 257"/>
                  <a:gd name="T17" fmla="*/ 145 h 192"/>
                  <a:gd name="T18" fmla="*/ 19 w 257"/>
                  <a:gd name="T19" fmla="*/ 145 h 192"/>
                  <a:gd name="T20" fmla="*/ 11 w 257"/>
                  <a:gd name="T21" fmla="*/ 145 h 192"/>
                  <a:gd name="T22" fmla="*/ 4 w 257"/>
                  <a:gd name="T23" fmla="*/ 145 h 192"/>
                  <a:gd name="T24" fmla="*/ 0 w 257"/>
                  <a:gd name="T25" fmla="*/ 154 h 192"/>
                  <a:gd name="T26" fmla="*/ 4 w 257"/>
                  <a:gd name="T27" fmla="*/ 159 h 192"/>
                  <a:gd name="T28" fmla="*/ 7 w 257"/>
                  <a:gd name="T29" fmla="*/ 163 h 192"/>
                  <a:gd name="T30" fmla="*/ 8 w 257"/>
                  <a:gd name="T31" fmla="*/ 166 h 192"/>
                  <a:gd name="T32" fmla="*/ 11 w 257"/>
                  <a:gd name="T33" fmla="*/ 170 h 192"/>
                  <a:gd name="T34" fmla="*/ 15 w 257"/>
                  <a:gd name="T35" fmla="*/ 171 h 192"/>
                  <a:gd name="T36" fmla="*/ 16 w 257"/>
                  <a:gd name="T37" fmla="*/ 173 h 192"/>
                  <a:gd name="T38" fmla="*/ 19 w 257"/>
                  <a:gd name="T39" fmla="*/ 174 h 192"/>
                  <a:gd name="T40" fmla="*/ 30 w 257"/>
                  <a:gd name="T41" fmla="*/ 178 h 192"/>
                  <a:gd name="T42" fmla="*/ 34 w 257"/>
                  <a:gd name="T43" fmla="*/ 173 h 192"/>
                  <a:gd name="T44" fmla="*/ 43 w 257"/>
                  <a:gd name="T45" fmla="*/ 180 h 192"/>
                  <a:gd name="T46" fmla="*/ 49 w 257"/>
                  <a:gd name="T47" fmla="*/ 184 h 192"/>
                  <a:gd name="T48" fmla="*/ 51 w 257"/>
                  <a:gd name="T49" fmla="*/ 185 h 192"/>
                  <a:gd name="T50" fmla="*/ 55 w 257"/>
                  <a:gd name="T51" fmla="*/ 189 h 192"/>
                  <a:gd name="T52" fmla="*/ 58 w 257"/>
                  <a:gd name="T53" fmla="*/ 192 h 192"/>
                  <a:gd name="T54" fmla="*/ 65 w 257"/>
                  <a:gd name="T55" fmla="*/ 182 h 192"/>
                  <a:gd name="T56" fmla="*/ 81 w 257"/>
                  <a:gd name="T57" fmla="*/ 174 h 192"/>
                  <a:gd name="T58" fmla="*/ 96 w 257"/>
                  <a:gd name="T59" fmla="*/ 173 h 192"/>
                  <a:gd name="T60" fmla="*/ 102 w 257"/>
                  <a:gd name="T61" fmla="*/ 174 h 192"/>
                  <a:gd name="T62" fmla="*/ 103 w 257"/>
                  <a:gd name="T63" fmla="*/ 176 h 192"/>
                  <a:gd name="T64" fmla="*/ 110 w 257"/>
                  <a:gd name="T65" fmla="*/ 177 h 192"/>
                  <a:gd name="T66" fmla="*/ 122 w 257"/>
                  <a:gd name="T67" fmla="*/ 181 h 192"/>
                  <a:gd name="T68" fmla="*/ 128 w 257"/>
                  <a:gd name="T69" fmla="*/ 187 h 192"/>
                  <a:gd name="T70" fmla="*/ 136 w 257"/>
                  <a:gd name="T71" fmla="*/ 178 h 192"/>
                  <a:gd name="T72" fmla="*/ 150 w 257"/>
                  <a:gd name="T73" fmla="*/ 176 h 192"/>
                  <a:gd name="T74" fmla="*/ 158 w 257"/>
                  <a:gd name="T75" fmla="*/ 176 h 192"/>
                  <a:gd name="T76" fmla="*/ 176 w 257"/>
                  <a:gd name="T77" fmla="*/ 170 h 192"/>
                  <a:gd name="T78" fmla="*/ 197 w 257"/>
                  <a:gd name="T79" fmla="*/ 177 h 192"/>
                  <a:gd name="T80" fmla="*/ 203 w 257"/>
                  <a:gd name="T81" fmla="*/ 173 h 192"/>
                  <a:gd name="T82" fmla="*/ 217 w 257"/>
                  <a:gd name="T83" fmla="*/ 167 h 192"/>
                  <a:gd name="T84" fmla="*/ 232 w 257"/>
                  <a:gd name="T85" fmla="*/ 141 h 192"/>
                  <a:gd name="T86" fmla="*/ 232 w 257"/>
                  <a:gd name="T87" fmla="*/ 136 h 192"/>
                  <a:gd name="T88" fmla="*/ 239 w 257"/>
                  <a:gd name="T89" fmla="*/ 123 h 192"/>
                  <a:gd name="T90" fmla="*/ 249 w 257"/>
                  <a:gd name="T91" fmla="*/ 112 h 192"/>
                  <a:gd name="T92" fmla="*/ 249 w 257"/>
                  <a:gd name="T93" fmla="*/ 88 h 192"/>
                  <a:gd name="T94" fmla="*/ 253 w 257"/>
                  <a:gd name="T95" fmla="*/ 59 h 192"/>
                  <a:gd name="T96" fmla="*/ 256 w 257"/>
                  <a:gd name="T97" fmla="*/ 49 h 192"/>
                  <a:gd name="T98" fmla="*/ 250 w 257"/>
                  <a:gd name="T99" fmla="*/ 34 h 192"/>
                  <a:gd name="T100" fmla="*/ 249 w 257"/>
                  <a:gd name="T101" fmla="*/ 17 h 192"/>
                  <a:gd name="T102" fmla="*/ 213 w 257"/>
                  <a:gd name="T103" fmla="*/ 15 h 192"/>
                  <a:gd name="T104" fmla="*/ 205 w 257"/>
                  <a:gd name="T105" fmla="*/ 4 h 192"/>
                  <a:gd name="T106" fmla="*/ 191 w 257"/>
                  <a:gd name="T107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7" h="192">
                    <a:moveTo>
                      <a:pt x="191" y="0"/>
                    </a:moveTo>
                    <a:lnTo>
                      <a:pt x="110" y="45"/>
                    </a:lnTo>
                    <a:lnTo>
                      <a:pt x="109" y="45"/>
                    </a:lnTo>
                    <a:lnTo>
                      <a:pt x="104" y="45"/>
                    </a:lnTo>
                    <a:lnTo>
                      <a:pt x="99" y="46"/>
                    </a:lnTo>
                    <a:lnTo>
                      <a:pt x="92" y="48"/>
                    </a:lnTo>
                    <a:lnTo>
                      <a:pt x="85" y="49"/>
                    </a:lnTo>
                    <a:lnTo>
                      <a:pt x="78" y="50"/>
                    </a:lnTo>
                    <a:lnTo>
                      <a:pt x="74" y="52"/>
                    </a:lnTo>
                    <a:lnTo>
                      <a:pt x="71" y="52"/>
                    </a:lnTo>
                    <a:lnTo>
                      <a:pt x="71" y="53"/>
                    </a:lnTo>
                    <a:lnTo>
                      <a:pt x="71" y="61"/>
                    </a:lnTo>
                    <a:lnTo>
                      <a:pt x="70" y="71"/>
                    </a:lnTo>
                    <a:lnTo>
                      <a:pt x="69" y="85"/>
                    </a:lnTo>
                    <a:lnTo>
                      <a:pt x="65" y="99"/>
                    </a:lnTo>
                    <a:lnTo>
                      <a:pt x="60" y="114"/>
                    </a:lnTo>
                    <a:lnTo>
                      <a:pt x="58" y="121"/>
                    </a:lnTo>
                    <a:lnTo>
                      <a:pt x="54" y="126"/>
                    </a:lnTo>
                    <a:lnTo>
                      <a:pt x="49" y="133"/>
                    </a:lnTo>
                    <a:lnTo>
                      <a:pt x="44" y="138"/>
                    </a:lnTo>
                    <a:lnTo>
                      <a:pt x="44" y="138"/>
                    </a:lnTo>
                    <a:lnTo>
                      <a:pt x="43" y="140"/>
                    </a:lnTo>
                    <a:lnTo>
                      <a:pt x="40" y="141"/>
                    </a:lnTo>
                    <a:lnTo>
                      <a:pt x="37" y="143"/>
                    </a:lnTo>
                    <a:lnTo>
                      <a:pt x="33" y="144"/>
                    </a:lnTo>
                    <a:lnTo>
                      <a:pt x="30" y="145"/>
                    </a:lnTo>
                    <a:lnTo>
                      <a:pt x="26" y="145"/>
                    </a:lnTo>
                    <a:lnTo>
                      <a:pt x="22" y="145"/>
                    </a:lnTo>
                    <a:lnTo>
                      <a:pt x="22" y="145"/>
                    </a:lnTo>
                    <a:lnTo>
                      <a:pt x="19" y="145"/>
                    </a:lnTo>
                    <a:lnTo>
                      <a:pt x="16" y="145"/>
                    </a:lnTo>
                    <a:lnTo>
                      <a:pt x="14" y="145"/>
                    </a:lnTo>
                    <a:lnTo>
                      <a:pt x="11" y="145"/>
                    </a:lnTo>
                    <a:lnTo>
                      <a:pt x="8" y="145"/>
                    </a:lnTo>
                    <a:lnTo>
                      <a:pt x="5" y="145"/>
                    </a:lnTo>
                    <a:lnTo>
                      <a:pt x="4" y="145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3" y="156"/>
                    </a:lnTo>
                    <a:lnTo>
                      <a:pt x="4" y="159"/>
                    </a:lnTo>
                    <a:lnTo>
                      <a:pt x="5" y="160"/>
                    </a:lnTo>
                    <a:lnTo>
                      <a:pt x="7" y="162"/>
                    </a:lnTo>
                    <a:lnTo>
                      <a:pt x="7" y="163"/>
                    </a:lnTo>
                    <a:lnTo>
                      <a:pt x="7" y="163"/>
                    </a:lnTo>
                    <a:lnTo>
                      <a:pt x="7" y="165"/>
                    </a:lnTo>
                    <a:lnTo>
                      <a:pt x="8" y="166"/>
                    </a:lnTo>
                    <a:lnTo>
                      <a:pt x="8" y="167"/>
                    </a:lnTo>
                    <a:lnTo>
                      <a:pt x="9" y="169"/>
                    </a:lnTo>
                    <a:lnTo>
                      <a:pt x="11" y="170"/>
                    </a:lnTo>
                    <a:lnTo>
                      <a:pt x="12" y="171"/>
                    </a:lnTo>
                    <a:lnTo>
                      <a:pt x="15" y="171"/>
                    </a:lnTo>
                    <a:lnTo>
                      <a:pt x="15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18" y="173"/>
                    </a:lnTo>
                    <a:lnTo>
                      <a:pt x="19" y="174"/>
                    </a:lnTo>
                    <a:lnTo>
                      <a:pt x="19" y="174"/>
                    </a:lnTo>
                    <a:lnTo>
                      <a:pt x="19" y="178"/>
                    </a:lnTo>
                    <a:lnTo>
                      <a:pt x="30" y="178"/>
                    </a:lnTo>
                    <a:lnTo>
                      <a:pt x="31" y="170"/>
                    </a:lnTo>
                    <a:lnTo>
                      <a:pt x="33" y="171"/>
                    </a:lnTo>
                    <a:lnTo>
                      <a:pt x="34" y="173"/>
                    </a:lnTo>
                    <a:lnTo>
                      <a:pt x="37" y="174"/>
                    </a:lnTo>
                    <a:lnTo>
                      <a:pt x="40" y="177"/>
                    </a:lnTo>
                    <a:lnTo>
                      <a:pt x="43" y="180"/>
                    </a:lnTo>
                    <a:lnTo>
                      <a:pt x="45" y="181"/>
                    </a:lnTo>
                    <a:lnTo>
                      <a:pt x="48" y="182"/>
                    </a:lnTo>
                    <a:lnTo>
                      <a:pt x="49" y="184"/>
                    </a:lnTo>
                    <a:lnTo>
                      <a:pt x="49" y="184"/>
                    </a:lnTo>
                    <a:lnTo>
                      <a:pt x="51" y="185"/>
                    </a:lnTo>
                    <a:lnTo>
                      <a:pt x="51" y="185"/>
                    </a:lnTo>
                    <a:lnTo>
                      <a:pt x="52" y="187"/>
                    </a:lnTo>
                    <a:lnTo>
                      <a:pt x="54" y="188"/>
                    </a:lnTo>
                    <a:lnTo>
                      <a:pt x="55" y="189"/>
                    </a:lnTo>
                    <a:lnTo>
                      <a:pt x="56" y="191"/>
                    </a:lnTo>
                    <a:lnTo>
                      <a:pt x="58" y="192"/>
                    </a:lnTo>
                    <a:lnTo>
                      <a:pt x="58" y="192"/>
                    </a:lnTo>
                    <a:lnTo>
                      <a:pt x="59" y="189"/>
                    </a:lnTo>
                    <a:lnTo>
                      <a:pt x="60" y="187"/>
                    </a:lnTo>
                    <a:lnTo>
                      <a:pt x="65" y="182"/>
                    </a:lnTo>
                    <a:lnTo>
                      <a:pt x="69" y="180"/>
                    </a:lnTo>
                    <a:lnTo>
                      <a:pt x="74" y="177"/>
                    </a:lnTo>
                    <a:lnTo>
                      <a:pt x="81" y="174"/>
                    </a:lnTo>
                    <a:lnTo>
                      <a:pt x="88" y="173"/>
                    </a:lnTo>
                    <a:lnTo>
                      <a:pt x="92" y="173"/>
                    </a:lnTo>
                    <a:lnTo>
                      <a:pt x="96" y="173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2" y="176"/>
                    </a:lnTo>
                    <a:lnTo>
                      <a:pt x="103" y="176"/>
                    </a:lnTo>
                    <a:lnTo>
                      <a:pt x="103" y="176"/>
                    </a:lnTo>
                    <a:lnTo>
                      <a:pt x="104" y="176"/>
                    </a:lnTo>
                    <a:lnTo>
                      <a:pt x="106" y="176"/>
                    </a:lnTo>
                    <a:lnTo>
                      <a:pt x="110" y="177"/>
                    </a:lnTo>
                    <a:lnTo>
                      <a:pt x="114" y="178"/>
                    </a:lnTo>
                    <a:lnTo>
                      <a:pt x="118" y="180"/>
                    </a:lnTo>
                    <a:lnTo>
                      <a:pt x="122" y="181"/>
                    </a:lnTo>
                    <a:lnTo>
                      <a:pt x="125" y="184"/>
                    </a:lnTo>
                    <a:lnTo>
                      <a:pt x="128" y="187"/>
                    </a:lnTo>
                    <a:lnTo>
                      <a:pt x="128" y="187"/>
                    </a:lnTo>
                    <a:lnTo>
                      <a:pt x="131" y="184"/>
                    </a:lnTo>
                    <a:lnTo>
                      <a:pt x="133" y="181"/>
                    </a:lnTo>
                    <a:lnTo>
                      <a:pt x="136" y="178"/>
                    </a:lnTo>
                    <a:lnTo>
                      <a:pt x="140" y="177"/>
                    </a:lnTo>
                    <a:lnTo>
                      <a:pt x="144" y="176"/>
                    </a:lnTo>
                    <a:lnTo>
                      <a:pt x="150" y="176"/>
                    </a:lnTo>
                    <a:lnTo>
                      <a:pt x="154" y="177"/>
                    </a:lnTo>
                    <a:lnTo>
                      <a:pt x="155" y="177"/>
                    </a:lnTo>
                    <a:lnTo>
                      <a:pt x="158" y="176"/>
                    </a:lnTo>
                    <a:lnTo>
                      <a:pt x="164" y="173"/>
                    </a:lnTo>
                    <a:lnTo>
                      <a:pt x="169" y="171"/>
                    </a:lnTo>
                    <a:lnTo>
                      <a:pt x="176" y="170"/>
                    </a:lnTo>
                    <a:lnTo>
                      <a:pt x="183" y="170"/>
                    </a:lnTo>
                    <a:lnTo>
                      <a:pt x="190" y="173"/>
                    </a:lnTo>
                    <a:lnTo>
                      <a:pt x="197" y="177"/>
                    </a:lnTo>
                    <a:lnTo>
                      <a:pt x="198" y="176"/>
                    </a:lnTo>
                    <a:lnTo>
                      <a:pt x="199" y="174"/>
                    </a:lnTo>
                    <a:lnTo>
                      <a:pt x="203" y="173"/>
                    </a:lnTo>
                    <a:lnTo>
                      <a:pt x="208" y="171"/>
                    </a:lnTo>
                    <a:lnTo>
                      <a:pt x="213" y="169"/>
                    </a:lnTo>
                    <a:lnTo>
                      <a:pt x="217" y="167"/>
                    </a:lnTo>
                    <a:lnTo>
                      <a:pt x="223" y="167"/>
                    </a:lnTo>
                    <a:lnTo>
                      <a:pt x="228" y="167"/>
                    </a:lnTo>
                    <a:lnTo>
                      <a:pt x="232" y="141"/>
                    </a:lnTo>
                    <a:lnTo>
                      <a:pt x="232" y="141"/>
                    </a:lnTo>
                    <a:lnTo>
                      <a:pt x="232" y="138"/>
                    </a:lnTo>
                    <a:lnTo>
                      <a:pt x="232" y="136"/>
                    </a:lnTo>
                    <a:lnTo>
                      <a:pt x="234" y="132"/>
                    </a:lnTo>
                    <a:lnTo>
                      <a:pt x="235" y="127"/>
                    </a:lnTo>
                    <a:lnTo>
                      <a:pt x="239" y="123"/>
                    </a:lnTo>
                    <a:lnTo>
                      <a:pt x="243" y="119"/>
                    </a:lnTo>
                    <a:lnTo>
                      <a:pt x="250" y="115"/>
                    </a:lnTo>
                    <a:lnTo>
                      <a:pt x="249" y="112"/>
                    </a:lnTo>
                    <a:lnTo>
                      <a:pt x="249" y="107"/>
                    </a:lnTo>
                    <a:lnTo>
                      <a:pt x="249" y="99"/>
                    </a:lnTo>
                    <a:lnTo>
                      <a:pt x="249" y="88"/>
                    </a:lnTo>
                    <a:lnTo>
                      <a:pt x="250" y="77"/>
                    </a:lnTo>
                    <a:lnTo>
                      <a:pt x="252" y="67"/>
                    </a:lnTo>
                    <a:lnTo>
                      <a:pt x="253" y="59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6" y="49"/>
                    </a:lnTo>
                    <a:lnTo>
                      <a:pt x="254" y="45"/>
                    </a:lnTo>
                    <a:lnTo>
                      <a:pt x="252" y="39"/>
                    </a:lnTo>
                    <a:lnTo>
                      <a:pt x="250" y="34"/>
                    </a:lnTo>
                    <a:lnTo>
                      <a:pt x="249" y="28"/>
                    </a:lnTo>
                    <a:lnTo>
                      <a:pt x="247" y="23"/>
                    </a:lnTo>
                    <a:lnTo>
                      <a:pt x="249" y="17"/>
                    </a:lnTo>
                    <a:lnTo>
                      <a:pt x="214" y="19"/>
                    </a:lnTo>
                    <a:lnTo>
                      <a:pt x="214" y="17"/>
                    </a:lnTo>
                    <a:lnTo>
                      <a:pt x="213" y="15"/>
                    </a:lnTo>
                    <a:lnTo>
                      <a:pt x="210" y="12"/>
                    </a:lnTo>
                    <a:lnTo>
                      <a:pt x="208" y="8"/>
                    </a:lnTo>
                    <a:lnTo>
                      <a:pt x="205" y="4"/>
                    </a:lnTo>
                    <a:lnTo>
                      <a:pt x="201" y="1"/>
                    </a:lnTo>
                    <a:lnTo>
                      <a:pt x="197" y="0"/>
                    </a:lnTo>
                    <a:lnTo>
                      <a:pt x="19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8" name="Freeform 981"/>
              <p:cNvSpPr>
                <a:spLocks/>
              </p:cNvSpPr>
              <p:nvPr/>
            </p:nvSpPr>
            <p:spPr bwMode="auto">
              <a:xfrm>
                <a:off x="2702" y="2556"/>
                <a:ext cx="257" cy="192"/>
              </a:xfrm>
              <a:custGeom>
                <a:avLst/>
                <a:gdLst>
                  <a:gd name="T0" fmla="*/ 109 w 257"/>
                  <a:gd name="T1" fmla="*/ 45 h 192"/>
                  <a:gd name="T2" fmla="*/ 92 w 257"/>
                  <a:gd name="T3" fmla="*/ 48 h 192"/>
                  <a:gd name="T4" fmla="*/ 74 w 257"/>
                  <a:gd name="T5" fmla="*/ 52 h 192"/>
                  <a:gd name="T6" fmla="*/ 71 w 257"/>
                  <a:gd name="T7" fmla="*/ 61 h 192"/>
                  <a:gd name="T8" fmla="*/ 65 w 257"/>
                  <a:gd name="T9" fmla="*/ 99 h 192"/>
                  <a:gd name="T10" fmla="*/ 54 w 257"/>
                  <a:gd name="T11" fmla="*/ 126 h 192"/>
                  <a:gd name="T12" fmla="*/ 43 w 257"/>
                  <a:gd name="T13" fmla="*/ 140 h 192"/>
                  <a:gd name="T14" fmla="*/ 33 w 257"/>
                  <a:gd name="T15" fmla="*/ 144 h 192"/>
                  <a:gd name="T16" fmla="*/ 22 w 257"/>
                  <a:gd name="T17" fmla="*/ 145 h 192"/>
                  <a:gd name="T18" fmla="*/ 14 w 257"/>
                  <a:gd name="T19" fmla="*/ 145 h 192"/>
                  <a:gd name="T20" fmla="*/ 5 w 257"/>
                  <a:gd name="T21" fmla="*/ 145 h 192"/>
                  <a:gd name="T22" fmla="*/ 0 w 257"/>
                  <a:gd name="T23" fmla="*/ 154 h 192"/>
                  <a:gd name="T24" fmla="*/ 4 w 257"/>
                  <a:gd name="T25" fmla="*/ 159 h 192"/>
                  <a:gd name="T26" fmla="*/ 7 w 257"/>
                  <a:gd name="T27" fmla="*/ 163 h 192"/>
                  <a:gd name="T28" fmla="*/ 8 w 257"/>
                  <a:gd name="T29" fmla="*/ 167 h 192"/>
                  <a:gd name="T30" fmla="*/ 12 w 257"/>
                  <a:gd name="T31" fmla="*/ 171 h 192"/>
                  <a:gd name="T32" fmla="*/ 16 w 257"/>
                  <a:gd name="T33" fmla="*/ 173 h 192"/>
                  <a:gd name="T34" fmla="*/ 19 w 257"/>
                  <a:gd name="T35" fmla="*/ 178 h 192"/>
                  <a:gd name="T36" fmla="*/ 33 w 257"/>
                  <a:gd name="T37" fmla="*/ 171 h 192"/>
                  <a:gd name="T38" fmla="*/ 40 w 257"/>
                  <a:gd name="T39" fmla="*/ 177 h 192"/>
                  <a:gd name="T40" fmla="*/ 48 w 257"/>
                  <a:gd name="T41" fmla="*/ 182 h 192"/>
                  <a:gd name="T42" fmla="*/ 52 w 257"/>
                  <a:gd name="T43" fmla="*/ 187 h 192"/>
                  <a:gd name="T44" fmla="*/ 56 w 257"/>
                  <a:gd name="T45" fmla="*/ 191 h 192"/>
                  <a:gd name="T46" fmla="*/ 60 w 257"/>
                  <a:gd name="T47" fmla="*/ 187 h 192"/>
                  <a:gd name="T48" fmla="*/ 74 w 257"/>
                  <a:gd name="T49" fmla="*/ 177 h 192"/>
                  <a:gd name="T50" fmla="*/ 92 w 257"/>
                  <a:gd name="T51" fmla="*/ 173 h 192"/>
                  <a:gd name="T52" fmla="*/ 100 w 257"/>
                  <a:gd name="T53" fmla="*/ 174 h 192"/>
                  <a:gd name="T54" fmla="*/ 103 w 257"/>
                  <a:gd name="T55" fmla="*/ 176 h 192"/>
                  <a:gd name="T56" fmla="*/ 110 w 257"/>
                  <a:gd name="T57" fmla="*/ 177 h 192"/>
                  <a:gd name="T58" fmla="*/ 122 w 257"/>
                  <a:gd name="T59" fmla="*/ 181 h 192"/>
                  <a:gd name="T60" fmla="*/ 131 w 257"/>
                  <a:gd name="T61" fmla="*/ 184 h 192"/>
                  <a:gd name="T62" fmla="*/ 140 w 257"/>
                  <a:gd name="T63" fmla="*/ 177 h 192"/>
                  <a:gd name="T64" fmla="*/ 154 w 257"/>
                  <a:gd name="T65" fmla="*/ 177 h 192"/>
                  <a:gd name="T66" fmla="*/ 164 w 257"/>
                  <a:gd name="T67" fmla="*/ 173 h 192"/>
                  <a:gd name="T68" fmla="*/ 183 w 257"/>
                  <a:gd name="T69" fmla="*/ 170 h 192"/>
                  <a:gd name="T70" fmla="*/ 198 w 257"/>
                  <a:gd name="T71" fmla="*/ 176 h 192"/>
                  <a:gd name="T72" fmla="*/ 208 w 257"/>
                  <a:gd name="T73" fmla="*/ 171 h 192"/>
                  <a:gd name="T74" fmla="*/ 223 w 257"/>
                  <a:gd name="T75" fmla="*/ 167 h 192"/>
                  <a:gd name="T76" fmla="*/ 232 w 257"/>
                  <a:gd name="T77" fmla="*/ 138 h 192"/>
                  <a:gd name="T78" fmla="*/ 235 w 257"/>
                  <a:gd name="T79" fmla="*/ 127 h 192"/>
                  <a:gd name="T80" fmla="*/ 250 w 257"/>
                  <a:gd name="T81" fmla="*/ 115 h 192"/>
                  <a:gd name="T82" fmla="*/ 249 w 257"/>
                  <a:gd name="T83" fmla="*/ 99 h 192"/>
                  <a:gd name="T84" fmla="*/ 252 w 257"/>
                  <a:gd name="T85" fmla="*/ 67 h 192"/>
                  <a:gd name="T86" fmla="*/ 257 w 257"/>
                  <a:gd name="T87" fmla="*/ 52 h 192"/>
                  <a:gd name="T88" fmla="*/ 252 w 257"/>
                  <a:gd name="T89" fmla="*/ 39 h 192"/>
                  <a:gd name="T90" fmla="*/ 247 w 257"/>
                  <a:gd name="T91" fmla="*/ 23 h 192"/>
                  <a:gd name="T92" fmla="*/ 214 w 257"/>
                  <a:gd name="T93" fmla="*/ 17 h 192"/>
                  <a:gd name="T94" fmla="*/ 208 w 257"/>
                  <a:gd name="T95" fmla="*/ 8 h 192"/>
                  <a:gd name="T96" fmla="*/ 197 w 257"/>
                  <a:gd name="T97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7" h="192">
                    <a:moveTo>
                      <a:pt x="191" y="0"/>
                    </a:moveTo>
                    <a:lnTo>
                      <a:pt x="110" y="45"/>
                    </a:lnTo>
                    <a:lnTo>
                      <a:pt x="109" y="45"/>
                    </a:lnTo>
                    <a:lnTo>
                      <a:pt x="104" y="45"/>
                    </a:lnTo>
                    <a:lnTo>
                      <a:pt x="99" y="46"/>
                    </a:lnTo>
                    <a:lnTo>
                      <a:pt x="92" y="48"/>
                    </a:lnTo>
                    <a:lnTo>
                      <a:pt x="85" y="49"/>
                    </a:lnTo>
                    <a:lnTo>
                      <a:pt x="78" y="50"/>
                    </a:lnTo>
                    <a:lnTo>
                      <a:pt x="74" y="52"/>
                    </a:lnTo>
                    <a:lnTo>
                      <a:pt x="71" y="52"/>
                    </a:lnTo>
                    <a:lnTo>
                      <a:pt x="71" y="53"/>
                    </a:lnTo>
                    <a:lnTo>
                      <a:pt x="71" y="61"/>
                    </a:lnTo>
                    <a:lnTo>
                      <a:pt x="70" y="71"/>
                    </a:lnTo>
                    <a:lnTo>
                      <a:pt x="69" y="85"/>
                    </a:lnTo>
                    <a:lnTo>
                      <a:pt x="65" y="99"/>
                    </a:lnTo>
                    <a:lnTo>
                      <a:pt x="60" y="114"/>
                    </a:lnTo>
                    <a:lnTo>
                      <a:pt x="58" y="121"/>
                    </a:lnTo>
                    <a:lnTo>
                      <a:pt x="54" y="126"/>
                    </a:lnTo>
                    <a:lnTo>
                      <a:pt x="49" y="133"/>
                    </a:lnTo>
                    <a:lnTo>
                      <a:pt x="44" y="138"/>
                    </a:lnTo>
                    <a:lnTo>
                      <a:pt x="43" y="140"/>
                    </a:lnTo>
                    <a:lnTo>
                      <a:pt x="40" y="141"/>
                    </a:lnTo>
                    <a:lnTo>
                      <a:pt x="37" y="143"/>
                    </a:lnTo>
                    <a:lnTo>
                      <a:pt x="33" y="144"/>
                    </a:lnTo>
                    <a:lnTo>
                      <a:pt x="30" y="145"/>
                    </a:lnTo>
                    <a:lnTo>
                      <a:pt x="26" y="145"/>
                    </a:lnTo>
                    <a:lnTo>
                      <a:pt x="22" y="145"/>
                    </a:lnTo>
                    <a:lnTo>
                      <a:pt x="19" y="145"/>
                    </a:lnTo>
                    <a:lnTo>
                      <a:pt x="16" y="145"/>
                    </a:lnTo>
                    <a:lnTo>
                      <a:pt x="14" y="145"/>
                    </a:lnTo>
                    <a:lnTo>
                      <a:pt x="11" y="145"/>
                    </a:lnTo>
                    <a:lnTo>
                      <a:pt x="8" y="145"/>
                    </a:lnTo>
                    <a:lnTo>
                      <a:pt x="5" y="145"/>
                    </a:lnTo>
                    <a:lnTo>
                      <a:pt x="4" y="145"/>
                    </a:lnTo>
                    <a:lnTo>
                      <a:pt x="0" y="152"/>
                    </a:lnTo>
                    <a:lnTo>
                      <a:pt x="0" y="154"/>
                    </a:lnTo>
                    <a:lnTo>
                      <a:pt x="1" y="155"/>
                    </a:lnTo>
                    <a:lnTo>
                      <a:pt x="3" y="156"/>
                    </a:lnTo>
                    <a:lnTo>
                      <a:pt x="4" y="159"/>
                    </a:lnTo>
                    <a:lnTo>
                      <a:pt x="5" y="160"/>
                    </a:lnTo>
                    <a:lnTo>
                      <a:pt x="7" y="162"/>
                    </a:lnTo>
                    <a:lnTo>
                      <a:pt x="7" y="163"/>
                    </a:lnTo>
                    <a:lnTo>
                      <a:pt x="7" y="165"/>
                    </a:lnTo>
                    <a:lnTo>
                      <a:pt x="8" y="166"/>
                    </a:lnTo>
                    <a:lnTo>
                      <a:pt x="8" y="167"/>
                    </a:lnTo>
                    <a:lnTo>
                      <a:pt x="9" y="169"/>
                    </a:lnTo>
                    <a:lnTo>
                      <a:pt x="11" y="170"/>
                    </a:lnTo>
                    <a:lnTo>
                      <a:pt x="12" y="171"/>
                    </a:lnTo>
                    <a:lnTo>
                      <a:pt x="15" y="171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8" y="173"/>
                    </a:lnTo>
                    <a:lnTo>
                      <a:pt x="19" y="174"/>
                    </a:lnTo>
                    <a:lnTo>
                      <a:pt x="19" y="178"/>
                    </a:lnTo>
                    <a:lnTo>
                      <a:pt x="30" y="178"/>
                    </a:lnTo>
                    <a:lnTo>
                      <a:pt x="31" y="170"/>
                    </a:lnTo>
                    <a:lnTo>
                      <a:pt x="33" y="171"/>
                    </a:lnTo>
                    <a:lnTo>
                      <a:pt x="34" y="173"/>
                    </a:lnTo>
                    <a:lnTo>
                      <a:pt x="37" y="174"/>
                    </a:lnTo>
                    <a:lnTo>
                      <a:pt x="40" y="177"/>
                    </a:lnTo>
                    <a:lnTo>
                      <a:pt x="43" y="180"/>
                    </a:lnTo>
                    <a:lnTo>
                      <a:pt x="45" y="181"/>
                    </a:lnTo>
                    <a:lnTo>
                      <a:pt x="48" y="182"/>
                    </a:lnTo>
                    <a:lnTo>
                      <a:pt x="49" y="184"/>
                    </a:lnTo>
                    <a:lnTo>
                      <a:pt x="51" y="185"/>
                    </a:lnTo>
                    <a:lnTo>
                      <a:pt x="52" y="187"/>
                    </a:lnTo>
                    <a:lnTo>
                      <a:pt x="54" y="188"/>
                    </a:lnTo>
                    <a:lnTo>
                      <a:pt x="55" y="189"/>
                    </a:lnTo>
                    <a:lnTo>
                      <a:pt x="56" y="191"/>
                    </a:lnTo>
                    <a:lnTo>
                      <a:pt x="58" y="192"/>
                    </a:lnTo>
                    <a:lnTo>
                      <a:pt x="59" y="189"/>
                    </a:lnTo>
                    <a:lnTo>
                      <a:pt x="60" y="187"/>
                    </a:lnTo>
                    <a:lnTo>
                      <a:pt x="65" y="182"/>
                    </a:lnTo>
                    <a:lnTo>
                      <a:pt x="69" y="180"/>
                    </a:lnTo>
                    <a:lnTo>
                      <a:pt x="74" y="177"/>
                    </a:lnTo>
                    <a:lnTo>
                      <a:pt x="81" y="174"/>
                    </a:lnTo>
                    <a:lnTo>
                      <a:pt x="88" y="173"/>
                    </a:lnTo>
                    <a:lnTo>
                      <a:pt x="92" y="173"/>
                    </a:lnTo>
                    <a:lnTo>
                      <a:pt x="96" y="173"/>
                    </a:lnTo>
                    <a:lnTo>
                      <a:pt x="98" y="174"/>
                    </a:lnTo>
                    <a:lnTo>
                      <a:pt x="100" y="174"/>
                    </a:lnTo>
                    <a:lnTo>
                      <a:pt x="102" y="174"/>
                    </a:lnTo>
                    <a:lnTo>
                      <a:pt x="102" y="176"/>
                    </a:lnTo>
                    <a:lnTo>
                      <a:pt x="103" y="176"/>
                    </a:lnTo>
                    <a:lnTo>
                      <a:pt x="104" y="176"/>
                    </a:lnTo>
                    <a:lnTo>
                      <a:pt x="106" y="176"/>
                    </a:lnTo>
                    <a:lnTo>
                      <a:pt x="110" y="177"/>
                    </a:lnTo>
                    <a:lnTo>
                      <a:pt x="114" y="178"/>
                    </a:lnTo>
                    <a:lnTo>
                      <a:pt x="118" y="180"/>
                    </a:lnTo>
                    <a:lnTo>
                      <a:pt x="122" y="181"/>
                    </a:lnTo>
                    <a:lnTo>
                      <a:pt x="125" y="184"/>
                    </a:lnTo>
                    <a:lnTo>
                      <a:pt x="128" y="187"/>
                    </a:lnTo>
                    <a:lnTo>
                      <a:pt x="131" y="184"/>
                    </a:lnTo>
                    <a:lnTo>
                      <a:pt x="133" y="181"/>
                    </a:lnTo>
                    <a:lnTo>
                      <a:pt x="136" y="178"/>
                    </a:lnTo>
                    <a:lnTo>
                      <a:pt x="140" y="177"/>
                    </a:lnTo>
                    <a:lnTo>
                      <a:pt x="144" y="176"/>
                    </a:lnTo>
                    <a:lnTo>
                      <a:pt x="150" y="176"/>
                    </a:lnTo>
                    <a:lnTo>
                      <a:pt x="154" y="177"/>
                    </a:lnTo>
                    <a:lnTo>
                      <a:pt x="155" y="177"/>
                    </a:lnTo>
                    <a:lnTo>
                      <a:pt x="158" y="176"/>
                    </a:lnTo>
                    <a:lnTo>
                      <a:pt x="164" y="173"/>
                    </a:lnTo>
                    <a:lnTo>
                      <a:pt x="169" y="171"/>
                    </a:lnTo>
                    <a:lnTo>
                      <a:pt x="176" y="170"/>
                    </a:lnTo>
                    <a:lnTo>
                      <a:pt x="183" y="170"/>
                    </a:lnTo>
                    <a:lnTo>
                      <a:pt x="190" y="173"/>
                    </a:lnTo>
                    <a:lnTo>
                      <a:pt x="197" y="177"/>
                    </a:lnTo>
                    <a:lnTo>
                      <a:pt x="198" y="176"/>
                    </a:lnTo>
                    <a:lnTo>
                      <a:pt x="199" y="174"/>
                    </a:lnTo>
                    <a:lnTo>
                      <a:pt x="203" y="173"/>
                    </a:lnTo>
                    <a:lnTo>
                      <a:pt x="208" y="171"/>
                    </a:lnTo>
                    <a:lnTo>
                      <a:pt x="213" y="169"/>
                    </a:lnTo>
                    <a:lnTo>
                      <a:pt x="217" y="167"/>
                    </a:lnTo>
                    <a:lnTo>
                      <a:pt x="223" y="167"/>
                    </a:lnTo>
                    <a:lnTo>
                      <a:pt x="228" y="167"/>
                    </a:lnTo>
                    <a:lnTo>
                      <a:pt x="232" y="141"/>
                    </a:lnTo>
                    <a:lnTo>
                      <a:pt x="232" y="138"/>
                    </a:lnTo>
                    <a:lnTo>
                      <a:pt x="232" y="136"/>
                    </a:lnTo>
                    <a:lnTo>
                      <a:pt x="234" y="132"/>
                    </a:lnTo>
                    <a:lnTo>
                      <a:pt x="235" y="127"/>
                    </a:lnTo>
                    <a:lnTo>
                      <a:pt x="239" y="123"/>
                    </a:lnTo>
                    <a:lnTo>
                      <a:pt x="243" y="119"/>
                    </a:lnTo>
                    <a:lnTo>
                      <a:pt x="250" y="115"/>
                    </a:lnTo>
                    <a:lnTo>
                      <a:pt x="249" y="112"/>
                    </a:lnTo>
                    <a:lnTo>
                      <a:pt x="249" y="107"/>
                    </a:lnTo>
                    <a:lnTo>
                      <a:pt x="249" y="99"/>
                    </a:lnTo>
                    <a:lnTo>
                      <a:pt x="249" y="88"/>
                    </a:lnTo>
                    <a:lnTo>
                      <a:pt x="250" y="77"/>
                    </a:lnTo>
                    <a:lnTo>
                      <a:pt x="252" y="67"/>
                    </a:lnTo>
                    <a:lnTo>
                      <a:pt x="253" y="59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6" y="49"/>
                    </a:lnTo>
                    <a:lnTo>
                      <a:pt x="254" y="45"/>
                    </a:lnTo>
                    <a:lnTo>
                      <a:pt x="252" y="39"/>
                    </a:lnTo>
                    <a:lnTo>
                      <a:pt x="250" y="34"/>
                    </a:lnTo>
                    <a:lnTo>
                      <a:pt x="249" y="28"/>
                    </a:lnTo>
                    <a:lnTo>
                      <a:pt x="247" y="23"/>
                    </a:lnTo>
                    <a:lnTo>
                      <a:pt x="249" y="17"/>
                    </a:lnTo>
                    <a:lnTo>
                      <a:pt x="214" y="19"/>
                    </a:lnTo>
                    <a:lnTo>
                      <a:pt x="214" y="17"/>
                    </a:lnTo>
                    <a:lnTo>
                      <a:pt x="213" y="15"/>
                    </a:lnTo>
                    <a:lnTo>
                      <a:pt x="210" y="12"/>
                    </a:lnTo>
                    <a:lnTo>
                      <a:pt x="208" y="8"/>
                    </a:lnTo>
                    <a:lnTo>
                      <a:pt x="205" y="4"/>
                    </a:lnTo>
                    <a:lnTo>
                      <a:pt x="201" y="1"/>
                    </a:lnTo>
                    <a:lnTo>
                      <a:pt x="197" y="0"/>
                    </a:lnTo>
                    <a:lnTo>
                      <a:pt x="19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9" name="Freeform 982"/>
              <p:cNvSpPr>
                <a:spLocks/>
              </p:cNvSpPr>
              <p:nvPr/>
            </p:nvSpPr>
            <p:spPr bwMode="auto">
              <a:xfrm>
                <a:off x="2859" y="2723"/>
                <a:ext cx="104" cy="176"/>
              </a:xfrm>
              <a:custGeom>
                <a:avLst/>
                <a:gdLst>
                  <a:gd name="T0" fmla="*/ 70 w 104"/>
                  <a:gd name="T1" fmla="*/ 2 h 176"/>
                  <a:gd name="T2" fmla="*/ 68 w 104"/>
                  <a:gd name="T3" fmla="*/ 7 h 176"/>
                  <a:gd name="T4" fmla="*/ 67 w 104"/>
                  <a:gd name="T5" fmla="*/ 15 h 176"/>
                  <a:gd name="T6" fmla="*/ 68 w 104"/>
                  <a:gd name="T7" fmla="*/ 25 h 176"/>
                  <a:gd name="T8" fmla="*/ 68 w 104"/>
                  <a:gd name="T9" fmla="*/ 33 h 176"/>
                  <a:gd name="T10" fmla="*/ 68 w 104"/>
                  <a:gd name="T11" fmla="*/ 43 h 176"/>
                  <a:gd name="T12" fmla="*/ 67 w 104"/>
                  <a:gd name="T13" fmla="*/ 51 h 176"/>
                  <a:gd name="T14" fmla="*/ 66 w 104"/>
                  <a:gd name="T15" fmla="*/ 55 h 176"/>
                  <a:gd name="T16" fmla="*/ 62 w 104"/>
                  <a:gd name="T17" fmla="*/ 68 h 176"/>
                  <a:gd name="T18" fmla="*/ 53 w 104"/>
                  <a:gd name="T19" fmla="*/ 81 h 176"/>
                  <a:gd name="T20" fmla="*/ 46 w 104"/>
                  <a:gd name="T21" fmla="*/ 86 h 176"/>
                  <a:gd name="T22" fmla="*/ 42 w 104"/>
                  <a:gd name="T23" fmla="*/ 86 h 176"/>
                  <a:gd name="T24" fmla="*/ 40 w 104"/>
                  <a:gd name="T25" fmla="*/ 84 h 176"/>
                  <a:gd name="T26" fmla="*/ 33 w 104"/>
                  <a:gd name="T27" fmla="*/ 83 h 176"/>
                  <a:gd name="T28" fmla="*/ 24 w 104"/>
                  <a:gd name="T29" fmla="*/ 86 h 176"/>
                  <a:gd name="T30" fmla="*/ 15 w 104"/>
                  <a:gd name="T31" fmla="*/ 95 h 176"/>
                  <a:gd name="T32" fmla="*/ 9 w 104"/>
                  <a:gd name="T33" fmla="*/ 103 h 176"/>
                  <a:gd name="T34" fmla="*/ 8 w 104"/>
                  <a:gd name="T35" fmla="*/ 121 h 176"/>
                  <a:gd name="T36" fmla="*/ 0 w 104"/>
                  <a:gd name="T37" fmla="*/ 143 h 176"/>
                  <a:gd name="T38" fmla="*/ 0 w 104"/>
                  <a:gd name="T39" fmla="*/ 147 h 176"/>
                  <a:gd name="T40" fmla="*/ 1 w 104"/>
                  <a:gd name="T41" fmla="*/ 153 h 176"/>
                  <a:gd name="T42" fmla="*/ 7 w 104"/>
                  <a:gd name="T43" fmla="*/ 157 h 176"/>
                  <a:gd name="T44" fmla="*/ 12 w 104"/>
                  <a:gd name="T45" fmla="*/ 160 h 176"/>
                  <a:gd name="T46" fmla="*/ 15 w 104"/>
                  <a:gd name="T47" fmla="*/ 161 h 176"/>
                  <a:gd name="T48" fmla="*/ 19 w 104"/>
                  <a:gd name="T49" fmla="*/ 165 h 176"/>
                  <a:gd name="T50" fmla="*/ 20 w 104"/>
                  <a:gd name="T51" fmla="*/ 172 h 176"/>
                  <a:gd name="T52" fmla="*/ 22 w 104"/>
                  <a:gd name="T53" fmla="*/ 176 h 176"/>
                  <a:gd name="T54" fmla="*/ 38 w 104"/>
                  <a:gd name="T55" fmla="*/ 175 h 176"/>
                  <a:gd name="T56" fmla="*/ 63 w 104"/>
                  <a:gd name="T57" fmla="*/ 173 h 176"/>
                  <a:gd name="T58" fmla="*/ 90 w 104"/>
                  <a:gd name="T59" fmla="*/ 173 h 176"/>
                  <a:gd name="T60" fmla="*/ 101 w 104"/>
                  <a:gd name="T61" fmla="*/ 173 h 176"/>
                  <a:gd name="T62" fmla="*/ 101 w 104"/>
                  <a:gd name="T63" fmla="*/ 171 h 176"/>
                  <a:gd name="T64" fmla="*/ 101 w 104"/>
                  <a:gd name="T65" fmla="*/ 167 h 176"/>
                  <a:gd name="T66" fmla="*/ 103 w 104"/>
                  <a:gd name="T67" fmla="*/ 162 h 176"/>
                  <a:gd name="T68" fmla="*/ 103 w 104"/>
                  <a:gd name="T69" fmla="*/ 158 h 176"/>
                  <a:gd name="T70" fmla="*/ 96 w 104"/>
                  <a:gd name="T71" fmla="*/ 154 h 176"/>
                  <a:gd name="T72" fmla="*/ 86 w 104"/>
                  <a:gd name="T73" fmla="*/ 146 h 176"/>
                  <a:gd name="T74" fmla="*/ 78 w 104"/>
                  <a:gd name="T75" fmla="*/ 131 h 176"/>
                  <a:gd name="T76" fmla="*/ 73 w 104"/>
                  <a:gd name="T77" fmla="*/ 120 h 176"/>
                  <a:gd name="T78" fmla="*/ 77 w 104"/>
                  <a:gd name="T79" fmla="*/ 117 h 176"/>
                  <a:gd name="T80" fmla="*/ 81 w 104"/>
                  <a:gd name="T81" fmla="*/ 112 h 176"/>
                  <a:gd name="T82" fmla="*/ 84 w 104"/>
                  <a:gd name="T83" fmla="*/ 105 h 176"/>
                  <a:gd name="T84" fmla="*/ 84 w 104"/>
                  <a:gd name="T85" fmla="*/ 95 h 176"/>
                  <a:gd name="T86" fmla="*/ 81 w 104"/>
                  <a:gd name="T87" fmla="*/ 91 h 176"/>
                  <a:gd name="T88" fmla="*/ 77 w 104"/>
                  <a:gd name="T89" fmla="*/ 90 h 176"/>
                  <a:gd name="T90" fmla="*/ 73 w 104"/>
                  <a:gd name="T91" fmla="*/ 84 h 176"/>
                  <a:gd name="T92" fmla="*/ 73 w 104"/>
                  <a:gd name="T93" fmla="*/ 76 h 176"/>
                  <a:gd name="T94" fmla="*/ 74 w 104"/>
                  <a:gd name="T95" fmla="*/ 69 h 176"/>
                  <a:gd name="T96" fmla="*/ 79 w 104"/>
                  <a:gd name="T97" fmla="*/ 69 h 176"/>
                  <a:gd name="T98" fmla="*/ 88 w 104"/>
                  <a:gd name="T99" fmla="*/ 66 h 176"/>
                  <a:gd name="T100" fmla="*/ 92 w 104"/>
                  <a:gd name="T101" fmla="*/ 61 h 176"/>
                  <a:gd name="T102" fmla="*/ 92 w 104"/>
                  <a:gd name="T103" fmla="*/ 54 h 176"/>
                  <a:gd name="T104" fmla="*/ 89 w 104"/>
                  <a:gd name="T105" fmla="*/ 48 h 176"/>
                  <a:gd name="T106" fmla="*/ 85 w 104"/>
                  <a:gd name="T107" fmla="*/ 39 h 176"/>
                  <a:gd name="T108" fmla="*/ 84 w 104"/>
                  <a:gd name="T109" fmla="*/ 29 h 176"/>
                  <a:gd name="T110" fmla="*/ 85 w 104"/>
                  <a:gd name="T111" fmla="*/ 24 h 176"/>
                  <a:gd name="T112" fmla="*/ 85 w 104"/>
                  <a:gd name="T113" fmla="*/ 18 h 176"/>
                  <a:gd name="T114" fmla="*/ 84 w 104"/>
                  <a:gd name="T115" fmla="*/ 11 h 176"/>
                  <a:gd name="T116" fmla="*/ 81 w 104"/>
                  <a:gd name="T117" fmla="*/ 3 h 176"/>
                  <a:gd name="T118" fmla="*/ 70 w 104"/>
                  <a:gd name="T119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4" h="176">
                    <a:moveTo>
                      <a:pt x="70" y="0"/>
                    </a:moveTo>
                    <a:lnTo>
                      <a:pt x="70" y="2"/>
                    </a:lnTo>
                    <a:lnTo>
                      <a:pt x="70" y="3"/>
                    </a:lnTo>
                    <a:lnTo>
                      <a:pt x="68" y="7"/>
                    </a:lnTo>
                    <a:lnTo>
                      <a:pt x="68" y="10"/>
                    </a:lnTo>
                    <a:lnTo>
                      <a:pt x="67" y="15"/>
                    </a:lnTo>
                    <a:lnTo>
                      <a:pt x="67" y="20"/>
                    </a:lnTo>
                    <a:lnTo>
                      <a:pt x="68" y="25"/>
                    </a:lnTo>
                    <a:lnTo>
                      <a:pt x="70" y="29"/>
                    </a:lnTo>
                    <a:lnTo>
                      <a:pt x="68" y="33"/>
                    </a:lnTo>
                    <a:lnTo>
                      <a:pt x="68" y="39"/>
                    </a:lnTo>
                    <a:lnTo>
                      <a:pt x="68" y="43"/>
                    </a:lnTo>
                    <a:lnTo>
                      <a:pt x="67" y="47"/>
                    </a:lnTo>
                    <a:lnTo>
                      <a:pt x="67" y="51"/>
                    </a:lnTo>
                    <a:lnTo>
                      <a:pt x="66" y="54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2" y="68"/>
                    </a:lnTo>
                    <a:lnTo>
                      <a:pt x="57" y="76"/>
                    </a:lnTo>
                    <a:lnTo>
                      <a:pt x="53" y="81"/>
                    </a:lnTo>
                    <a:lnTo>
                      <a:pt x="49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0" y="84"/>
                    </a:lnTo>
                    <a:lnTo>
                      <a:pt x="35" y="83"/>
                    </a:lnTo>
                    <a:lnTo>
                      <a:pt x="33" y="83"/>
                    </a:lnTo>
                    <a:lnTo>
                      <a:pt x="30" y="83"/>
                    </a:lnTo>
                    <a:lnTo>
                      <a:pt x="24" y="86"/>
                    </a:lnTo>
                    <a:lnTo>
                      <a:pt x="19" y="90"/>
                    </a:lnTo>
                    <a:lnTo>
                      <a:pt x="15" y="95"/>
                    </a:lnTo>
                    <a:lnTo>
                      <a:pt x="12" y="99"/>
                    </a:lnTo>
                    <a:lnTo>
                      <a:pt x="9" y="103"/>
                    </a:lnTo>
                    <a:lnTo>
                      <a:pt x="9" y="105"/>
                    </a:lnTo>
                    <a:lnTo>
                      <a:pt x="8" y="121"/>
                    </a:lnTo>
                    <a:lnTo>
                      <a:pt x="0" y="143"/>
                    </a:lnTo>
                    <a:lnTo>
                      <a:pt x="0" y="143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3"/>
                    </a:lnTo>
                    <a:lnTo>
                      <a:pt x="4" y="156"/>
                    </a:lnTo>
                    <a:lnTo>
                      <a:pt x="7" y="157"/>
                    </a:lnTo>
                    <a:lnTo>
                      <a:pt x="11" y="158"/>
                    </a:lnTo>
                    <a:lnTo>
                      <a:pt x="12" y="160"/>
                    </a:lnTo>
                    <a:lnTo>
                      <a:pt x="13" y="160"/>
                    </a:lnTo>
                    <a:lnTo>
                      <a:pt x="15" y="161"/>
                    </a:lnTo>
                    <a:lnTo>
                      <a:pt x="18" y="162"/>
                    </a:lnTo>
                    <a:lnTo>
                      <a:pt x="19" y="165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20" y="176"/>
                    </a:lnTo>
                    <a:lnTo>
                      <a:pt x="22" y="176"/>
                    </a:lnTo>
                    <a:lnTo>
                      <a:pt x="29" y="176"/>
                    </a:lnTo>
                    <a:lnTo>
                      <a:pt x="38" y="175"/>
                    </a:lnTo>
                    <a:lnTo>
                      <a:pt x="51" y="175"/>
                    </a:lnTo>
                    <a:lnTo>
                      <a:pt x="63" y="173"/>
                    </a:lnTo>
                    <a:lnTo>
                      <a:pt x="77" y="173"/>
                    </a:lnTo>
                    <a:lnTo>
                      <a:pt x="90" y="173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2"/>
                    </a:lnTo>
                    <a:lnTo>
                      <a:pt x="101" y="171"/>
                    </a:lnTo>
                    <a:lnTo>
                      <a:pt x="101" y="169"/>
                    </a:lnTo>
                    <a:lnTo>
                      <a:pt x="101" y="167"/>
                    </a:lnTo>
                    <a:lnTo>
                      <a:pt x="103" y="165"/>
                    </a:lnTo>
                    <a:lnTo>
                      <a:pt x="103" y="162"/>
                    </a:lnTo>
                    <a:lnTo>
                      <a:pt x="104" y="158"/>
                    </a:lnTo>
                    <a:lnTo>
                      <a:pt x="103" y="158"/>
                    </a:lnTo>
                    <a:lnTo>
                      <a:pt x="100" y="157"/>
                    </a:lnTo>
                    <a:lnTo>
                      <a:pt x="96" y="154"/>
                    </a:lnTo>
                    <a:lnTo>
                      <a:pt x="90" y="150"/>
                    </a:lnTo>
                    <a:lnTo>
                      <a:pt x="86" y="146"/>
                    </a:lnTo>
                    <a:lnTo>
                      <a:pt x="82" y="139"/>
                    </a:lnTo>
                    <a:lnTo>
                      <a:pt x="78" y="131"/>
                    </a:lnTo>
                    <a:lnTo>
                      <a:pt x="77" y="121"/>
                    </a:lnTo>
                    <a:lnTo>
                      <a:pt x="73" y="120"/>
                    </a:lnTo>
                    <a:lnTo>
                      <a:pt x="77" y="117"/>
                    </a:lnTo>
                    <a:lnTo>
                      <a:pt x="77" y="117"/>
                    </a:lnTo>
                    <a:lnTo>
                      <a:pt x="78" y="116"/>
                    </a:lnTo>
                    <a:lnTo>
                      <a:pt x="81" y="112"/>
                    </a:lnTo>
                    <a:lnTo>
                      <a:pt x="82" y="109"/>
                    </a:lnTo>
                    <a:lnTo>
                      <a:pt x="84" y="105"/>
                    </a:lnTo>
                    <a:lnTo>
                      <a:pt x="84" y="101"/>
                    </a:lnTo>
                    <a:lnTo>
                      <a:pt x="84" y="95"/>
                    </a:lnTo>
                    <a:lnTo>
                      <a:pt x="81" y="92"/>
                    </a:lnTo>
                    <a:lnTo>
                      <a:pt x="81" y="91"/>
                    </a:lnTo>
                    <a:lnTo>
                      <a:pt x="79" y="91"/>
                    </a:lnTo>
                    <a:lnTo>
                      <a:pt x="77" y="90"/>
                    </a:lnTo>
                    <a:lnTo>
                      <a:pt x="75" y="87"/>
                    </a:lnTo>
                    <a:lnTo>
                      <a:pt x="73" y="84"/>
                    </a:lnTo>
                    <a:lnTo>
                      <a:pt x="73" y="80"/>
                    </a:lnTo>
                    <a:lnTo>
                      <a:pt x="73" y="76"/>
                    </a:lnTo>
                    <a:lnTo>
                      <a:pt x="74" y="69"/>
                    </a:lnTo>
                    <a:lnTo>
                      <a:pt x="74" y="69"/>
                    </a:lnTo>
                    <a:lnTo>
                      <a:pt x="77" y="69"/>
                    </a:lnTo>
                    <a:lnTo>
                      <a:pt x="79" y="69"/>
                    </a:lnTo>
                    <a:lnTo>
                      <a:pt x="84" y="68"/>
                    </a:lnTo>
                    <a:lnTo>
                      <a:pt x="88" y="66"/>
                    </a:lnTo>
                    <a:lnTo>
                      <a:pt x="90" y="64"/>
                    </a:lnTo>
                    <a:lnTo>
                      <a:pt x="92" y="61"/>
                    </a:lnTo>
                    <a:lnTo>
                      <a:pt x="93" y="55"/>
                    </a:lnTo>
                    <a:lnTo>
                      <a:pt x="92" y="54"/>
                    </a:lnTo>
                    <a:lnTo>
                      <a:pt x="90" y="51"/>
                    </a:lnTo>
                    <a:lnTo>
                      <a:pt x="89" y="48"/>
                    </a:lnTo>
                    <a:lnTo>
                      <a:pt x="86" y="44"/>
                    </a:lnTo>
                    <a:lnTo>
                      <a:pt x="85" y="39"/>
                    </a:lnTo>
                    <a:lnTo>
                      <a:pt x="84" y="33"/>
                    </a:lnTo>
                    <a:lnTo>
                      <a:pt x="84" y="29"/>
                    </a:lnTo>
                    <a:lnTo>
                      <a:pt x="85" y="24"/>
                    </a:lnTo>
                    <a:lnTo>
                      <a:pt x="85" y="24"/>
                    </a:lnTo>
                    <a:lnTo>
                      <a:pt x="85" y="21"/>
                    </a:lnTo>
                    <a:lnTo>
                      <a:pt x="85" y="18"/>
                    </a:lnTo>
                    <a:lnTo>
                      <a:pt x="85" y="14"/>
                    </a:lnTo>
                    <a:lnTo>
                      <a:pt x="84" y="11"/>
                    </a:lnTo>
                    <a:lnTo>
                      <a:pt x="82" y="7"/>
                    </a:lnTo>
                    <a:lnTo>
                      <a:pt x="81" y="3"/>
                    </a:lnTo>
                    <a:lnTo>
                      <a:pt x="78" y="2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0" name="Freeform 983"/>
              <p:cNvSpPr>
                <a:spLocks/>
              </p:cNvSpPr>
              <p:nvPr/>
            </p:nvSpPr>
            <p:spPr bwMode="auto">
              <a:xfrm>
                <a:off x="2859" y="2723"/>
                <a:ext cx="104" cy="176"/>
              </a:xfrm>
              <a:custGeom>
                <a:avLst/>
                <a:gdLst>
                  <a:gd name="T0" fmla="*/ 70 w 104"/>
                  <a:gd name="T1" fmla="*/ 2 h 176"/>
                  <a:gd name="T2" fmla="*/ 68 w 104"/>
                  <a:gd name="T3" fmla="*/ 7 h 176"/>
                  <a:gd name="T4" fmla="*/ 67 w 104"/>
                  <a:gd name="T5" fmla="*/ 15 h 176"/>
                  <a:gd name="T6" fmla="*/ 68 w 104"/>
                  <a:gd name="T7" fmla="*/ 25 h 176"/>
                  <a:gd name="T8" fmla="*/ 68 w 104"/>
                  <a:gd name="T9" fmla="*/ 33 h 176"/>
                  <a:gd name="T10" fmla="*/ 68 w 104"/>
                  <a:gd name="T11" fmla="*/ 43 h 176"/>
                  <a:gd name="T12" fmla="*/ 67 w 104"/>
                  <a:gd name="T13" fmla="*/ 51 h 176"/>
                  <a:gd name="T14" fmla="*/ 66 w 104"/>
                  <a:gd name="T15" fmla="*/ 55 h 176"/>
                  <a:gd name="T16" fmla="*/ 62 w 104"/>
                  <a:gd name="T17" fmla="*/ 68 h 176"/>
                  <a:gd name="T18" fmla="*/ 53 w 104"/>
                  <a:gd name="T19" fmla="*/ 81 h 176"/>
                  <a:gd name="T20" fmla="*/ 46 w 104"/>
                  <a:gd name="T21" fmla="*/ 86 h 176"/>
                  <a:gd name="T22" fmla="*/ 42 w 104"/>
                  <a:gd name="T23" fmla="*/ 86 h 176"/>
                  <a:gd name="T24" fmla="*/ 35 w 104"/>
                  <a:gd name="T25" fmla="*/ 83 h 176"/>
                  <a:gd name="T26" fmla="*/ 30 w 104"/>
                  <a:gd name="T27" fmla="*/ 83 h 176"/>
                  <a:gd name="T28" fmla="*/ 19 w 104"/>
                  <a:gd name="T29" fmla="*/ 90 h 176"/>
                  <a:gd name="T30" fmla="*/ 12 w 104"/>
                  <a:gd name="T31" fmla="*/ 99 h 176"/>
                  <a:gd name="T32" fmla="*/ 9 w 104"/>
                  <a:gd name="T33" fmla="*/ 105 h 176"/>
                  <a:gd name="T34" fmla="*/ 0 w 104"/>
                  <a:gd name="T35" fmla="*/ 143 h 176"/>
                  <a:gd name="T36" fmla="*/ 0 w 104"/>
                  <a:gd name="T37" fmla="*/ 147 h 176"/>
                  <a:gd name="T38" fmla="*/ 1 w 104"/>
                  <a:gd name="T39" fmla="*/ 153 h 176"/>
                  <a:gd name="T40" fmla="*/ 7 w 104"/>
                  <a:gd name="T41" fmla="*/ 157 h 176"/>
                  <a:gd name="T42" fmla="*/ 12 w 104"/>
                  <a:gd name="T43" fmla="*/ 160 h 176"/>
                  <a:gd name="T44" fmla="*/ 15 w 104"/>
                  <a:gd name="T45" fmla="*/ 161 h 176"/>
                  <a:gd name="T46" fmla="*/ 19 w 104"/>
                  <a:gd name="T47" fmla="*/ 165 h 176"/>
                  <a:gd name="T48" fmla="*/ 20 w 104"/>
                  <a:gd name="T49" fmla="*/ 172 h 176"/>
                  <a:gd name="T50" fmla="*/ 22 w 104"/>
                  <a:gd name="T51" fmla="*/ 176 h 176"/>
                  <a:gd name="T52" fmla="*/ 38 w 104"/>
                  <a:gd name="T53" fmla="*/ 175 h 176"/>
                  <a:gd name="T54" fmla="*/ 63 w 104"/>
                  <a:gd name="T55" fmla="*/ 173 h 176"/>
                  <a:gd name="T56" fmla="*/ 90 w 104"/>
                  <a:gd name="T57" fmla="*/ 173 h 176"/>
                  <a:gd name="T58" fmla="*/ 101 w 104"/>
                  <a:gd name="T59" fmla="*/ 173 h 176"/>
                  <a:gd name="T60" fmla="*/ 101 w 104"/>
                  <a:gd name="T61" fmla="*/ 171 h 176"/>
                  <a:gd name="T62" fmla="*/ 101 w 104"/>
                  <a:gd name="T63" fmla="*/ 167 h 176"/>
                  <a:gd name="T64" fmla="*/ 103 w 104"/>
                  <a:gd name="T65" fmla="*/ 162 h 176"/>
                  <a:gd name="T66" fmla="*/ 103 w 104"/>
                  <a:gd name="T67" fmla="*/ 158 h 176"/>
                  <a:gd name="T68" fmla="*/ 96 w 104"/>
                  <a:gd name="T69" fmla="*/ 154 h 176"/>
                  <a:gd name="T70" fmla="*/ 86 w 104"/>
                  <a:gd name="T71" fmla="*/ 146 h 176"/>
                  <a:gd name="T72" fmla="*/ 78 w 104"/>
                  <a:gd name="T73" fmla="*/ 131 h 176"/>
                  <a:gd name="T74" fmla="*/ 73 w 104"/>
                  <a:gd name="T75" fmla="*/ 120 h 176"/>
                  <a:gd name="T76" fmla="*/ 78 w 104"/>
                  <a:gd name="T77" fmla="*/ 116 h 176"/>
                  <a:gd name="T78" fmla="*/ 82 w 104"/>
                  <a:gd name="T79" fmla="*/ 109 h 176"/>
                  <a:gd name="T80" fmla="*/ 84 w 104"/>
                  <a:gd name="T81" fmla="*/ 101 h 176"/>
                  <a:gd name="T82" fmla="*/ 81 w 104"/>
                  <a:gd name="T83" fmla="*/ 92 h 176"/>
                  <a:gd name="T84" fmla="*/ 79 w 104"/>
                  <a:gd name="T85" fmla="*/ 91 h 176"/>
                  <a:gd name="T86" fmla="*/ 75 w 104"/>
                  <a:gd name="T87" fmla="*/ 87 h 176"/>
                  <a:gd name="T88" fmla="*/ 73 w 104"/>
                  <a:gd name="T89" fmla="*/ 80 h 176"/>
                  <a:gd name="T90" fmla="*/ 74 w 104"/>
                  <a:gd name="T91" fmla="*/ 69 h 176"/>
                  <a:gd name="T92" fmla="*/ 79 w 104"/>
                  <a:gd name="T93" fmla="*/ 69 h 176"/>
                  <a:gd name="T94" fmla="*/ 88 w 104"/>
                  <a:gd name="T95" fmla="*/ 66 h 176"/>
                  <a:gd name="T96" fmla="*/ 92 w 104"/>
                  <a:gd name="T97" fmla="*/ 61 h 176"/>
                  <a:gd name="T98" fmla="*/ 92 w 104"/>
                  <a:gd name="T99" fmla="*/ 54 h 176"/>
                  <a:gd name="T100" fmla="*/ 89 w 104"/>
                  <a:gd name="T101" fmla="*/ 48 h 176"/>
                  <a:gd name="T102" fmla="*/ 85 w 104"/>
                  <a:gd name="T103" fmla="*/ 39 h 176"/>
                  <a:gd name="T104" fmla="*/ 84 w 104"/>
                  <a:gd name="T105" fmla="*/ 29 h 176"/>
                  <a:gd name="T106" fmla="*/ 85 w 104"/>
                  <a:gd name="T107" fmla="*/ 21 h 176"/>
                  <a:gd name="T108" fmla="*/ 85 w 104"/>
                  <a:gd name="T109" fmla="*/ 14 h 176"/>
                  <a:gd name="T110" fmla="*/ 82 w 104"/>
                  <a:gd name="T111" fmla="*/ 7 h 176"/>
                  <a:gd name="T112" fmla="*/ 78 w 104"/>
                  <a:gd name="T113" fmla="*/ 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176">
                    <a:moveTo>
                      <a:pt x="70" y="0"/>
                    </a:moveTo>
                    <a:lnTo>
                      <a:pt x="70" y="2"/>
                    </a:lnTo>
                    <a:lnTo>
                      <a:pt x="70" y="3"/>
                    </a:lnTo>
                    <a:lnTo>
                      <a:pt x="68" y="7"/>
                    </a:lnTo>
                    <a:lnTo>
                      <a:pt x="68" y="10"/>
                    </a:lnTo>
                    <a:lnTo>
                      <a:pt x="67" y="15"/>
                    </a:lnTo>
                    <a:lnTo>
                      <a:pt x="67" y="20"/>
                    </a:lnTo>
                    <a:lnTo>
                      <a:pt x="68" y="25"/>
                    </a:lnTo>
                    <a:lnTo>
                      <a:pt x="70" y="29"/>
                    </a:lnTo>
                    <a:lnTo>
                      <a:pt x="68" y="33"/>
                    </a:lnTo>
                    <a:lnTo>
                      <a:pt x="68" y="39"/>
                    </a:lnTo>
                    <a:lnTo>
                      <a:pt x="68" y="43"/>
                    </a:lnTo>
                    <a:lnTo>
                      <a:pt x="67" y="47"/>
                    </a:lnTo>
                    <a:lnTo>
                      <a:pt x="67" y="51"/>
                    </a:lnTo>
                    <a:lnTo>
                      <a:pt x="66" y="54"/>
                    </a:lnTo>
                    <a:lnTo>
                      <a:pt x="66" y="55"/>
                    </a:lnTo>
                    <a:lnTo>
                      <a:pt x="66" y="57"/>
                    </a:lnTo>
                    <a:lnTo>
                      <a:pt x="62" y="68"/>
                    </a:lnTo>
                    <a:lnTo>
                      <a:pt x="57" y="76"/>
                    </a:lnTo>
                    <a:lnTo>
                      <a:pt x="53" y="81"/>
                    </a:lnTo>
                    <a:lnTo>
                      <a:pt x="49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0" y="84"/>
                    </a:lnTo>
                    <a:lnTo>
                      <a:pt x="35" y="83"/>
                    </a:lnTo>
                    <a:lnTo>
                      <a:pt x="33" y="83"/>
                    </a:lnTo>
                    <a:lnTo>
                      <a:pt x="30" y="83"/>
                    </a:lnTo>
                    <a:lnTo>
                      <a:pt x="24" y="86"/>
                    </a:lnTo>
                    <a:lnTo>
                      <a:pt x="19" y="90"/>
                    </a:lnTo>
                    <a:lnTo>
                      <a:pt x="15" y="95"/>
                    </a:lnTo>
                    <a:lnTo>
                      <a:pt x="12" y="99"/>
                    </a:lnTo>
                    <a:lnTo>
                      <a:pt x="9" y="103"/>
                    </a:lnTo>
                    <a:lnTo>
                      <a:pt x="9" y="105"/>
                    </a:lnTo>
                    <a:lnTo>
                      <a:pt x="8" y="121"/>
                    </a:lnTo>
                    <a:lnTo>
                      <a:pt x="0" y="143"/>
                    </a:lnTo>
                    <a:lnTo>
                      <a:pt x="0" y="145"/>
                    </a:lnTo>
                    <a:lnTo>
                      <a:pt x="0" y="147"/>
                    </a:lnTo>
                    <a:lnTo>
                      <a:pt x="0" y="150"/>
                    </a:lnTo>
                    <a:lnTo>
                      <a:pt x="1" y="153"/>
                    </a:lnTo>
                    <a:lnTo>
                      <a:pt x="4" y="156"/>
                    </a:lnTo>
                    <a:lnTo>
                      <a:pt x="7" y="157"/>
                    </a:lnTo>
                    <a:lnTo>
                      <a:pt x="11" y="158"/>
                    </a:lnTo>
                    <a:lnTo>
                      <a:pt x="12" y="160"/>
                    </a:lnTo>
                    <a:lnTo>
                      <a:pt x="13" y="160"/>
                    </a:lnTo>
                    <a:lnTo>
                      <a:pt x="15" y="161"/>
                    </a:lnTo>
                    <a:lnTo>
                      <a:pt x="18" y="162"/>
                    </a:lnTo>
                    <a:lnTo>
                      <a:pt x="19" y="165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20" y="176"/>
                    </a:lnTo>
                    <a:lnTo>
                      <a:pt x="22" y="176"/>
                    </a:lnTo>
                    <a:lnTo>
                      <a:pt x="29" y="176"/>
                    </a:lnTo>
                    <a:lnTo>
                      <a:pt x="38" y="175"/>
                    </a:lnTo>
                    <a:lnTo>
                      <a:pt x="51" y="175"/>
                    </a:lnTo>
                    <a:lnTo>
                      <a:pt x="63" y="173"/>
                    </a:lnTo>
                    <a:lnTo>
                      <a:pt x="77" y="173"/>
                    </a:lnTo>
                    <a:lnTo>
                      <a:pt x="90" y="173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2"/>
                    </a:lnTo>
                    <a:lnTo>
                      <a:pt x="101" y="171"/>
                    </a:lnTo>
                    <a:lnTo>
                      <a:pt x="101" y="169"/>
                    </a:lnTo>
                    <a:lnTo>
                      <a:pt x="101" y="167"/>
                    </a:lnTo>
                    <a:lnTo>
                      <a:pt x="103" y="165"/>
                    </a:lnTo>
                    <a:lnTo>
                      <a:pt x="103" y="162"/>
                    </a:lnTo>
                    <a:lnTo>
                      <a:pt x="104" y="158"/>
                    </a:lnTo>
                    <a:lnTo>
                      <a:pt x="103" y="158"/>
                    </a:lnTo>
                    <a:lnTo>
                      <a:pt x="100" y="157"/>
                    </a:lnTo>
                    <a:lnTo>
                      <a:pt x="96" y="154"/>
                    </a:lnTo>
                    <a:lnTo>
                      <a:pt x="90" y="150"/>
                    </a:lnTo>
                    <a:lnTo>
                      <a:pt x="86" y="146"/>
                    </a:lnTo>
                    <a:lnTo>
                      <a:pt x="82" y="139"/>
                    </a:lnTo>
                    <a:lnTo>
                      <a:pt x="78" y="131"/>
                    </a:lnTo>
                    <a:lnTo>
                      <a:pt x="77" y="121"/>
                    </a:lnTo>
                    <a:lnTo>
                      <a:pt x="73" y="120"/>
                    </a:lnTo>
                    <a:lnTo>
                      <a:pt x="77" y="117"/>
                    </a:lnTo>
                    <a:lnTo>
                      <a:pt x="78" y="116"/>
                    </a:lnTo>
                    <a:lnTo>
                      <a:pt x="81" y="112"/>
                    </a:lnTo>
                    <a:lnTo>
                      <a:pt x="82" y="109"/>
                    </a:lnTo>
                    <a:lnTo>
                      <a:pt x="84" y="105"/>
                    </a:lnTo>
                    <a:lnTo>
                      <a:pt x="84" y="101"/>
                    </a:lnTo>
                    <a:lnTo>
                      <a:pt x="84" y="95"/>
                    </a:lnTo>
                    <a:lnTo>
                      <a:pt x="81" y="92"/>
                    </a:lnTo>
                    <a:lnTo>
                      <a:pt x="81" y="91"/>
                    </a:lnTo>
                    <a:lnTo>
                      <a:pt x="79" y="91"/>
                    </a:lnTo>
                    <a:lnTo>
                      <a:pt x="77" y="90"/>
                    </a:lnTo>
                    <a:lnTo>
                      <a:pt x="75" y="87"/>
                    </a:lnTo>
                    <a:lnTo>
                      <a:pt x="73" y="84"/>
                    </a:lnTo>
                    <a:lnTo>
                      <a:pt x="73" y="80"/>
                    </a:lnTo>
                    <a:lnTo>
                      <a:pt x="73" y="76"/>
                    </a:lnTo>
                    <a:lnTo>
                      <a:pt x="74" y="69"/>
                    </a:lnTo>
                    <a:lnTo>
                      <a:pt x="77" y="69"/>
                    </a:lnTo>
                    <a:lnTo>
                      <a:pt x="79" y="69"/>
                    </a:lnTo>
                    <a:lnTo>
                      <a:pt x="84" y="68"/>
                    </a:lnTo>
                    <a:lnTo>
                      <a:pt x="88" y="66"/>
                    </a:lnTo>
                    <a:lnTo>
                      <a:pt x="90" y="64"/>
                    </a:lnTo>
                    <a:lnTo>
                      <a:pt x="92" y="61"/>
                    </a:lnTo>
                    <a:lnTo>
                      <a:pt x="93" y="55"/>
                    </a:lnTo>
                    <a:lnTo>
                      <a:pt x="92" y="54"/>
                    </a:lnTo>
                    <a:lnTo>
                      <a:pt x="90" y="51"/>
                    </a:lnTo>
                    <a:lnTo>
                      <a:pt x="89" y="48"/>
                    </a:lnTo>
                    <a:lnTo>
                      <a:pt x="86" y="44"/>
                    </a:lnTo>
                    <a:lnTo>
                      <a:pt x="85" y="39"/>
                    </a:lnTo>
                    <a:lnTo>
                      <a:pt x="84" y="33"/>
                    </a:lnTo>
                    <a:lnTo>
                      <a:pt x="84" y="29"/>
                    </a:lnTo>
                    <a:lnTo>
                      <a:pt x="85" y="24"/>
                    </a:lnTo>
                    <a:lnTo>
                      <a:pt x="85" y="21"/>
                    </a:lnTo>
                    <a:lnTo>
                      <a:pt x="85" y="18"/>
                    </a:lnTo>
                    <a:lnTo>
                      <a:pt x="85" y="14"/>
                    </a:lnTo>
                    <a:lnTo>
                      <a:pt x="84" y="11"/>
                    </a:lnTo>
                    <a:lnTo>
                      <a:pt x="82" y="7"/>
                    </a:lnTo>
                    <a:lnTo>
                      <a:pt x="81" y="3"/>
                    </a:lnTo>
                    <a:lnTo>
                      <a:pt x="78" y="2"/>
                    </a:lnTo>
                    <a:lnTo>
                      <a:pt x="7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1" name="Freeform 984"/>
              <p:cNvSpPr>
                <a:spLocks/>
              </p:cNvSpPr>
              <p:nvPr/>
            </p:nvSpPr>
            <p:spPr bwMode="auto">
              <a:xfrm>
                <a:off x="2929" y="2573"/>
                <a:ext cx="150" cy="253"/>
              </a:xfrm>
              <a:custGeom>
                <a:avLst/>
                <a:gdLst>
                  <a:gd name="T0" fmla="*/ 148 w 150"/>
                  <a:gd name="T1" fmla="*/ 106 h 253"/>
                  <a:gd name="T2" fmla="*/ 142 w 150"/>
                  <a:gd name="T3" fmla="*/ 106 h 253"/>
                  <a:gd name="T4" fmla="*/ 131 w 150"/>
                  <a:gd name="T5" fmla="*/ 108 h 253"/>
                  <a:gd name="T6" fmla="*/ 126 w 150"/>
                  <a:gd name="T7" fmla="*/ 115 h 253"/>
                  <a:gd name="T8" fmla="*/ 126 w 150"/>
                  <a:gd name="T9" fmla="*/ 120 h 253"/>
                  <a:gd name="T10" fmla="*/ 125 w 150"/>
                  <a:gd name="T11" fmla="*/ 127 h 253"/>
                  <a:gd name="T12" fmla="*/ 120 w 150"/>
                  <a:gd name="T13" fmla="*/ 131 h 253"/>
                  <a:gd name="T14" fmla="*/ 115 w 150"/>
                  <a:gd name="T15" fmla="*/ 135 h 253"/>
                  <a:gd name="T16" fmla="*/ 115 w 150"/>
                  <a:gd name="T17" fmla="*/ 142 h 253"/>
                  <a:gd name="T18" fmla="*/ 118 w 150"/>
                  <a:gd name="T19" fmla="*/ 146 h 253"/>
                  <a:gd name="T20" fmla="*/ 117 w 150"/>
                  <a:gd name="T21" fmla="*/ 146 h 253"/>
                  <a:gd name="T22" fmla="*/ 117 w 150"/>
                  <a:gd name="T23" fmla="*/ 146 h 253"/>
                  <a:gd name="T24" fmla="*/ 120 w 150"/>
                  <a:gd name="T25" fmla="*/ 152 h 253"/>
                  <a:gd name="T26" fmla="*/ 124 w 150"/>
                  <a:gd name="T27" fmla="*/ 159 h 253"/>
                  <a:gd name="T28" fmla="*/ 122 w 150"/>
                  <a:gd name="T29" fmla="*/ 165 h 253"/>
                  <a:gd name="T30" fmla="*/ 121 w 150"/>
                  <a:gd name="T31" fmla="*/ 175 h 253"/>
                  <a:gd name="T32" fmla="*/ 121 w 150"/>
                  <a:gd name="T33" fmla="*/ 183 h 253"/>
                  <a:gd name="T34" fmla="*/ 125 w 150"/>
                  <a:gd name="T35" fmla="*/ 194 h 253"/>
                  <a:gd name="T36" fmla="*/ 129 w 150"/>
                  <a:gd name="T37" fmla="*/ 207 h 253"/>
                  <a:gd name="T38" fmla="*/ 128 w 150"/>
                  <a:gd name="T39" fmla="*/ 209 h 253"/>
                  <a:gd name="T40" fmla="*/ 117 w 150"/>
                  <a:gd name="T41" fmla="*/ 214 h 253"/>
                  <a:gd name="T42" fmla="*/ 106 w 150"/>
                  <a:gd name="T43" fmla="*/ 222 h 253"/>
                  <a:gd name="T44" fmla="*/ 103 w 150"/>
                  <a:gd name="T45" fmla="*/ 229 h 253"/>
                  <a:gd name="T46" fmla="*/ 98 w 150"/>
                  <a:gd name="T47" fmla="*/ 240 h 253"/>
                  <a:gd name="T48" fmla="*/ 81 w 150"/>
                  <a:gd name="T49" fmla="*/ 242 h 253"/>
                  <a:gd name="T50" fmla="*/ 77 w 150"/>
                  <a:gd name="T51" fmla="*/ 240 h 253"/>
                  <a:gd name="T52" fmla="*/ 71 w 150"/>
                  <a:gd name="T53" fmla="*/ 240 h 253"/>
                  <a:gd name="T54" fmla="*/ 69 w 150"/>
                  <a:gd name="T55" fmla="*/ 242 h 253"/>
                  <a:gd name="T56" fmla="*/ 55 w 150"/>
                  <a:gd name="T57" fmla="*/ 246 h 253"/>
                  <a:gd name="T58" fmla="*/ 27 w 150"/>
                  <a:gd name="T59" fmla="*/ 252 h 253"/>
                  <a:gd name="T60" fmla="*/ 15 w 150"/>
                  <a:gd name="T61" fmla="*/ 252 h 253"/>
                  <a:gd name="T62" fmla="*/ 12 w 150"/>
                  <a:gd name="T63" fmla="*/ 245 h 253"/>
                  <a:gd name="T64" fmla="*/ 7 w 150"/>
                  <a:gd name="T65" fmla="*/ 240 h 253"/>
                  <a:gd name="T66" fmla="*/ 4 w 150"/>
                  <a:gd name="T67" fmla="*/ 236 h 253"/>
                  <a:gd name="T68" fmla="*/ 3 w 150"/>
                  <a:gd name="T69" fmla="*/ 227 h 253"/>
                  <a:gd name="T70" fmla="*/ 4 w 150"/>
                  <a:gd name="T71" fmla="*/ 220 h 253"/>
                  <a:gd name="T72" fmla="*/ 12 w 150"/>
                  <a:gd name="T73" fmla="*/ 220 h 253"/>
                  <a:gd name="T74" fmla="*/ 20 w 150"/>
                  <a:gd name="T75" fmla="*/ 214 h 253"/>
                  <a:gd name="T76" fmla="*/ 22 w 150"/>
                  <a:gd name="T77" fmla="*/ 208 h 253"/>
                  <a:gd name="T78" fmla="*/ 20 w 150"/>
                  <a:gd name="T79" fmla="*/ 201 h 253"/>
                  <a:gd name="T80" fmla="*/ 16 w 150"/>
                  <a:gd name="T81" fmla="*/ 193 h 253"/>
                  <a:gd name="T82" fmla="*/ 14 w 150"/>
                  <a:gd name="T83" fmla="*/ 185 h 253"/>
                  <a:gd name="T84" fmla="*/ 14 w 150"/>
                  <a:gd name="T85" fmla="*/ 178 h 253"/>
                  <a:gd name="T86" fmla="*/ 15 w 150"/>
                  <a:gd name="T87" fmla="*/ 172 h 253"/>
                  <a:gd name="T88" fmla="*/ 14 w 150"/>
                  <a:gd name="T89" fmla="*/ 163 h 253"/>
                  <a:gd name="T90" fmla="*/ 12 w 150"/>
                  <a:gd name="T91" fmla="*/ 157 h 253"/>
                  <a:gd name="T92" fmla="*/ 11 w 150"/>
                  <a:gd name="T93" fmla="*/ 156 h 253"/>
                  <a:gd name="T94" fmla="*/ 7 w 150"/>
                  <a:gd name="T95" fmla="*/ 152 h 253"/>
                  <a:gd name="T96" fmla="*/ 0 w 150"/>
                  <a:gd name="T97" fmla="*/ 152 h 253"/>
                  <a:gd name="T98" fmla="*/ 1 w 150"/>
                  <a:gd name="T99" fmla="*/ 148 h 253"/>
                  <a:gd name="T100" fmla="*/ 4 w 150"/>
                  <a:gd name="T101" fmla="*/ 137 h 253"/>
                  <a:gd name="T102" fmla="*/ 5 w 150"/>
                  <a:gd name="T103" fmla="*/ 123 h 253"/>
                  <a:gd name="T104" fmla="*/ 5 w 150"/>
                  <a:gd name="T105" fmla="*/ 116 h 253"/>
                  <a:gd name="T106" fmla="*/ 15 w 150"/>
                  <a:gd name="T107" fmla="*/ 104 h 253"/>
                  <a:gd name="T108" fmla="*/ 22 w 150"/>
                  <a:gd name="T109" fmla="*/ 90 h 253"/>
                  <a:gd name="T110" fmla="*/ 22 w 150"/>
                  <a:gd name="T111" fmla="*/ 58 h 253"/>
                  <a:gd name="T112" fmla="*/ 26 w 150"/>
                  <a:gd name="T113" fmla="*/ 40 h 253"/>
                  <a:gd name="T114" fmla="*/ 30 w 150"/>
                  <a:gd name="T115" fmla="*/ 35 h 253"/>
                  <a:gd name="T116" fmla="*/ 25 w 150"/>
                  <a:gd name="T117" fmla="*/ 24 h 253"/>
                  <a:gd name="T118" fmla="*/ 22 w 150"/>
                  <a:gd name="T119" fmla="*/ 6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0" h="253">
                    <a:moveTo>
                      <a:pt x="22" y="0"/>
                    </a:moveTo>
                    <a:lnTo>
                      <a:pt x="150" y="55"/>
                    </a:lnTo>
                    <a:lnTo>
                      <a:pt x="148" y="106"/>
                    </a:lnTo>
                    <a:lnTo>
                      <a:pt x="148" y="106"/>
                    </a:lnTo>
                    <a:lnTo>
                      <a:pt x="146" y="106"/>
                    </a:lnTo>
                    <a:lnTo>
                      <a:pt x="142" y="106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1" y="108"/>
                    </a:lnTo>
                    <a:lnTo>
                      <a:pt x="128" y="110"/>
                    </a:lnTo>
                    <a:lnTo>
                      <a:pt x="126" y="115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6" y="120"/>
                    </a:lnTo>
                    <a:lnTo>
                      <a:pt x="126" y="123"/>
                    </a:lnTo>
                    <a:lnTo>
                      <a:pt x="125" y="124"/>
                    </a:lnTo>
                    <a:lnTo>
                      <a:pt x="125" y="127"/>
                    </a:lnTo>
                    <a:lnTo>
                      <a:pt x="124" y="128"/>
                    </a:lnTo>
                    <a:lnTo>
                      <a:pt x="122" y="130"/>
                    </a:lnTo>
                    <a:lnTo>
                      <a:pt x="120" y="131"/>
                    </a:lnTo>
                    <a:lnTo>
                      <a:pt x="118" y="132"/>
                    </a:lnTo>
                    <a:lnTo>
                      <a:pt x="117" y="134"/>
                    </a:lnTo>
                    <a:lnTo>
                      <a:pt x="115" y="135"/>
                    </a:lnTo>
                    <a:lnTo>
                      <a:pt x="115" y="138"/>
                    </a:lnTo>
                    <a:lnTo>
                      <a:pt x="115" y="139"/>
                    </a:lnTo>
                    <a:lnTo>
                      <a:pt x="115" y="142"/>
                    </a:lnTo>
                    <a:lnTo>
                      <a:pt x="117" y="145"/>
                    </a:lnTo>
                    <a:lnTo>
                      <a:pt x="118" y="146"/>
                    </a:lnTo>
                    <a:lnTo>
                      <a:pt x="118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5" y="146"/>
                    </a:lnTo>
                    <a:lnTo>
                      <a:pt x="117" y="146"/>
                    </a:lnTo>
                    <a:lnTo>
                      <a:pt x="117" y="148"/>
                    </a:lnTo>
                    <a:lnTo>
                      <a:pt x="118" y="149"/>
                    </a:lnTo>
                    <a:lnTo>
                      <a:pt x="120" y="152"/>
                    </a:lnTo>
                    <a:lnTo>
                      <a:pt x="121" y="153"/>
                    </a:lnTo>
                    <a:lnTo>
                      <a:pt x="122" y="156"/>
                    </a:lnTo>
                    <a:lnTo>
                      <a:pt x="124" y="159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5"/>
                    </a:lnTo>
                    <a:lnTo>
                      <a:pt x="121" y="168"/>
                    </a:lnTo>
                    <a:lnTo>
                      <a:pt x="121" y="172"/>
                    </a:lnTo>
                    <a:lnTo>
                      <a:pt x="121" y="175"/>
                    </a:lnTo>
                    <a:lnTo>
                      <a:pt x="121" y="178"/>
                    </a:lnTo>
                    <a:lnTo>
                      <a:pt x="121" y="181"/>
                    </a:lnTo>
                    <a:lnTo>
                      <a:pt x="121" y="183"/>
                    </a:lnTo>
                    <a:lnTo>
                      <a:pt x="122" y="186"/>
                    </a:lnTo>
                    <a:lnTo>
                      <a:pt x="124" y="190"/>
                    </a:lnTo>
                    <a:lnTo>
                      <a:pt x="125" y="194"/>
                    </a:lnTo>
                    <a:lnTo>
                      <a:pt x="126" y="200"/>
                    </a:lnTo>
                    <a:lnTo>
                      <a:pt x="128" y="203"/>
                    </a:lnTo>
                    <a:lnTo>
                      <a:pt x="129" y="207"/>
                    </a:lnTo>
                    <a:lnTo>
                      <a:pt x="129" y="209"/>
                    </a:lnTo>
                    <a:lnTo>
                      <a:pt x="129" y="209"/>
                    </a:lnTo>
                    <a:lnTo>
                      <a:pt x="128" y="209"/>
                    </a:lnTo>
                    <a:lnTo>
                      <a:pt x="125" y="211"/>
                    </a:lnTo>
                    <a:lnTo>
                      <a:pt x="122" y="212"/>
                    </a:lnTo>
                    <a:lnTo>
                      <a:pt x="117" y="214"/>
                    </a:lnTo>
                    <a:lnTo>
                      <a:pt x="113" y="215"/>
                    </a:lnTo>
                    <a:lnTo>
                      <a:pt x="109" y="218"/>
                    </a:lnTo>
                    <a:lnTo>
                      <a:pt x="106" y="222"/>
                    </a:lnTo>
                    <a:lnTo>
                      <a:pt x="103" y="226"/>
                    </a:lnTo>
                    <a:lnTo>
                      <a:pt x="103" y="226"/>
                    </a:lnTo>
                    <a:lnTo>
                      <a:pt x="103" y="229"/>
                    </a:lnTo>
                    <a:lnTo>
                      <a:pt x="102" y="231"/>
                    </a:lnTo>
                    <a:lnTo>
                      <a:pt x="100" y="236"/>
                    </a:lnTo>
                    <a:lnTo>
                      <a:pt x="98" y="240"/>
                    </a:lnTo>
                    <a:lnTo>
                      <a:pt x="93" y="241"/>
                    </a:lnTo>
                    <a:lnTo>
                      <a:pt x="88" y="242"/>
                    </a:lnTo>
                    <a:lnTo>
                      <a:pt x="81" y="242"/>
                    </a:lnTo>
                    <a:lnTo>
                      <a:pt x="81" y="241"/>
                    </a:lnTo>
                    <a:lnTo>
                      <a:pt x="80" y="241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0" y="240"/>
                    </a:lnTo>
                    <a:lnTo>
                      <a:pt x="69" y="242"/>
                    </a:lnTo>
                    <a:lnTo>
                      <a:pt x="69" y="242"/>
                    </a:lnTo>
                    <a:lnTo>
                      <a:pt x="66" y="244"/>
                    </a:lnTo>
                    <a:lnTo>
                      <a:pt x="62" y="245"/>
                    </a:lnTo>
                    <a:lnTo>
                      <a:pt x="55" y="246"/>
                    </a:lnTo>
                    <a:lnTo>
                      <a:pt x="48" y="249"/>
                    </a:lnTo>
                    <a:lnTo>
                      <a:pt x="38" y="251"/>
                    </a:lnTo>
                    <a:lnTo>
                      <a:pt x="27" y="252"/>
                    </a:lnTo>
                    <a:lnTo>
                      <a:pt x="15" y="253"/>
                    </a:lnTo>
                    <a:lnTo>
                      <a:pt x="15" y="253"/>
                    </a:lnTo>
                    <a:lnTo>
                      <a:pt x="15" y="252"/>
                    </a:lnTo>
                    <a:lnTo>
                      <a:pt x="14" y="251"/>
                    </a:lnTo>
                    <a:lnTo>
                      <a:pt x="14" y="248"/>
                    </a:lnTo>
                    <a:lnTo>
                      <a:pt x="12" y="245"/>
                    </a:lnTo>
                    <a:lnTo>
                      <a:pt x="11" y="244"/>
                    </a:lnTo>
                    <a:lnTo>
                      <a:pt x="9" y="241"/>
                    </a:lnTo>
                    <a:lnTo>
                      <a:pt x="7" y="240"/>
                    </a:lnTo>
                    <a:lnTo>
                      <a:pt x="7" y="240"/>
                    </a:lnTo>
                    <a:lnTo>
                      <a:pt x="5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3" y="230"/>
                    </a:lnTo>
                    <a:lnTo>
                      <a:pt x="3" y="227"/>
                    </a:lnTo>
                    <a:lnTo>
                      <a:pt x="3" y="223"/>
                    </a:lnTo>
                    <a:lnTo>
                      <a:pt x="4" y="220"/>
                    </a:lnTo>
                    <a:lnTo>
                      <a:pt x="4" y="220"/>
                    </a:lnTo>
                    <a:lnTo>
                      <a:pt x="5" y="220"/>
                    </a:lnTo>
                    <a:lnTo>
                      <a:pt x="8" y="220"/>
                    </a:lnTo>
                    <a:lnTo>
                      <a:pt x="12" y="220"/>
                    </a:lnTo>
                    <a:lnTo>
                      <a:pt x="15" y="219"/>
                    </a:lnTo>
                    <a:lnTo>
                      <a:pt x="19" y="216"/>
                    </a:lnTo>
                    <a:lnTo>
                      <a:pt x="20" y="214"/>
                    </a:lnTo>
                    <a:lnTo>
                      <a:pt x="23" y="209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7"/>
                    </a:lnTo>
                    <a:lnTo>
                      <a:pt x="22" y="204"/>
                    </a:lnTo>
                    <a:lnTo>
                      <a:pt x="20" y="201"/>
                    </a:lnTo>
                    <a:lnTo>
                      <a:pt x="19" y="198"/>
                    </a:lnTo>
                    <a:lnTo>
                      <a:pt x="18" y="196"/>
                    </a:lnTo>
                    <a:lnTo>
                      <a:pt x="16" y="193"/>
                    </a:lnTo>
                    <a:lnTo>
                      <a:pt x="15" y="189"/>
                    </a:lnTo>
                    <a:lnTo>
                      <a:pt x="14" y="186"/>
                    </a:lnTo>
                    <a:lnTo>
                      <a:pt x="14" y="185"/>
                    </a:lnTo>
                    <a:lnTo>
                      <a:pt x="14" y="182"/>
                    </a:lnTo>
                    <a:lnTo>
                      <a:pt x="14" y="181"/>
                    </a:lnTo>
                    <a:lnTo>
                      <a:pt x="14" y="178"/>
                    </a:lnTo>
                    <a:lnTo>
                      <a:pt x="15" y="176"/>
                    </a:lnTo>
                    <a:lnTo>
                      <a:pt x="15" y="175"/>
                    </a:lnTo>
                    <a:lnTo>
                      <a:pt x="15" y="172"/>
                    </a:lnTo>
                    <a:lnTo>
                      <a:pt x="15" y="170"/>
                    </a:lnTo>
                    <a:lnTo>
                      <a:pt x="15" y="167"/>
                    </a:lnTo>
                    <a:lnTo>
                      <a:pt x="14" y="163"/>
                    </a:lnTo>
                    <a:lnTo>
                      <a:pt x="14" y="160"/>
                    </a:lnTo>
                    <a:lnTo>
                      <a:pt x="12" y="159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1" y="156"/>
                    </a:lnTo>
                    <a:lnTo>
                      <a:pt x="11" y="156"/>
                    </a:lnTo>
                    <a:lnTo>
                      <a:pt x="9" y="154"/>
                    </a:lnTo>
                    <a:lnTo>
                      <a:pt x="9" y="153"/>
                    </a:lnTo>
                    <a:lnTo>
                      <a:pt x="7" y="152"/>
                    </a:lnTo>
                    <a:lnTo>
                      <a:pt x="5" y="152"/>
                    </a:lnTo>
                    <a:lnTo>
                      <a:pt x="3" y="150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0"/>
                    </a:lnTo>
                    <a:lnTo>
                      <a:pt x="1" y="148"/>
                    </a:lnTo>
                    <a:lnTo>
                      <a:pt x="1" y="145"/>
                    </a:lnTo>
                    <a:lnTo>
                      <a:pt x="3" y="142"/>
                    </a:lnTo>
                    <a:lnTo>
                      <a:pt x="4" y="137"/>
                    </a:lnTo>
                    <a:lnTo>
                      <a:pt x="5" y="131"/>
                    </a:lnTo>
                    <a:lnTo>
                      <a:pt x="7" y="124"/>
                    </a:lnTo>
                    <a:lnTo>
                      <a:pt x="5" y="123"/>
                    </a:lnTo>
                    <a:lnTo>
                      <a:pt x="5" y="121"/>
                    </a:lnTo>
                    <a:lnTo>
                      <a:pt x="5" y="119"/>
                    </a:lnTo>
                    <a:lnTo>
                      <a:pt x="5" y="116"/>
                    </a:lnTo>
                    <a:lnTo>
                      <a:pt x="8" y="112"/>
                    </a:lnTo>
                    <a:lnTo>
                      <a:pt x="11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2" y="95"/>
                    </a:lnTo>
                    <a:lnTo>
                      <a:pt x="22" y="90"/>
                    </a:lnTo>
                    <a:lnTo>
                      <a:pt x="22" y="80"/>
                    </a:lnTo>
                    <a:lnTo>
                      <a:pt x="22" y="69"/>
                    </a:lnTo>
                    <a:lnTo>
                      <a:pt x="22" y="58"/>
                    </a:lnTo>
                    <a:lnTo>
                      <a:pt x="23" y="49"/>
                    </a:lnTo>
                    <a:lnTo>
                      <a:pt x="25" y="44"/>
                    </a:lnTo>
                    <a:lnTo>
                      <a:pt x="26" y="40"/>
                    </a:lnTo>
                    <a:lnTo>
                      <a:pt x="27" y="38"/>
                    </a:lnTo>
                    <a:lnTo>
                      <a:pt x="30" y="36"/>
                    </a:lnTo>
                    <a:lnTo>
                      <a:pt x="30" y="35"/>
                    </a:lnTo>
                    <a:lnTo>
                      <a:pt x="29" y="32"/>
                    </a:lnTo>
                    <a:lnTo>
                      <a:pt x="27" y="28"/>
                    </a:lnTo>
                    <a:lnTo>
                      <a:pt x="25" y="24"/>
                    </a:lnTo>
                    <a:lnTo>
                      <a:pt x="23" y="18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2" name="Freeform 985"/>
              <p:cNvSpPr>
                <a:spLocks/>
              </p:cNvSpPr>
              <p:nvPr/>
            </p:nvSpPr>
            <p:spPr bwMode="auto">
              <a:xfrm>
                <a:off x="2929" y="2573"/>
                <a:ext cx="150" cy="253"/>
              </a:xfrm>
              <a:custGeom>
                <a:avLst/>
                <a:gdLst>
                  <a:gd name="T0" fmla="*/ 148 w 150"/>
                  <a:gd name="T1" fmla="*/ 106 h 253"/>
                  <a:gd name="T2" fmla="*/ 137 w 150"/>
                  <a:gd name="T3" fmla="*/ 106 h 253"/>
                  <a:gd name="T4" fmla="*/ 128 w 150"/>
                  <a:gd name="T5" fmla="*/ 110 h 253"/>
                  <a:gd name="T6" fmla="*/ 126 w 150"/>
                  <a:gd name="T7" fmla="*/ 117 h 253"/>
                  <a:gd name="T8" fmla="*/ 125 w 150"/>
                  <a:gd name="T9" fmla="*/ 124 h 253"/>
                  <a:gd name="T10" fmla="*/ 122 w 150"/>
                  <a:gd name="T11" fmla="*/ 130 h 253"/>
                  <a:gd name="T12" fmla="*/ 117 w 150"/>
                  <a:gd name="T13" fmla="*/ 134 h 253"/>
                  <a:gd name="T14" fmla="*/ 115 w 150"/>
                  <a:gd name="T15" fmla="*/ 139 h 253"/>
                  <a:gd name="T16" fmla="*/ 118 w 150"/>
                  <a:gd name="T17" fmla="*/ 146 h 253"/>
                  <a:gd name="T18" fmla="*/ 115 w 150"/>
                  <a:gd name="T19" fmla="*/ 146 h 253"/>
                  <a:gd name="T20" fmla="*/ 118 w 150"/>
                  <a:gd name="T21" fmla="*/ 149 h 253"/>
                  <a:gd name="T22" fmla="*/ 122 w 150"/>
                  <a:gd name="T23" fmla="*/ 156 h 253"/>
                  <a:gd name="T24" fmla="*/ 122 w 150"/>
                  <a:gd name="T25" fmla="*/ 163 h 253"/>
                  <a:gd name="T26" fmla="*/ 121 w 150"/>
                  <a:gd name="T27" fmla="*/ 172 h 253"/>
                  <a:gd name="T28" fmla="*/ 121 w 150"/>
                  <a:gd name="T29" fmla="*/ 181 h 253"/>
                  <a:gd name="T30" fmla="*/ 124 w 150"/>
                  <a:gd name="T31" fmla="*/ 190 h 253"/>
                  <a:gd name="T32" fmla="*/ 128 w 150"/>
                  <a:gd name="T33" fmla="*/ 203 h 253"/>
                  <a:gd name="T34" fmla="*/ 128 w 150"/>
                  <a:gd name="T35" fmla="*/ 209 h 253"/>
                  <a:gd name="T36" fmla="*/ 117 w 150"/>
                  <a:gd name="T37" fmla="*/ 214 h 253"/>
                  <a:gd name="T38" fmla="*/ 106 w 150"/>
                  <a:gd name="T39" fmla="*/ 222 h 253"/>
                  <a:gd name="T40" fmla="*/ 102 w 150"/>
                  <a:gd name="T41" fmla="*/ 231 h 253"/>
                  <a:gd name="T42" fmla="*/ 93 w 150"/>
                  <a:gd name="T43" fmla="*/ 241 h 253"/>
                  <a:gd name="T44" fmla="*/ 81 w 150"/>
                  <a:gd name="T45" fmla="*/ 241 h 253"/>
                  <a:gd name="T46" fmla="*/ 75 w 150"/>
                  <a:gd name="T47" fmla="*/ 240 h 253"/>
                  <a:gd name="T48" fmla="*/ 70 w 150"/>
                  <a:gd name="T49" fmla="*/ 240 h 253"/>
                  <a:gd name="T50" fmla="*/ 62 w 150"/>
                  <a:gd name="T51" fmla="*/ 245 h 253"/>
                  <a:gd name="T52" fmla="*/ 38 w 150"/>
                  <a:gd name="T53" fmla="*/ 251 h 253"/>
                  <a:gd name="T54" fmla="*/ 15 w 150"/>
                  <a:gd name="T55" fmla="*/ 252 h 253"/>
                  <a:gd name="T56" fmla="*/ 12 w 150"/>
                  <a:gd name="T57" fmla="*/ 245 h 253"/>
                  <a:gd name="T58" fmla="*/ 7 w 150"/>
                  <a:gd name="T59" fmla="*/ 240 h 253"/>
                  <a:gd name="T60" fmla="*/ 4 w 150"/>
                  <a:gd name="T61" fmla="*/ 234 h 253"/>
                  <a:gd name="T62" fmla="*/ 3 w 150"/>
                  <a:gd name="T63" fmla="*/ 223 h 253"/>
                  <a:gd name="T64" fmla="*/ 8 w 150"/>
                  <a:gd name="T65" fmla="*/ 220 h 253"/>
                  <a:gd name="T66" fmla="*/ 19 w 150"/>
                  <a:gd name="T67" fmla="*/ 216 h 253"/>
                  <a:gd name="T68" fmla="*/ 22 w 150"/>
                  <a:gd name="T69" fmla="*/ 208 h 253"/>
                  <a:gd name="T70" fmla="*/ 20 w 150"/>
                  <a:gd name="T71" fmla="*/ 201 h 253"/>
                  <a:gd name="T72" fmla="*/ 16 w 150"/>
                  <a:gd name="T73" fmla="*/ 193 h 253"/>
                  <a:gd name="T74" fmla="*/ 14 w 150"/>
                  <a:gd name="T75" fmla="*/ 185 h 253"/>
                  <a:gd name="T76" fmla="*/ 14 w 150"/>
                  <a:gd name="T77" fmla="*/ 178 h 253"/>
                  <a:gd name="T78" fmla="*/ 15 w 150"/>
                  <a:gd name="T79" fmla="*/ 172 h 253"/>
                  <a:gd name="T80" fmla="*/ 14 w 150"/>
                  <a:gd name="T81" fmla="*/ 163 h 253"/>
                  <a:gd name="T82" fmla="*/ 12 w 150"/>
                  <a:gd name="T83" fmla="*/ 157 h 253"/>
                  <a:gd name="T84" fmla="*/ 9 w 150"/>
                  <a:gd name="T85" fmla="*/ 154 h 253"/>
                  <a:gd name="T86" fmla="*/ 5 w 150"/>
                  <a:gd name="T87" fmla="*/ 152 h 253"/>
                  <a:gd name="T88" fmla="*/ 0 w 150"/>
                  <a:gd name="T89" fmla="*/ 150 h 253"/>
                  <a:gd name="T90" fmla="*/ 3 w 150"/>
                  <a:gd name="T91" fmla="*/ 142 h 253"/>
                  <a:gd name="T92" fmla="*/ 7 w 150"/>
                  <a:gd name="T93" fmla="*/ 124 h 253"/>
                  <a:gd name="T94" fmla="*/ 5 w 150"/>
                  <a:gd name="T95" fmla="*/ 119 h 253"/>
                  <a:gd name="T96" fmla="*/ 11 w 150"/>
                  <a:gd name="T97" fmla="*/ 108 h 253"/>
                  <a:gd name="T98" fmla="*/ 22 w 150"/>
                  <a:gd name="T99" fmla="*/ 95 h 253"/>
                  <a:gd name="T100" fmla="*/ 22 w 150"/>
                  <a:gd name="T101" fmla="*/ 69 h 253"/>
                  <a:gd name="T102" fmla="*/ 25 w 150"/>
                  <a:gd name="T103" fmla="*/ 44 h 253"/>
                  <a:gd name="T104" fmla="*/ 30 w 150"/>
                  <a:gd name="T105" fmla="*/ 36 h 253"/>
                  <a:gd name="T106" fmla="*/ 27 w 150"/>
                  <a:gd name="T107" fmla="*/ 28 h 253"/>
                  <a:gd name="T108" fmla="*/ 22 w 150"/>
                  <a:gd name="T109" fmla="*/ 1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50" h="253">
                    <a:moveTo>
                      <a:pt x="22" y="0"/>
                    </a:moveTo>
                    <a:lnTo>
                      <a:pt x="150" y="55"/>
                    </a:lnTo>
                    <a:lnTo>
                      <a:pt x="148" y="106"/>
                    </a:lnTo>
                    <a:lnTo>
                      <a:pt x="146" y="106"/>
                    </a:lnTo>
                    <a:lnTo>
                      <a:pt x="142" y="106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1" y="108"/>
                    </a:lnTo>
                    <a:lnTo>
                      <a:pt x="128" y="110"/>
                    </a:lnTo>
                    <a:lnTo>
                      <a:pt x="126" y="115"/>
                    </a:lnTo>
                    <a:lnTo>
                      <a:pt x="126" y="116"/>
                    </a:lnTo>
                    <a:lnTo>
                      <a:pt x="126" y="117"/>
                    </a:lnTo>
                    <a:lnTo>
                      <a:pt x="126" y="120"/>
                    </a:lnTo>
                    <a:lnTo>
                      <a:pt x="126" y="123"/>
                    </a:lnTo>
                    <a:lnTo>
                      <a:pt x="125" y="124"/>
                    </a:lnTo>
                    <a:lnTo>
                      <a:pt x="125" y="127"/>
                    </a:lnTo>
                    <a:lnTo>
                      <a:pt x="124" y="128"/>
                    </a:lnTo>
                    <a:lnTo>
                      <a:pt x="122" y="130"/>
                    </a:lnTo>
                    <a:lnTo>
                      <a:pt x="120" y="131"/>
                    </a:lnTo>
                    <a:lnTo>
                      <a:pt x="118" y="132"/>
                    </a:lnTo>
                    <a:lnTo>
                      <a:pt x="117" y="134"/>
                    </a:lnTo>
                    <a:lnTo>
                      <a:pt x="115" y="135"/>
                    </a:lnTo>
                    <a:lnTo>
                      <a:pt x="115" y="138"/>
                    </a:lnTo>
                    <a:lnTo>
                      <a:pt x="115" y="139"/>
                    </a:lnTo>
                    <a:lnTo>
                      <a:pt x="115" y="142"/>
                    </a:lnTo>
                    <a:lnTo>
                      <a:pt x="117" y="145"/>
                    </a:lnTo>
                    <a:lnTo>
                      <a:pt x="118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7" y="146"/>
                    </a:lnTo>
                    <a:lnTo>
                      <a:pt x="117" y="148"/>
                    </a:lnTo>
                    <a:lnTo>
                      <a:pt x="118" y="149"/>
                    </a:lnTo>
                    <a:lnTo>
                      <a:pt x="120" y="152"/>
                    </a:lnTo>
                    <a:lnTo>
                      <a:pt x="121" y="153"/>
                    </a:lnTo>
                    <a:lnTo>
                      <a:pt x="122" y="156"/>
                    </a:lnTo>
                    <a:lnTo>
                      <a:pt x="124" y="159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5"/>
                    </a:lnTo>
                    <a:lnTo>
                      <a:pt x="121" y="168"/>
                    </a:lnTo>
                    <a:lnTo>
                      <a:pt x="121" y="172"/>
                    </a:lnTo>
                    <a:lnTo>
                      <a:pt x="121" y="175"/>
                    </a:lnTo>
                    <a:lnTo>
                      <a:pt x="121" y="178"/>
                    </a:lnTo>
                    <a:lnTo>
                      <a:pt x="121" y="181"/>
                    </a:lnTo>
                    <a:lnTo>
                      <a:pt x="121" y="183"/>
                    </a:lnTo>
                    <a:lnTo>
                      <a:pt x="122" y="186"/>
                    </a:lnTo>
                    <a:lnTo>
                      <a:pt x="124" y="190"/>
                    </a:lnTo>
                    <a:lnTo>
                      <a:pt x="125" y="194"/>
                    </a:lnTo>
                    <a:lnTo>
                      <a:pt x="126" y="200"/>
                    </a:lnTo>
                    <a:lnTo>
                      <a:pt x="128" y="203"/>
                    </a:lnTo>
                    <a:lnTo>
                      <a:pt x="129" y="207"/>
                    </a:lnTo>
                    <a:lnTo>
                      <a:pt x="129" y="209"/>
                    </a:lnTo>
                    <a:lnTo>
                      <a:pt x="128" y="209"/>
                    </a:lnTo>
                    <a:lnTo>
                      <a:pt x="125" y="211"/>
                    </a:lnTo>
                    <a:lnTo>
                      <a:pt x="122" y="212"/>
                    </a:lnTo>
                    <a:lnTo>
                      <a:pt x="117" y="214"/>
                    </a:lnTo>
                    <a:lnTo>
                      <a:pt x="113" y="215"/>
                    </a:lnTo>
                    <a:lnTo>
                      <a:pt x="109" y="218"/>
                    </a:lnTo>
                    <a:lnTo>
                      <a:pt x="106" y="222"/>
                    </a:lnTo>
                    <a:lnTo>
                      <a:pt x="103" y="226"/>
                    </a:lnTo>
                    <a:lnTo>
                      <a:pt x="103" y="229"/>
                    </a:lnTo>
                    <a:lnTo>
                      <a:pt x="102" y="231"/>
                    </a:lnTo>
                    <a:lnTo>
                      <a:pt x="100" y="236"/>
                    </a:lnTo>
                    <a:lnTo>
                      <a:pt x="98" y="240"/>
                    </a:lnTo>
                    <a:lnTo>
                      <a:pt x="93" y="241"/>
                    </a:lnTo>
                    <a:lnTo>
                      <a:pt x="88" y="242"/>
                    </a:lnTo>
                    <a:lnTo>
                      <a:pt x="81" y="242"/>
                    </a:lnTo>
                    <a:lnTo>
                      <a:pt x="81" y="241"/>
                    </a:lnTo>
                    <a:lnTo>
                      <a:pt x="80" y="241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0" y="240"/>
                    </a:lnTo>
                    <a:lnTo>
                      <a:pt x="69" y="242"/>
                    </a:lnTo>
                    <a:lnTo>
                      <a:pt x="66" y="244"/>
                    </a:lnTo>
                    <a:lnTo>
                      <a:pt x="62" y="245"/>
                    </a:lnTo>
                    <a:lnTo>
                      <a:pt x="55" y="246"/>
                    </a:lnTo>
                    <a:lnTo>
                      <a:pt x="48" y="249"/>
                    </a:lnTo>
                    <a:lnTo>
                      <a:pt x="38" y="251"/>
                    </a:lnTo>
                    <a:lnTo>
                      <a:pt x="27" y="252"/>
                    </a:lnTo>
                    <a:lnTo>
                      <a:pt x="15" y="253"/>
                    </a:lnTo>
                    <a:lnTo>
                      <a:pt x="15" y="252"/>
                    </a:lnTo>
                    <a:lnTo>
                      <a:pt x="14" y="251"/>
                    </a:lnTo>
                    <a:lnTo>
                      <a:pt x="14" y="248"/>
                    </a:lnTo>
                    <a:lnTo>
                      <a:pt x="12" y="245"/>
                    </a:lnTo>
                    <a:lnTo>
                      <a:pt x="11" y="244"/>
                    </a:lnTo>
                    <a:lnTo>
                      <a:pt x="9" y="241"/>
                    </a:lnTo>
                    <a:lnTo>
                      <a:pt x="7" y="240"/>
                    </a:lnTo>
                    <a:lnTo>
                      <a:pt x="5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3" y="230"/>
                    </a:lnTo>
                    <a:lnTo>
                      <a:pt x="3" y="227"/>
                    </a:lnTo>
                    <a:lnTo>
                      <a:pt x="3" y="223"/>
                    </a:lnTo>
                    <a:lnTo>
                      <a:pt x="4" y="220"/>
                    </a:lnTo>
                    <a:lnTo>
                      <a:pt x="5" y="220"/>
                    </a:lnTo>
                    <a:lnTo>
                      <a:pt x="8" y="220"/>
                    </a:lnTo>
                    <a:lnTo>
                      <a:pt x="12" y="220"/>
                    </a:lnTo>
                    <a:lnTo>
                      <a:pt x="15" y="219"/>
                    </a:lnTo>
                    <a:lnTo>
                      <a:pt x="19" y="216"/>
                    </a:lnTo>
                    <a:lnTo>
                      <a:pt x="20" y="214"/>
                    </a:lnTo>
                    <a:lnTo>
                      <a:pt x="23" y="209"/>
                    </a:lnTo>
                    <a:lnTo>
                      <a:pt x="22" y="208"/>
                    </a:lnTo>
                    <a:lnTo>
                      <a:pt x="22" y="207"/>
                    </a:lnTo>
                    <a:lnTo>
                      <a:pt x="22" y="204"/>
                    </a:lnTo>
                    <a:lnTo>
                      <a:pt x="20" y="201"/>
                    </a:lnTo>
                    <a:lnTo>
                      <a:pt x="19" y="198"/>
                    </a:lnTo>
                    <a:lnTo>
                      <a:pt x="18" y="196"/>
                    </a:lnTo>
                    <a:lnTo>
                      <a:pt x="16" y="193"/>
                    </a:lnTo>
                    <a:lnTo>
                      <a:pt x="15" y="189"/>
                    </a:lnTo>
                    <a:lnTo>
                      <a:pt x="14" y="186"/>
                    </a:lnTo>
                    <a:lnTo>
                      <a:pt x="14" y="185"/>
                    </a:lnTo>
                    <a:lnTo>
                      <a:pt x="14" y="182"/>
                    </a:lnTo>
                    <a:lnTo>
                      <a:pt x="14" y="181"/>
                    </a:lnTo>
                    <a:lnTo>
                      <a:pt x="14" y="178"/>
                    </a:lnTo>
                    <a:lnTo>
                      <a:pt x="15" y="176"/>
                    </a:lnTo>
                    <a:lnTo>
                      <a:pt x="15" y="175"/>
                    </a:lnTo>
                    <a:lnTo>
                      <a:pt x="15" y="172"/>
                    </a:lnTo>
                    <a:lnTo>
                      <a:pt x="15" y="170"/>
                    </a:lnTo>
                    <a:lnTo>
                      <a:pt x="15" y="167"/>
                    </a:lnTo>
                    <a:lnTo>
                      <a:pt x="14" y="163"/>
                    </a:lnTo>
                    <a:lnTo>
                      <a:pt x="14" y="160"/>
                    </a:lnTo>
                    <a:lnTo>
                      <a:pt x="12" y="159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1" y="156"/>
                    </a:lnTo>
                    <a:lnTo>
                      <a:pt x="9" y="154"/>
                    </a:lnTo>
                    <a:lnTo>
                      <a:pt x="9" y="153"/>
                    </a:lnTo>
                    <a:lnTo>
                      <a:pt x="7" y="152"/>
                    </a:lnTo>
                    <a:lnTo>
                      <a:pt x="5" y="152"/>
                    </a:lnTo>
                    <a:lnTo>
                      <a:pt x="3" y="150"/>
                    </a:lnTo>
                    <a:lnTo>
                      <a:pt x="0" y="152"/>
                    </a:lnTo>
                    <a:lnTo>
                      <a:pt x="0" y="150"/>
                    </a:lnTo>
                    <a:lnTo>
                      <a:pt x="1" y="148"/>
                    </a:lnTo>
                    <a:lnTo>
                      <a:pt x="1" y="145"/>
                    </a:lnTo>
                    <a:lnTo>
                      <a:pt x="3" y="142"/>
                    </a:lnTo>
                    <a:lnTo>
                      <a:pt x="4" y="137"/>
                    </a:lnTo>
                    <a:lnTo>
                      <a:pt x="5" y="131"/>
                    </a:lnTo>
                    <a:lnTo>
                      <a:pt x="7" y="124"/>
                    </a:lnTo>
                    <a:lnTo>
                      <a:pt x="5" y="123"/>
                    </a:lnTo>
                    <a:lnTo>
                      <a:pt x="5" y="121"/>
                    </a:lnTo>
                    <a:lnTo>
                      <a:pt x="5" y="119"/>
                    </a:lnTo>
                    <a:lnTo>
                      <a:pt x="5" y="116"/>
                    </a:lnTo>
                    <a:lnTo>
                      <a:pt x="8" y="112"/>
                    </a:lnTo>
                    <a:lnTo>
                      <a:pt x="11" y="108"/>
                    </a:lnTo>
                    <a:lnTo>
                      <a:pt x="15" y="104"/>
                    </a:lnTo>
                    <a:lnTo>
                      <a:pt x="23" y="98"/>
                    </a:lnTo>
                    <a:lnTo>
                      <a:pt x="22" y="95"/>
                    </a:lnTo>
                    <a:lnTo>
                      <a:pt x="22" y="90"/>
                    </a:lnTo>
                    <a:lnTo>
                      <a:pt x="22" y="80"/>
                    </a:lnTo>
                    <a:lnTo>
                      <a:pt x="22" y="69"/>
                    </a:lnTo>
                    <a:lnTo>
                      <a:pt x="22" y="58"/>
                    </a:lnTo>
                    <a:lnTo>
                      <a:pt x="23" y="49"/>
                    </a:lnTo>
                    <a:lnTo>
                      <a:pt x="25" y="44"/>
                    </a:lnTo>
                    <a:lnTo>
                      <a:pt x="26" y="40"/>
                    </a:lnTo>
                    <a:lnTo>
                      <a:pt x="27" y="38"/>
                    </a:lnTo>
                    <a:lnTo>
                      <a:pt x="30" y="36"/>
                    </a:lnTo>
                    <a:lnTo>
                      <a:pt x="30" y="35"/>
                    </a:lnTo>
                    <a:lnTo>
                      <a:pt x="29" y="32"/>
                    </a:lnTo>
                    <a:lnTo>
                      <a:pt x="27" y="28"/>
                    </a:lnTo>
                    <a:lnTo>
                      <a:pt x="25" y="24"/>
                    </a:lnTo>
                    <a:lnTo>
                      <a:pt x="23" y="18"/>
                    </a:lnTo>
                    <a:lnTo>
                      <a:pt x="22" y="11"/>
                    </a:lnTo>
                    <a:lnTo>
                      <a:pt x="22" y="6"/>
                    </a:lnTo>
                    <a:lnTo>
                      <a:pt x="2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3" name="Freeform 986"/>
              <p:cNvSpPr>
                <a:spLocks/>
              </p:cNvSpPr>
              <p:nvPr/>
            </p:nvSpPr>
            <p:spPr bwMode="auto">
              <a:xfrm>
                <a:off x="3044" y="2580"/>
                <a:ext cx="262" cy="299"/>
              </a:xfrm>
              <a:custGeom>
                <a:avLst/>
                <a:gdLst>
                  <a:gd name="T0" fmla="*/ 222 w 262"/>
                  <a:gd name="T1" fmla="*/ 7 h 299"/>
                  <a:gd name="T2" fmla="*/ 200 w 262"/>
                  <a:gd name="T3" fmla="*/ 24 h 299"/>
                  <a:gd name="T4" fmla="*/ 35 w 262"/>
                  <a:gd name="T5" fmla="*/ 99 h 299"/>
                  <a:gd name="T6" fmla="*/ 20 w 262"/>
                  <a:gd name="T7" fmla="*/ 98 h 299"/>
                  <a:gd name="T8" fmla="*/ 13 w 262"/>
                  <a:gd name="T9" fmla="*/ 108 h 299"/>
                  <a:gd name="T10" fmla="*/ 11 w 262"/>
                  <a:gd name="T11" fmla="*/ 114 h 299"/>
                  <a:gd name="T12" fmla="*/ 9 w 262"/>
                  <a:gd name="T13" fmla="*/ 121 h 299"/>
                  <a:gd name="T14" fmla="*/ 3 w 262"/>
                  <a:gd name="T15" fmla="*/ 125 h 299"/>
                  <a:gd name="T16" fmla="*/ 0 w 262"/>
                  <a:gd name="T17" fmla="*/ 131 h 299"/>
                  <a:gd name="T18" fmla="*/ 3 w 262"/>
                  <a:gd name="T19" fmla="*/ 138 h 299"/>
                  <a:gd name="T20" fmla="*/ 7 w 262"/>
                  <a:gd name="T21" fmla="*/ 145 h 299"/>
                  <a:gd name="T22" fmla="*/ 9 w 262"/>
                  <a:gd name="T23" fmla="*/ 150 h 299"/>
                  <a:gd name="T24" fmla="*/ 9 w 262"/>
                  <a:gd name="T25" fmla="*/ 157 h 299"/>
                  <a:gd name="T26" fmla="*/ 7 w 262"/>
                  <a:gd name="T27" fmla="*/ 168 h 299"/>
                  <a:gd name="T28" fmla="*/ 16 w 262"/>
                  <a:gd name="T29" fmla="*/ 202 h 299"/>
                  <a:gd name="T30" fmla="*/ 24 w 262"/>
                  <a:gd name="T31" fmla="*/ 215 h 299"/>
                  <a:gd name="T32" fmla="*/ 38 w 262"/>
                  <a:gd name="T33" fmla="*/ 231 h 299"/>
                  <a:gd name="T34" fmla="*/ 51 w 262"/>
                  <a:gd name="T35" fmla="*/ 248 h 299"/>
                  <a:gd name="T36" fmla="*/ 65 w 262"/>
                  <a:gd name="T37" fmla="*/ 271 h 299"/>
                  <a:gd name="T38" fmla="*/ 73 w 262"/>
                  <a:gd name="T39" fmla="*/ 279 h 299"/>
                  <a:gd name="T40" fmla="*/ 93 w 262"/>
                  <a:gd name="T41" fmla="*/ 286 h 299"/>
                  <a:gd name="T42" fmla="*/ 97 w 262"/>
                  <a:gd name="T43" fmla="*/ 288 h 299"/>
                  <a:gd name="T44" fmla="*/ 106 w 262"/>
                  <a:gd name="T45" fmla="*/ 296 h 299"/>
                  <a:gd name="T46" fmla="*/ 123 w 262"/>
                  <a:gd name="T47" fmla="*/ 299 h 299"/>
                  <a:gd name="T48" fmla="*/ 146 w 262"/>
                  <a:gd name="T49" fmla="*/ 297 h 299"/>
                  <a:gd name="T50" fmla="*/ 183 w 262"/>
                  <a:gd name="T51" fmla="*/ 294 h 299"/>
                  <a:gd name="T52" fmla="*/ 218 w 262"/>
                  <a:gd name="T53" fmla="*/ 288 h 299"/>
                  <a:gd name="T54" fmla="*/ 216 w 262"/>
                  <a:gd name="T55" fmla="*/ 263 h 299"/>
                  <a:gd name="T56" fmla="*/ 201 w 262"/>
                  <a:gd name="T57" fmla="*/ 244 h 299"/>
                  <a:gd name="T58" fmla="*/ 187 w 262"/>
                  <a:gd name="T59" fmla="*/ 231 h 299"/>
                  <a:gd name="T60" fmla="*/ 182 w 262"/>
                  <a:gd name="T61" fmla="*/ 223 h 299"/>
                  <a:gd name="T62" fmla="*/ 187 w 262"/>
                  <a:gd name="T63" fmla="*/ 215 h 299"/>
                  <a:gd name="T64" fmla="*/ 187 w 262"/>
                  <a:gd name="T65" fmla="*/ 202 h 299"/>
                  <a:gd name="T66" fmla="*/ 187 w 262"/>
                  <a:gd name="T67" fmla="*/ 189 h 299"/>
                  <a:gd name="T68" fmla="*/ 194 w 262"/>
                  <a:gd name="T69" fmla="*/ 172 h 299"/>
                  <a:gd name="T70" fmla="*/ 211 w 262"/>
                  <a:gd name="T71" fmla="*/ 154 h 299"/>
                  <a:gd name="T72" fmla="*/ 222 w 262"/>
                  <a:gd name="T73" fmla="*/ 135 h 299"/>
                  <a:gd name="T74" fmla="*/ 227 w 262"/>
                  <a:gd name="T75" fmla="*/ 116 h 299"/>
                  <a:gd name="T76" fmla="*/ 238 w 262"/>
                  <a:gd name="T77" fmla="*/ 101 h 299"/>
                  <a:gd name="T78" fmla="*/ 248 w 262"/>
                  <a:gd name="T79" fmla="*/ 92 h 299"/>
                  <a:gd name="T80" fmla="*/ 258 w 262"/>
                  <a:gd name="T81" fmla="*/ 84 h 299"/>
                  <a:gd name="T82" fmla="*/ 262 w 262"/>
                  <a:gd name="T83" fmla="*/ 79 h 299"/>
                  <a:gd name="T84" fmla="*/ 251 w 262"/>
                  <a:gd name="T85" fmla="*/ 58 h 299"/>
                  <a:gd name="T86" fmla="*/ 244 w 262"/>
                  <a:gd name="T87" fmla="*/ 43 h 299"/>
                  <a:gd name="T88" fmla="*/ 240 w 262"/>
                  <a:gd name="T89" fmla="*/ 35 h 299"/>
                  <a:gd name="T90" fmla="*/ 240 w 262"/>
                  <a:gd name="T91" fmla="*/ 26 h 299"/>
                  <a:gd name="T92" fmla="*/ 237 w 262"/>
                  <a:gd name="T93" fmla="*/ 18 h 299"/>
                  <a:gd name="T94" fmla="*/ 226 w 262"/>
                  <a:gd name="T95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2" h="299">
                    <a:moveTo>
                      <a:pt x="226" y="0"/>
                    </a:moveTo>
                    <a:lnTo>
                      <a:pt x="226" y="2"/>
                    </a:lnTo>
                    <a:lnTo>
                      <a:pt x="225" y="4"/>
                    </a:lnTo>
                    <a:lnTo>
                      <a:pt x="222" y="7"/>
                    </a:lnTo>
                    <a:lnTo>
                      <a:pt x="218" y="11"/>
                    </a:lnTo>
                    <a:lnTo>
                      <a:pt x="212" y="15"/>
                    </a:lnTo>
                    <a:lnTo>
                      <a:pt x="207" y="20"/>
                    </a:lnTo>
                    <a:lnTo>
                      <a:pt x="200" y="24"/>
                    </a:lnTo>
                    <a:lnTo>
                      <a:pt x="193" y="26"/>
                    </a:lnTo>
                    <a:lnTo>
                      <a:pt x="36" y="26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32" y="98"/>
                    </a:lnTo>
                    <a:lnTo>
                      <a:pt x="28" y="98"/>
                    </a:lnTo>
                    <a:lnTo>
                      <a:pt x="24" y="98"/>
                    </a:lnTo>
                    <a:lnTo>
                      <a:pt x="20" y="98"/>
                    </a:lnTo>
                    <a:lnTo>
                      <a:pt x="17" y="101"/>
                    </a:lnTo>
                    <a:lnTo>
                      <a:pt x="14" y="102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09"/>
                    </a:lnTo>
                    <a:lnTo>
                      <a:pt x="13" y="110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7"/>
                    </a:lnTo>
                    <a:lnTo>
                      <a:pt x="10" y="119"/>
                    </a:lnTo>
                    <a:lnTo>
                      <a:pt x="10" y="120"/>
                    </a:lnTo>
                    <a:lnTo>
                      <a:pt x="9" y="121"/>
                    </a:lnTo>
                    <a:lnTo>
                      <a:pt x="9" y="121"/>
                    </a:lnTo>
                    <a:lnTo>
                      <a:pt x="7" y="123"/>
                    </a:lnTo>
                    <a:lnTo>
                      <a:pt x="5" y="124"/>
                    </a:lnTo>
                    <a:lnTo>
                      <a:pt x="3" y="125"/>
                    </a:lnTo>
                    <a:lnTo>
                      <a:pt x="2" y="127"/>
                    </a:lnTo>
                    <a:lnTo>
                      <a:pt x="0" y="130"/>
                    </a:lnTo>
                    <a:lnTo>
                      <a:pt x="0" y="131"/>
                    </a:lnTo>
                    <a:lnTo>
                      <a:pt x="0" y="131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3" y="136"/>
                    </a:lnTo>
                    <a:lnTo>
                      <a:pt x="3" y="138"/>
                    </a:lnTo>
                    <a:lnTo>
                      <a:pt x="5" y="141"/>
                    </a:lnTo>
                    <a:lnTo>
                      <a:pt x="6" y="143"/>
                    </a:lnTo>
                    <a:lnTo>
                      <a:pt x="7" y="145"/>
                    </a:lnTo>
                    <a:lnTo>
                      <a:pt x="7" y="145"/>
                    </a:lnTo>
                    <a:lnTo>
                      <a:pt x="7" y="146"/>
                    </a:lnTo>
                    <a:lnTo>
                      <a:pt x="7" y="147"/>
                    </a:lnTo>
                    <a:lnTo>
                      <a:pt x="9" y="149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9" y="154"/>
                    </a:lnTo>
                    <a:lnTo>
                      <a:pt x="9" y="157"/>
                    </a:lnTo>
                    <a:lnTo>
                      <a:pt x="9" y="157"/>
                    </a:lnTo>
                    <a:lnTo>
                      <a:pt x="9" y="158"/>
                    </a:lnTo>
                    <a:lnTo>
                      <a:pt x="7" y="161"/>
                    </a:lnTo>
                    <a:lnTo>
                      <a:pt x="7" y="164"/>
                    </a:lnTo>
                    <a:lnTo>
                      <a:pt x="7" y="168"/>
                    </a:lnTo>
                    <a:lnTo>
                      <a:pt x="7" y="172"/>
                    </a:lnTo>
                    <a:lnTo>
                      <a:pt x="7" y="176"/>
                    </a:lnTo>
                    <a:lnTo>
                      <a:pt x="9" y="180"/>
                    </a:lnTo>
                    <a:lnTo>
                      <a:pt x="16" y="202"/>
                    </a:lnTo>
                    <a:lnTo>
                      <a:pt x="17" y="202"/>
                    </a:lnTo>
                    <a:lnTo>
                      <a:pt x="18" y="205"/>
                    </a:lnTo>
                    <a:lnTo>
                      <a:pt x="20" y="209"/>
                    </a:lnTo>
                    <a:lnTo>
                      <a:pt x="24" y="215"/>
                    </a:lnTo>
                    <a:lnTo>
                      <a:pt x="27" y="219"/>
                    </a:lnTo>
                    <a:lnTo>
                      <a:pt x="31" y="224"/>
                    </a:lnTo>
                    <a:lnTo>
                      <a:pt x="33" y="229"/>
                    </a:lnTo>
                    <a:lnTo>
                      <a:pt x="38" y="231"/>
                    </a:lnTo>
                    <a:lnTo>
                      <a:pt x="39" y="233"/>
                    </a:lnTo>
                    <a:lnTo>
                      <a:pt x="42" y="235"/>
                    </a:lnTo>
                    <a:lnTo>
                      <a:pt x="46" y="242"/>
                    </a:lnTo>
                    <a:lnTo>
                      <a:pt x="51" y="248"/>
                    </a:lnTo>
                    <a:lnTo>
                      <a:pt x="55" y="256"/>
                    </a:lnTo>
                    <a:lnTo>
                      <a:pt x="60" y="261"/>
                    </a:lnTo>
                    <a:lnTo>
                      <a:pt x="64" y="268"/>
                    </a:lnTo>
                    <a:lnTo>
                      <a:pt x="65" y="271"/>
                    </a:lnTo>
                    <a:lnTo>
                      <a:pt x="66" y="272"/>
                    </a:lnTo>
                    <a:lnTo>
                      <a:pt x="68" y="274"/>
                    </a:lnTo>
                    <a:lnTo>
                      <a:pt x="71" y="277"/>
                    </a:lnTo>
                    <a:lnTo>
                      <a:pt x="73" y="279"/>
                    </a:lnTo>
                    <a:lnTo>
                      <a:pt x="77" y="282"/>
                    </a:lnTo>
                    <a:lnTo>
                      <a:pt x="83" y="285"/>
                    </a:lnTo>
                    <a:lnTo>
                      <a:pt x="87" y="286"/>
                    </a:lnTo>
                    <a:lnTo>
                      <a:pt x="93" y="286"/>
                    </a:lnTo>
                    <a:lnTo>
                      <a:pt x="93" y="286"/>
                    </a:lnTo>
                    <a:lnTo>
                      <a:pt x="94" y="286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9" y="289"/>
                    </a:lnTo>
                    <a:lnTo>
                      <a:pt x="102" y="290"/>
                    </a:lnTo>
                    <a:lnTo>
                      <a:pt x="104" y="293"/>
                    </a:lnTo>
                    <a:lnTo>
                      <a:pt x="106" y="296"/>
                    </a:lnTo>
                    <a:lnTo>
                      <a:pt x="108" y="297"/>
                    </a:lnTo>
                    <a:lnTo>
                      <a:pt x="112" y="297"/>
                    </a:lnTo>
                    <a:lnTo>
                      <a:pt x="116" y="297"/>
                    </a:lnTo>
                    <a:lnTo>
                      <a:pt x="123" y="299"/>
                    </a:lnTo>
                    <a:lnTo>
                      <a:pt x="130" y="299"/>
                    </a:lnTo>
                    <a:lnTo>
                      <a:pt x="137" y="299"/>
                    </a:lnTo>
                    <a:lnTo>
                      <a:pt x="142" y="299"/>
                    </a:lnTo>
                    <a:lnTo>
                      <a:pt x="146" y="297"/>
                    </a:lnTo>
                    <a:lnTo>
                      <a:pt x="149" y="297"/>
                    </a:lnTo>
                    <a:lnTo>
                      <a:pt x="157" y="297"/>
                    </a:lnTo>
                    <a:lnTo>
                      <a:pt x="170" y="296"/>
                    </a:lnTo>
                    <a:lnTo>
                      <a:pt x="183" y="294"/>
                    </a:lnTo>
                    <a:lnTo>
                      <a:pt x="197" y="293"/>
                    </a:lnTo>
                    <a:lnTo>
                      <a:pt x="209" y="292"/>
                    </a:lnTo>
                    <a:lnTo>
                      <a:pt x="214" y="290"/>
                    </a:lnTo>
                    <a:lnTo>
                      <a:pt x="218" y="288"/>
                    </a:lnTo>
                    <a:lnTo>
                      <a:pt x="220" y="286"/>
                    </a:lnTo>
                    <a:lnTo>
                      <a:pt x="222" y="285"/>
                    </a:lnTo>
                    <a:lnTo>
                      <a:pt x="218" y="264"/>
                    </a:lnTo>
                    <a:lnTo>
                      <a:pt x="216" y="263"/>
                    </a:lnTo>
                    <a:lnTo>
                      <a:pt x="214" y="260"/>
                    </a:lnTo>
                    <a:lnTo>
                      <a:pt x="211" y="255"/>
                    </a:lnTo>
                    <a:lnTo>
                      <a:pt x="207" y="249"/>
                    </a:lnTo>
                    <a:lnTo>
                      <a:pt x="201" y="244"/>
                    </a:lnTo>
                    <a:lnTo>
                      <a:pt x="197" y="238"/>
                    </a:lnTo>
                    <a:lnTo>
                      <a:pt x="193" y="234"/>
                    </a:lnTo>
                    <a:lnTo>
                      <a:pt x="189" y="231"/>
                    </a:lnTo>
                    <a:lnTo>
                      <a:pt x="187" y="231"/>
                    </a:lnTo>
                    <a:lnTo>
                      <a:pt x="186" y="230"/>
                    </a:lnTo>
                    <a:lnTo>
                      <a:pt x="185" y="229"/>
                    </a:lnTo>
                    <a:lnTo>
                      <a:pt x="183" y="226"/>
                    </a:lnTo>
                    <a:lnTo>
                      <a:pt x="182" y="223"/>
                    </a:lnTo>
                    <a:lnTo>
                      <a:pt x="182" y="220"/>
                    </a:lnTo>
                    <a:lnTo>
                      <a:pt x="183" y="219"/>
                    </a:lnTo>
                    <a:lnTo>
                      <a:pt x="187" y="216"/>
                    </a:lnTo>
                    <a:lnTo>
                      <a:pt x="187" y="215"/>
                    </a:lnTo>
                    <a:lnTo>
                      <a:pt x="187" y="213"/>
                    </a:lnTo>
                    <a:lnTo>
                      <a:pt x="187" y="211"/>
                    </a:lnTo>
                    <a:lnTo>
                      <a:pt x="187" y="207"/>
                    </a:lnTo>
                    <a:lnTo>
                      <a:pt x="187" y="202"/>
                    </a:lnTo>
                    <a:lnTo>
                      <a:pt x="187" y="198"/>
                    </a:lnTo>
                    <a:lnTo>
                      <a:pt x="187" y="194"/>
                    </a:lnTo>
                    <a:lnTo>
                      <a:pt x="187" y="189"/>
                    </a:lnTo>
                    <a:lnTo>
                      <a:pt x="187" y="189"/>
                    </a:lnTo>
                    <a:lnTo>
                      <a:pt x="187" y="186"/>
                    </a:lnTo>
                    <a:lnTo>
                      <a:pt x="189" y="182"/>
                    </a:lnTo>
                    <a:lnTo>
                      <a:pt x="192" y="178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4" y="161"/>
                    </a:lnTo>
                    <a:lnTo>
                      <a:pt x="211" y="156"/>
                    </a:lnTo>
                    <a:lnTo>
                      <a:pt x="211" y="154"/>
                    </a:lnTo>
                    <a:lnTo>
                      <a:pt x="214" y="152"/>
                    </a:lnTo>
                    <a:lnTo>
                      <a:pt x="216" y="147"/>
                    </a:lnTo>
                    <a:lnTo>
                      <a:pt x="219" y="142"/>
                    </a:lnTo>
                    <a:lnTo>
                      <a:pt x="222" y="135"/>
                    </a:lnTo>
                    <a:lnTo>
                      <a:pt x="225" y="128"/>
                    </a:lnTo>
                    <a:lnTo>
                      <a:pt x="226" y="121"/>
                    </a:lnTo>
                    <a:lnTo>
                      <a:pt x="226" y="116"/>
                    </a:lnTo>
                    <a:lnTo>
                      <a:pt x="227" y="116"/>
                    </a:lnTo>
                    <a:lnTo>
                      <a:pt x="229" y="113"/>
                    </a:lnTo>
                    <a:lnTo>
                      <a:pt x="231" y="109"/>
                    </a:lnTo>
                    <a:lnTo>
                      <a:pt x="234" y="105"/>
                    </a:lnTo>
                    <a:lnTo>
                      <a:pt x="238" y="101"/>
                    </a:lnTo>
                    <a:lnTo>
                      <a:pt x="241" y="97"/>
                    </a:lnTo>
                    <a:lnTo>
                      <a:pt x="244" y="94"/>
                    </a:lnTo>
                    <a:lnTo>
                      <a:pt x="247" y="92"/>
                    </a:lnTo>
                    <a:lnTo>
                      <a:pt x="248" y="92"/>
                    </a:lnTo>
                    <a:lnTo>
                      <a:pt x="251" y="91"/>
                    </a:lnTo>
                    <a:lnTo>
                      <a:pt x="253" y="90"/>
                    </a:lnTo>
                    <a:lnTo>
                      <a:pt x="256" y="87"/>
                    </a:lnTo>
                    <a:lnTo>
                      <a:pt x="258" y="84"/>
                    </a:lnTo>
                    <a:lnTo>
                      <a:pt x="260" y="83"/>
                    </a:lnTo>
                    <a:lnTo>
                      <a:pt x="262" y="81"/>
                    </a:lnTo>
                    <a:lnTo>
                      <a:pt x="262" y="80"/>
                    </a:lnTo>
                    <a:lnTo>
                      <a:pt x="262" y="79"/>
                    </a:lnTo>
                    <a:lnTo>
                      <a:pt x="259" y="76"/>
                    </a:lnTo>
                    <a:lnTo>
                      <a:pt x="256" y="70"/>
                    </a:lnTo>
                    <a:lnTo>
                      <a:pt x="253" y="65"/>
                    </a:lnTo>
                    <a:lnTo>
                      <a:pt x="251" y="58"/>
                    </a:lnTo>
                    <a:lnTo>
                      <a:pt x="248" y="53"/>
                    </a:lnTo>
                    <a:lnTo>
                      <a:pt x="245" y="48"/>
                    </a:lnTo>
                    <a:lnTo>
                      <a:pt x="244" y="46"/>
                    </a:lnTo>
                    <a:lnTo>
                      <a:pt x="244" y="43"/>
                    </a:lnTo>
                    <a:lnTo>
                      <a:pt x="242" y="42"/>
                    </a:lnTo>
                    <a:lnTo>
                      <a:pt x="241" y="39"/>
                    </a:lnTo>
                    <a:lnTo>
                      <a:pt x="241" y="37"/>
                    </a:lnTo>
                    <a:lnTo>
                      <a:pt x="240" y="35"/>
                    </a:lnTo>
                    <a:lnTo>
                      <a:pt x="240" y="33"/>
                    </a:lnTo>
                    <a:lnTo>
                      <a:pt x="240" y="31"/>
                    </a:lnTo>
                    <a:lnTo>
                      <a:pt x="240" y="28"/>
                    </a:lnTo>
                    <a:lnTo>
                      <a:pt x="240" y="26"/>
                    </a:lnTo>
                    <a:lnTo>
                      <a:pt x="240" y="25"/>
                    </a:lnTo>
                    <a:lnTo>
                      <a:pt x="238" y="24"/>
                    </a:lnTo>
                    <a:lnTo>
                      <a:pt x="238" y="21"/>
                    </a:lnTo>
                    <a:lnTo>
                      <a:pt x="237" y="18"/>
                    </a:lnTo>
                    <a:lnTo>
                      <a:pt x="236" y="15"/>
                    </a:lnTo>
                    <a:lnTo>
                      <a:pt x="233" y="13"/>
                    </a:lnTo>
                    <a:lnTo>
                      <a:pt x="230" y="10"/>
                    </a:lnTo>
                    <a:lnTo>
                      <a:pt x="22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4" name="Freeform 987"/>
              <p:cNvSpPr>
                <a:spLocks/>
              </p:cNvSpPr>
              <p:nvPr/>
            </p:nvSpPr>
            <p:spPr bwMode="auto">
              <a:xfrm>
                <a:off x="3044" y="2580"/>
                <a:ext cx="262" cy="299"/>
              </a:xfrm>
              <a:custGeom>
                <a:avLst/>
                <a:gdLst>
                  <a:gd name="T0" fmla="*/ 225 w 262"/>
                  <a:gd name="T1" fmla="*/ 4 h 299"/>
                  <a:gd name="T2" fmla="*/ 212 w 262"/>
                  <a:gd name="T3" fmla="*/ 15 h 299"/>
                  <a:gd name="T4" fmla="*/ 193 w 262"/>
                  <a:gd name="T5" fmla="*/ 26 h 299"/>
                  <a:gd name="T6" fmla="*/ 32 w 262"/>
                  <a:gd name="T7" fmla="*/ 98 h 299"/>
                  <a:gd name="T8" fmla="*/ 20 w 262"/>
                  <a:gd name="T9" fmla="*/ 98 h 299"/>
                  <a:gd name="T10" fmla="*/ 13 w 262"/>
                  <a:gd name="T11" fmla="*/ 106 h 299"/>
                  <a:gd name="T12" fmla="*/ 13 w 262"/>
                  <a:gd name="T13" fmla="*/ 110 h 299"/>
                  <a:gd name="T14" fmla="*/ 11 w 262"/>
                  <a:gd name="T15" fmla="*/ 117 h 299"/>
                  <a:gd name="T16" fmla="*/ 9 w 262"/>
                  <a:gd name="T17" fmla="*/ 121 h 299"/>
                  <a:gd name="T18" fmla="*/ 3 w 262"/>
                  <a:gd name="T19" fmla="*/ 125 h 299"/>
                  <a:gd name="T20" fmla="*/ 0 w 262"/>
                  <a:gd name="T21" fmla="*/ 131 h 299"/>
                  <a:gd name="T22" fmla="*/ 3 w 262"/>
                  <a:gd name="T23" fmla="*/ 136 h 299"/>
                  <a:gd name="T24" fmla="*/ 6 w 262"/>
                  <a:gd name="T25" fmla="*/ 143 h 299"/>
                  <a:gd name="T26" fmla="*/ 7 w 262"/>
                  <a:gd name="T27" fmla="*/ 147 h 299"/>
                  <a:gd name="T28" fmla="*/ 9 w 262"/>
                  <a:gd name="T29" fmla="*/ 152 h 299"/>
                  <a:gd name="T30" fmla="*/ 9 w 262"/>
                  <a:gd name="T31" fmla="*/ 158 h 299"/>
                  <a:gd name="T32" fmla="*/ 7 w 262"/>
                  <a:gd name="T33" fmla="*/ 168 h 299"/>
                  <a:gd name="T34" fmla="*/ 9 w 262"/>
                  <a:gd name="T35" fmla="*/ 180 h 299"/>
                  <a:gd name="T36" fmla="*/ 18 w 262"/>
                  <a:gd name="T37" fmla="*/ 205 h 299"/>
                  <a:gd name="T38" fmla="*/ 27 w 262"/>
                  <a:gd name="T39" fmla="*/ 219 h 299"/>
                  <a:gd name="T40" fmla="*/ 38 w 262"/>
                  <a:gd name="T41" fmla="*/ 231 h 299"/>
                  <a:gd name="T42" fmla="*/ 46 w 262"/>
                  <a:gd name="T43" fmla="*/ 242 h 299"/>
                  <a:gd name="T44" fmla="*/ 60 w 262"/>
                  <a:gd name="T45" fmla="*/ 261 h 299"/>
                  <a:gd name="T46" fmla="*/ 66 w 262"/>
                  <a:gd name="T47" fmla="*/ 272 h 299"/>
                  <a:gd name="T48" fmla="*/ 73 w 262"/>
                  <a:gd name="T49" fmla="*/ 279 h 299"/>
                  <a:gd name="T50" fmla="*/ 87 w 262"/>
                  <a:gd name="T51" fmla="*/ 286 h 299"/>
                  <a:gd name="T52" fmla="*/ 95 w 262"/>
                  <a:gd name="T53" fmla="*/ 288 h 299"/>
                  <a:gd name="T54" fmla="*/ 102 w 262"/>
                  <a:gd name="T55" fmla="*/ 290 h 299"/>
                  <a:gd name="T56" fmla="*/ 108 w 262"/>
                  <a:gd name="T57" fmla="*/ 297 h 299"/>
                  <a:gd name="T58" fmla="*/ 123 w 262"/>
                  <a:gd name="T59" fmla="*/ 299 h 299"/>
                  <a:gd name="T60" fmla="*/ 142 w 262"/>
                  <a:gd name="T61" fmla="*/ 299 h 299"/>
                  <a:gd name="T62" fmla="*/ 157 w 262"/>
                  <a:gd name="T63" fmla="*/ 297 h 299"/>
                  <a:gd name="T64" fmla="*/ 197 w 262"/>
                  <a:gd name="T65" fmla="*/ 293 h 299"/>
                  <a:gd name="T66" fmla="*/ 218 w 262"/>
                  <a:gd name="T67" fmla="*/ 288 h 299"/>
                  <a:gd name="T68" fmla="*/ 218 w 262"/>
                  <a:gd name="T69" fmla="*/ 264 h 299"/>
                  <a:gd name="T70" fmla="*/ 211 w 262"/>
                  <a:gd name="T71" fmla="*/ 255 h 299"/>
                  <a:gd name="T72" fmla="*/ 197 w 262"/>
                  <a:gd name="T73" fmla="*/ 238 h 299"/>
                  <a:gd name="T74" fmla="*/ 187 w 262"/>
                  <a:gd name="T75" fmla="*/ 231 h 299"/>
                  <a:gd name="T76" fmla="*/ 183 w 262"/>
                  <a:gd name="T77" fmla="*/ 226 h 299"/>
                  <a:gd name="T78" fmla="*/ 183 w 262"/>
                  <a:gd name="T79" fmla="*/ 219 h 299"/>
                  <a:gd name="T80" fmla="*/ 187 w 262"/>
                  <a:gd name="T81" fmla="*/ 213 h 299"/>
                  <a:gd name="T82" fmla="*/ 187 w 262"/>
                  <a:gd name="T83" fmla="*/ 202 h 299"/>
                  <a:gd name="T84" fmla="*/ 187 w 262"/>
                  <a:gd name="T85" fmla="*/ 189 h 299"/>
                  <a:gd name="T86" fmla="*/ 192 w 262"/>
                  <a:gd name="T87" fmla="*/ 178 h 299"/>
                  <a:gd name="T88" fmla="*/ 204 w 262"/>
                  <a:gd name="T89" fmla="*/ 161 h 299"/>
                  <a:gd name="T90" fmla="*/ 214 w 262"/>
                  <a:gd name="T91" fmla="*/ 152 h 299"/>
                  <a:gd name="T92" fmla="*/ 222 w 262"/>
                  <a:gd name="T93" fmla="*/ 135 h 299"/>
                  <a:gd name="T94" fmla="*/ 226 w 262"/>
                  <a:gd name="T95" fmla="*/ 116 h 299"/>
                  <a:gd name="T96" fmla="*/ 231 w 262"/>
                  <a:gd name="T97" fmla="*/ 109 h 299"/>
                  <a:gd name="T98" fmla="*/ 241 w 262"/>
                  <a:gd name="T99" fmla="*/ 97 h 299"/>
                  <a:gd name="T100" fmla="*/ 248 w 262"/>
                  <a:gd name="T101" fmla="*/ 92 h 299"/>
                  <a:gd name="T102" fmla="*/ 256 w 262"/>
                  <a:gd name="T103" fmla="*/ 87 h 299"/>
                  <a:gd name="T104" fmla="*/ 262 w 262"/>
                  <a:gd name="T105" fmla="*/ 81 h 299"/>
                  <a:gd name="T106" fmla="*/ 259 w 262"/>
                  <a:gd name="T107" fmla="*/ 76 h 299"/>
                  <a:gd name="T108" fmla="*/ 251 w 262"/>
                  <a:gd name="T109" fmla="*/ 58 h 299"/>
                  <a:gd name="T110" fmla="*/ 244 w 262"/>
                  <a:gd name="T111" fmla="*/ 46 h 299"/>
                  <a:gd name="T112" fmla="*/ 241 w 262"/>
                  <a:gd name="T113" fmla="*/ 39 h 299"/>
                  <a:gd name="T114" fmla="*/ 240 w 262"/>
                  <a:gd name="T115" fmla="*/ 33 h 299"/>
                  <a:gd name="T116" fmla="*/ 240 w 262"/>
                  <a:gd name="T117" fmla="*/ 26 h 299"/>
                  <a:gd name="T118" fmla="*/ 238 w 262"/>
                  <a:gd name="T119" fmla="*/ 21 h 299"/>
                  <a:gd name="T120" fmla="*/ 233 w 262"/>
                  <a:gd name="T121" fmla="*/ 13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62" h="299">
                    <a:moveTo>
                      <a:pt x="226" y="0"/>
                    </a:moveTo>
                    <a:lnTo>
                      <a:pt x="226" y="2"/>
                    </a:lnTo>
                    <a:lnTo>
                      <a:pt x="225" y="4"/>
                    </a:lnTo>
                    <a:lnTo>
                      <a:pt x="222" y="7"/>
                    </a:lnTo>
                    <a:lnTo>
                      <a:pt x="218" y="11"/>
                    </a:lnTo>
                    <a:lnTo>
                      <a:pt x="212" y="15"/>
                    </a:lnTo>
                    <a:lnTo>
                      <a:pt x="207" y="20"/>
                    </a:lnTo>
                    <a:lnTo>
                      <a:pt x="200" y="24"/>
                    </a:lnTo>
                    <a:lnTo>
                      <a:pt x="193" y="26"/>
                    </a:lnTo>
                    <a:lnTo>
                      <a:pt x="36" y="26"/>
                    </a:lnTo>
                    <a:lnTo>
                      <a:pt x="35" y="99"/>
                    </a:lnTo>
                    <a:lnTo>
                      <a:pt x="32" y="98"/>
                    </a:lnTo>
                    <a:lnTo>
                      <a:pt x="28" y="98"/>
                    </a:lnTo>
                    <a:lnTo>
                      <a:pt x="24" y="98"/>
                    </a:lnTo>
                    <a:lnTo>
                      <a:pt x="20" y="98"/>
                    </a:lnTo>
                    <a:lnTo>
                      <a:pt x="17" y="101"/>
                    </a:lnTo>
                    <a:lnTo>
                      <a:pt x="14" y="102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09"/>
                    </a:lnTo>
                    <a:lnTo>
                      <a:pt x="13" y="110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7"/>
                    </a:lnTo>
                    <a:lnTo>
                      <a:pt x="10" y="119"/>
                    </a:lnTo>
                    <a:lnTo>
                      <a:pt x="10" y="120"/>
                    </a:lnTo>
                    <a:lnTo>
                      <a:pt x="9" y="121"/>
                    </a:lnTo>
                    <a:lnTo>
                      <a:pt x="7" y="123"/>
                    </a:lnTo>
                    <a:lnTo>
                      <a:pt x="5" y="124"/>
                    </a:lnTo>
                    <a:lnTo>
                      <a:pt x="3" y="125"/>
                    </a:lnTo>
                    <a:lnTo>
                      <a:pt x="2" y="127"/>
                    </a:lnTo>
                    <a:lnTo>
                      <a:pt x="0" y="130"/>
                    </a:lnTo>
                    <a:lnTo>
                      <a:pt x="0" y="131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3" y="136"/>
                    </a:lnTo>
                    <a:lnTo>
                      <a:pt x="3" y="138"/>
                    </a:lnTo>
                    <a:lnTo>
                      <a:pt x="5" y="141"/>
                    </a:lnTo>
                    <a:lnTo>
                      <a:pt x="6" y="143"/>
                    </a:lnTo>
                    <a:lnTo>
                      <a:pt x="7" y="145"/>
                    </a:lnTo>
                    <a:lnTo>
                      <a:pt x="7" y="146"/>
                    </a:lnTo>
                    <a:lnTo>
                      <a:pt x="7" y="147"/>
                    </a:lnTo>
                    <a:lnTo>
                      <a:pt x="9" y="149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9" y="154"/>
                    </a:lnTo>
                    <a:lnTo>
                      <a:pt x="9" y="157"/>
                    </a:lnTo>
                    <a:lnTo>
                      <a:pt x="9" y="158"/>
                    </a:lnTo>
                    <a:lnTo>
                      <a:pt x="7" y="161"/>
                    </a:lnTo>
                    <a:lnTo>
                      <a:pt x="7" y="164"/>
                    </a:lnTo>
                    <a:lnTo>
                      <a:pt x="7" y="168"/>
                    </a:lnTo>
                    <a:lnTo>
                      <a:pt x="7" y="172"/>
                    </a:lnTo>
                    <a:lnTo>
                      <a:pt x="7" y="176"/>
                    </a:lnTo>
                    <a:lnTo>
                      <a:pt x="9" y="180"/>
                    </a:lnTo>
                    <a:lnTo>
                      <a:pt x="16" y="202"/>
                    </a:lnTo>
                    <a:lnTo>
                      <a:pt x="17" y="202"/>
                    </a:lnTo>
                    <a:lnTo>
                      <a:pt x="18" y="205"/>
                    </a:lnTo>
                    <a:lnTo>
                      <a:pt x="20" y="209"/>
                    </a:lnTo>
                    <a:lnTo>
                      <a:pt x="24" y="215"/>
                    </a:lnTo>
                    <a:lnTo>
                      <a:pt x="27" y="219"/>
                    </a:lnTo>
                    <a:lnTo>
                      <a:pt x="31" y="224"/>
                    </a:lnTo>
                    <a:lnTo>
                      <a:pt x="33" y="229"/>
                    </a:lnTo>
                    <a:lnTo>
                      <a:pt x="38" y="231"/>
                    </a:lnTo>
                    <a:lnTo>
                      <a:pt x="39" y="233"/>
                    </a:lnTo>
                    <a:lnTo>
                      <a:pt x="42" y="235"/>
                    </a:lnTo>
                    <a:lnTo>
                      <a:pt x="46" y="242"/>
                    </a:lnTo>
                    <a:lnTo>
                      <a:pt x="51" y="248"/>
                    </a:lnTo>
                    <a:lnTo>
                      <a:pt x="55" y="256"/>
                    </a:lnTo>
                    <a:lnTo>
                      <a:pt x="60" y="261"/>
                    </a:lnTo>
                    <a:lnTo>
                      <a:pt x="64" y="268"/>
                    </a:lnTo>
                    <a:lnTo>
                      <a:pt x="65" y="271"/>
                    </a:lnTo>
                    <a:lnTo>
                      <a:pt x="66" y="272"/>
                    </a:lnTo>
                    <a:lnTo>
                      <a:pt x="68" y="274"/>
                    </a:lnTo>
                    <a:lnTo>
                      <a:pt x="71" y="277"/>
                    </a:lnTo>
                    <a:lnTo>
                      <a:pt x="73" y="279"/>
                    </a:lnTo>
                    <a:lnTo>
                      <a:pt x="77" y="282"/>
                    </a:lnTo>
                    <a:lnTo>
                      <a:pt x="83" y="285"/>
                    </a:lnTo>
                    <a:lnTo>
                      <a:pt x="87" y="286"/>
                    </a:lnTo>
                    <a:lnTo>
                      <a:pt x="93" y="286"/>
                    </a:lnTo>
                    <a:lnTo>
                      <a:pt x="94" y="286"/>
                    </a:lnTo>
                    <a:lnTo>
                      <a:pt x="95" y="288"/>
                    </a:lnTo>
                    <a:lnTo>
                      <a:pt x="97" y="288"/>
                    </a:lnTo>
                    <a:lnTo>
                      <a:pt x="99" y="289"/>
                    </a:lnTo>
                    <a:lnTo>
                      <a:pt x="102" y="290"/>
                    </a:lnTo>
                    <a:lnTo>
                      <a:pt x="104" y="293"/>
                    </a:lnTo>
                    <a:lnTo>
                      <a:pt x="106" y="296"/>
                    </a:lnTo>
                    <a:lnTo>
                      <a:pt x="108" y="297"/>
                    </a:lnTo>
                    <a:lnTo>
                      <a:pt x="112" y="297"/>
                    </a:lnTo>
                    <a:lnTo>
                      <a:pt x="116" y="297"/>
                    </a:lnTo>
                    <a:lnTo>
                      <a:pt x="123" y="299"/>
                    </a:lnTo>
                    <a:lnTo>
                      <a:pt x="130" y="299"/>
                    </a:lnTo>
                    <a:lnTo>
                      <a:pt x="137" y="299"/>
                    </a:lnTo>
                    <a:lnTo>
                      <a:pt x="142" y="299"/>
                    </a:lnTo>
                    <a:lnTo>
                      <a:pt x="146" y="297"/>
                    </a:lnTo>
                    <a:lnTo>
                      <a:pt x="149" y="297"/>
                    </a:lnTo>
                    <a:lnTo>
                      <a:pt x="157" y="297"/>
                    </a:lnTo>
                    <a:lnTo>
                      <a:pt x="170" y="296"/>
                    </a:lnTo>
                    <a:lnTo>
                      <a:pt x="183" y="294"/>
                    </a:lnTo>
                    <a:lnTo>
                      <a:pt x="197" y="293"/>
                    </a:lnTo>
                    <a:lnTo>
                      <a:pt x="209" y="292"/>
                    </a:lnTo>
                    <a:lnTo>
                      <a:pt x="214" y="290"/>
                    </a:lnTo>
                    <a:lnTo>
                      <a:pt x="218" y="288"/>
                    </a:lnTo>
                    <a:lnTo>
                      <a:pt x="220" y="286"/>
                    </a:lnTo>
                    <a:lnTo>
                      <a:pt x="222" y="285"/>
                    </a:lnTo>
                    <a:lnTo>
                      <a:pt x="218" y="264"/>
                    </a:lnTo>
                    <a:lnTo>
                      <a:pt x="216" y="263"/>
                    </a:lnTo>
                    <a:lnTo>
                      <a:pt x="214" y="260"/>
                    </a:lnTo>
                    <a:lnTo>
                      <a:pt x="211" y="255"/>
                    </a:lnTo>
                    <a:lnTo>
                      <a:pt x="207" y="249"/>
                    </a:lnTo>
                    <a:lnTo>
                      <a:pt x="201" y="244"/>
                    </a:lnTo>
                    <a:lnTo>
                      <a:pt x="197" y="238"/>
                    </a:lnTo>
                    <a:lnTo>
                      <a:pt x="193" y="234"/>
                    </a:lnTo>
                    <a:lnTo>
                      <a:pt x="189" y="231"/>
                    </a:lnTo>
                    <a:lnTo>
                      <a:pt x="187" y="231"/>
                    </a:lnTo>
                    <a:lnTo>
                      <a:pt x="186" y="230"/>
                    </a:lnTo>
                    <a:lnTo>
                      <a:pt x="185" y="229"/>
                    </a:lnTo>
                    <a:lnTo>
                      <a:pt x="183" y="226"/>
                    </a:lnTo>
                    <a:lnTo>
                      <a:pt x="182" y="223"/>
                    </a:lnTo>
                    <a:lnTo>
                      <a:pt x="182" y="220"/>
                    </a:lnTo>
                    <a:lnTo>
                      <a:pt x="183" y="219"/>
                    </a:lnTo>
                    <a:lnTo>
                      <a:pt x="187" y="216"/>
                    </a:lnTo>
                    <a:lnTo>
                      <a:pt x="187" y="215"/>
                    </a:lnTo>
                    <a:lnTo>
                      <a:pt x="187" y="213"/>
                    </a:lnTo>
                    <a:lnTo>
                      <a:pt x="187" y="211"/>
                    </a:lnTo>
                    <a:lnTo>
                      <a:pt x="187" y="207"/>
                    </a:lnTo>
                    <a:lnTo>
                      <a:pt x="187" y="202"/>
                    </a:lnTo>
                    <a:lnTo>
                      <a:pt x="187" y="198"/>
                    </a:lnTo>
                    <a:lnTo>
                      <a:pt x="187" y="194"/>
                    </a:lnTo>
                    <a:lnTo>
                      <a:pt x="187" y="189"/>
                    </a:lnTo>
                    <a:lnTo>
                      <a:pt x="187" y="186"/>
                    </a:lnTo>
                    <a:lnTo>
                      <a:pt x="189" y="182"/>
                    </a:lnTo>
                    <a:lnTo>
                      <a:pt x="192" y="178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4" y="161"/>
                    </a:lnTo>
                    <a:lnTo>
                      <a:pt x="211" y="156"/>
                    </a:lnTo>
                    <a:lnTo>
                      <a:pt x="211" y="154"/>
                    </a:lnTo>
                    <a:lnTo>
                      <a:pt x="214" y="152"/>
                    </a:lnTo>
                    <a:lnTo>
                      <a:pt x="216" y="147"/>
                    </a:lnTo>
                    <a:lnTo>
                      <a:pt x="219" y="142"/>
                    </a:lnTo>
                    <a:lnTo>
                      <a:pt x="222" y="135"/>
                    </a:lnTo>
                    <a:lnTo>
                      <a:pt x="225" y="128"/>
                    </a:lnTo>
                    <a:lnTo>
                      <a:pt x="226" y="121"/>
                    </a:lnTo>
                    <a:lnTo>
                      <a:pt x="226" y="116"/>
                    </a:lnTo>
                    <a:lnTo>
                      <a:pt x="227" y="116"/>
                    </a:lnTo>
                    <a:lnTo>
                      <a:pt x="229" y="113"/>
                    </a:lnTo>
                    <a:lnTo>
                      <a:pt x="231" y="109"/>
                    </a:lnTo>
                    <a:lnTo>
                      <a:pt x="234" y="105"/>
                    </a:lnTo>
                    <a:lnTo>
                      <a:pt x="238" y="101"/>
                    </a:lnTo>
                    <a:lnTo>
                      <a:pt x="241" y="97"/>
                    </a:lnTo>
                    <a:lnTo>
                      <a:pt x="244" y="94"/>
                    </a:lnTo>
                    <a:lnTo>
                      <a:pt x="247" y="92"/>
                    </a:lnTo>
                    <a:lnTo>
                      <a:pt x="248" y="92"/>
                    </a:lnTo>
                    <a:lnTo>
                      <a:pt x="251" y="91"/>
                    </a:lnTo>
                    <a:lnTo>
                      <a:pt x="253" y="90"/>
                    </a:lnTo>
                    <a:lnTo>
                      <a:pt x="256" y="87"/>
                    </a:lnTo>
                    <a:lnTo>
                      <a:pt x="258" y="84"/>
                    </a:lnTo>
                    <a:lnTo>
                      <a:pt x="260" y="83"/>
                    </a:lnTo>
                    <a:lnTo>
                      <a:pt x="262" y="81"/>
                    </a:lnTo>
                    <a:lnTo>
                      <a:pt x="262" y="80"/>
                    </a:lnTo>
                    <a:lnTo>
                      <a:pt x="262" y="79"/>
                    </a:lnTo>
                    <a:lnTo>
                      <a:pt x="259" y="76"/>
                    </a:lnTo>
                    <a:lnTo>
                      <a:pt x="256" y="70"/>
                    </a:lnTo>
                    <a:lnTo>
                      <a:pt x="253" y="65"/>
                    </a:lnTo>
                    <a:lnTo>
                      <a:pt x="251" y="58"/>
                    </a:lnTo>
                    <a:lnTo>
                      <a:pt x="248" y="53"/>
                    </a:lnTo>
                    <a:lnTo>
                      <a:pt x="245" y="48"/>
                    </a:lnTo>
                    <a:lnTo>
                      <a:pt x="244" y="46"/>
                    </a:lnTo>
                    <a:lnTo>
                      <a:pt x="244" y="43"/>
                    </a:lnTo>
                    <a:lnTo>
                      <a:pt x="242" y="42"/>
                    </a:lnTo>
                    <a:lnTo>
                      <a:pt x="241" y="39"/>
                    </a:lnTo>
                    <a:lnTo>
                      <a:pt x="241" y="37"/>
                    </a:lnTo>
                    <a:lnTo>
                      <a:pt x="240" y="35"/>
                    </a:lnTo>
                    <a:lnTo>
                      <a:pt x="240" y="33"/>
                    </a:lnTo>
                    <a:lnTo>
                      <a:pt x="240" y="31"/>
                    </a:lnTo>
                    <a:lnTo>
                      <a:pt x="240" y="28"/>
                    </a:lnTo>
                    <a:lnTo>
                      <a:pt x="240" y="26"/>
                    </a:lnTo>
                    <a:lnTo>
                      <a:pt x="240" y="25"/>
                    </a:lnTo>
                    <a:lnTo>
                      <a:pt x="238" y="24"/>
                    </a:lnTo>
                    <a:lnTo>
                      <a:pt x="238" y="21"/>
                    </a:lnTo>
                    <a:lnTo>
                      <a:pt x="237" y="18"/>
                    </a:lnTo>
                    <a:lnTo>
                      <a:pt x="236" y="15"/>
                    </a:lnTo>
                    <a:lnTo>
                      <a:pt x="233" y="13"/>
                    </a:lnTo>
                    <a:lnTo>
                      <a:pt x="230" y="10"/>
                    </a:lnTo>
                    <a:lnTo>
                      <a:pt x="22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5" name="Freeform 988"/>
              <p:cNvSpPr>
                <a:spLocks/>
              </p:cNvSpPr>
              <p:nvPr/>
            </p:nvSpPr>
            <p:spPr bwMode="auto">
              <a:xfrm>
                <a:off x="2933" y="2782"/>
                <a:ext cx="173" cy="101"/>
              </a:xfrm>
              <a:custGeom>
                <a:avLst/>
                <a:gdLst>
                  <a:gd name="T0" fmla="*/ 124 w 173"/>
                  <a:gd name="T1" fmla="*/ 0 h 101"/>
                  <a:gd name="T2" fmla="*/ 118 w 173"/>
                  <a:gd name="T3" fmla="*/ 2 h 101"/>
                  <a:gd name="T4" fmla="*/ 109 w 173"/>
                  <a:gd name="T5" fmla="*/ 6 h 101"/>
                  <a:gd name="T6" fmla="*/ 100 w 173"/>
                  <a:gd name="T7" fmla="*/ 13 h 101"/>
                  <a:gd name="T8" fmla="*/ 99 w 173"/>
                  <a:gd name="T9" fmla="*/ 20 h 101"/>
                  <a:gd name="T10" fmla="*/ 96 w 173"/>
                  <a:gd name="T11" fmla="*/ 25 h 101"/>
                  <a:gd name="T12" fmla="*/ 94 w 173"/>
                  <a:gd name="T13" fmla="*/ 29 h 101"/>
                  <a:gd name="T14" fmla="*/ 91 w 173"/>
                  <a:gd name="T15" fmla="*/ 32 h 101"/>
                  <a:gd name="T16" fmla="*/ 87 w 173"/>
                  <a:gd name="T17" fmla="*/ 33 h 101"/>
                  <a:gd name="T18" fmla="*/ 84 w 173"/>
                  <a:gd name="T19" fmla="*/ 33 h 101"/>
                  <a:gd name="T20" fmla="*/ 78 w 173"/>
                  <a:gd name="T21" fmla="*/ 33 h 101"/>
                  <a:gd name="T22" fmla="*/ 73 w 173"/>
                  <a:gd name="T23" fmla="*/ 32 h 101"/>
                  <a:gd name="T24" fmla="*/ 71 w 173"/>
                  <a:gd name="T25" fmla="*/ 31 h 101"/>
                  <a:gd name="T26" fmla="*/ 70 w 173"/>
                  <a:gd name="T27" fmla="*/ 31 h 101"/>
                  <a:gd name="T28" fmla="*/ 67 w 173"/>
                  <a:gd name="T29" fmla="*/ 31 h 101"/>
                  <a:gd name="T30" fmla="*/ 66 w 173"/>
                  <a:gd name="T31" fmla="*/ 31 h 101"/>
                  <a:gd name="T32" fmla="*/ 65 w 173"/>
                  <a:gd name="T33" fmla="*/ 33 h 101"/>
                  <a:gd name="T34" fmla="*/ 56 w 173"/>
                  <a:gd name="T35" fmla="*/ 36 h 101"/>
                  <a:gd name="T36" fmla="*/ 45 w 173"/>
                  <a:gd name="T37" fmla="*/ 39 h 101"/>
                  <a:gd name="T38" fmla="*/ 34 w 173"/>
                  <a:gd name="T39" fmla="*/ 43 h 101"/>
                  <a:gd name="T40" fmla="*/ 11 w 173"/>
                  <a:gd name="T41" fmla="*/ 44 h 101"/>
                  <a:gd name="T42" fmla="*/ 10 w 173"/>
                  <a:gd name="T43" fmla="*/ 46 h 101"/>
                  <a:gd name="T44" fmla="*/ 8 w 173"/>
                  <a:gd name="T45" fmla="*/ 50 h 101"/>
                  <a:gd name="T46" fmla="*/ 7 w 173"/>
                  <a:gd name="T47" fmla="*/ 55 h 101"/>
                  <a:gd name="T48" fmla="*/ 3 w 173"/>
                  <a:gd name="T49" fmla="*/ 59 h 101"/>
                  <a:gd name="T50" fmla="*/ 1 w 173"/>
                  <a:gd name="T51" fmla="*/ 59 h 101"/>
                  <a:gd name="T52" fmla="*/ 0 w 173"/>
                  <a:gd name="T53" fmla="*/ 59 h 101"/>
                  <a:gd name="T54" fmla="*/ 0 w 173"/>
                  <a:gd name="T55" fmla="*/ 61 h 101"/>
                  <a:gd name="T56" fmla="*/ 0 w 173"/>
                  <a:gd name="T57" fmla="*/ 62 h 101"/>
                  <a:gd name="T58" fmla="*/ 1 w 173"/>
                  <a:gd name="T59" fmla="*/ 62 h 101"/>
                  <a:gd name="T60" fmla="*/ 3 w 173"/>
                  <a:gd name="T61" fmla="*/ 62 h 101"/>
                  <a:gd name="T62" fmla="*/ 4 w 173"/>
                  <a:gd name="T63" fmla="*/ 64 h 101"/>
                  <a:gd name="T64" fmla="*/ 4 w 173"/>
                  <a:gd name="T65" fmla="*/ 68 h 101"/>
                  <a:gd name="T66" fmla="*/ 4 w 173"/>
                  <a:gd name="T67" fmla="*/ 72 h 101"/>
                  <a:gd name="T68" fmla="*/ 7 w 173"/>
                  <a:gd name="T69" fmla="*/ 79 h 101"/>
                  <a:gd name="T70" fmla="*/ 10 w 173"/>
                  <a:gd name="T71" fmla="*/ 84 h 101"/>
                  <a:gd name="T72" fmla="*/ 15 w 173"/>
                  <a:gd name="T73" fmla="*/ 90 h 101"/>
                  <a:gd name="T74" fmla="*/ 44 w 173"/>
                  <a:gd name="T75" fmla="*/ 88 h 101"/>
                  <a:gd name="T76" fmla="*/ 45 w 173"/>
                  <a:gd name="T77" fmla="*/ 86 h 101"/>
                  <a:gd name="T78" fmla="*/ 49 w 173"/>
                  <a:gd name="T79" fmla="*/ 80 h 101"/>
                  <a:gd name="T80" fmla="*/ 56 w 173"/>
                  <a:gd name="T81" fmla="*/ 75 h 101"/>
                  <a:gd name="T82" fmla="*/ 66 w 173"/>
                  <a:gd name="T83" fmla="*/ 72 h 101"/>
                  <a:gd name="T84" fmla="*/ 67 w 173"/>
                  <a:gd name="T85" fmla="*/ 73 h 101"/>
                  <a:gd name="T86" fmla="*/ 70 w 173"/>
                  <a:gd name="T87" fmla="*/ 76 h 101"/>
                  <a:gd name="T88" fmla="*/ 73 w 173"/>
                  <a:gd name="T89" fmla="*/ 80 h 101"/>
                  <a:gd name="T90" fmla="*/ 74 w 173"/>
                  <a:gd name="T91" fmla="*/ 84 h 101"/>
                  <a:gd name="T92" fmla="*/ 77 w 173"/>
                  <a:gd name="T93" fmla="*/ 84 h 101"/>
                  <a:gd name="T94" fmla="*/ 85 w 173"/>
                  <a:gd name="T95" fmla="*/ 83 h 101"/>
                  <a:gd name="T96" fmla="*/ 96 w 173"/>
                  <a:gd name="T97" fmla="*/ 81 h 101"/>
                  <a:gd name="T98" fmla="*/ 106 w 173"/>
                  <a:gd name="T99" fmla="*/ 81 h 101"/>
                  <a:gd name="T100" fmla="*/ 173 w 173"/>
                  <a:gd name="T101" fmla="*/ 66 h 101"/>
                  <a:gd name="T102" fmla="*/ 171 w 173"/>
                  <a:gd name="T103" fmla="*/ 62 h 101"/>
                  <a:gd name="T104" fmla="*/ 165 w 173"/>
                  <a:gd name="T105" fmla="*/ 53 h 101"/>
                  <a:gd name="T106" fmla="*/ 155 w 173"/>
                  <a:gd name="T107" fmla="*/ 40 h 101"/>
                  <a:gd name="T108" fmla="*/ 146 w 173"/>
                  <a:gd name="T109" fmla="*/ 28 h 101"/>
                  <a:gd name="T110" fmla="*/ 143 w 173"/>
                  <a:gd name="T111" fmla="*/ 24 h 101"/>
                  <a:gd name="T112" fmla="*/ 136 w 173"/>
                  <a:gd name="T113" fmla="*/ 17 h 101"/>
                  <a:gd name="T114" fmla="*/ 131 w 173"/>
                  <a:gd name="T115" fmla="*/ 7 h 101"/>
                  <a:gd name="T116" fmla="*/ 125 w 173"/>
                  <a:gd name="T117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3" h="101">
                    <a:moveTo>
                      <a:pt x="125" y="0"/>
                    </a:moveTo>
                    <a:lnTo>
                      <a:pt x="124" y="0"/>
                    </a:lnTo>
                    <a:lnTo>
                      <a:pt x="121" y="0"/>
                    </a:lnTo>
                    <a:lnTo>
                      <a:pt x="118" y="2"/>
                    </a:lnTo>
                    <a:lnTo>
                      <a:pt x="113" y="5"/>
                    </a:lnTo>
                    <a:lnTo>
                      <a:pt x="109" y="6"/>
                    </a:lnTo>
                    <a:lnTo>
                      <a:pt x="105" y="9"/>
                    </a:lnTo>
                    <a:lnTo>
                      <a:pt x="100" y="13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8" y="22"/>
                    </a:lnTo>
                    <a:lnTo>
                      <a:pt x="96" y="25"/>
                    </a:lnTo>
                    <a:lnTo>
                      <a:pt x="95" y="28"/>
                    </a:lnTo>
                    <a:lnTo>
                      <a:pt x="94" y="29"/>
                    </a:lnTo>
                    <a:lnTo>
                      <a:pt x="92" y="31"/>
                    </a:lnTo>
                    <a:lnTo>
                      <a:pt x="91" y="32"/>
                    </a:lnTo>
                    <a:lnTo>
                      <a:pt x="88" y="33"/>
                    </a:lnTo>
                    <a:lnTo>
                      <a:pt x="87" y="33"/>
                    </a:lnTo>
                    <a:lnTo>
                      <a:pt x="85" y="33"/>
                    </a:lnTo>
                    <a:lnTo>
                      <a:pt x="84" y="33"/>
                    </a:lnTo>
                    <a:lnTo>
                      <a:pt x="81" y="33"/>
                    </a:lnTo>
                    <a:lnTo>
                      <a:pt x="78" y="33"/>
                    </a:lnTo>
                    <a:lnTo>
                      <a:pt x="76" y="32"/>
                    </a:lnTo>
                    <a:lnTo>
                      <a:pt x="73" y="32"/>
                    </a:lnTo>
                    <a:lnTo>
                      <a:pt x="71" y="31"/>
                    </a:lnTo>
                    <a:lnTo>
                      <a:pt x="71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9" y="29"/>
                    </a:lnTo>
                    <a:lnTo>
                      <a:pt x="67" y="31"/>
                    </a:lnTo>
                    <a:lnTo>
                      <a:pt x="67" y="31"/>
                    </a:lnTo>
                    <a:lnTo>
                      <a:pt x="66" y="31"/>
                    </a:lnTo>
                    <a:lnTo>
                      <a:pt x="65" y="33"/>
                    </a:lnTo>
                    <a:lnTo>
                      <a:pt x="65" y="33"/>
                    </a:lnTo>
                    <a:lnTo>
                      <a:pt x="60" y="35"/>
                    </a:lnTo>
                    <a:lnTo>
                      <a:pt x="56" y="36"/>
                    </a:lnTo>
                    <a:lnTo>
                      <a:pt x="51" y="37"/>
                    </a:lnTo>
                    <a:lnTo>
                      <a:pt x="45" y="39"/>
                    </a:lnTo>
                    <a:lnTo>
                      <a:pt x="40" y="42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11" y="44"/>
                    </a:lnTo>
                    <a:lnTo>
                      <a:pt x="11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8" y="53"/>
                    </a:lnTo>
                    <a:lnTo>
                      <a:pt x="7" y="55"/>
                    </a:lnTo>
                    <a:lnTo>
                      <a:pt x="5" y="57"/>
                    </a:lnTo>
                    <a:lnTo>
                      <a:pt x="3" y="59"/>
                    </a:lnTo>
                    <a:lnTo>
                      <a:pt x="3" y="59"/>
                    </a:lnTo>
                    <a:lnTo>
                      <a:pt x="1" y="59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3" y="64"/>
                    </a:lnTo>
                    <a:lnTo>
                      <a:pt x="4" y="64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5" y="75"/>
                    </a:lnTo>
                    <a:lnTo>
                      <a:pt x="7" y="79"/>
                    </a:lnTo>
                    <a:lnTo>
                      <a:pt x="8" y="81"/>
                    </a:lnTo>
                    <a:lnTo>
                      <a:pt x="10" y="84"/>
                    </a:lnTo>
                    <a:lnTo>
                      <a:pt x="12" y="87"/>
                    </a:lnTo>
                    <a:lnTo>
                      <a:pt x="15" y="90"/>
                    </a:lnTo>
                    <a:lnTo>
                      <a:pt x="30" y="101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5" y="86"/>
                    </a:lnTo>
                    <a:lnTo>
                      <a:pt x="47" y="83"/>
                    </a:lnTo>
                    <a:lnTo>
                      <a:pt x="49" y="80"/>
                    </a:lnTo>
                    <a:lnTo>
                      <a:pt x="52" y="77"/>
                    </a:lnTo>
                    <a:lnTo>
                      <a:pt x="56" y="75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7" y="72"/>
                    </a:lnTo>
                    <a:lnTo>
                      <a:pt x="67" y="73"/>
                    </a:lnTo>
                    <a:lnTo>
                      <a:pt x="69" y="75"/>
                    </a:lnTo>
                    <a:lnTo>
                      <a:pt x="70" y="76"/>
                    </a:lnTo>
                    <a:lnTo>
                      <a:pt x="71" y="79"/>
                    </a:lnTo>
                    <a:lnTo>
                      <a:pt x="73" y="80"/>
                    </a:lnTo>
                    <a:lnTo>
                      <a:pt x="73" y="83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7" y="84"/>
                    </a:lnTo>
                    <a:lnTo>
                      <a:pt x="81" y="83"/>
                    </a:lnTo>
                    <a:lnTo>
                      <a:pt x="85" y="83"/>
                    </a:lnTo>
                    <a:lnTo>
                      <a:pt x="91" y="81"/>
                    </a:lnTo>
                    <a:lnTo>
                      <a:pt x="96" y="81"/>
                    </a:lnTo>
                    <a:lnTo>
                      <a:pt x="102" y="81"/>
                    </a:lnTo>
                    <a:lnTo>
                      <a:pt x="106" y="81"/>
                    </a:lnTo>
                    <a:lnTo>
                      <a:pt x="139" y="75"/>
                    </a:lnTo>
                    <a:lnTo>
                      <a:pt x="173" y="66"/>
                    </a:lnTo>
                    <a:lnTo>
                      <a:pt x="173" y="66"/>
                    </a:lnTo>
                    <a:lnTo>
                      <a:pt x="171" y="62"/>
                    </a:lnTo>
                    <a:lnTo>
                      <a:pt x="168" y="58"/>
                    </a:lnTo>
                    <a:lnTo>
                      <a:pt x="165" y="53"/>
                    </a:lnTo>
                    <a:lnTo>
                      <a:pt x="161" y="47"/>
                    </a:lnTo>
                    <a:lnTo>
                      <a:pt x="155" y="40"/>
                    </a:lnTo>
                    <a:lnTo>
                      <a:pt x="151" y="33"/>
                    </a:lnTo>
                    <a:lnTo>
                      <a:pt x="146" y="28"/>
                    </a:lnTo>
                    <a:lnTo>
                      <a:pt x="144" y="27"/>
                    </a:lnTo>
                    <a:lnTo>
                      <a:pt x="143" y="24"/>
                    </a:lnTo>
                    <a:lnTo>
                      <a:pt x="140" y="21"/>
                    </a:lnTo>
                    <a:lnTo>
                      <a:pt x="136" y="17"/>
                    </a:lnTo>
                    <a:lnTo>
                      <a:pt x="133" y="13"/>
                    </a:lnTo>
                    <a:lnTo>
                      <a:pt x="131" y="7"/>
                    </a:lnTo>
                    <a:lnTo>
                      <a:pt x="128" y="3"/>
                    </a:lnTo>
                    <a:lnTo>
                      <a:pt x="12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6" name="Freeform 989"/>
              <p:cNvSpPr>
                <a:spLocks/>
              </p:cNvSpPr>
              <p:nvPr/>
            </p:nvSpPr>
            <p:spPr bwMode="auto">
              <a:xfrm>
                <a:off x="2933" y="2782"/>
                <a:ext cx="173" cy="101"/>
              </a:xfrm>
              <a:custGeom>
                <a:avLst/>
                <a:gdLst>
                  <a:gd name="T0" fmla="*/ 124 w 173"/>
                  <a:gd name="T1" fmla="*/ 0 h 101"/>
                  <a:gd name="T2" fmla="*/ 118 w 173"/>
                  <a:gd name="T3" fmla="*/ 2 h 101"/>
                  <a:gd name="T4" fmla="*/ 109 w 173"/>
                  <a:gd name="T5" fmla="*/ 6 h 101"/>
                  <a:gd name="T6" fmla="*/ 100 w 173"/>
                  <a:gd name="T7" fmla="*/ 13 h 101"/>
                  <a:gd name="T8" fmla="*/ 99 w 173"/>
                  <a:gd name="T9" fmla="*/ 20 h 101"/>
                  <a:gd name="T10" fmla="*/ 96 w 173"/>
                  <a:gd name="T11" fmla="*/ 25 h 101"/>
                  <a:gd name="T12" fmla="*/ 94 w 173"/>
                  <a:gd name="T13" fmla="*/ 29 h 101"/>
                  <a:gd name="T14" fmla="*/ 91 w 173"/>
                  <a:gd name="T15" fmla="*/ 32 h 101"/>
                  <a:gd name="T16" fmla="*/ 87 w 173"/>
                  <a:gd name="T17" fmla="*/ 33 h 101"/>
                  <a:gd name="T18" fmla="*/ 84 w 173"/>
                  <a:gd name="T19" fmla="*/ 33 h 101"/>
                  <a:gd name="T20" fmla="*/ 78 w 173"/>
                  <a:gd name="T21" fmla="*/ 33 h 101"/>
                  <a:gd name="T22" fmla="*/ 73 w 173"/>
                  <a:gd name="T23" fmla="*/ 32 h 101"/>
                  <a:gd name="T24" fmla="*/ 70 w 173"/>
                  <a:gd name="T25" fmla="*/ 31 h 101"/>
                  <a:gd name="T26" fmla="*/ 67 w 173"/>
                  <a:gd name="T27" fmla="*/ 31 h 101"/>
                  <a:gd name="T28" fmla="*/ 65 w 173"/>
                  <a:gd name="T29" fmla="*/ 33 h 101"/>
                  <a:gd name="T30" fmla="*/ 56 w 173"/>
                  <a:gd name="T31" fmla="*/ 36 h 101"/>
                  <a:gd name="T32" fmla="*/ 45 w 173"/>
                  <a:gd name="T33" fmla="*/ 39 h 101"/>
                  <a:gd name="T34" fmla="*/ 34 w 173"/>
                  <a:gd name="T35" fmla="*/ 43 h 101"/>
                  <a:gd name="T36" fmla="*/ 11 w 173"/>
                  <a:gd name="T37" fmla="*/ 44 h 101"/>
                  <a:gd name="T38" fmla="*/ 10 w 173"/>
                  <a:gd name="T39" fmla="*/ 48 h 101"/>
                  <a:gd name="T40" fmla="*/ 8 w 173"/>
                  <a:gd name="T41" fmla="*/ 53 h 101"/>
                  <a:gd name="T42" fmla="*/ 5 w 173"/>
                  <a:gd name="T43" fmla="*/ 57 h 101"/>
                  <a:gd name="T44" fmla="*/ 1 w 173"/>
                  <a:gd name="T45" fmla="*/ 59 h 101"/>
                  <a:gd name="T46" fmla="*/ 0 w 173"/>
                  <a:gd name="T47" fmla="*/ 61 h 101"/>
                  <a:gd name="T48" fmla="*/ 1 w 173"/>
                  <a:gd name="T49" fmla="*/ 62 h 101"/>
                  <a:gd name="T50" fmla="*/ 3 w 173"/>
                  <a:gd name="T51" fmla="*/ 64 h 101"/>
                  <a:gd name="T52" fmla="*/ 4 w 173"/>
                  <a:gd name="T53" fmla="*/ 65 h 101"/>
                  <a:gd name="T54" fmla="*/ 4 w 173"/>
                  <a:gd name="T55" fmla="*/ 70 h 101"/>
                  <a:gd name="T56" fmla="*/ 5 w 173"/>
                  <a:gd name="T57" fmla="*/ 75 h 101"/>
                  <a:gd name="T58" fmla="*/ 8 w 173"/>
                  <a:gd name="T59" fmla="*/ 81 h 101"/>
                  <a:gd name="T60" fmla="*/ 12 w 173"/>
                  <a:gd name="T61" fmla="*/ 87 h 101"/>
                  <a:gd name="T62" fmla="*/ 30 w 173"/>
                  <a:gd name="T63" fmla="*/ 101 h 101"/>
                  <a:gd name="T64" fmla="*/ 45 w 173"/>
                  <a:gd name="T65" fmla="*/ 86 h 101"/>
                  <a:gd name="T66" fmla="*/ 49 w 173"/>
                  <a:gd name="T67" fmla="*/ 80 h 101"/>
                  <a:gd name="T68" fmla="*/ 56 w 173"/>
                  <a:gd name="T69" fmla="*/ 75 h 101"/>
                  <a:gd name="T70" fmla="*/ 66 w 173"/>
                  <a:gd name="T71" fmla="*/ 72 h 101"/>
                  <a:gd name="T72" fmla="*/ 67 w 173"/>
                  <a:gd name="T73" fmla="*/ 73 h 101"/>
                  <a:gd name="T74" fmla="*/ 70 w 173"/>
                  <a:gd name="T75" fmla="*/ 76 h 101"/>
                  <a:gd name="T76" fmla="*/ 73 w 173"/>
                  <a:gd name="T77" fmla="*/ 80 h 101"/>
                  <a:gd name="T78" fmla="*/ 74 w 173"/>
                  <a:gd name="T79" fmla="*/ 84 h 101"/>
                  <a:gd name="T80" fmla="*/ 77 w 173"/>
                  <a:gd name="T81" fmla="*/ 84 h 101"/>
                  <a:gd name="T82" fmla="*/ 85 w 173"/>
                  <a:gd name="T83" fmla="*/ 83 h 101"/>
                  <a:gd name="T84" fmla="*/ 96 w 173"/>
                  <a:gd name="T85" fmla="*/ 81 h 101"/>
                  <a:gd name="T86" fmla="*/ 106 w 173"/>
                  <a:gd name="T87" fmla="*/ 81 h 101"/>
                  <a:gd name="T88" fmla="*/ 173 w 173"/>
                  <a:gd name="T89" fmla="*/ 66 h 101"/>
                  <a:gd name="T90" fmla="*/ 168 w 173"/>
                  <a:gd name="T91" fmla="*/ 58 h 101"/>
                  <a:gd name="T92" fmla="*/ 161 w 173"/>
                  <a:gd name="T93" fmla="*/ 47 h 101"/>
                  <a:gd name="T94" fmla="*/ 151 w 173"/>
                  <a:gd name="T95" fmla="*/ 33 h 101"/>
                  <a:gd name="T96" fmla="*/ 144 w 173"/>
                  <a:gd name="T97" fmla="*/ 27 h 101"/>
                  <a:gd name="T98" fmla="*/ 140 w 173"/>
                  <a:gd name="T99" fmla="*/ 21 h 101"/>
                  <a:gd name="T100" fmla="*/ 133 w 173"/>
                  <a:gd name="T101" fmla="*/ 13 h 101"/>
                  <a:gd name="T102" fmla="*/ 128 w 173"/>
                  <a:gd name="T103" fmla="*/ 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3" h="101">
                    <a:moveTo>
                      <a:pt x="125" y="0"/>
                    </a:moveTo>
                    <a:lnTo>
                      <a:pt x="124" y="0"/>
                    </a:lnTo>
                    <a:lnTo>
                      <a:pt x="121" y="0"/>
                    </a:lnTo>
                    <a:lnTo>
                      <a:pt x="118" y="2"/>
                    </a:lnTo>
                    <a:lnTo>
                      <a:pt x="113" y="5"/>
                    </a:lnTo>
                    <a:lnTo>
                      <a:pt x="109" y="6"/>
                    </a:lnTo>
                    <a:lnTo>
                      <a:pt x="105" y="9"/>
                    </a:lnTo>
                    <a:lnTo>
                      <a:pt x="100" y="13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8" y="22"/>
                    </a:lnTo>
                    <a:lnTo>
                      <a:pt x="96" y="25"/>
                    </a:lnTo>
                    <a:lnTo>
                      <a:pt x="95" y="28"/>
                    </a:lnTo>
                    <a:lnTo>
                      <a:pt x="94" y="29"/>
                    </a:lnTo>
                    <a:lnTo>
                      <a:pt x="92" y="31"/>
                    </a:lnTo>
                    <a:lnTo>
                      <a:pt x="91" y="32"/>
                    </a:lnTo>
                    <a:lnTo>
                      <a:pt x="88" y="33"/>
                    </a:lnTo>
                    <a:lnTo>
                      <a:pt x="87" y="33"/>
                    </a:lnTo>
                    <a:lnTo>
                      <a:pt x="85" y="33"/>
                    </a:lnTo>
                    <a:lnTo>
                      <a:pt x="84" y="33"/>
                    </a:lnTo>
                    <a:lnTo>
                      <a:pt x="81" y="33"/>
                    </a:lnTo>
                    <a:lnTo>
                      <a:pt x="78" y="33"/>
                    </a:lnTo>
                    <a:lnTo>
                      <a:pt x="76" y="32"/>
                    </a:lnTo>
                    <a:lnTo>
                      <a:pt x="73" y="32"/>
                    </a:lnTo>
                    <a:lnTo>
                      <a:pt x="71" y="31"/>
                    </a:lnTo>
                    <a:lnTo>
                      <a:pt x="70" y="31"/>
                    </a:lnTo>
                    <a:lnTo>
                      <a:pt x="69" y="29"/>
                    </a:lnTo>
                    <a:lnTo>
                      <a:pt x="67" y="31"/>
                    </a:lnTo>
                    <a:lnTo>
                      <a:pt x="66" y="31"/>
                    </a:lnTo>
                    <a:lnTo>
                      <a:pt x="65" y="33"/>
                    </a:lnTo>
                    <a:lnTo>
                      <a:pt x="60" y="35"/>
                    </a:lnTo>
                    <a:lnTo>
                      <a:pt x="56" y="36"/>
                    </a:lnTo>
                    <a:lnTo>
                      <a:pt x="51" y="37"/>
                    </a:lnTo>
                    <a:lnTo>
                      <a:pt x="45" y="39"/>
                    </a:lnTo>
                    <a:lnTo>
                      <a:pt x="40" y="42"/>
                    </a:lnTo>
                    <a:lnTo>
                      <a:pt x="34" y="43"/>
                    </a:lnTo>
                    <a:lnTo>
                      <a:pt x="30" y="43"/>
                    </a:lnTo>
                    <a:lnTo>
                      <a:pt x="11" y="44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8" y="50"/>
                    </a:lnTo>
                    <a:lnTo>
                      <a:pt x="8" y="53"/>
                    </a:lnTo>
                    <a:lnTo>
                      <a:pt x="7" y="55"/>
                    </a:lnTo>
                    <a:lnTo>
                      <a:pt x="5" y="57"/>
                    </a:lnTo>
                    <a:lnTo>
                      <a:pt x="3" y="59"/>
                    </a:lnTo>
                    <a:lnTo>
                      <a:pt x="1" y="59"/>
                    </a:lnTo>
                    <a:lnTo>
                      <a:pt x="0" y="59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1" y="62"/>
                    </a:lnTo>
                    <a:lnTo>
                      <a:pt x="3" y="62"/>
                    </a:lnTo>
                    <a:lnTo>
                      <a:pt x="3" y="64"/>
                    </a:lnTo>
                    <a:lnTo>
                      <a:pt x="4" y="64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5" y="75"/>
                    </a:lnTo>
                    <a:lnTo>
                      <a:pt x="7" y="79"/>
                    </a:lnTo>
                    <a:lnTo>
                      <a:pt x="8" y="81"/>
                    </a:lnTo>
                    <a:lnTo>
                      <a:pt x="10" y="84"/>
                    </a:lnTo>
                    <a:lnTo>
                      <a:pt x="12" y="87"/>
                    </a:lnTo>
                    <a:lnTo>
                      <a:pt x="15" y="90"/>
                    </a:lnTo>
                    <a:lnTo>
                      <a:pt x="30" y="101"/>
                    </a:lnTo>
                    <a:lnTo>
                      <a:pt x="44" y="88"/>
                    </a:lnTo>
                    <a:lnTo>
                      <a:pt x="45" y="86"/>
                    </a:lnTo>
                    <a:lnTo>
                      <a:pt x="47" y="83"/>
                    </a:lnTo>
                    <a:lnTo>
                      <a:pt x="49" y="80"/>
                    </a:lnTo>
                    <a:lnTo>
                      <a:pt x="52" y="77"/>
                    </a:lnTo>
                    <a:lnTo>
                      <a:pt x="56" y="75"/>
                    </a:lnTo>
                    <a:lnTo>
                      <a:pt x="60" y="72"/>
                    </a:lnTo>
                    <a:lnTo>
                      <a:pt x="66" y="72"/>
                    </a:lnTo>
                    <a:lnTo>
                      <a:pt x="67" y="72"/>
                    </a:lnTo>
                    <a:lnTo>
                      <a:pt x="67" y="73"/>
                    </a:lnTo>
                    <a:lnTo>
                      <a:pt x="69" y="75"/>
                    </a:lnTo>
                    <a:lnTo>
                      <a:pt x="70" y="76"/>
                    </a:lnTo>
                    <a:lnTo>
                      <a:pt x="71" y="79"/>
                    </a:lnTo>
                    <a:lnTo>
                      <a:pt x="73" y="80"/>
                    </a:lnTo>
                    <a:lnTo>
                      <a:pt x="73" y="83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7" y="84"/>
                    </a:lnTo>
                    <a:lnTo>
                      <a:pt x="81" y="83"/>
                    </a:lnTo>
                    <a:lnTo>
                      <a:pt x="85" y="83"/>
                    </a:lnTo>
                    <a:lnTo>
                      <a:pt x="91" y="81"/>
                    </a:lnTo>
                    <a:lnTo>
                      <a:pt x="96" y="81"/>
                    </a:lnTo>
                    <a:lnTo>
                      <a:pt x="102" y="81"/>
                    </a:lnTo>
                    <a:lnTo>
                      <a:pt x="106" y="81"/>
                    </a:lnTo>
                    <a:lnTo>
                      <a:pt x="139" y="75"/>
                    </a:lnTo>
                    <a:lnTo>
                      <a:pt x="173" y="66"/>
                    </a:lnTo>
                    <a:lnTo>
                      <a:pt x="171" y="62"/>
                    </a:lnTo>
                    <a:lnTo>
                      <a:pt x="168" y="58"/>
                    </a:lnTo>
                    <a:lnTo>
                      <a:pt x="165" y="53"/>
                    </a:lnTo>
                    <a:lnTo>
                      <a:pt x="161" y="47"/>
                    </a:lnTo>
                    <a:lnTo>
                      <a:pt x="155" y="40"/>
                    </a:lnTo>
                    <a:lnTo>
                      <a:pt x="151" y="33"/>
                    </a:lnTo>
                    <a:lnTo>
                      <a:pt x="146" y="28"/>
                    </a:lnTo>
                    <a:lnTo>
                      <a:pt x="144" y="27"/>
                    </a:lnTo>
                    <a:lnTo>
                      <a:pt x="143" y="24"/>
                    </a:lnTo>
                    <a:lnTo>
                      <a:pt x="140" y="21"/>
                    </a:lnTo>
                    <a:lnTo>
                      <a:pt x="136" y="17"/>
                    </a:lnTo>
                    <a:lnTo>
                      <a:pt x="133" y="13"/>
                    </a:lnTo>
                    <a:lnTo>
                      <a:pt x="131" y="7"/>
                    </a:lnTo>
                    <a:lnTo>
                      <a:pt x="128" y="3"/>
                    </a:lnTo>
                    <a:lnTo>
                      <a:pt x="12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7" name="Freeform 990"/>
              <p:cNvSpPr>
                <a:spLocks/>
              </p:cNvSpPr>
              <p:nvPr/>
            </p:nvSpPr>
            <p:spPr bwMode="auto">
              <a:xfrm>
                <a:off x="2848" y="2896"/>
                <a:ext cx="88" cy="99"/>
              </a:xfrm>
              <a:custGeom>
                <a:avLst/>
                <a:gdLst>
                  <a:gd name="T0" fmla="*/ 63 w 88"/>
                  <a:gd name="T1" fmla="*/ 0 h 99"/>
                  <a:gd name="T2" fmla="*/ 63 w 88"/>
                  <a:gd name="T3" fmla="*/ 3 h 99"/>
                  <a:gd name="T4" fmla="*/ 63 w 88"/>
                  <a:gd name="T5" fmla="*/ 7 h 99"/>
                  <a:gd name="T6" fmla="*/ 63 w 88"/>
                  <a:gd name="T7" fmla="*/ 11 h 99"/>
                  <a:gd name="T8" fmla="*/ 64 w 88"/>
                  <a:gd name="T9" fmla="*/ 14 h 99"/>
                  <a:gd name="T10" fmla="*/ 68 w 88"/>
                  <a:gd name="T11" fmla="*/ 14 h 99"/>
                  <a:gd name="T12" fmla="*/ 75 w 88"/>
                  <a:gd name="T13" fmla="*/ 14 h 99"/>
                  <a:gd name="T14" fmla="*/ 84 w 88"/>
                  <a:gd name="T15" fmla="*/ 14 h 99"/>
                  <a:gd name="T16" fmla="*/ 86 w 88"/>
                  <a:gd name="T17" fmla="*/ 14 h 99"/>
                  <a:gd name="T18" fmla="*/ 86 w 88"/>
                  <a:gd name="T19" fmla="*/ 16 h 99"/>
                  <a:gd name="T20" fmla="*/ 86 w 88"/>
                  <a:gd name="T21" fmla="*/ 20 h 99"/>
                  <a:gd name="T22" fmla="*/ 86 w 88"/>
                  <a:gd name="T23" fmla="*/ 25 h 99"/>
                  <a:gd name="T24" fmla="*/ 86 w 88"/>
                  <a:gd name="T25" fmla="*/ 31 h 99"/>
                  <a:gd name="T26" fmla="*/ 85 w 88"/>
                  <a:gd name="T27" fmla="*/ 31 h 99"/>
                  <a:gd name="T28" fmla="*/ 82 w 88"/>
                  <a:gd name="T29" fmla="*/ 31 h 99"/>
                  <a:gd name="T30" fmla="*/ 81 w 88"/>
                  <a:gd name="T31" fmla="*/ 32 h 99"/>
                  <a:gd name="T32" fmla="*/ 81 w 88"/>
                  <a:gd name="T33" fmla="*/ 35 h 99"/>
                  <a:gd name="T34" fmla="*/ 81 w 88"/>
                  <a:gd name="T35" fmla="*/ 39 h 99"/>
                  <a:gd name="T36" fmla="*/ 81 w 88"/>
                  <a:gd name="T37" fmla="*/ 42 h 99"/>
                  <a:gd name="T38" fmla="*/ 81 w 88"/>
                  <a:gd name="T39" fmla="*/ 43 h 99"/>
                  <a:gd name="T40" fmla="*/ 81 w 88"/>
                  <a:gd name="T41" fmla="*/ 44 h 99"/>
                  <a:gd name="T42" fmla="*/ 88 w 88"/>
                  <a:gd name="T43" fmla="*/ 46 h 99"/>
                  <a:gd name="T44" fmla="*/ 88 w 88"/>
                  <a:gd name="T45" fmla="*/ 51 h 99"/>
                  <a:gd name="T46" fmla="*/ 88 w 88"/>
                  <a:gd name="T47" fmla="*/ 61 h 99"/>
                  <a:gd name="T48" fmla="*/ 86 w 88"/>
                  <a:gd name="T49" fmla="*/ 69 h 99"/>
                  <a:gd name="T50" fmla="*/ 81 w 88"/>
                  <a:gd name="T51" fmla="*/ 75 h 99"/>
                  <a:gd name="T52" fmla="*/ 73 w 88"/>
                  <a:gd name="T53" fmla="*/ 77 h 99"/>
                  <a:gd name="T54" fmla="*/ 63 w 88"/>
                  <a:gd name="T55" fmla="*/ 80 h 99"/>
                  <a:gd name="T56" fmla="*/ 56 w 88"/>
                  <a:gd name="T57" fmla="*/ 82 h 99"/>
                  <a:gd name="T58" fmla="*/ 53 w 88"/>
                  <a:gd name="T59" fmla="*/ 75 h 99"/>
                  <a:gd name="T60" fmla="*/ 38 w 88"/>
                  <a:gd name="T61" fmla="*/ 86 h 99"/>
                  <a:gd name="T62" fmla="*/ 37 w 88"/>
                  <a:gd name="T63" fmla="*/ 88 h 99"/>
                  <a:gd name="T64" fmla="*/ 34 w 88"/>
                  <a:gd name="T65" fmla="*/ 93 h 99"/>
                  <a:gd name="T66" fmla="*/ 30 w 88"/>
                  <a:gd name="T67" fmla="*/ 97 h 99"/>
                  <a:gd name="T68" fmla="*/ 27 w 88"/>
                  <a:gd name="T69" fmla="*/ 99 h 99"/>
                  <a:gd name="T70" fmla="*/ 26 w 88"/>
                  <a:gd name="T71" fmla="*/ 88 h 99"/>
                  <a:gd name="T72" fmla="*/ 24 w 88"/>
                  <a:gd name="T73" fmla="*/ 86 h 99"/>
                  <a:gd name="T74" fmla="*/ 24 w 88"/>
                  <a:gd name="T75" fmla="*/ 83 h 99"/>
                  <a:gd name="T76" fmla="*/ 22 w 88"/>
                  <a:gd name="T77" fmla="*/ 82 h 99"/>
                  <a:gd name="T78" fmla="*/ 19 w 88"/>
                  <a:gd name="T79" fmla="*/ 80 h 99"/>
                  <a:gd name="T80" fmla="*/ 15 w 88"/>
                  <a:gd name="T81" fmla="*/ 77 h 99"/>
                  <a:gd name="T82" fmla="*/ 9 w 88"/>
                  <a:gd name="T83" fmla="*/ 72 h 99"/>
                  <a:gd name="T84" fmla="*/ 2 w 88"/>
                  <a:gd name="T85" fmla="*/ 62 h 99"/>
                  <a:gd name="T86" fmla="*/ 0 w 88"/>
                  <a:gd name="T87" fmla="*/ 57 h 99"/>
                  <a:gd name="T88" fmla="*/ 0 w 88"/>
                  <a:gd name="T89" fmla="*/ 55 h 99"/>
                  <a:gd name="T90" fmla="*/ 0 w 88"/>
                  <a:gd name="T91" fmla="*/ 55 h 99"/>
                  <a:gd name="T92" fmla="*/ 0 w 88"/>
                  <a:gd name="T93" fmla="*/ 54 h 99"/>
                  <a:gd name="T94" fmla="*/ 8 w 88"/>
                  <a:gd name="T95" fmla="*/ 21 h 99"/>
                  <a:gd name="T96" fmla="*/ 31 w 88"/>
                  <a:gd name="T97" fmla="*/ 22 h 99"/>
                  <a:gd name="T98" fmla="*/ 33 w 88"/>
                  <a:gd name="T99" fmla="*/ 22 h 99"/>
                  <a:gd name="T100" fmla="*/ 34 w 88"/>
                  <a:gd name="T101" fmla="*/ 21 h 99"/>
                  <a:gd name="T102" fmla="*/ 35 w 88"/>
                  <a:gd name="T103" fmla="*/ 20 h 99"/>
                  <a:gd name="T104" fmla="*/ 37 w 88"/>
                  <a:gd name="T105" fmla="*/ 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" h="99">
                    <a:moveTo>
                      <a:pt x="37" y="3"/>
                    </a:moveTo>
                    <a:lnTo>
                      <a:pt x="63" y="0"/>
                    </a:lnTo>
                    <a:lnTo>
                      <a:pt x="63" y="2"/>
                    </a:lnTo>
                    <a:lnTo>
                      <a:pt x="63" y="3"/>
                    </a:lnTo>
                    <a:lnTo>
                      <a:pt x="63" y="5"/>
                    </a:lnTo>
                    <a:lnTo>
                      <a:pt x="63" y="7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13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9" y="14"/>
                    </a:lnTo>
                    <a:lnTo>
                      <a:pt x="84" y="14"/>
                    </a:lnTo>
                    <a:lnTo>
                      <a:pt x="85" y="14"/>
                    </a:lnTo>
                    <a:lnTo>
                      <a:pt x="86" y="14"/>
                    </a:lnTo>
                    <a:lnTo>
                      <a:pt x="86" y="14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5"/>
                    </a:lnTo>
                    <a:lnTo>
                      <a:pt x="86" y="28"/>
                    </a:lnTo>
                    <a:lnTo>
                      <a:pt x="86" y="31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4" y="31"/>
                    </a:lnTo>
                    <a:lnTo>
                      <a:pt x="82" y="31"/>
                    </a:lnTo>
                    <a:lnTo>
                      <a:pt x="82" y="32"/>
                    </a:lnTo>
                    <a:lnTo>
                      <a:pt x="81" y="32"/>
                    </a:lnTo>
                    <a:lnTo>
                      <a:pt x="81" y="33"/>
                    </a:lnTo>
                    <a:lnTo>
                      <a:pt x="81" y="35"/>
                    </a:lnTo>
                    <a:lnTo>
                      <a:pt x="81" y="38"/>
                    </a:lnTo>
                    <a:lnTo>
                      <a:pt x="81" y="39"/>
                    </a:lnTo>
                    <a:lnTo>
                      <a:pt x="81" y="40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1" y="43"/>
                    </a:lnTo>
                    <a:lnTo>
                      <a:pt x="81" y="44"/>
                    </a:lnTo>
                    <a:lnTo>
                      <a:pt x="81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8" y="55"/>
                    </a:lnTo>
                    <a:lnTo>
                      <a:pt x="88" y="61"/>
                    </a:lnTo>
                    <a:lnTo>
                      <a:pt x="88" y="65"/>
                    </a:lnTo>
                    <a:lnTo>
                      <a:pt x="86" y="69"/>
                    </a:lnTo>
                    <a:lnTo>
                      <a:pt x="85" y="72"/>
                    </a:lnTo>
                    <a:lnTo>
                      <a:pt x="81" y="75"/>
                    </a:lnTo>
                    <a:lnTo>
                      <a:pt x="77" y="76"/>
                    </a:lnTo>
                    <a:lnTo>
                      <a:pt x="73" y="77"/>
                    </a:lnTo>
                    <a:lnTo>
                      <a:pt x="67" y="79"/>
                    </a:lnTo>
                    <a:lnTo>
                      <a:pt x="63" y="80"/>
                    </a:lnTo>
                    <a:lnTo>
                      <a:pt x="59" y="80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3" y="75"/>
                    </a:lnTo>
                    <a:lnTo>
                      <a:pt x="49" y="82"/>
                    </a:lnTo>
                    <a:lnTo>
                      <a:pt x="38" y="86"/>
                    </a:lnTo>
                    <a:lnTo>
                      <a:pt x="38" y="87"/>
                    </a:lnTo>
                    <a:lnTo>
                      <a:pt x="37" y="88"/>
                    </a:lnTo>
                    <a:lnTo>
                      <a:pt x="35" y="90"/>
                    </a:lnTo>
                    <a:lnTo>
                      <a:pt x="34" y="93"/>
                    </a:lnTo>
                    <a:lnTo>
                      <a:pt x="31" y="95"/>
                    </a:lnTo>
                    <a:lnTo>
                      <a:pt x="30" y="97"/>
                    </a:lnTo>
                    <a:lnTo>
                      <a:pt x="29" y="98"/>
                    </a:lnTo>
                    <a:lnTo>
                      <a:pt x="27" y="99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4" y="86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8" y="79"/>
                    </a:lnTo>
                    <a:lnTo>
                      <a:pt x="15" y="77"/>
                    </a:lnTo>
                    <a:lnTo>
                      <a:pt x="12" y="75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2" y="62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3"/>
                    </a:lnTo>
                    <a:lnTo>
                      <a:pt x="8" y="21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4" y="22"/>
                    </a:lnTo>
                    <a:lnTo>
                      <a:pt x="34" y="21"/>
                    </a:lnTo>
                    <a:lnTo>
                      <a:pt x="35" y="21"/>
                    </a:lnTo>
                    <a:lnTo>
                      <a:pt x="35" y="20"/>
                    </a:lnTo>
                    <a:lnTo>
                      <a:pt x="37" y="18"/>
                    </a:lnTo>
                    <a:lnTo>
                      <a:pt x="37" y="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8" name="Freeform 991"/>
              <p:cNvSpPr>
                <a:spLocks/>
              </p:cNvSpPr>
              <p:nvPr/>
            </p:nvSpPr>
            <p:spPr bwMode="auto">
              <a:xfrm>
                <a:off x="2848" y="2896"/>
                <a:ext cx="88" cy="99"/>
              </a:xfrm>
              <a:custGeom>
                <a:avLst/>
                <a:gdLst>
                  <a:gd name="T0" fmla="*/ 63 w 88"/>
                  <a:gd name="T1" fmla="*/ 0 h 99"/>
                  <a:gd name="T2" fmla="*/ 63 w 88"/>
                  <a:gd name="T3" fmla="*/ 3 h 99"/>
                  <a:gd name="T4" fmla="*/ 63 w 88"/>
                  <a:gd name="T5" fmla="*/ 7 h 99"/>
                  <a:gd name="T6" fmla="*/ 63 w 88"/>
                  <a:gd name="T7" fmla="*/ 11 h 99"/>
                  <a:gd name="T8" fmla="*/ 64 w 88"/>
                  <a:gd name="T9" fmla="*/ 14 h 99"/>
                  <a:gd name="T10" fmla="*/ 68 w 88"/>
                  <a:gd name="T11" fmla="*/ 14 h 99"/>
                  <a:gd name="T12" fmla="*/ 75 w 88"/>
                  <a:gd name="T13" fmla="*/ 14 h 99"/>
                  <a:gd name="T14" fmla="*/ 84 w 88"/>
                  <a:gd name="T15" fmla="*/ 14 h 99"/>
                  <a:gd name="T16" fmla="*/ 86 w 88"/>
                  <a:gd name="T17" fmla="*/ 14 h 99"/>
                  <a:gd name="T18" fmla="*/ 86 w 88"/>
                  <a:gd name="T19" fmla="*/ 18 h 99"/>
                  <a:gd name="T20" fmla="*/ 88 w 88"/>
                  <a:gd name="T21" fmla="*/ 22 h 99"/>
                  <a:gd name="T22" fmla="*/ 86 w 88"/>
                  <a:gd name="T23" fmla="*/ 28 h 99"/>
                  <a:gd name="T24" fmla="*/ 85 w 88"/>
                  <a:gd name="T25" fmla="*/ 31 h 99"/>
                  <a:gd name="T26" fmla="*/ 82 w 88"/>
                  <a:gd name="T27" fmla="*/ 31 h 99"/>
                  <a:gd name="T28" fmla="*/ 81 w 88"/>
                  <a:gd name="T29" fmla="*/ 32 h 99"/>
                  <a:gd name="T30" fmla="*/ 81 w 88"/>
                  <a:gd name="T31" fmla="*/ 35 h 99"/>
                  <a:gd name="T32" fmla="*/ 81 w 88"/>
                  <a:gd name="T33" fmla="*/ 39 h 99"/>
                  <a:gd name="T34" fmla="*/ 81 w 88"/>
                  <a:gd name="T35" fmla="*/ 42 h 99"/>
                  <a:gd name="T36" fmla="*/ 81 w 88"/>
                  <a:gd name="T37" fmla="*/ 44 h 99"/>
                  <a:gd name="T38" fmla="*/ 88 w 88"/>
                  <a:gd name="T39" fmla="*/ 46 h 99"/>
                  <a:gd name="T40" fmla="*/ 88 w 88"/>
                  <a:gd name="T41" fmla="*/ 51 h 99"/>
                  <a:gd name="T42" fmla="*/ 88 w 88"/>
                  <a:gd name="T43" fmla="*/ 61 h 99"/>
                  <a:gd name="T44" fmla="*/ 86 w 88"/>
                  <a:gd name="T45" fmla="*/ 69 h 99"/>
                  <a:gd name="T46" fmla="*/ 81 w 88"/>
                  <a:gd name="T47" fmla="*/ 75 h 99"/>
                  <a:gd name="T48" fmla="*/ 73 w 88"/>
                  <a:gd name="T49" fmla="*/ 77 h 99"/>
                  <a:gd name="T50" fmla="*/ 63 w 88"/>
                  <a:gd name="T51" fmla="*/ 80 h 99"/>
                  <a:gd name="T52" fmla="*/ 56 w 88"/>
                  <a:gd name="T53" fmla="*/ 82 h 99"/>
                  <a:gd name="T54" fmla="*/ 49 w 88"/>
                  <a:gd name="T55" fmla="*/ 82 h 99"/>
                  <a:gd name="T56" fmla="*/ 38 w 88"/>
                  <a:gd name="T57" fmla="*/ 87 h 99"/>
                  <a:gd name="T58" fmla="*/ 35 w 88"/>
                  <a:gd name="T59" fmla="*/ 90 h 99"/>
                  <a:gd name="T60" fmla="*/ 31 w 88"/>
                  <a:gd name="T61" fmla="*/ 95 h 99"/>
                  <a:gd name="T62" fmla="*/ 29 w 88"/>
                  <a:gd name="T63" fmla="*/ 98 h 99"/>
                  <a:gd name="T64" fmla="*/ 26 w 88"/>
                  <a:gd name="T65" fmla="*/ 88 h 99"/>
                  <a:gd name="T66" fmla="*/ 24 w 88"/>
                  <a:gd name="T67" fmla="*/ 86 h 99"/>
                  <a:gd name="T68" fmla="*/ 24 w 88"/>
                  <a:gd name="T69" fmla="*/ 83 h 99"/>
                  <a:gd name="T70" fmla="*/ 22 w 88"/>
                  <a:gd name="T71" fmla="*/ 82 h 99"/>
                  <a:gd name="T72" fmla="*/ 19 w 88"/>
                  <a:gd name="T73" fmla="*/ 80 h 99"/>
                  <a:gd name="T74" fmla="*/ 15 w 88"/>
                  <a:gd name="T75" fmla="*/ 77 h 99"/>
                  <a:gd name="T76" fmla="*/ 9 w 88"/>
                  <a:gd name="T77" fmla="*/ 72 h 99"/>
                  <a:gd name="T78" fmla="*/ 2 w 88"/>
                  <a:gd name="T79" fmla="*/ 62 h 99"/>
                  <a:gd name="T80" fmla="*/ 0 w 88"/>
                  <a:gd name="T81" fmla="*/ 55 h 99"/>
                  <a:gd name="T82" fmla="*/ 0 w 88"/>
                  <a:gd name="T83" fmla="*/ 53 h 99"/>
                  <a:gd name="T84" fmla="*/ 31 w 88"/>
                  <a:gd name="T85" fmla="*/ 22 h 99"/>
                  <a:gd name="T86" fmla="*/ 34 w 88"/>
                  <a:gd name="T87" fmla="*/ 22 h 99"/>
                  <a:gd name="T88" fmla="*/ 35 w 88"/>
                  <a:gd name="T89" fmla="*/ 21 h 99"/>
                  <a:gd name="T90" fmla="*/ 37 w 88"/>
                  <a:gd name="T91" fmla="*/ 1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88" h="99">
                    <a:moveTo>
                      <a:pt x="37" y="3"/>
                    </a:moveTo>
                    <a:lnTo>
                      <a:pt x="63" y="0"/>
                    </a:lnTo>
                    <a:lnTo>
                      <a:pt x="63" y="2"/>
                    </a:lnTo>
                    <a:lnTo>
                      <a:pt x="63" y="3"/>
                    </a:lnTo>
                    <a:lnTo>
                      <a:pt x="63" y="5"/>
                    </a:lnTo>
                    <a:lnTo>
                      <a:pt x="63" y="7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13"/>
                    </a:lnTo>
                    <a:lnTo>
                      <a:pt x="64" y="14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9" y="14"/>
                    </a:lnTo>
                    <a:lnTo>
                      <a:pt x="84" y="14"/>
                    </a:lnTo>
                    <a:lnTo>
                      <a:pt x="85" y="14"/>
                    </a:lnTo>
                    <a:lnTo>
                      <a:pt x="86" y="14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5"/>
                    </a:lnTo>
                    <a:lnTo>
                      <a:pt x="86" y="28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4" y="31"/>
                    </a:lnTo>
                    <a:lnTo>
                      <a:pt x="82" y="31"/>
                    </a:lnTo>
                    <a:lnTo>
                      <a:pt x="82" y="32"/>
                    </a:lnTo>
                    <a:lnTo>
                      <a:pt x="81" y="32"/>
                    </a:lnTo>
                    <a:lnTo>
                      <a:pt x="81" y="33"/>
                    </a:lnTo>
                    <a:lnTo>
                      <a:pt x="81" y="35"/>
                    </a:lnTo>
                    <a:lnTo>
                      <a:pt x="81" y="38"/>
                    </a:lnTo>
                    <a:lnTo>
                      <a:pt x="81" y="39"/>
                    </a:lnTo>
                    <a:lnTo>
                      <a:pt x="81" y="40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1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8" y="49"/>
                    </a:lnTo>
                    <a:lnTo>
                      <a:pt x="88" y="51"/>
                    </a:lnTo>
                    <a:lnTo>
                      <a:pt x="88" y="55"/>
                    </a:lnTo>
                    <a:lnTo>
                      <a:pt x="88" y="61"/>
                    </a:lnTo>
                    <a:lnTo>
                      <a:pt x="88" y="65"/>
                    </a:lnTo>
                    <a:lnTo>
                      <a:pt x="86" y="69"/>
                    </a:lnTo>
                    <a:lnTo>
                      <a:pt x="85" y="72"/>
                    </a:lnTo>
                    <a:lnTo>
                      <a:pt x="81" y="75"/>
                    </a:lnTo>
                    <a:lnTo>
                      <a:pt x="77" y="76"/>
                    </a:lnTo>
                    <a:lnTo>
                      <a:pt x="73" y="77"/>
                    </a:lnTo>
                    <a:lnTo>
                      <a:pt x="67" y="79"/>
                    </a:lnTo>
                    <a:lnTo>
                      <a:pt x="63" y="80"/>
                    </a:lnTo>
                    <a:lnTo>
                      <a:pt x="59" y="80"/>
                    </a:lnTo>
                    <a:lnTo>
                      <a:pt x="56" y="82"/>
                    </a:lnTo>
                    <a:lnTo>
                      <a:pt x="53" y="75"/>
                    </a:lnTo>
                    <a:lnTo>
                      <a:pt x="49" y="82"/>
                    </a:lnTo>
                    <a:lnTo>
                      <a:pt x="38" y="86"/>
                    </a:lnTo>
                    <a:lnTo>
                      <a:pt x="38" y="87"/>
                    </a:lnTo>
                    <a:lnTo>
                      <a:pt x="37" y="88"/>
                    </a:lnTo>
                    <a:lnTo>
                      <a:pt x="35" y="90"/>
                    </a:lnTo>
                    <a:lnTo>
                      <a:pt x="34" y="93"/>
                    </a:lnTo>
                    <a:lnTo>
                      <a:pt x="31" y="95"/>
                    </a:lnTo>
                    <a:lnTo>
                      <a:pt x="30" y="97"/>
                    </a:lnTo>
                    <a:lnTo>
                      <a:pt x="29" y="98"/>
                    </a:lnTo>
                    <a:lnTo>
                      <a:pt x="27" y="9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4" y="86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0" y="80"/>
                    </a:lnTo>
                    <a:lnTo>
                      <a:pt x="19" y="80"/>
                    </a:lnTo>
                    <a:lnTo>
                      <a:pt x="18" y="79"/>
                    </a:lnTo>
                    <a:lnTo>
                      <a:pt x="15" y="77"/>
                    </a:lnTo>
                    <a:lnTo>
                      <a:pt x="12" y="75"/>
                    </a:lnTo>
                    <a:lnTo>
                      <a:pt x="9" y="72"/>
                    </a:lnTo>
                    <a:lnTo>
                      <a:pt x="5" y="68"/>
                    </a:lnTo>
                    <a:lnTo>
                      <a:pt x="2" y="62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0" y="53"/>
                    </a:lnTo>
                    <a:lnTo>
                      <a:pt x="8" y="21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4" y="22"/>
                    </a:lnTo>
                    <a:lnTo>
                      <a:pt x="34" y="21"/>
                    </a:lnTo>
                    <a:lnTo>
                      <a:pt x="35" y="21"/>
                    </a:lnTo>
                    <a:lnTo>
                      <a:pt x="35" y="20"/>
                    </a:lnTo>
                    <a:lnTo>
                      <a:pt x="37" y="18"/>
                    </a:lnTo>
                    <a:lnTo>
                      <a:pt x="37" y="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59" name="Freeform 992"/>
              <p:cNvSpPr>
                <a:spLocks/>
              </p:cNvSpPr>
              <p:nvPr/>
            </p:nvSpPr>
            <p:spPr bwMode="auto">
              <a:xfrm>
                <a:off x="2856" y="2899"/>
                <a:ext cx="29" cy="18"/>
              </a:xfrm>
              <a:custGeom>
                <a:avLst/>
                <a:gdLst>
                  <a:gd name="T0" fmla="*/ 23 w 29"/>
                  <a:gd name="T1" fmla="*/ 0 h 18"/>
                  <a:gd name="T2" fmla="*/ 22 w 29"/>
                  <a:gd name="T3" fmla="*/ 0 h 18"/>
                  <a:gd name="T4" fmla="*/ 21 w 29"/>
                  <a:gd name="T5" fmla="*/ 0 h 18"/>
                  <a:gd name="T6" fmla="*/ 18 w 29"/>
                  <a:gd name="T7" fmla="*/ 0 h 18"/>
                  <a:gd name="T8" fmla="*/ 14 w 29"/>
                  <a:gd name="T9" fmla="*/ 2 h 18"/>
                  <a:gd name="T10" fmla="*/ 10 w 29"/>
                  <a:gd name="T11" fmla="*/ 3 h 18"/>
                  <a:gd name="T12" fmla="*/ 7 w 29"/>
                  <a:gd name="T13" fmla="*/ 7 h 18"/>
                  <a:gd name="T14" fmla="*/ 3 w 29"/>
                  <a:gd name="T15" fmla="*/ 11 h 18"/>
                  <a:gd name="T16" fmla="*/ 0 w 29"/>
                  <a:gd name="T17" fmla="*/ 18 h 18"/>
                  <a:gd name="T18" fmla="*/ 25 w 29"/>
                  <a:gd name="T19" fmla="*/ 18 h 18"/>
                  <a:gd name="T20" fmla="*/ 25 w 29"/>
                  <a:gd name="T21" fmla="*/ 18 h 18"/>
                  <a:gd name="T22" fmla="*/ 25 w 29"/>
                  <a:gd name="T23" fmla="*/ 18 h 18"/>
                  <a:gd name="T24" fmla="*/ 26 w 29"/>
                  <a:gd name="T25" fmla="*/ 18 h 18"/>
                  <a:gd name="T26" fmla="*/ 26 w 29"/>
                  <a:gd name="T27" fmla="*/ 18 h 18"/>
                  <a:gd name="T28" fmla="*/ 27 w 29"/>
                  <a:gd name="T29" fmla="*/ 17 h 18"/>
                  <a:gd name="T30" fmla="*/ 27 w 29"/>
                  <a:gd name="T31" fmla="*/ 17 h 18"/>
                  <a:gd name="T32" fmla="*/ 27 w 29"/>
                  <a:gd name="T33" fmla="*/ 15 h 18"/>
                  <a:gd name="T34" fmla="*/ 29 w 29"/>
                  <a:gd name="T35" fmla="*/ 15 h 18"/>
                  <a:gd name="T36" fmla="*/ 29 w 29"/>
                  <a:gd name="T37" fmla="*/ 14 h 18"/>
                  <a:gd name="T38" fmla="*/ 29 w 29"/>
                  <a:gd name="T39" fmla="*/ 11 h 18"/>
                  <a:gd name="T40" fmla="*/ 29 w 29"/>
                  <a:gd name="T41" fmla="*/ 8 h 18"/>
                  <a:gd name="T42" fmla="*/ 29 w 29"/>
                  <a:gd name="T43" fmla="*/ 7 h 18"/>
                  <a:gd name="T44" fmla="*/ 29 w 29"/>
                  <a:gd name="T45" fmla="*/ 4 h 18"/>
                  <a:gd name="T46" fmla="*/ 29 w 29"/>
                  <a:gd name="T47" fmla="*/ 3 h 18"/>
                  <a:gd name="T48" fmla="*/ 29 w 29"/>
                  <a:gd name="T49" fmla="*/ 2 h 18"/>
                  <a:gd name="T50" fmla="*/ 29 w 29"/>
                  <a:gd name="T51" fmla="*/ 0 h 18"/>
                  <a:gd name="T52" fmla="*/ 23 w 29"/>
                  <a:gd name="T5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9" h="18">
                    <a:moveTo>
                      <a:pt x="23" y="0"/>
                    </a:moveTo>
                    <a:lnTo>
                      <a:pt x="22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0" y="3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7" y="17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9" y="8"/>
                    </a:lnTo>
                    <a:lnTo>
                      <a:pt x="29" y="7"/>
                    </a:lnTo>
                    <a:lnTo>
                      <a:pt x="29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0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0" name="Freeform 993"/>
              <p:cNvSpPr>
                <a:spLocks/>
              </p:cNvSpPr>
              <p:nvPr/>
            </p:nvSpPr>
            <p:spPr bwMode="auto">
              <a:xfrm>
                <a:off x="2856" y="2899"/>
                <a:ext cx="29" cy="18"/>
              </a:xfrm>
              <a:custGeom>
                <a:avLst/>
                <a:gdLst>
                  <a:gd name="T0" fmla="*/ 23 w 29"/>
                  <a:gd name="T1" fmla="*/ 0 h 18"/>
                  <a:gd name="T2" fmla="*/ 22 w 29"/>
                  <a:gd name="T3" fmla="*/ 0 h 18"/>
                  <a:gd name="T4" fmla="*/ 21 w 29"/>
                  <a:gd name="T5" fmla="*/ 0 h 18"/>
                  <a:gd name="T6" fmla="*/ 18 w 29"/>
                  <a:gd name="T7" fmla="*/ 0 h 18"/>
                  <a:gd name="T8" fmla="*/ 14 w 29"/>
                  <a:gd name="T9" fmla="*/ 2 h 18"/>
                  <a:gd name="T10" fmla="*/ 10 w 29"/>
                  <a:gd name="T11" fmla="*/ 3 h 18"/>
                  <a:gd name="T12" fmla="*/ 7 w 29"/>
                  <a:gd name="T13" fmla="*/ 7 h 18"/>
                  <a:gd name="T14" fmla="*/ 3 w 29"/>
                  <a:gd name="T15" fmla="*/ 11 h 18"/>
                  <a:gd name="T16" fmla="*/ 0 w 29"/>
                  <a:gd name="T17" fmla="*/ 18 h 18"/>
                  <a:gd name="T18" fmla="*/ 25 w 29"/>
                  <a:gd name="T19" fmla="*/ 18 h 18"/>
                  <a:gd name="T20" fmla="*/ 26 w 29"/>
                  <a:gd name="T21" fmla="*/ 18 h 18"/>
                  <a:gd name="T22" fmla="*/ 27 w 29"/>
                  <a:gd name="T23" fmla="*/ 17 h 18"/>
                  <a:gd name="T24" fmla="*/ 27 w 29"/>
                  <a:gd name="T25" fmla="*/ 15 h 18"/>
                  <a:gd name="T26" fmla="*/ 29 w 29"/>
                  <a:gd name="T27" fmla="*/ 15 h 18"/>
                  <a:gd name="T28" fmla="*/ 29 w 29"/>
                  <a:gd name="T29" fmla="*/ 14 h 18"/>
                  <a:gd name="T30" fmla="*/ 29 w 29"/>
                  <a:gd name="T31" fmla="*/ 11 h 18"/>
                  <a:gd name="T32" fmla="*/ 29 w 29"/>
                  <a:gd name="T33" fmla="*/ 8 h 18"/>
                  <a:gd name="T34" fmla="*/ 29 w 29"/>
                  <a:gd name="T35" fmla="*/ 7 h 18"/>
                  <a:gd name="T36" fmla="*/ 29 w 29"/>
                  <a:gd name="T37" fmla="*/ 4 h 18"/>
                  <a:gd name="T38" fmla="*/ 29 w 29"/>
                  <a:gd name="T39" fmla="*/ 3 h 18"/>
                  <a:gd name="T40" fmla="*/ 29 w 29"/>
                  <a:gd name="T41" fmla="*/ 2 h 18"/>
                  <a:gd name="T42" fmla="*/ 29 w 29"/>
                  <a:gd name="T43" fmla="*/ 0 h 18"/>
                  <a:gd name="T44" fmla="*/ 23 w 29"/>
                  <a:gd name="T4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18">
                    <a:moveTo>
                      <a:pt x="23" y="0"/>
                    </a:moveTo>
                    <a:lnTo>
                      <a:pt x="22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0" y="3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0" y="18"/>
                    </a:lnTo>
                    <a:lnTo>
                      <a:pt x="25" y="18"/>
                    </a:lnTo>
                    <a:lnTo>
                      <a:pt x="26" y="18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4"/>
                    </a:lnTo>
                    <a:lnTo>
                      <a:pt x="29" y="11"/>
                    </a:lnTo>
                    <a:lnTo>
                      <a:pt x="29" y="8"/>
                    </a:lnTo>
                    <a:lnTo>
                      <a:pt x="29" y="7"/>
                    </a:lnTo>
                    <a:lnTo>
                      <a:pt x="29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0"/>
                    </a:lnTo>
                    <a:lnTo>
                      <a:pt x="2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1" name="Freeform 994"/>
              <p:cNvSpPr>
                <a:spLocks/>
              </p:cNvSpPr>
              <p:nvPr/>
            </p:nvSpPr>
            <p:spPr bwMode="auto">
              <a:xfrm>
                <a:off x="2875" y="2869"/>
                <a:ext cx="107" cy="147"/>
              </a:xfrm>
              <a:custGeom>
                <a:avLst/>
                <a:gdLst>
                  <a:gd name="T0" fmla="*/ 15 w 107"/>
                  <a:gd name="T1" fmla="*/ 146 h 147"/>
                  <a:gd name="T2" fmla="*/ 15 w 107"/>
                  <a:gd name="T3" fmla="*/ 147 h 147"/>
                  <a:gd name="T4" fmla="*/ 14 w 107"/>
                  <a:gd name="T5" fmla="*/ 144 h 147"/>
                  <a:gd name="T6" fmla="*/ 0 w 107"/>
                  <a:gd name="T7" fmla="*/ 125 h 147"/>
                  <a:gd name="T8" fmla="*/ 3 w 107"/>
                  <a:gd name="T9" fmla="*/ 122 h 147"/>
                  <a:gd name="T10" fmla="*/ 7 w 107"/>
                  <a:gd name="T11" fmla="*/ 118 h 147"/>
                  <a:gd name="T12" fmla="*/ 8 w 107"/>
                  <a:gd name="T13" fmla="*/ 117 h 147"/>
                  <a:gd name="T14" fmla="*/ 11 w 107"/>
                  <a:gd name="T15" fmla="*/ 113 h 147"/>
                  <a:gd name="T16" fmla="*/ 18 w 107"/>
                  <a:gd name="T17" fmla="*/ 110 h 147"/>
                  <a:gd name="T18" fmla="*/ 29 w 107"/>
                  <a:gd name="T19" fmla="*/ 109 h 147"/>
                  <a:gd name="T20" fmla="*/ 36 w 107"/>
                  <a:gd name="T21" fmla="*/ 107 h 147"/>
                  <a:gd name="T22" fmla="*/ 50 w 107"/>
                  <a:gd name="T23" fmla="*/ 103 h 147"/>
                  <a:gd name="T24" fmla="*/ 58 w 107"/>
                  <a:gd name="T25" fmla="*/ 98 h 147"/>
                  <a:gd name="T26" fmla="*/ 59 w 107"/>
                  <a:gd name="T27" fmla="*/ 93 h 147"/>
                  <a:gd name="T28" fmla="*/ 61 w 107"/>
                  <a:gd name="T29" fmla="*/ 78 h 147"/>
                  <a:gd name="T30" fmla="*/ 54 w 107"/>
                  <a:gd name="T31" fmla="*/ 70 h 147"/>
                  <a:gd name="T32" fmla="*/ 52 w 107"/>
                  <a:gd name="T33" fmla="*/ 65 h 147"/>
                  <a:gd name="T34" fmla="*/ 55 w 107"/>
                  <a:gd name="T35" fmla="*/ 58 h 147"/>
                  <a:gd name="T36" fmla="*/ 59 w 107"/>
                  <a:gd name="T37" fmla="*/ 56 h 147"/>
                  <a:gd name="T38" fmla="*/ 59 w 107"/>
                  <a:gd name="T39" fmla="*/ 51 h 147"/>
                  <a:gd name="T40" fmla="*/ 59 w 107"/>
                  <a:gd name="T41" fmla="*/ 43 h 147"/>
                  <a:gd name="T42" fmla="*/ 37 w 107"/>
                  <a:gd name="T43" fmla="*/ 40 h 147"/>
                  <a:gd name="T44" fmla="*/ 36 w 107"/>
                  <a:gd name="T45" fmla="*/ 34 h 147"/>
                  <a:gd name="T46" fmla="*/ 36 w 107"/>
                  <a:gd name="T47" fmla="*/ 29 h 147"/>
                  <a:gd name="T48" fmla="*/ 43 w 107"/>
                  <a:gd name="T49" fmla="*/ 27 h 147"/>
                  <a:gd name="T50" fmla="*/ 69 w 107"/>
                  <a:gd name="T51" fmla="*/ 26 h 147"/>
                  <a:gd name="T52" fmla="*/ 88 w 107"/>
                  <a:gd name="T53" fmla="*/ 27 h 147"/>
                  <a:gd name="T54" fmla="*/ 85 w 107"/>
                  <a:gd name="T55" fmla="*/ 23 h 147"/>
                  <a:gd name="T56" fmla="*/ 88 w 107"/>
                  <a:gd name="T57" fmla="*/ 14 h 147"/>
                  <a:gd name="T58" fmla="*/ 95 w 107"/>
                  <a:gd name="T59" fmla="*/ 8 h 147"/>
                  <a:gd name="T60" fmla="*/ 99 w 107"/>
                  <a:gd name="T61" fmla="*/ 5 h 147"/>
                  <a:gd name="T62" fmla="*/ 103 w 107"/>
                  <a:gd name="T63" fmla="*/ 1 h 147"/>
                  <a:gd name="T64" fmla="*/ 105 w 107"/>
                  <a:gd name="T65" fmla="*/ 1 h 147"/>
                  <a:gd name="T66" fmla="*/ 106 w 107"/>
                  <a:gd name="T67" fmla="*/ 4 h 147"/>
                  <a:gd name="T68" fmla="*/ 107 w 107"/>
                  <a:gd name="T69" fmla="*/ 12 h 147"/>
                  <a:gd name="T70" fmla="*/ 106 w 107"/>
                  <a:gd name="T71" fmla="*/ 21 h 147"/>
                  <a:gd name="T72" fmla="*/ 103 w 107"/>
                  <a:gd name="T73" fmla="*/ 37 h 147"/>
                  <a:gd name="T74" fmla="*/ 103 w 107"/>
                  <a:gd name="T75" fmla="*/ 48 h 147"/>
                  <a:gd name="T76" fmla="*/ 103 w 107"/>
                  <a:gd name="T77" fmla="*/ 63 h 147"/>
                  <a:gd name="T78" fmla="*/ 99 w 107"/>
                  <a:gd name="T79" fmla="*/ 80 h 147"/>
                  <a:gd name="T80" fmla="*/ 95 w 107"/>
                  <a:gd name="T81" fmla="*/ 88 h 147"/>
                  <a:gd name="T82" fmla="*/ 87 w 107"/>
                  <a:gd name="T83" fmla="*/ 106 h 147"/>
                  <a:gd name="T84" fmla="*/ 80 w 107"/>
                  <a:gd name="T85" fmla="*/ 118 h 147"/>
                  <a:gd name="T86" fmla="*/ 79 w 107"/>
                  <a:gd name="T87" fmla="*/ 124 h 147"/>
                  <a:gd name="T88" fmla="*/ 74 w 107"/>
                  <a:gd name="T89" fmla="*/ 132 h 147"/>
                  <a:gd name="T90" fmla="*/ 69 w 107"/>
                  <a:gd name="T91" fmla="*/ 135 h 147"/>
                  <a:gd name="T92" fmla="*/ 62 w 107"/>
                  <a:gd name="T93" fmla="*/ 133 h 147"/>
                  <a:gd name="T94" fmla="*/ 52 w 107"/>
                  <a:gd name="T95" fmla="*/ 135 h 147"/>
                  <a:gd name="T96" fmla="*/ 43 w 107"/>
                  <a:gd name="T97" fmla="*/ 136 h 147"/>
                  <a:gd name="T98" fmla="*/ 40 w 107"/>
                  <a:gd name="T99" fmla="*/ 135 h 147"/>
                  <a:gd name="T100" fmla="*/ 29 w 107"/>
                  <a:gd name="T101" fmla="*/ 13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7" h="147">
                    <a:moveTo>
                      <a:pt x="14" y="144"/>
                    </a:moveTo>
                    <a:lnTo>
                      <a:pt x="14" y="144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5" y="147"/>
                    </a:lnTo>
                    <a:lnTo>
                      <a:pt x="15" y="146"/>
                    </a:lnTo>
                    <a:lnTo>
                      <a:pt x="15" y="146"/>
                    </a:lnTo>
                    <a:lnTo>
                      <a:pt x="14" y="144"/>
                    </a:lnTo>
                    <a:lnTo>
                      <a:pt x="2" y="131"/>
                    </a:lnTo>
                    <a:lnTo>
                      <a:pt x="0" y="125"/>
                    </a:lnTo>
                    <a:lnTo>
                      <a:pt x="0" y="125"/>
                    </a:lnTo>
                    <a:lnTo>
                      <a:pt x="2" y="124"/>
                    </a:lnTo>
                    <a:lnTo>
                      <a:pt x="3" y="124"/>
                    </a:lnTo>
                    <a:lnTo>
                      <a:pt x="3" y="122"/>
                    </a:lnTo>
                    <a:lnTo>
                      <a:pt x="4" y="121"/>
                    </a:lnTo>
                    <a:lnTo>
                      <a:pt x="6" y="120"/>
                    </a:lnTo>
                    <a:lnTo>
                      <a:pt x="7" y="118"/>
                    </a:lnTo>
                    <a:lnTo>
                      <a:pt x="8" y="118"/>
                    </a:lnTo>
                    <a:lnTo>
                      <a:pt x="8" y="117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10" y="114"/>
                    </a:lnTo>
                    <a:lnTo>
                      <a:pt x="11" y="113"/>
                    </a:lnTo>
                    <a:lnTo>
                      <a:pt x="13" y="111"/>
                    </a:lnTo>
                    <a:lnTo>
                      <a:pt x="15" y="111"/>
                    </a:lnTo>
                    <a:lnTo>
                      <a:pt x="18" y="110"/>
                    </a:lnTo>
                    <a:lnTo>
                      <a:pt x="22" y="109"/>
                    </a:lnTo>
                    <a:lnTo>
                      <a:pt x="26" y="100"/>
                    </a:lnTo>
                    <a:lnTo>
                      <a:pt x="29" y="109"/>
                    </a:lnTo>
                    <a:lnTo>
                      <a:pt x="29" y="109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40" y="106"/>
                    </a:lnTo>
                    <a:lnTo>
                      <a:pt x="46" y="104"/>
                    </a:lnTo>
                    <a:lnTo>
                      <a:pt x="50" y="103"/>
                    </a:lnTo>
                    <a:lnTo>
                      <a:pt x="54" y="102"/>
                    </a:lnTo>
                    <a:lnTo>
                      <a:pt x="58" y="99"/>
                    </a:lnTo>
                    <a:lnTo>
                      <a:pt x="58" y="98"/>
                    </a:lnTo>
                    <a:lnTo>
                      <a:pt x="58" y="98"/>
                    </a:lnTo>
                    <a:lnTo>
                      <a:pt x="59" y="96"/>
                    </a:lnTo>
                    <a:lnTo>
                      <a:pt x="59" y="93"/>
                    </a:lnTo>
                    <a:lnTo>
                      <a:pt x="61" y="89"/>
                    </a:lnTo>
                    <a:lnTo>
                      <a:pt x="61" y="85"/>
                    </a:lnTo>
                    <a:lnTo>
                      <a:pt x="61" y="78"/>
                    </a:lnTo>
                    <a:lnTo>
                      <a:pt x="61" y="71"/>
                    </a:lnTo>
                    <a:lnTo>
                      <a:pt x="54" y="71"/>
                    </a:lnTo>
                    <a:lnTo>
                      <a:pt x="54" y="70"/>
                    </a:lnTo>
                    <a:lnTo>
                      <a:pt x="52" y="69"/>
                    </a:lnTo>
                    <a:lnTo>
                      <a:pt x="52" y="67"/>
                    </a:lnTo>
                    <a:lnTo>
                      <a:pt x="52" y="65"/>
                    </a:lnTo>
                    <a:lnTo>
                      <a:pt x="52" y="62"/>
                    </a:lnTo>
                    <a:lnTo>
                      <a:pt x="54" y="59"/>
                    </a:lnTo>
                    <a:lnTo>
                      <a:pt x="55" y="58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59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37" y="40"/>
                    </a:lnTo>
                    <a:lnTo>
                      <a:pt x="37" y="40"/>
                    </a:lnTo>
                    <a:lnTo>
                      <a:pt x="36" y="38"/>
                    </a:lnTo>
                    <a:lnTo>
                      <a:pt x="36" y="37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6" y="30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7" y="27"/>
                    </a:lnTo>
                    <a:lnTo>
                      <a:pt x="43" y="27"/>
                    </a:lnTo>
                    <a:lnTo>
                      <a:pt x="51" y="27"/>
                    </a:lnTo>
                    <a:lnTo>
                      <a:pt x="61" y="26"/>
                    </a:lnTo>
                    <a:lnTo>
                      <a:pt x="69" y="26"/>
                    </a:lnTo>
                    <a:lnTo>
                      <a:pt x="79" y="26"/>
                    </a:lnTo>
                    <a:lnTo>
                      <a:pt x="84" y="26"/>
                    </a:lnTo>
                    <a:lnTo>
                      <a:pt x="88" y="27"/>
                    </a:lnTo>
                    <a:lnTo>
                      <a:pt x="87" y="26"/>
                    </a:lnTo>
                    <a:lnTo>
                      <a:pt x="87" y="25"/>
                    </a:lnTo>
                    <a:lnTo>
                      <a:pt x="85" y="23"/>
                    </a:lnTo>
                    <a:lnTo>
                      <a:pt x="85" y="21"/>
                    </a:lnTo>
                    <a:lnTo>
                      <a:pt x="85" y="16"/>
                    </a:lnTo>
                    <a:lnTo>
                      <a:pt x="88" y="14"/>
                    </a:lnTo>
                    <a:lnTo>
                      <a:pt x="91" y="11"/>
                    </a:lnTo>
                    <a:lnTo>
                      <a:pt x="95" y="8"/>
                    </a:lnTo>
                    <a:lnTo>
                      <a:pt x="95" y="8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9" y="5"/>
                    </a:lnTo>
                    <a:lnTo>
                      <a:pt x="101" y="4"/>
                    </a:lnTo>
                    <a:lnTo>
                      <a:pt x="102" y="3"/>
                    </a:lnTo>
                    <a:lnTo>
                      <a:pt x="103" y="1"/>
                    </a:lnTo>
                    <a:lnTo>
                      <a:pt x="103" y="0"/>
                    </a:lnTo>
                    <a:lnTo>
                      <a:pt x="105" y="0"/>
                    </a:lnTo>
                    <a:lnTo>
                      <a:pt x="105" y="1"/>
                    </a:lnTo>
                    <a:lnTo>
                      <a:pt x="105" y="1"/>
                    </a:lnTo>
                    <a:lnTo>
                      <a:pt x="106" y="3"/>
                    </a:lnTo>
                    <a:lnTo>
                      <a:pt x="106" y="4"/>
                    </a:lnTo>
                    <a:lnTo>
                      <a:pt x="107" y="5"/>
                    </a:lnTo>
                    <a:lnTo>
                      <a:pt x="107" y="8"/>
                    </a:lnTo>
                    <a:lnTo>
                      <a:pt x="107" y="12"/>
                    </a:lnTo>
                    <a:lnTo>
                      <a:pt x="107" y="14"/>
                    </a:lnTo>
                    <a:lnTo>
                      <a:pt x="106" y="16"/>
                    </a:lnTo>
                    <a:lnTo>
                      <a:pt x="106" y="21"/>
                    </a:lnTo>
                    <a:lnTo>
                      <a:pt x="105" y="26"/>
                    </a:lnTo>
                    <a:lnTo>
                      <a:pt x="105" y="32"/>
                    </a:lnTo>
                    <a:lnTo>
                      <a:pt x="103" y="37"/>
                    </a:lnTo>
                    <a:lnTo>
                      <a:pt x="103" y="43"/>
                    </a:lnTo>
                    <a:lnTo>
                      <a:pt x="103" y="47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103" y="56"/>
                    </a:lnTo>
                    <a:lnTo>
                      <a:pt x="103" y="63"/>
                    </a:lnTo>
                    <a:lnTo>
                      <a:pt x="102" y="69"/>
                    </a:lnTo>
                    <a:lnTo>
                      <a:pt x="101" y="74"/>
                    </a:lnTo>
                    <a:lnTo>
                      <a:pt x="99" y="80"/>
                    </a:lnTo>
                    <a:lnTo>
                      <a:pt x="96" y="82"/>
                    </a:lnTo>
                    <a:lnTo>
                      <a:pt x="96" y="84"/>
                    </a:lnTo>
                    <a:lnTo>
                      <a:pt x="95" y="88"/>
                    </a:lnTo>
                    <a:lnTo>
                      <a:pt x="92" y="93"/>
                    </a:lnTo>
                    <a:lnTo>
                      <a:pt x="90" y="99"/>
                    </a:lnTo>
                    <a:lnTo>
                      <a:pt x="87" y="106"/>
                    </a:lnTo>
                    <a:lnTo>
                      <a:pt x="84" y="111"/>
                    </a:lnTo>
                    <a:lnTo>
                      <a:pt x="83" y="115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0" y="121"/>
                    </a:lnTo>
                    <a:lnTo>
                      <a:pt x="79" y="124"/>
                    </a:lnTo>
                    <a:lnTo>
                      <a:pt x="77" y="126"/>
                    </a:lnTo>
                    <a:lnTo>
                      <a:pt x="76" y="129"/>
                    </a:lnTo>
                    <a:lnTo>
                      <a:pt x="74" y="132"/>
                    </a:lnTo>
                    <a:lnTo>
                      <a:pt x="72" y="135"/>
                    </a:lnTo>
                    <a:lnTo>
                      <a:pt x="69" y="136"/>
                    </a:lnTo>
                    <a:lnTo>
                      <a:pt x="69" y="135"/>
                    </a:lnTo>
                    <a:lnTo>
                      <a:pt x="66" y="135"/>
                    </a:lnTo>
                    <a:lnTo>
                      <a:pt x="65" y="135"/>
                    </a:lnTo>
                    <a:lnTo>
                      <a:pt x="62" y="133"/>
                    </a:lnTo>
                    <a:lnTo>
                      <a:pt x="58" y="133"/>
                    </a:lnTo>
                    <a:lnTo>
                      <a:pt x="55" y="133"/>
                    </a:lnTo>
                    <a:lnTo>
                      <a:pt x="52" y="135"/>
                    </a:lnTo>
                    <a:lnTo>
                      <a:pt x="51" y="136"/>
                    </a:lnTo>
                    <a:lnTo>
                      <a:pt x="46" y="139"/>
                    </a:lnTo>
                    <a:lnTo>
                      <a:pt x="43" y="136"/>
                    </a:lnTo>
                    <a:lnTo>
                      <a:pt x="43" y="136"/>
                    </a:lnTo>
                    <a:lnTo>
                      <a:pt x="41" y="135"/>
                    </a:lnTo>
                    <a:lnTo>
                      <a:pt x="40" y="135"/>
                    </a:lnTo>
                    <a:lnTo>
                      <a:pt x="39" y="135"/>
                    </a:lnTo>
                    <a:lnTo>
                      <a:pt x="35" y="135"/>
                    </a:lnTo>
                    <a:lnTo>
                      <a:pt x="29" y="136"/>
                    </a:lnTo>
                    <a:lnTo>
                      <a:pt x="24" y="140"/>
                    </a:lnTo>
                    <a:lnTo>
                      <a:pt x="14" y="14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2" name="Freeform 995"/>
              <p:cNvSpPr>
                <a:spLocks/>
              </p:cNvSpPr>
              <p:nvPr/>
            </p:nvSpPr>
            <p:spPr bwMode="auto">
              <a:xfrm>
                <a:off x="2875" y="2869"/>
                <a:ext cx="107" cy="147"/>
              </a:xfrm>
              <a:custGeom>
                <a:avLst/>
                <a:gdLst>
                  <a:gd name="T0" fmla="*/ 15 w 107"/>
                  <a:gd name="T1" fmla="*/ 147 h 147"/>
                  <a:gd name="T2" fmla="*/ 2 w 107"/>
                  <a:gd name="T3" fmla="*/ 131 h 147"/>
                  <a:gd name="T4" fmla="*/ 3 w 107"/>
                  <a:gd name="T5" fmla="*/ 124 h 147"/>
                  <a:gd name="T6" fmla="*/ 6 w 107"/>
                  <a:gd name="T7" fmla="*/ 120 h 147"/>
                  <a:gd name="T8" fmla="*/ 8 w 107"/>
                  <a:gd name="T9" fmla="*/ 117 h 147"/>
                  <a:gd name="T10" fmla="*/ 11 w 107"/>
                  <a:gd name="T11" fmla="*/ 113 h 147"/>
                  <a:gd name="T12" fmla="*/ 18 w 107"/>
                  <a:gd name="T13" fmla="*/ 110 h 147"/>
                  <a:gd name="T14" fmla="*/ 29 w 107"/>
                  <a:gd name="T15" fmla="*/ 109 h 147"/>
                  <a:gd name="T16" fmla="*/ 40 w 107"/>
                  <a:gd name="T17" fmla="*/ 106 h 147"/>
                  <a:gd name="T18" fmla="*/ 54 w 107"/>
                  <a:gd name="T19" fmla="*/ 102 h 147"/>
                  <a:gd name="T20" fmla="*/ 59 w 107"/>
                  <a:gd name="T21" fmla="*/ 96 h 147"/>
                  <a:gd name="T22" fmla="*/ 61 w 107"/>
                  <a:gd name="T23" fmla="*/ 85 h 147"/>
                  <a:gd name="T24" fmla="*/ 54 w 107"/>
                  <a:gd name="T25" fmla="*/ 71 h 147"/>
                  <a:gd name="T26" fmla="*/ 52 w 107"/>
                  <a:gd name="T27" fmla="*/ 67 h 147"/>
                  <a:gd name="T28" fmla="*/ 54 w 107"/>
                  <a:gd name="T29" fmla="*/ 59 h 147"/>
                  <a:gd name="T30" fmla="*/ 59 w 107"/>
                  <a:gd name="T31" fmla="*/ 58 h 147"/>
                  <a:gd name="T32" fmla="*/ 59 w 107"/>
                  <a:gd name="T33" fmla="*/ 52 h 147"/>
                  <a:gd name="T34" fmla="*/ 59 w 107"/>
                  <a:gd name="T35" fmla="*/ 44 h 147"/>
                  <a:gd name="T36" fmla="*/ 37 w 107"/>
                  <a:gd name="T37" fmla="*/ 40 h 147"/>
                  <a:gd name="T38" fmla="*/ 36 w 107"/>
                  <a:gd name="T39" fmla="*/ 34 h 147"/>
                  <a:gd name="T40" fmla="*/ 36 w 107"/>
                  <a:gd name="T41" fmla="*/ 29 h 147"/>
                  <a:gd name="T42" fmla="*/ 43 w 107"/>
                  <a:gd name="T43" fmla="*/ 27 h 147"/>
                  <a:gd name="T44" fmla="*/ 69 w 107"/>
                  <a:gd name="T45" fmla="*/ 26 h 147"/>
                  <a:gd name="T46" fmla="*/ 88 w 107"/>
                  <a:gd name="T47" fmla="*/ 27 h 147"/>
                  <a:gd name="T48" fmla="*/ 85 w 107"/>
                  <a:gd name="T49" fmla="*/ 23 h 147"/>
                  <a:gd name="T50" fmla="*/ 88 w 107"/>
                  <a:gd name="T51" fmla="*/ 14 h 147"/>
                  <a:gd name="T52" fmla="*/ 96 w 107"/>
                  <a:gd name="T53" fmla="*/ 7 h 147"/>
                  <a:gd name="T54" fmla="*/ 101 w 107"/>
                  <a:gd name="T55" fmla="*/ 4 h 147"/>
                  <a:gd name="T56" fmla="*/ 103 w 107"/>
                  <a:gd name="T57" fmla="*/ 0 h 147"/>
                  <a:gd name="T58" fmla="*/ 106 w 107"/>
                  <a:gd name="T59" fmla="*/ 3 h 147"/>
                  <a:gd name="T60" fmla="*/ 107 w 107"/>
                  <a:gd name="T61" fmla="*/ 8 h 147"/>
                  <a:gd name="T62" fmla="*/ 106 w 107"/>
                  <a:gd name="T63" fmla="*/ 16 h 147"/>
                  <a:gd name="T64" fmla="*/ 105 w 107"/>
                  <a:gd name="T65" fmla="*/ 32 h 147"/>
                  <a:gd name="T66" fmla="*/ 103 w 107"/>
                  <a:gd name="T67" fmla="*/ 47 h 147"/>
                  <a:gd name="T68" fmla="*/ 103 w 107"/>
                  <a:gd name="T69" fmla="*/ 56 h 147"/>
                  <a:gd name="T70" fmla="*/ 101 w 107"/>
                  <a:gd name="T71" fmla="*/ 74 h 147"/>
                  <a:gd name="T72" fmla="*/ 96 w 107"/>
                  <a:gd name="T73" fmla="*/ 84 h 147"/>
                  <a:gd name="T74" fmla="*/ 90 w 107"/>
                  <a:gd name="T75" fmla="*/ 99 h 147"/>
                  <a:gd name="T76" fmla="*/ 83 w 107"/>
                  <a:gd name="T77" fmla="*/ 115 h 147"/>
                  <a:gd name="T78" fmla="*/ 80 w 107"/>
                  <a:gd name="T79" fmla="*/ 121 h 147"/>
                  <a:gd name="T80" fmla="*/ 76 w 107"/>
                  <a:gd name="T81" fmla="*/ 129 h 147"/>
                  <a:gd name="T82" fmla="*/ 69 w 107"/>
                  <a:gd name="T83" fmla="*/ 136 h 147"/>
                  <a:gd name="T84" fmla="*/ 65 w 107"/>
                  <a:gd name="T85" fmla="*/ 135 h 147"/>
                  <a:gd name="T86" fmla="*/ 55 w 107"/>
                  <a:gd name="T87" fmla="*/ 133 h 147"/>
                  <a:gd name="T88" fmla="*/ 46 w 107"/>
                  <a:gd name="T89" fmla="*/ 139 h 147"/>
                  <a:gd name="T90" fmla="*/ 40 w 107"/>
                  <a:gd name="T91" fmla="*/ 135 h 147"/>
                  <a:gd name="T92" fmla="*/ 29 w 107"/>
                  <a:gd name="T93" fmla="*/ 13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7" h="147">
                    <a:moveTo>
                      <a:pt x="14" y="144"/>
                    </a:moveTo>
                    <a:lnTo>
                      <a:pt x="15" y="146"/>
                    </a:lnTo>
                    <a:lnTo>
                      <a:pt x="15" y="147"/>
                    </a:lnTo>
                    <a:lnTo>
                      <a:pt x="15" y="146"/>
                    </a:lnTo>
                    <a:lnTo>
                      <a:pt x="14" y="144"/>
                    </a:lnTo>
                    <a:lnTo>
                      <a:pt x="2" y="131"/>
                    </a:lnTo>
                    <a:lnTo>
                      <a:pt x="0" y="125"/>
                    </a:lnTo>
                    <a:lnTo>
                      <a:pt x="2" y="124"/>
                    </a:lnTo>
                    <a:lnTo>
                      <a:pt x="3" y="124"/>
                    </a:lnTo>
                    <a:lnTo>
                      <a:pt x="3" y="122"/>
                    </a:lnTo>
                    <a:lnTo>
                      <a:pt x="4" y="121"/>
                    </a:lnTo>
                    <a:lnTo>
                      <a:pt x="6" y="120"/>
                    </a:lnTo>
                    <a:lnTo>
                      <a:pt x="7" y="118"/>
                    </a:lnTo>
                    <a:lnTo>
                      <a:pt x="8" y="118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10" y="114"/>
                    </a:lnTo>
                    <a:lnTo>
                      <a:pt x="11" y="113"/>
                    </a:lnTo>
                    <a:lnTo>
                      <a:pt x="13" y="111"/>
                    </a:lnTo>
                    <a:lnTo>
                      <a:pt x="15" y="111"/>
                    </a:lnTo>
                    <a:lnTo>
                      <a:pt x="18" y="110"/>
                    </a:lnTo>
                    <a:lnTo>
                      <a:pt x="22" y="109"/>
                    </a:lnTo>
                    <a:lnTo>
                      <a:pt x="26" y="100"/>
                    </a:lnTo>
                    <a:lnTo>
                      <a:pt x="29" y="109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40" y="106"/>
                    </a:lnTo>
                    <a:lnTo>
                      <a:pt x="46" y="104"/>
                    </a:lnTo>
                    <a:lnTo>
                      <a:pt x="50" y="103"/>
                    </a:lnTo>
                    <a:lnTo>
                      <a:pt x="54" y="102"/>
                    </a:lnTo>
                    <a:lnTo>
                      <a:pt x="58" y="99"/>
                    </a:lnTo>
                    <a:lnTo>
                      <a:pt x="58" y="98"/>
                    </a:lnTo>
                    <a:lnTo>
                      <a:pt x="59" y="96"/>
                    </a:lnTo>
                    <a:lnTo>
                      <a:pt x="59" y="93"/>
                    </a:lnTo>
                    <a:lnTo>
                      <a:pt x="61" y="89"/>
                    </a:lnTo>
                    <a:lnTo>
                      <a:pt x="61" y="85"/>
                    </a:lnTo>
                    <a:lnTo>
                      <a:pt x="61" y="78"/>
                    </a:lnTo>
                    <a:lnTo>
                      <a:pt x="61" y="71"/>
                    </a:lnTo>
                    <a:lnTo>
                      <a:pt x="54" y="71"/>
                    </a:lnTo>
                    <a:lnTo>
                      <a:pt x="54" y="70"/>
                    </a:lnTo>
                    <a:lnTo>
                      <a:pt x="52" y="69"/>
                    </a:lnTo>
                    <a:lnTo>
                      <a:pt x="52" y="67"/>
                    </a:lnTo>
                    <a:lnTo>
                      <a:pt x="52" y="65"/>
                    </a:lnTo>
                    <a:lnTo>
                      <a:pt x="52" y="62"/>
                    </a:lnTo>
                    <a:lnTo>
                      <a:pt x="54" y="59"/>
                    </a:lnTo>
                    <a:lnTo>
                      <a:pt x="55" y="58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59" y="51"/>
                    </a:lnTo>
                    <a:lnTo>
                      <a:pt x="61" y="47"/>
                    </a:lnTo>
                    <a:lnTo>
                      <a:pt x="59" y="44"/>
                    </a:lnTo>
                    <a:lnTo>
                      <a:pt x="59" y="43"/>
                    </a:lnTo>
                    <a:lnTo>
                      <a:pt x="59" y="41"/>
                    </a:lnTo>
                    <a:lnTo>
                      <a:pt x="37" y="40"/>
                    </a:lnTo>
                    <a:lnTo>
                      <a:pt x="36" y="38"/>
                    </a:lnTo>
                    <a:lnTo>
                      <a:pt x="36" y="37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6" y="30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7" y="27"/>
                    </a:lnTo>
                    <a:lnTo>
                      <a:pt x="43" y="27"/>
                    </a:lnTo>
                    <a:lnTo>
                      <a:pt x="51" y="27"/>
                    </a:lnTo>
                    <a:lnTo>
                      <a:pt x="61" y="26"/>
                    </a:lnTo>
                    <a:lnTo>
                      <a:pt x="69" y="26"/>
                    </a:lnTo>
                    <a:lnTo>
                      <a:pt x="79" y="26"/>
                    </a:lnTo>
                    <a:lnTo>
                      <a:pt x="84" y="26"/>
                    </a:lnTo>
                    <a:lnTo>
                      <a:pt x="88" y="27"/>
                    </a:lnTo>
                    <a:lnTo>
                      <a:pt x="87" y="26"/>
                    </a:lnTo>
                    <a:lnTo>
                      <a:pt x="87" y="25"/>
                    </a:lnTo>
                    <a:lnTo>
                      <a:pt x="85" y="23"/>
                    </a:lnTo>
                    <a:lnTo>
                      <a:pt x="85" y="21"/>
                    </a:lnTo>
                    <a:lnTo>
                      <a:pt x="85" y="16"/>
                    </a:lnTo>
                    <a:lnTo>
                      <a:pt x="88" y="14"/>
                    </a:lnTo>
                    <a:lnTo>
                      <a:pt x="91" y="11"/>
                    </a:lnTo>
                    <a:lnTo>
                      <a:pt x="95" y="8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99" y="5"/>
                    </a:lnTo>
                    <a:lnTo>
                      <a:pt x="101" y="4"/>
                    </a:lnTo>
                    <a:lnTo>
                      <a:pt x="102" y="3"/>
                    </a:lnTo>
                    <a:lnTo>
                      <a:pt x="103" y="1"/>
                    </a:lnTo>
                    <a:lnTo>
                      <a:pt x="103" y="0"/>
                    </a:lnTo>
                    <a:lnTo>
                      <a:pt x="105" y="0"/>
                    </a:lnTo>
                    <a:lnTo>
                      <a:pt x="105" y="1"/>
                    </a:lnTo>
                    <a:lnTo>
                      <a:pt x="106" y="3"/>
                    </a:lnTo>
                    <a:lnTo>
                      <a:pt x="106" y="4"/>
                    </a:lnTo>
                    <a:lnTo>
                      <a:pt x="107" y="5"/>
                    </a:lnTo>
                    <a:lnTo>
                      <a:pt x="107" y="8"/>
                    </a:lnTo>
                    <a:lnTo>
                      <a:pt x="107" y="12"/>
                    </a:lnTo>
                    <a:lnTo>
                      <a:pt x="107" y="14"/>
                    </a:lnTo>
                    <a:lnTo>
                      <a:pt x="106" y="16"/>
                    </a:lnTo>
                    <a:lnTo>
                      <a:pt x="106" y="21"/>
                    </a:lnTo>
                    <a:lnTo>
                      <a:pt x="105" y="26"/>
                    </a:lnTo>
                    <a:lnTo>
                      <a:pt x="105" y="32"/>
                    </a:lnTo>
                    <a:lnTo>
                      <a:pt x="103" y="37"/>
                    </a:lnTo>
                    <a:lnTo>
                      <a:pt x="103" y="43"/>
                    </a:lnTo>
                    <a:lnTo>
                      <a:pt x="103" y="47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103" y="56"/>
                    </a:lnTo>
                    <a:lnTo>
                      <a:pt x="103" y="63"/>
                    </a:lnTo>
                    <a:lnTo>
                      <a:pt x="102" y="69"/>
                    </a:lnTo>
                    <a:lnTo>
                      <a:pt x="101" y="74"/>
                    </a:lnTo>
                    <a:lnTo>
                      <a:pt x="99" y="80"/>
                    </a:lnTo>
                    <a:lnTo>
                      <a:pt x="96" y="82"/>
                    </a:lnTo>
                    <a:lnTo>
                      <a:pt x="96" y="84"/>
                    </a:lnTo>
                    <a:lnTo>
                      <a:pt x="95" y="88"/>
                    </a:lnTo>
                    <a:lnTo>
                      <a:pt x="92" y="93"/>
                    </a:lnTo>
                    <a:lnTo>
                      <a:pt x="90" y="99"/>
                    </a:lnTo>
                    <a:lnTo>
                      <a:pt x="87" y="106"/>
                    </a:lnTo>
                    <a:lnTo>
                      <a:pt x="84" y="111"/>
                    </a:lnTo>
                    <a:lnTo>
                      <a:pt x="83" y="115"/>
                    </a:lnTo>
                    <a:lnTo>
                      <a:pt x="80" y="118"/>
                    </a:lnTo>
                    <a:lnTo>
                      <a:pt x="80" y="120"/>
                    </a:lnTo>
                    <a:lnTo>
                      <a:pt x="80" y="121"/>
                    </a:lnTo>
                    <a:lnTo>
                      <a:pt x="79" y="124"/>
                    </a:lnTo>
                    <a:lnTo>
                      <a:pt x="77" y="126"/>
                    </a:lnTo>
                    <a:lnTo>
                      <a:pt x="76" y="129"/>
                    </a:lnTo>
                    <a:lnTo>
                      <a:pt x="74" y="132"/>
                    </a:lnTo>
                    <a:lnTo>
                      <a:pt x="72" y="135"/>
                    </a:lnTo>
                    <a:lnTo>
                      <a:pt x="69" y="136"/>
                    </a:lnTo>
                    <a:lnTo>
                      <a:pt x="69" y="135"/>
                    </a:lnTo>
                    <a:lnTo>
                      <a:pt x="66" y="135"/>
                    </a:lnTo>
                    <a:lnTo>
                      <a:pt x="65" y="135"/>
                    </a:lnTo>
                    <a:lnTo>
                      <a:pt x="62" y="133"/>
                    </a:lnTo>
                    <a:lnTo>
                      <a:pt x="58" y="133"/>
                    </a:lnTo>
                    <a:lnTo>
                      <a:pt x="55" y="133"/>
                    </a:lnTo>
                    <a:lnTo>
                      <a:pt x="52" y="135"/>
                    </a:lnTo>
                    <a:lnTo>
                      <a:pt x="51" y="136"/>
                    </a:lnTo>
                    <a:lnTo>
                      <a:pt x="46" y="139"/>
                    </a:lnTo>
                    <a:lnTo>
                      <a:pt x="43" y="136"/>
                    </a:lnTo>
                    <a:lnTo>
                      <a:pt x="41" y="135"/>
                    </a:lnTo>
                    <a:lnTo>
                      <a:pt x="40" y="135"/>
                    </a:lnTo>
                    <a:lnTo>
                      <a:pt x="39" y="135"/>
                    </a:lnTo>
                    <a:lnTo>
                      <a:pt x="35" y="135"/>
                    </a:lnTo>
                    <a:lnTo>
                      <a:pt x="29" y="136"/>
                    </a:lnTo>
                    <a:lnTo>
                      <a:pt x="24" y="140"/>
                    </a:lnTo>
                    <a:lnTo>
                      <a:pt x="14" y="14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3" name="Freeform 996"/>
              <p:cNvSpPr>
                <a:spLocks/>
              </p:cNvSpPr>
              <p:nvPr/>
            </p:nvSpPr>
            <p:spPr bwMode="auto">
              <a:xfrm>
                <a:off x="2889" y="3037"/>
                <a:ext cx="155" cy="185"/>
              </a:xfrm>
              <a:custGeom>
                <a:avLst/>
                <a:gdLst>
                  <a:gd name="T0" fmla="*/ 27 w 155"/>
                  <a:gd name="T1" fmla="*/ 2 h 185"/>
                  <a:gd name="T2" fmla="*/ 37 w 155"/>
                  <a:gd name="T3" fmla="*/ 1 h 185"/>
                  <a:gd name="T4" fmla="*/ 49 w 155"/>
                  <a:gd name="T5" fmla="*/ 0 h 185"/>
                  <a:gd name="T6" fmla="*/ 60 w 155"/>
                  <a:gd name="T7" fmla="*/ 0 h 185"/>
                  <a:gd name="T8" fmla="*/ 66 w 155"/>
                  <a:gd name="T9" fmla="*/ 0 h 185"/>
                  <a:gd name="T10" fmla="*/ 100 w 155"/>
                  <a:gd name="T11" fmla="*/ 31 h 185"/>
                  <a:gd name="T12" fmla="*/ 102 w 155"/>
                  <a:gd name="T13" fmla="*/ 26 h 185"/>
                  <a:gd name="T14" fmla="*/ 103 w 155"/>
                  <a:gd name="T15" fmla="*/ 22 h 185"/>
                  <a:gd name="T16" fmla="*/ 104 w 155"/>
                  <a:gd name="T17" fmla="*/ 18 h 185"/>
                  <a:gd name="T18" fmla="*/ 104 w 155"/>
                  <a:gd name="T19" fmla="*/ 16 h 185"/>
                  <a:gd name="T20" fmla="*/ 121 w 155"/>
                  <a:gd name="T21" fmla="*/ 20 h 185"/>
                  <a:gd name="T22" fmla="*/ 132 w 155"/>
                  <a:gd name="T23" fmla="*/ 24 h 185"/>
                  <a:gd name="T24" fmla="*/ 132 w 155"/>
                  <a:gd name="T25" fmla="*/ 33 h 185"/>
                  <a:gd name="T26" fmla="*/ 133 w 155"/>
                  <a:gd name="T27" fmla="*/ 41 h 185"/>
                  <a:gd name="T28" fmla="*/ 135 w 155"/>
                  <a:gd name="T29" fmla="*/ 45 h 185"/>
                  <a:gd name="T30" fmla="*/ 136 w 155"/>
                  <a:gd name="T31" fmla="*/ 49 h 185"/>
                  <a:gd name="T32" fmla="*/ 138 w 155"/>
                  <a:gd name="T33" fmla="*/ 57 h 185"/>
                  <a:gd name="T34" fmla="*/ 136 w 155"/>
                  <a:gd name="T35" fmla="*/ 66 h 185"/>
                  <a:gd name="T36" fmla="*/ 135 w 155"/>
                  <a:gd name="T37" fmla="*/ 71 h 185"/>
                  <a:gd name="T38" fmla="*/ 151 w 155"/>
                  <a:gd name="T39" fmla="*/ 73 h 185"/>
                  <a:gd name="T40" fmla="*/ 151 w 155"/>
                  <a:gd name="T41" fmla="*/ 77 h 185"/>
                  <a:gd name="T42" fmla="*/ 151 w 155"/>
                  <a:gd name="T43" fmla="*/ 86 h 185"/>
                  <a:gd name="T44" fmla="*/ 151 w 155"/>
                  <a:gd name="T45" fmla="*/ 97 h 185"/>
                  <a:gd name="T46" fmla="*/ 151 w 155"/>
                  <a:gd name="T47" fmla="*/ 106 h 185"/>
                  <a:gd name="T48" fmla="*/ 132 w 155"/>
                  <a:gd name="T49" fmla="*/ 160 h 185"/>
                  <a:gd name="T50" fmla="*/ 133 w 155"/>
                  <a:gd name="T51" fmla="*/ 162 h 185"/>
                  <a:gd name="T52" fmla="*/ 136 w 155"/>
                  <a:gd name="T53" fmla="*/ 167 h 185"/>
                  <a:gd name="T54" fmla="*/ 143 w 155"/>
                  <a:gd name="T55" fmla="*/ 174 h 185"/>
                  <a:gd name="T56" fmla="*/ 155 w 155"/>
                  <a:gd name="T57" fmla="*/ 180 h 185"/>
                  <a:gd name="T58" fmla="*/ 151 w 155"/>
                  <a:gd name="T59" fmla="*/ 180 h 185"/>
                  <a:gd name="T60" fmla="*/ 140 w 155"/>
                  <a:gd name="T61" fmla="*/ 181 h 185"/>
                  <a:gd name="T62" fmla="*/ 129 w 155"/>
                  <a:gd name="T63" fmla="*/ 184 h 185"/>
                  <a:gd name="T64" fmla="*/ 121 w 155"/>
                  <a:gd name="T65" fmla="*/ 185 h 185"/>
                  <a:gd name="T66" fmla="*/ 117 w 155"/>
                  <a:gd name="T67" fmla="*/ 185 h 185"/>
                  <a:gd name="T68" fmla="*/ 107 w 155"/>
                  <a:gd name="T69" fmla="*/ 184 h 185"/>
                  <a:gd name="T70" fmla="*/ 96 w 155"/>
                  <a:gd name="T71" fmla="*/ 182 h 185"/>
                  <a:gd name="T72" fmla="*/ 89 w 155"/>
                  <a:gd name="T73" fmla="*/ 178 h 185"/>
                  <a:gd name="T74" fmla="*/ 37 w 155"/>
                  <a:gd name="T75" fmla="*/ 178 h 185"/>
                  <a:gd name="T76" fmla="*/ 33 w 155"/>
                  <a:gd name="T77" fmla="*/ 178 h 185"/>
                  <a:gd name="T78" fmla="*/ 29 w 155"/>
                  <a:gd name="T79" fmla="*/ 177 h 185"/>
                  <a:gd name="T80" fmla="*/ 25 w 155"/>
                  <a:gd name="T81" fmla="*/ 174 h 185"/>
                  <a:gd name="T82" fmla="*/ 22 w 155"/>
                  <a:gd name="T83" fmla="*/ 171 h 185"/>
                  <a:gd name="T84" fmla="*/ 19 w 155"/>
                  <a:gd name="T85" fmla="*/ 170 h 185"/>
                  <a:gd name="T86" fmla="*/ 14 w 155"/>
                  <a:gd name="T87" fmla="*/ 169 h 185"/>
                  <a:gd name="T88" fmla="*/ 4 w 155"/>
                  <a:gd name="T89" fmla="*/ 169 h 185"/>
                  <a:gd name="T90" fmla="*/ 0 w 155"/>
                  <a:gd name="T91" fmla="*/ 169 h 185"/>
                  <a:gd name="T92" fmla="*/ 3 w 155"/>
                  <a:gd name="T93" fmla="*/ 156 h 185"/>
                  <a:gd name="T94" fmla="*/ 8 w 155"/>
                  <a:gd name="T95" fmla="*/ 138 h 185"/>
                  <a:gd name="T96" fmla="*/ 11 w 155"/>
                  <a:gd name="T97" fmla="*/ 123 h 185"/>
                  <a:gd name="T98" fmla="*/ 12 w 155"/>
                  <a:gd name="T99" fmla="*/ 118 h 185"/>
                  <a:gd name="T100" fmla="*/ 14 w 155"/>
                  <a:gd name="T101" fmla="*/ 111 h 185"/>
                  <a:gd name="T102" fmla="*/ 18 w 155"/>
                  <a:gd name="T103" fmla="*/ 100 h 185"/>
                  <a:gd name="T104" fmla="*/ 25 w 155"/>
                  <a:gd name="T105" fmla="*/ 88 h 185"/>
                  <a:gd name="T106" fmla="*/ 29 w 155"/>
                  <a:gd name="T107" fmla="*/ 82 h 185"/>
                  <a:gd name="T108" fmla="*/ 32 w 155"/>
                  <a:gd name="T109" fmla="*/ 79 h 185"/>
                  <a:gd name="T110" fmla="*/ 33 w 155"/>
                  <a:gd name="T111" fmla="*/ 71 h 185"/>
                  <a:gd name="T112" fmla="*/ 30 w 155"/>
                  <a:gd name="T113" fmla="*/ 56 h 185"/>
                  <a:gd name="T114" fmla="*/ 16 w 155"/>
                  <a:gd name="T115" fmla="*/ 19 h 185"/>
                  <a:gd name="T116" fmla="*/ 5 w 155"/>
                  <a:gd name="T117" fmla="*/ 5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5" h="185">
                    <a:moveTo>
                      <a:pt x="5" y="5"/>
                    </a:moveTo>
                    <a:lnTo>
                      <a:pt x="27" y="2"/>
                    </a:lnTo>
                    <a:lnTo>
                      <a:pt x="32" y="2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9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76" y="29"/>
                    </a:lnTo>
                    <a:lnTo>
                      <a:pt x="100" y="31"/>
                    </a:lnTo>
                    <a:lnTo>
                      <a:pt x="102" y="29"/>
                    </a:lnTo>
                    <a:lnTo>
                      <a:pt x="102" y="26"/>
                    </a:lnTo>
                    <a:lnTo>
                      <a:pt x="102" y="23"/>
                    </a:lnTo>
                    <a:lnTo>
                      <a:pt x="103" y="22"/>
                    </a:lnTo>
                    <a:lnTo>
                      <a:pt x="103" y="19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120" y="15"/>
                    </a:lnTo>
                    <a:lnTo>
                      <a:pt x="121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2" y="29"/>
                    </a:lnTo>
                    <a:lnTo>
                      <a:pt x="132" y="33"/>
                    </a:lnTo>
                    <a:lnTo>
                      <a:pt x="132" y="37"/>
                    </a:lnTo>
                    <a:lnTo>
                      <a:pt x="133" y="41"/>
                    </a:lnTo>
                    <a:lnTo>
                      <a:pt x="133" y="44"/>
                    </a:lnTo>
                    <a:lnTo>
                      <a:pt x="135" y="45"/>
                    </a:lnTo>
                    <a:lnTo>
                      <a:pt x="135" y="45"/>
                    </a:lnTo>
                    <a:lnTo>
                      <a:pt x="136" y="49"/>
                    </a:lnTo>
                    <a:lnTo>
                      <a:pt x="138" y="53"/>
                    </a:lnTo>
                    <a:lnTo>
                      <a:pt x="138" y="57"/>
                    </a:lnTo>
                    <a:lnTo>
                      <a:pt x="138" y="62"/>
                    </a:lnTo>
                    <a:lnTo>
                      <a:pt x="136" y="66"/>
                    </a:lnTo>
                    <a:lnTo>
                      <a:pt x="136" y="70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51" y="73"/>
                    </a:lnTo>
                    <a:lnTo>
                      <a:pt x="151" y="74"/>
                    </a:lnTo>
                    <a:lnTo>
                      <a:pt x="151" y="77"/>
                    </a:lnTo>
                    <a:lnTo>
                      <a:pt x="151" y="82"/>
                    </a:lnTo>
                    <a:lnTo>
                      <a:pt x="151" y="86"/>
                    </a:lnTo>
                    <a:lnTo>
                      <a:pt x="151" y="93"/>
                    </a:lnTo>
                    <a:lnTo>
                      <a:pt x="151" y="97"/>
                    </a:lnTo>
                    <a:lnTo>
                      <a:pt x="151" y="103"/>
                    </a:lnTo>
                    <a:lnTo>
                      <a:pt x="151" y="106"/>
                    </a:lnTo>
                    <a:lnTo>
                      <a:pt x="132" y="106"/>
                    </a:lnTo>
                    <a:lnTo>
                      <a:pt x="132" y="160"/>
                    </a:lnTo>
                    <a:lnTo>
                      <a:pt x="132" y="160"/>
                    </a:lnTo>
                    <a:lnTo>
                      <a:pt x="133" y="162"/>
                    </a:lnTo>
                    <a:lnTo>
                      <a:pt x="135" y="165"/>
                    </a:lnTo>
                    <a:lnTo>
                      <a:pt x="136" y="167"/>
                    </a:lnTo>
                    <a:lnTo>
                      <a:pt x="139" y="170"/>
                    </a:lnTo>
                    <a:lnTo>
                      <a:pt x="143" y="174"/>
                    </a:lnTo>
                    <a:lnTo>
                      <a:pt x="149" y="177"/>
                    </a:lnTo>
                    <a:lnTo>
                      <a:pt x="155" y="180"/>
                    </a:lnTo>
                    <a:lnTo>
                      <a:pt x="154" y="180"/>
                    </a:lnTo>
                    <a:lnTo>
                      <a:pt x="151" y="180"/>
                    </a:lnTo>
                    <a:lnTo>
                      <a:pt x="146" y="181"/>
                    </a:lnTo>
                    <a:lnTo>
                      <a:pt x="140" y="181"/>
                    </a:lnTo>
                    <a:lnTo>
                      <a:pt x="135" y="182"/>
                    </a:lnTo>
                    <a:lnTo>
                      <a:pt x="129" y="184"/>
                    </a:lnTo>
                    <a:lnTo>
                      <a:pt x="124" y="184"/>
                    </a:lnTo>
                    <a:lnTo>
                      <a:pt x="121" y="185"/>
                    </a:lnTo>
                    <a:lnTo>
                      <a:pt x="120" y="185"/>
                    </a:lnTo>
                    <a:lnTo>
                      <a:pt x="117" y="185"/>
                    </a:lnTo>
                    <a:lnTo>
                      <a:pt x="111" y="184"/>
                    </a:lnTo>
                    <a:lnTo>
                      <a:pt x="107" y="184"/>
                    </a:lnTo>
                    <a:lnTo>
                      <a:pt x="102" y="182"/>
                    </a:lnTo>
                    <a:lnTo>
                      <a:pt x="96" y="182"/>
                    </a:lnTo>
                    <a:lnTo>
                      <a:pt x="92" y="181"/>
                    </a:lnTo>
                    <a:lnTo>
                      <a:pt x="89" y="178"/>
                    </a:lnTo>
                    <a:lnTo>
                      <a:pt x="37" y="178"/>
                    </a:lnTo>
                    <a:lnTo>
                      <a:pt x="37" y="178"/>
                    </a:lnTo>
                    <a:lnTo>
                      <a:pt x="36" y="178"/>
                    </a:lnTo>
                    <a:lnTo>
                      <a:pt x="33" y="178"/>
                    </a:lnTo>
                    <a:lnTo>
                      <a:pt x="32" y="178"/>
                    </a:lnTo>
                    <a:lnTo>
                      <a:pt x="29" y="177"/>
                    </a:lnTo>
                    <a:lnTo>
                      <a:pt x="26" y="176"/>
                    </a:lnTo>
                    <a:lnTo>
                      <a:pt x="25" y="174"/>
                    </a:lnTo>
                    <a:lnTo>
                      <a:pt x="23" y="171"/>
                    </a:lnTo>
                    <a:lnTo>
                      <a:pt x="22" y="171"/>
                    </a:lnTo>
                    <a:lnTo>
                      <a:pt x="21" y="170"/>
                    </a:lnTo>
                    <a:lnTo>
                      <a:pt x="19" y="170"/>
                    </a:lnTo>
                    <a:lnTo>
                      <a:pt x="16" y="169"/>
                    </a:lnTo>
                    <a:lnTo>
                      <a:pt x="14" y="169"/>
                    </a:lnTo>
                    <a:lnTo>
                      <a:pt x="10" y="169"/>
                    </a:lnTo>
                    <a:lnTo>
                      <a:pt x="4" y="169"/>
                    </a:lnTo>
                    <a:lnTo>
                      <a:pt x="0" y="170"/>
                    </a:lnTo>
                    <a:lnTo>
                      <a:pt x="0" y="169"/>
                    </a:lnTo>
                    <a:lnTo>
                      <a:pt x="1" y="163"/>
                    </a:lnTo>
                    <a:lnTo>
                      <a:pt x="3" y="156"/>
                    </a:lnTo>
                    <a:lnTo>
                      <a:pt x="5" y="148"/>
                    </a:lnTo>
                    <a:lnTo>
                      <a:pt x="8" y="138"/>
                    </a:lnTo>
                    <a:lnTo>
                      <a:pt x="10" y="130"/>
                    </a:lnTo>
                    <a:lnTo>
                      <a:pt x="11" y="123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2" y="115"/>
                    </a:lnTo>
                    <a:lnTo>
                      <a:pt x="14" y="111"/>
                    </a:lnTo>
                    <a:lnTo>
                      <a:pt x="15" y="106"/>
                    </a:lnTo>
                    <a:lnTo>
                      <a:pt x="18" y="100"/>
                    </a:lnTo>
                    <a:lnTo>
                      <a:pt x="21" y="95"/>
                    </a:lnTo>
                    <a:lnTo>
                      <a:pt x="25" y="88"/>
                    </a:lnTo>
                    <a:lnTo>
                      <a:pt x="29" y="82"/>
                    </a:lnTo>
                    <a:lnTo>
                      <a:pt x="29" y="82"/>
                    </a:lnTo>
                    <a:lnTo>
                      <a:pt x="30" y="81"/>
                    </a:lnTo>
                    <a:lnTo>
                      <a:pt x="32" y="79"/>
                    </a:lnTo>
                    <a:lnTo>
                      <a:pt x="33" y="77"/>
                    </a:lnTo>
                    <a:lnTo>
                      <a:pt x="33" y="71"/>
                    </a:lnTo>
                    <a:lnTo>
                      <a:pt x="33" y="66"/>
                    </a:lnTo>
                    <a:lnTo>
                      <a:pt x="30" y="56"/>
                    </a:lnTo>
                    <a:lnTo>
                      <a:pt x="27" y="45"/>
                    </a:lnTo>
                    <a:lnTo>
                      <a:pt x="16" y="19"/>
                    </a:lnTo>
                    <a:lnTo>
                      <a:pt x="7" y="12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4" name="Freeform 997"/>
              <p:cNvSpPr>
                <a:spLocks/>
              </p:cNvSpPr>
              <p:nvPr/>
            </p:nvSpPr>
            <p:spPr bwMode="auto">
              <a:xfrm>
                <a:off x="2889" y="3037"/>
                <a:ext cx="155" cy="185"/>
              </a:xfrm>
              <a:custGeom>
                <a:avLst/>
                <a:gdLst>
                  <a:gd name="T0" fmla="*/ 27 w 155"/>
                  <a:gd name="T1" fmla="*/ 2 h 185"/>
                  <a:gd name="T2" fmla="*/ 37 w 155"/>
                  <a:gd name="T3" fmla="*/ 1 h 185"/>
                  <a:gd name="T4" fmla="*/ 49 w 155"/>
                  <a:gd name="T5" fmla="*/ 0 h 185"/>
                  <a:gd name="T6" fmla="*/ 60 w 155"/>
                  <a:gd name="T7" fmla="*/ 0 h 185"/>
                  <a:gd name="T8" fmla="*/ 66 w 155"/>
                  <a:gd name="T9" fmla="*/ 0 h 185"/>
                  <a:gd name="T10" fmla="*/ 100 w 155"/>
                  <a:gd name="T11" fmla="*/ 31 h 185"/>
                  <a:gd name="T12" fmla="*/ 102 w 155"/>
                  <a:gd name="T13" fmla="*/ 26 h 185"/>
                  <a:gd name="T14" fmla="*/ 103 w 155"/>
                  <a:gd name="T15" fmla="*/ 22 h 185"/>
                  <a:gd name="T16" fmla="*/ 104 w 155"/>
                  <a:gd name="T17" fmla="*/ 18 h 185"/>
                  <a:gd name="T18" fmla="*/ 120 w 155"/>
                  <a:gd name="T19" fmla="*/ 15 h 185"/>
                  <a:gd name="T20" fmla="*/ 132 w 155"/>
                  <a:gd name="T21" fmla="*/ 20 h 185"/>
                  <a:gd name="T22" fmla="*/ 132 w 155"/>
                  <a:gd name="T23" fmla="*/ 29 h 185"/>
                  <a:gd name="T24" fmla="*/ 132 w 155"/>
                  <a:gd name="T25" fmla="*/ 37 h 185"/>
                  <a:gd name="T26" fmla="*/ 133 w 155"/>
                  <a:gd name="T27" fmla="*/ 44 h 185"/>
                  <a:gd name="T28" fmla="*/ 136 w 155"/>
                  <a:gd name="T29" fmla="*/ 49 h 185"/>
                  <a:gd name="T30" fmla="*/ 138 w 155"/>
                  <a:gd name="T31" fmla="*/ 57 h 185"/>
                  <a:gd name="T32" fmla="*/ 136 w 155"/>
                  <a:gd name="T33" fmla="*/ 66 h 185"/>
                  <a:gd name="T34" fmla="*/ 135 w 155"/>
                  <a:gd name="T35" fmla="*/ 71 h 185"/>
                  <a:gd name="T36" fmla="*/ 151 w 155"/>
                  <a:gd name="T37" fmla="*/ 73 h 185"/>
                  <a:gd name="T38" fmla="*/ 151 w 155"/>
                  <a:gd name="T39" fmla="*/ 77 h 185"/>
                  <a:gd name="T40" fmla="*/ 151 w 155"/>
                  <a:gd name="T41" fmla="*/ 86 h 185"/>
                  <a:gd name="T42" fmla="*/ 151 w 155"/>
                  <a:gd name="T43" fmla="*/ 97 h 185"/>
                  <a:gd name="T44" fmla="*/ 151 w 155"/>
                  <a:gd name="T45" fmla="*/ 106 h 185"/>
                  <a:gd name="T46" fmla="*/ 132 w 155"/>
                  <a:gd name="T47" fmla="*/ 160 h 185"/>
                  <a:gd name="T48" fmla="*/ 135 w 155"/>
                  <a:gd name="T49" fmla="*/ 165 h 185"/>
                  <a:gd name="T50" fmla="*/ 139 w 155"/>
                  <a:gd name="T51" fmla="*/ 170 h 185"/>
                  <a:gd name="T52" fmla="*/ 149 w 155"/>
                  <a:gd name="T53" fmla="*/ 177 h 185"/>
                  <a:gd name="T54" fmla="*/ 154 w 155"/>
                  <a:gd name="T55" fmla="*/ 180 h 185"/>
                  <a:gd name="T56" fmla="*/ 146 w 155"/>
                  <a:gd name="T57" fmla="*/ 181 h 185"/>
                  <a:gd name="T58" fmla="*/ 135 w 155"/>
                  <a:gd name="T59" fmla="*/ 182 h 185"/>
                  <a:gd name="T60" fmla="*/ 124 w 155"/>
                  <a:gd name="T61" fmla="*/ 184 h 185"/>
                  <a:gd name="T62" fmla="*/ 120 w 155"/>
                  <a:gd name="T63" fmla="*/ 185 h 185"/>
                  <a:gd name="T64" fmla="*/ 111 w 155"/>
                  <a:gd name="T65" fmla="*/ 184 h 185"/>
                  <a:gd name="T66" fmla="*/ 102 w 155"/>
                  <a:gd name="T67" fmla="*/ 182 h 185"/>
                  <a:gd name="T68" fmla="*/ 92 w 155"/>
                  <a:gd name="T69" fmla="*/ 181 h 185"/>
                  <a:gd name="T70" fmla="*/ 37 w 155"/>
                  <a:gd name="T71" fmla="*/ 178 h 185"/>
                  <a:gd name="T72" fmla="*/ 33 w 155"/>
                  <a:gd name="T73" fmla="*/ 178 h 185"/>
                  <a:gd name="T74" fmla="*/ 29 w 155"/>
                  <a:gd name="T75" fmla="*/ 177 h 185"/>
                  <a:gd name="T76" fmla="*/ 25 w 155"/>
                  <a:gd name="T77" fmla="*/ 174 h 185"/>
                  <a:gd name="T78" fmla="*/ 22 w 155"/>
                  <a:gd name="T79" fmla="*/ 171 h 185"/>
                  <a:gd name="T80" fmla="*/ 19 w 155"/>
                  <a:gd name="T81" fmla="*/ 170 h 185"/>
                  <a:gd name="T82" fmla="*/ 14 w 155"/>
                  <a:gd name="T83" fmla="*/ 169 h 185"/>
                  <a:gd name="T84" fmla="*/ 4 w 155"/>
                  <a:gd name="T85" fmla="*/ 169 h 185"/>
                  <a:gd name="T86" fmla="*/ 0 w 155"/>
                  <a:gd name="T87" fmla="*/ 169 h 185"/>
                  <a:gd name="T88" fmla="*/ 3 w 155"/>
                  <a:gd name="T89" fmla="*/ 156 h 185"/>
                  <a:gd name="T90" fmla="*/ 8 w 155"/>
                  <a:gd name="T91" fmla="*/ 138 h 185"/>
                  <a:gd name="T92" fmla="*/ 11 w 155"/>
                  <a:gd name="T93" fmla="*/ 123 h 185"/>
                  <a:gd name="T94" fmla="*/ 12 w 155"/>
                  <a:gd name="T95" fmla="*/ 118 h 185"/>
                  <a:gd name="T96" fmla="*/ 14 w 155"/>
                  <a:gd name="T97" fmla="*/ 111 h 185"/>
                  <a:gd name="T98" fmla="*/ 18 w 155"/>
                  <a:gd name="T99" fmla="*/ 100 h 185"/>
                  <a:gd name="T100" fmla="*/ 25 w 155"/>
                  <a:gd name="T101" fmla="*/ 88 h 185"/>
                  <a:gd name="T102" fmla="*/ 30 w 155"/>
                  <a:gd name="T103" fmla="*/ 81 h 185"/>
                  <a:gd name="T104" fmla="*/ 33 w 155"/>
                  <a:gd name="T105" fmla="*/ 77 h 185"/>
                  <a:gd name="T106" fmla="*/ 33 w 155"/>
                  <a:gd name="T107" fmla="*/ 66 h 185"/>
                  <a:gd name="T108" fmla="*/ 27 w 155"/>
                  <a:gd name="T109" fmla="*/ 45 h 185"/>
                  <a:gd name="T110" fmla="*/ 7 w 155"/>
                  <a:gd name="T111" fmla="*/ 12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55" h="185">
                    <a:moveTo>
                      <a:pt x="5" y="5"/>
                    </a:moveTo>
                    <a:lnTo>
                      <a:pt x="27" y="2"/>
                    </a:lnTo>
                    <a:lnTo>
                      <a:pt x="32" y="2"/>
                    </a:lnTo>
                    <a:lnTo>
                      <a:pt x="37" y="1"/>
                    </a:lnTo>
                    <a:lnTo>
                      <a:pt x="43" y="1"/>
                    </a:lnTo>
                    <a:lnTo>
                      <a:pt x="49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5" y="0"/>
                    </a:lnTo>
                    <a:lnTo>
                      <a:pt x="66" y="0"/>
                    </a:lnTo>
                    <a:lnTo>
                      <a:pt x="76" y="29"/>
                    </a:lnTo>
                    <a:lnTo>
                      <a:pt x="100" y="31"/>
                    </a:lnTo>
                    <a:lnTo>
                      <a:pt x="102" y="29"/>
                    </a:lnTo>
                    <a:lnTo>
                      <a:pt x="102" y="26"/>
                    </a:lnTo>
                    <a:lnTo>
                      <a:pt x="102" y="23"/>
                    </a:lnTo>
                    <a:lnTo>
                      <a:pt x="103" y="22"/>
                    </a:lnTo>
                    <a:lnTo>
                      <a:pt x="103" y="19"/>
                    </a:lnTo>
                    <a:lnTo>
                      <a:pt x="104" y="18"/>
                    </a:lnTo>
                    <a:lnTo>
                      <a:pt x="104" y="16"/>
                    </a:lnTo>
                    <a:lnTo>
                      <a:pt x="120" y="15"/>
                    </a:lnTo>
                    <a:lnTo>
                      <a:pt x="121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2" y="29"/>
                    </a:lnTo>
                    <a:lnTo>
                      <a:pt x="132" y="33"/>
                    </a:lnTo>
                    <a:lnTo>
                      <a:pt x="132" y="37"/>
                    </a:lnTo>
                    <a:lnTo>
                      <a:pt x="133" y="41"/>
                    </a:lnTo>
                    <a:lnTo>
                      <a:pt x="133" y="44"/>
                    </a:lnTo>
                    <a:lnTo>
                      <a:pt x="135" y="45"/>
                    </a:lnTo>
                    <a:lnTo>
                      <a:pt x="136" y="49"/>
                    </a:lnTo>
                    <a:lnTo>
                      <a:pt x="138" y="53"/>
                    </a:lnTo>
                    <a:lnTo>
                      <a:pt x="138" y="57"/>
                    </a:lnTo>
                    <a:lnTo>
                      <a:pt x="138" y="62"/>
                    </a:lnTo>
                    <a:lnTo>
                      <a:pt x="136" y="66"/>
                    </a:lnTo>
                    <a:lnTo>
                      <a:pt x="136" y="70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51" y="73"/>
                    </a:lnTo>
                    <a:lnTo>
                      <a:pt x="151" y="74"/>
                    </a:lnTo>
                    <a:lnTo>
                      <a:pt x="151" y="77"/>
                    </a:lnTo>
                    <a:lnTo>
                      <a:pt x="151" y="82"/>
                    </a:lnTo>
                    <a:lnTo>
                      <a:pt x="151" y="86"/>
                    </a:lnTo>
                    <a:lnTo>
                      <a:pt x="151" y="93"/>
                    </a:lnTo>
                    <a:lnTo>
                      <a:pt x="151" y="97"/>
                    </a:lnTo>
                    <a:lnTo>
                      <a:pt x="151" y="103"/>
                    </a:lnTo>
                    <a:lnTo>
                      <a:pt x="151" y="106"/>
                    </a:lnTo>
                    <a:lnTo>
                      <a:pt x="132" y="106"/>
                    </a:lnTo>
                    <a:lnTo>
                      <a:pt x="132" y="160"/>
                    </a:lnTo>
                    <a:lnTo>
                      <a:pt x="133" y="162"/>
                    </a:lnTo>
                    <a:lnTo>
                      <a:pt x="135" y="165"/>
                    </a:lnTo>
                    <a:lnTo>
                      <a:pt x="136" y="167"/>
                    </a:lnTo>
                    <a:lnTo>
                      <a:pt x="139" y="170"/>
                    </a:lnTo>
                    <a:lnTo>
                      <a:pt x="143" y="174"/>
                    </a:lnTo>
                    <a:lnTo>
                      <a:pt x="149" y="177"/>
                    </a:lnTo>
                    <a:lnTo>
                      <a:pt x="155" y="180"/>
                    </a:lnTo>
                    <a:lnTo>
                      <a:pt x="154" y="180"/>
                    </a:lnTo>
                    <a:lnTo>
                      <a:pt x="151" y="180"/>
                    </a:lnTo>
                    <a:lnTo>
                      <a:pt x="146" y="181"/>
                    </a:lnTo>
                    <a:lnTo>
                      <a:pt x="140" y="181"/>
                    </a:lnTo>
                    <a:lnTo>
                      <a:pt x="135" y="182"/>
                    </a:lnTo>
                    <a:lnTo>
                      <a:pt x="129" y="184"/>
                    </a:lnTo>
                    <a:lnTo>
                      <a:pt x="124" y="184"/>
                    </a:lnTo>
                    <a:lnTo>
                      <a:pt x="121" y="185"/>
                    </a:lnTo>
                    <a:lnTo>
                      <a:pt x="120" y="185"/>
                    </a:lnTo>
                    <a:lnTo>
                      <a:pt x="117" y="185"/>
                    </a:lnTo>
                    <a:lnTo>
                      <a:pt x="111" y="184"/>
                    </a:lnTo>
                    <a:lnTo>
                      <a:pt x="107" y="184"/>
                    </a:lnTo>
                    <a:lnTo>
                      <a:pt x="102" y="182"/>
                    </a:lnTo>
                    <a:lnTo>
                      <a:pt x="96" y="182"/>
                    </a:lnTo>
                    <a:lnTo>
                      <a:pt x="92" y="181"/>
                    </a:lnTo>
                    <a:lnTo>
                      <a:pt x="89" y="178"/>
                    </a:lnTo>
                    <a:lnTo>
                      <a:pt x="37" y="178"/>
                    </a:lnTo>
                    <a:lnTo>
                      <a:pt x="36" y="178"/>
                    </a:lnTo>
                    <a:lnTo>
                      <a:pt x="33" y="178"/>
                    </a:lnTo>
                    <a:lnTo>
                      <a:pt x="32" y="178"/>
                    </a:lnTo>
                    <a:lnTo>
                      <a:pt x="29" y="177"/>
                    </a:lnTo>
                    <a:lnTo>
                      <a:pt x="26" y="176"/>
                    </a:lnTo>
                    <a:lnTo>
                      <a:pt x="25" y="174"/>
                    </a:lnTo>
                    <a:lnTo>
                      <a:pt x="23" y="171"/>
                    </a:lnTo>
                    <a:lnTo>
                      <a:pt x="22" y="171"/>
                    </a:lnTo>
                    <a:lnTo>
                      <a:pt x="21" y="170"/>
                    </a:lnTo>
                    <a:lnTo>
                      <a:pt x="19" y="170"/>
                    </a:lnTo>
                    <a:lnTo>
                      <a:pt x="16" y="169"/>
                    </a:lnTo>
                    <a:lnTo>
                      <a:pt x="14" y="169"/>
                    </a:lnTo>
                    <a:lnTo>
                      <a:pt x="10" y="169"/>
                    </a:lnTo>
                    <a:lnTo>
                      <a:pt x="4" y="169"/>
                    </a:lnTo>
                    <a:lnTo>
                      <a:pt x="0" y="170"/>
                    </a:lnTo>
                    <a:lnTo>
                      <a:pt x="0" y="169"/>
                    </a:lnTo>
                    <a:lnTo>
                      <a:pt x="1" y="163"/>
                    </a:lnTo>
                    <a:lnTo>
                      <a:pt x="3" y="156"/>
                    </a:lnTo>
                    <a:lnTo>
                      <a:pt x="5" y="148"/>
                    </a:lnTo>
                    <a:lnTo>
                      <a:pt x="8" y="138"/>
                    </a:lnTo>
                    <a:lnTo>
                      <a:pt x="10" y="130"/>
                    </a:lnTo>
                    <a:lnTo>
                      <a:pt x="11" y="123"/>
                    </a:lnTo>
                    <a:lnTo>
                      <a:pt x="12" y="119"/>
                    </a:lnTo>
                    <a:lnTo>
                      <a:pt x="12" y="118"/>
                    </a:lnTo>
                    <a:lnTo>
                      <a:pt x="12" y="115"/>
                    </a:lnTo>
                    <a:lnTo>
                      <a:pt x="14" y="111"/>
                    </a:lnTo>
                    <a:lnTo>
                      <a:pt x="15" y="106"/>
                    </a:lnTo>
                    <a:lnTo>
                      <a:pt x="18" y="100"/>
                    </a:lnTo>
                    <a:lnTo>
                      <a:pt x="21" y="95"/>
                    </a:lnTo>
                    <a:lnTo>
                      <a:pt x="25" y="88"/>
                    </a:lnTo>
                    <a:lnTo>
                      <a:pt x="29" y="82"/>
                    </a:lnTo>
                    <a:lnTo>
                      <a:pt x="30" y="81"/>
                    </a:lnTo>
                    <a:lnTo>
                      <a:pt x="32" y="79"/>
                    </a:lnTo>
                    <a:lnTo>
                      <a:pt x="33" y="77"/>
                    </a:lnTo>
                    <a:lnTo>
                      <a:pt x="33" y="71"/>
                    </a:lnTo>
                    <a:lnTo>
                      <a:pt x="33" y="66"/>
                    </a:lnTo>
                    <a:lnTo>
                      <a:pt x="30" y="56"/>
                    </a:lnTo>
                    <a:lnTo>
                      <a:pt x="27" y="45"/>
                    </a:lnTo>
                    <a:lnTo>
                      <a:pt x="16" y="19"/>
                    </a:lnTo>
                    <a:lnTo>
                      <a:pt x="7" y="12"/>
                    </a:lnTo>
                    <a:lnTo>
                      <a:pt x="5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5" name="Freeform 998"/>
              <p:cNvSpPr>
                <a:spLocks/>
              </p:cNvSpPr>
              <p:nvPr/>
            </p:nvSpPr>
            <p:spPr bwMode="auto">
              <a:xfrm>
                <a:off x="2893" y="2850"/>
                <a:ext cx="303" cy="305"/>
              </a:xfrm>
              <a:custGeom>
                <a:avLst/>
                <a:gdLst>
                  <a:gd name="T0" fmla="*/ 30 w 303"/>
                  <a:gd name="T1" fmla="*/ 155 h 305"/>
                  <a:gd name="T2" fmla="*/ 45 w 303"/>
                  <a:gd name="T3" fmla="*/ 152 h 305"/>
                  <a:gd name="T4" fmla="*/ 52 w 303"/>
                  <a:gd name="T5" fmla="*/ 154 h 305"/>
                  <a:gd name="T6" fmla="*/ 59 w 303"/>
                  <a:gd name="T7" fmla="*/ 145 h 305"/>
                  <a:gd name="T8" fmla="*/ 66 w 303"/>
                  <a:gd name="T9" fmla="*/ 130 h 305"/>
                  <a:gd name="T10" fmla="*/ 80 w 303"/>
                  <a:gd name="T11" fmla="*/ 100 h 305"/>
                  <a:gd name="T12" fmla="*/ 84 w 303"/>
                  <a:gd name="T13" fmla="*/ 86 h 305"/>
                  <a:gd name="T14" fmla="*/ 85 w 303"/>
                  <a:gd name="T15" fmla="*/ 75 h 305"/>
                  <a:gd name="T16" fmla="*/ 85 w 303"/>
                  <a:gd name="T17" fmla="*/ 60 h 305"/>
                  <a:gd name="T18" fmla="*/ 88 w 303"/>
                  <a:gd name="T19" fmla="*/ 44 h 305"/>
                  <a:gd name="T20" fmla="*/ 89 w 303"/>
                  <a:gd name="T21" fmla="*/ 31 h 305"/>
                  <a:gd name="T22" fmla="*/ 87 w 303"/>
                  <a:gd name="T23" fmla="*/ 19 h 305"/>
                  <a:gd name="T24" fmla="*/ 96 w 303"/>
                  <a:gd name="T25" fmla="*/ 7 h 305"/>
                  <a:gd name="T26" fmla="*/ 109 w 303"/>
                  <a:gd name="T27" fmla="*/ 8 h 305"/>
                  <a:gd name="T28" fmla="*/ 114 w 303"/>
                  <a:gd name="T29" fmla="*/ 18 h 305"/>
                  <a:gd name="T30" fmla="*/ 129 w 303"/>
                  <a:gd name="T31" fmla="*/ 15 h 305"/>
                  <a:gd name="T32" fmla="*/ 146 w 303"/>
                  <a:gd name="T33" fmla="*/ 13 h 305"/>
                  <a:gd name="T34" fmla="*/ 157 w 303"/>
                  <a:gd name="T35" fmla="*/ 12 h 305"/>
                  <a:gd name="T36" fmla="*/ 217 w 303"/>
                  <a:gd name="T37" fmla="*/ 4 h 305"/>
                  <a:gd name="T38" fmla="*/ 239 w 303"/>
                  <a:gd name="T39" fmla="*/ 16 h 305"/>
                  <a:gd name="T40" fmla="*/ 248 w 303"/>
                  <a:gd name="T41" fmla="*/ 19 h 305"/>
                  <a:gd name="T42" fmla="*/ 260 w 303"/>
                  <a:gd name="T43" fmla="*/ 27 h 305"/>
                  <a:gd name="T44" fmla="*/ 285 w 303"/>
                  <a:gd name="T45" fmla="*/ 29 h 305"/>
                  <a:gd name="T46" fmla="*/ 289 w 303"/>
                  <a:gd name="T47" fmla="*/ 33 h 305"/>
                  <a:gd name="T48" fmla="*/ 288 w 303"/>
                  <a:gd name="T49" fmla="*/ 42 h 305"/>
                  <a:gd name="T50" fmla="*/ 283 w 303"/>
                  <a:gd name="T51" fmla="*/ 53 h 305"/>
                  <a:gd name="T52" fmla="*/ 282 w 303"/>
                  <a:gd name="T53" fmla="*/ 66 h 305"/>
                  <a:gd name="T54" fmla="*/ 274 w 303"/>
                  <a:gd name="T55" fmla="*/ 86 h 305"/>
                  <a:gd name="T56" fmla="*/ 285 w 303"/>
                  <a:gd name="T57" fmla="*/ 169 h 305"/>
                  <a:gd name="T58" fmla="*/ 297 w 303"/>
                  <a:gd name="T59" fmla="*/ 228 h 305"/>
                  <a:gd name="T60" fmla="*/ 283 w 303"/>
                  <a:gd name="T61" fmla="*/ 231 h 305"/>
                  <a:gd name="T62" fmla="*/ 270 w 303"/>
                  <a:gd name="T63" fmla="*/ 243 h 305"/>
                  <a:gd name="T64" fmla="*/ 277 w 303"/>
                  <a:gd name="T65" fmla="*/ 265 h 305"/>
                  <a:gd name="T66" fmla="*/ 301 w 303"/>
                  <a:gd name="T67" fmla="*/ 287 h 305"/>
                  <a:gd name="T68" fmla="*/ 290 w 303"/>
                  <a:gd name="T69" fmla="*/ 303 h 305"/>
                  <a:gd name="T70" fmla="*/ 255 w 303"/>
                  <a:gd name="T71" fmla="*/ 273 h 305"/>
                  <a:gd name="T72" fmla="*/ 248 w 303"/>
                  <a:gd name="T73" fmla="*/ 273 h 305"/>
                  <a:gd name="T74" fmla="*/ 245 w 303"/>
                  <a:gd name="T75" fmla="*/ 268 h 305"/>
                  <a:gd name="T76" fmla="*/ 238 w 303"/>
                  <a:gd name="T77" fmla="*/ 273 h 305"/>
                  <a:gd name="T78" fmla="*/ 217 w 303"/>
                  <a:gd name="T79" fmla="*/ 271 h 305"/>
                  <a:gd name="T80" fmla="*/ 194 w 303"/>
                  <a:gd name="T81" fmla="*/ 266 h 305"/>
                  <a:gd name="T82" fmla="*/ 189 w 303"/>
                  <a:gd name="T83" fmla="*/ 262 h 305"/>
                  <a:gd name="T84" fmla="*/ 186 w 303"/>
                  <a:gd name="T85" fmla="*/ 260 h 305"/>
                  <a:gd name="T86" fmla="*/ 173 w 303"/>
                  <a:gd name="T87" fmla="*/ 258 h 305"/>
                  <a:gd name="T88" fmla="*/ 161 w 303"/>
                  <a:gd name="T89" fmla="*/ 257 h 305"/>
                  <a:gd name="T90" fmla="*/ 131 w 303"/>
                  <a:gd name="T91" fmla="*/ 258 h 305"/>
                  <a:gd name="T92" fmla="*/ 134 w 303"/>
                  <a:gd name="T93" fmla="*/ 240 h 305"/>
                  <a:gd name="T94" fmla="*/ 129 w 303"/>
                  <a:gd name="T95" fmla="*/ 228 h 305"/>
                  <a:gd name="T96" fmla="*/ 128 w 303"/>
                  <a:gd name="T97" fmla="*/ 207 h 305"/>
                  <a:gd name="T98" fmla="*/ 100 w 303"/>
                  <a:gd name="T99" fmla="*/ 205 h 305"/>
                  <a:gd name="T100" fmla="*/ 98 w 303"/>
                  <a:gd name="T101" fmla="*/ 216 h 305"/>
                  <a:gd name="T102" fmla="*/ 56 w 303"/>
                  <a:gd name="T103" fmla="*/ 187 h 305"/>
                  <a:gd name="T104" fmla="*/ 28 w 303"/>
                  <a:gd name="T105" fmla="*/ 18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3" h="305">
                    <a:moveTo>
                      <a:pt x="0" y="180"/>
                    </a:moveTo>
                    <a:lnTo>
                      <a:pt x="28" y="158"/>
                    </a:lnTo>
                    <a:lnTo>
                      <a:pt x="28" y="156"/>
                    </a:lnTo>
                    <a:lnTo>
                      <a:pt x="29" y="156"/>
                    </a:lnTo>
                    <a:lnTo>
                      <a:pt x="30" y="155"/>
                    </a:lnTo>
                    <a:lnTo>
                      <a:pt x="33" y="154"/>
                    </a:lnTo>
                    <a:lnTo>
                      <a:pt x="34" y="152"/>
                    </a:lnTo>
                    <a:lnTo>
                      <a:pt x="39" y="152"/>
                    </a:lnTo>
                    <a:lnTo>
                      <a:pt x="41" y="152"/>
                    </a:lnTo>
                    <a:lnTo>
                      <a:pt x="45" y="152"/>
                    </a:lnTo>
                    <a:lnTo>
                      <a:pt x="45" y="152"/>
                    </a:lnTo>
                    <a:lnTo>
                      <a:pt x="47" y="154"/>
                    </a:lnTo>
                    <a:lnTo>
                      <a:pt x="48" y="154"/>
                    </a:lnTo>
                    <a:lnTo>
                      <a:pt x="50" y="155"/>
                    </a:lnTo>
                    <a:lnTo>
                      <a:pt x="52" y="154"/>
                    </a:lnTo>
                    <a:lnTo>
                      <a:pt x="54" y="154"/>
                    </a:lnTo>
                    <a:lnTo>
                      <a:pt x="56" y="151"/>
                    </a:lnTo>
                    <a:lnTo>
                      <a:pt x="59" y="147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59" y="144"/>
                    </a:lnTo>
                    <a:lnTo>
                      <a:pt x="61" y="141"/>
                    </a:lnTo>
                    <a:lnTo>
                      <a:pt x="62" y="137"/>
                    </a:lnTo>
                    <a:lnTo>
                      <a:pt x="65" y="134"/>
                    </a:lnTo>
                    <a:lnTo>
                      <a:pt x="66" y="130"/>
                    </a:lnTo>
                    <a:lnTo>
                      <a:pt x="70" y="125"/>
                    </a:lnTo>
                    <a:lnTo>
                      <a:pt x="78" y="101"/>
                    </a:lnTo>
                    <a:lnTo>
                      <a:pt x="78" y="101"/>
                    </a:lnTo>
                    <a:lnTo>
                      <a:pt x="78" y="101"/>
                    </a:lnTo>
                    <a:lnTo>
                      <a:pt x="80" y="100"/>
                    </a:lnTo>
                    <a:lnTo>
                      <a:pt x="80" y="99"/>
                    </a:lnTo>
                    <a:lnTo>
                      <a:pt x="81" y="97"/>
                    </a:lnTo>
                    <a:lnTo>
                      <a:pt x="83" y="95"/>
                    </a:lnTo>
                    <a:lnTo>
                      <a:pt x="83" y="90"/>
                    </a:lnTo>
                    <a:lnTo>
                      <a:pt x="84" y="86"/>
                    </a:lnTo>
                    <a:lnTo>
                      <a:pt x="84" y="86"/>
                    </a:lnTo>
                    <a:lnTo>
                      <a:pt x="84" y="85"/>
                    </a:lnTo>
                    <a:lnTo>
                      <a:pt x="85" y="82"/>
                    </a:lnTo>
                    <a:lnTo>
                      <a:pt x="85" y="78"/>
                    </a:lnTo>
                    <a:lnTo>
                      <a:pt x="85" y="75"/>
                    </a:lnTo>
                    <a:lnTo>
                      <a:pt x="87" y="71"/>
                    </a:lnTo>
                    <a:lnTo>
                      <a:pt x="87" y="66"/>
                    </a:lnTo>
                    <a:lnTo>
                      <a:pt x="85" y="62"/>
                    </a:lnTo>
                    <a:lnTo>
                      <a:pt x="85" y="62"/>
                    </a:lnTo>
                    <a:lnTo>
                      <a:pt x="85" y="60"/>
                    </a:lnTo>
                    <a:lnTo>
                      <a:pt x="87" y="57"/>
                    </a:lnTo>
                    <a:lnTo>
                      <a:pt x="87" y="55"/>
                    </a:lnTo>
                    <a:lnTo>
                      <a:pt x="87" y="51"/>
                    </a:lnTo>
                    <a:lnTo>
                      <a:pt x="87" y="48"/>
                    </a:lnTo>
                    <a:lnTo>
                      <a:pt x="88" y="44"/>
                    </a:lnTo>
                    <a:lnTo>
                      <a:pt x="88" y="38"/>
                    </a:lnTo>
                    <a:lnTo>
                      <a:pt x="89" y="38"/>
                    </a:lnTo>
                    <a:lnTo>
                      <a:pt x="89" y="37"/>
                    </a:lnTo>
                    <a:lnTo>
                      <a:pt x="89" y="34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89" y="24"/>
                    </a:lnTo>
                    <a:lnTo>
                      <a:pt x="88" y="22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8" y="15"/>
                    </a:lnTo>
                    <a:lnTo>
                      <a:pt x="89" y="12"/>
                    </a:lnTo>
                    <a:lnTo>
                      <a:pt x="92" y="9"/>
                    </a:lnTo>
                    <a:lnTo>
                      <a:pt x="96" y="7"/>
                    </a:lnTo>
                    <a:lnTo>
                      <a:pt x="102" y="5"/>
                    </a:lnTo>
                    <a:lnTo>
                      <a:pt x="107" y="4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9" y="8"/>
                    </a:lnTo>
                    <a:lnTo>
                      <a:pt x="110" y="9"/>
                    </a:lnTo>
                    <a:lnTo>
                      <a:pt x="111" y="12"/>
                    </a:lnTo>
                    <a:lnTo>
                      <a:pt x="113" y="13"/>
                    </a:lnTo>
                    <a:lnTo>
                      <a:pt x="114" y="16"/>
                    </a:lnTo>
                    <a:lnTo>
                      <a:pt x="114" y="18"/>
                    </a:lnTo>
                    <a:lnTo>
                      <a:pt x="116" y="18"/>
                    </a:lnTo>
                    <a:lnTo>
                      <a:pt x="118" y="16"/>
                    </a:lnTo>
                    <a:lnTo>
                      <a:pt x="121" y="16"/>
                    </a:lnTo>
                    <a:lnTo>
                      <a:pt x="125" y="15"/>
                    </a:lnTo>
                    <a:lnTo>
                      <a:pt x="129" y="15"/>
                    </a:lnTo>
                    <a:lnTo>
                      <a:pt x="135" y="13"/>
                    </a:lnTo>
                    <a:lnTo>
                      <a:pt x="140" y="13"/>
                    </a:lnTo>
                    <a:lnTo>
                      <a:pt x="145" y="13"/>
                    </a:lnTo>
                    <a:lnTo>
                      <a:pt x="146" y="13"/>
                    </a:lnTo>
                    <a:lnTo>
                      <a:pt x="146" y="13"/>
                    </a:lnTo>
                    <a:lnTo>
                      <a:pt x="149" y="13"/>
                    </a:lnTo>
                    <a:lnTo>
                      <a:pt x="150" y="13"/>
                    </a:lnTo>
                    <a:lnTo>
                      <a:pt x="153" y="12"/>
                    </a:lnTo>
                    <a:lnTo>
                      <a:pt x="154" y="12"/>
                    </a:lnTo>
                    <a:lnTo>
                      <a:pt x="157" y="12"/>
                    </a:lnTo>
                    <a:lnTo>
                      <a:pt x="158" y="11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1"/>
                    </a:lnTo>
                    <a:lnTo>
                      <a:pt x="217" y="4"/>
                    </a:lnTo>
                    <a:lnTo>
                      <a:pt x="220" y="7"/>
                    </a:lnTo>
                    <a:lnTo>
                      <a:pt x="223" y="9"/>
                    </a:lnTo>
                    <a:lnTo>
                      <a:pt x="227" y="12"/>
                    </a:lnTo>
                    <a:lnTo>
                      <a:pt x="233" y="15"/>
                    </a:lnTo>
                    <a:lnTo>
                      <a:pt x="239" y="16"/>
                    </a:lnTo>
                    <a:lnTo>
                      <a:pt x="239" y="16"/>
                    </a:lnTo>
                    <a:lnTo>
                      <a:pt x="241" y="16"/>
                    </a:lnTo>
                    <a:lnTo>
                      <a:pt x="242" y="16"/>
                    </a:lnTo>
                    <a:lnTo>
                      <a:pt x="245" y="18"/>
                    </a:lnTo>
                    <a:lnTo>
                      <a:pt x="248" y="19"/>
                    </a:lnTo>
                    <a:lnTo>
                      <a:pt x="250" y="20"/>
                    </a:lnTo>
                    <a:lnTo>
                      <a:pt x="255" y="23"/>
                    </a:lnTo>
                    <a:lnTo>
                      <a:pt x="257" y="27"/>
                    </a:lnTo>
                    <a:lnTo>
                      <a:pt x="257" y="27"/>
                    </a:lnTo>
                    <a:lnTo>
                      <a:pt x="260" y="27"/>
                    </a:lnTo>
                    <a:lnTo>
                      <a:pt x="263" y="27"/>
                    </a:lnTo>
                    <a:lnTo>
                      <a:pt x="267" y="29"/>
                    </a:lnTo>
                    <a:lnTo>
                      <a:pt x="272" y="29"/>
                    </a:lnTo>
                    <a:lnTo>
                      <a:pt x="278" y="29"/>
                    </a:lnTo>
                    <a:lnTo>
                      <a:pt x="285" y="29"/>
                    </a:lnTo>
                    <a:lnTo>
                      <a:pt x="292" y="29"/>
                    </a:lnTo>
                    <a:lnTo>
                      <a:pt x="292" y="30"/>
                    </a:lnTo>
                    <a:lnTo>
                      <a:pt x="290" y="30"/>
                    </a:lnTo>
                    <a:lnTo>
                      <a:pt x="290" y="31"/>
                    </a:lnTo>
                    <a:lnTo>
                      <a:pt x="289" y="33"/>
                    </a:lnTo>
                    <a:lnTo>
                      <a:pt x="289" y="35"/>
                    </a:lnTo>
                    <a:lnTo>
                      <a:pt x="289" y="37"/>
                    </a:lnTo>
                    <a:lnTo>
                      <a:pt x="288" y="40"/>
                    </a:lnTo>
                    <a:lnTo>
                      <a:pt x="288" y="42"/>
                    </a:lnTo>
                    <a:lnTo>
                      <a:pt x="288" y="42"/>
                    </a:lnTo>
                    <a:lnTo>
                      <a:pt x="288" y="44"/>
                    </a:lnTo>
                    <a:lnTo>
                      <a:pt x="286" y="45"/>
                    </a:lnTo>
                    <a:lnTo>
                      <a:pt x="285" y="48"/>
                    </a:lnTo>
                    <a:lnTo>
                      <a:pt x="285" y="51"/>
                    </a:lnTo>
                    <a:lnTo>
                      <a:pt x="283" y="53"/>
                    </a:lnTo>
                    <a:lnTo>
                      <a:pt x="283" y="56"/>
                    </a:lnTo>
                    <a:lnTo>
                      <a:pt x="283" y="59"/>
                    </a:lnTo>
                    <a:lnTo>
                      <a:pt x="283" y="60"/>
                    </a:lnTo>
                    <a:lnTo>
                      <a:pt x="283" y="63"/>
                    </a:lnTo>
                    <a:lnTo>
                      <a:pt x="282" y="66"/>
                    </a:lnTo>
                    <a:lnTo>
                      <a:pt x="281" y="70"/>
                    </a:lnTo>
                    <a:lnTo>
                      <a:pt x="279" y="75"/>
                    </a:lnTo>
                    <a:lnTo>
                      <a:pt x="278" y="79"/>
                    </a:lnTo>
                    <a:lnTo>
                      <a:pt x="275" y="84"/>
                    </a:lnTo>
                    <a:lnTo>
                      <a:pt x="274" y="86"/>
                    </a:lnTo>
                    <a:lnTo>
                      <a:pt x="274" y="121"/>
                    </a:lnTo>
                    <a:lnTo>
                      <a:pt x="275" y="125"/>
                    </a:lnTo>
                    <a:lnTo>
                      <a:pt x="277" y="136"/>
                    </a:lnTo>
                    <a:lnTo>
                      <a:pt x="281" y="151"/>
                    </a:lnTo>
                    <a:lnTo>
                      <a:pt x="285" y="169"/>
                    </a:lnTo>
                    <a:lnTo>
                      <a:pt x="289" y="188"/>
                    </a:lnTo>
                    <a:lnTo>
                      <a:pt x="293" y="205"/>
                    </a:lnTo>
                    <a:lnTo>
                      <a:pt x="296" y="218"/>
                    </a:lnTo>
                    <a:lnTo>
                      <a:pt x="297" y="227"/>
                    </a:lnTo>
                    <a:lnTo>
                      <a:pt x="297" y="228"/>
                    </a:lnTo>
                    <a:lnTo>
                      <a:pt x="296" y="229"/>
                    </a:lnTo>
                    <a:lnTo>
                      <a:pt x="294" y="229"/>
                    </a:lnTo>
                    <a:lnTo>
                      <a:pt x="293" y="231"/>
                    </a:lnTo>
                    <a:lnTo>
                      <a:pt x="289" y="231"/>
                    </a:lnTo>
                    <a:lnTo>
                      <a:pt x="283" y="231"/>
                    </a:lnTo>
                    <a:lnTo>
                      <a:pt x="278" y="232"/>
                    </a:lnTo>
                    <a:lnTo>
                      <a:pt x="272" y="235"/>
                    </a:lnTo>
                    <a:lnTo>
                      <a:pt x="271" y="236"/>
                    </a:lnTo>
                    <a:lnTo>
                      <a:pt x="270" y="239"/>
                    </a:lnTo>
                    <a:lnTo>
                      <a:pt x="270" y="243"/>
                    </a:lnTo>
                    <a:lnTo>
                      <a:pt x="270" y="247"/>
                    </a:lnTo>
                    <a:lnTo>
                      <a:pt x="270" y="249"/>
                    </a:lnTo>
                    <a:lnTo>
                      <a:pt x="271" y="253"/>
                    </a:lnTo>
                    <a:lnTo>
                      <a:pt x="274" y="258"/>
                    </a:lnTo>
                    <a:lnTo>
                      <a:pt x="277" y="265"/>
                    </a:lnTo>
                    <a:lnTo>
                      <a:pt x="279" y="272"/>
                    </a:lnTo>
                    <a:lnTo>
                      <a:pt x="282" y="277"/>
                    </a:lnTo>
                    <a:lnTo>
                      <a:pt x="283" y="283"/>
                    </a:lnTo>
                    <a:lnTo>
                      <a:pt x="286" y="286"/>
                    </a:lnTo>
                    <a:lnTo>
                      <a:pt x="301" y="287"/>
                    </a:lnTo>
                    <a:lnTo>
                      <a:pt x="303" y="305"/>
                    </a:lnTo>
                    <a:lnTo>
                      <a:pt x="303" y="305"/>
                    </a:lnTo>
                    <a:lnTo>
                      <a:pt x="300" y="305"/>
                    </a:lnTo>
                    <a:lnTo>
                      <a:pt x="296" y="305"/>
                    </a:lnTo>
                    <a:lnTo>
                      <a:pt x="290" y="303"/>
                    </a:lnTo>
                    <a:lnTo>
                      <a:pt x="285" y="302"/>
                    </a:lnTo>
                    <a:lnTo>
                      <a:pt x="279" y="299"/>
                    </a:lnTo>
                    <a:lnTo>
                      <a:pt x="272" y="295"/>
                    </a:lnTo>
                    <a:lnTo>
                      <a:pt x="264" y="290"/>
                    </a:lnTo>
                    <a:lnTo>
                      <a:pt x="255" y="273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2" y="273"/>
                    </a:lnTo>
                    <a:lnTo>
                      <a:pt x="250" y="273"/>
                    </a:lnTo>
                    <a:lnTo>
                      <a:pt x="248" y="273"/>
                    </a:lnTo>
                    <a:lnTo>
                      <a:pt x="246" y="272"/>
                    </a:lnTo>
                    <a:lnTo>
                      <a:pt x="245" y="269"/>
                    </a:lnTo>
                    <a:lnTo>
                      <a:pt x="245" y="266"/>
                    </a:lnTo>
                    <a:lnTo>
                      <a:pt x="245" y="266"/>
                    </a:lnTo>
                    <a:lnTo>
                      <a:pt x="245" y="268"/>
                    </a:lnTo>
                    <a:lnTo>
                      <a:pt x="244" y="269"/>
                    </a:lnTo>
                    <a:lnTo>
                      <a:pt x="244" y="271"/>
                    </a:lnTo>
                    <a:lnTo>
                      <a:pt x="242" y="272"/>
                    </a:lnTo>
                    <a:lnTo>
                      <a:pt x="239" y="273"/>
                    </a:lnTo>
                    <a:lnTo>
                      <a:pt x="238" y="273"/>
                    </a:lnTo>
                    <a:lnTo>
                      <a:pt x="235" y="273"/>
                    </a:lnTo>
                    <a:lnTo>
                      <a:pt x="234" y="273"/>
                    </a:lnTo>
                    <a:lnTo>
                      <a:pt x="230" y="273"/>
                    </a:lnTo>
                    <a:lnTo>
                      <a:pt x="224" y="272"/>
                    </a:lnTo>
                    <a:lnTo>
                      <a:pt x="217" y="271"/>
                    </a:lnTo>
                    <a:lnTo>
                      <a:pt x="211" y="269"/>
                    </a:lnTo>
                    <a:lnTo>
                      <a:pt x="204" y="268"/>
                    </a:lnTo>
                    <a:lnTo>
                      <a:pt x="198" y="266"/>
                    </a:lnTo>
                    <a:lnTo>
                      <a:pt x="194" y="266"/>
                    </a:lnTo>
                    <a:lnTo>
                      <a:pt x="194" y="266"/>
                    </a:lnTo>
                    <a:lnTo>
                      <a:pt x="193" y="265"/>
                    </a:lnTo>
                    <a:lnTo>
                      <a:pt x="191" y="265"/>
                    </a:lnTo>
                    <a:lnTo>
                      <a:pt x="190" y="264"/>
                    </a:lnTo>
                    <a:lnTo>
                      <a:pt x="189" y="262"/>
                    </a:lnTo>
                    <a:lnTo>
                      <a:pt x="189" y="262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7" y="261"/>
                    </a:lnTo>
                    <a:lnTo>
                      <a:pt x="186" y="260"/>
                    </a:lnTo>
                    <a:lnTo>
                      <a:pt x="184" y="258"/>
                    </a:lnTo>
                    <a:lnTo>
                      <a:pt x="183" y="258"/>
                    </a:lnTo>
                    <a:lnTo>
                      <a:pt x="180" y="258"/>
                    </a:lnTo>
                    <a:lnTo>
                      <a:pt x="176" y="257"/>
                    </a:lnTo>
                    <a:lnTo>
                      <a:pt x="173" y="258"/>
                    </a:lnTo>
                    <a:lnTo>
                      <a:pt x="172" y="258"/>
                    </a:lnTo>
                    <a:lnTo>
                      <a:pt x="171" y="258"/>
                    </a:lnTo>
                    <a:lnTo>
                      <a:pt x="168" y="257"/>
                    </a:lnTo>
                    <a:lnTo>
                      <a:pt x="165" y="257"/>
                    </a:lnTo>
                    <a:lnTo>
                      <a:pt x="161" y="257"/>
                    </a:lnTo>
                    <a:lnTo>
                      <a:pt x="157" y="258"/>
                    </a:lnTo>
                    <a:lnTo>
                      <a:pt x="153" y="258"/>
                    </a:lnTo>
                    <a:lnTo>
                      <a:pt x="147" y="260"/>
                    </a:lnTo>
                    <a:lnTo>
                      <a:pt x="131" y="260"/>
                    </a:lnTo>
                    <a:lnTo>
                      <a:pt x="131" y="258"/>
                    </a:lnTo>
                    <a:lnTo>
                      <a:pt x="132" y="257"/>
                    </a:lnTo>
                    <a:lnTo>
                      <a:pt x="132" y="253"/>
                    </a:lnTo>
                    <a:lnTo>
                      <a:pt x="134" y="249"/>
                    </a:lnTo>
                    <a:lnTo>
                      <a:pt x="134" y="244"/>
                    </a:lnTo>
                    <a:lnTo>
                      <a:pt x="134" y="240"/>
                    </a:lnTo>
                    <a:lnTo>
                      <a:pt x="132" y="236"/>
                    </a:lnTo>
                    <a:lnTo>
                      <a:pt x="131" y="232"/>
                    </a:lnTo>
                    <a:lnTo>
                      <a:pt x="131" y="232"/>
                    </a:lnTo>
                    <a:lnTo>
                      <a:pt x="129" y="231"/>
                    </a:lnTo>
                    <a:lnTo>
                      <a:pt x="129" y="228"/>
                    </a:lnTo>
                    <a:lnTo>
                      <a:pt x="128" y="224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11"/>
                    </a:lnTo>
                    <a:lnTo>
                      <a:pt x="128" y="207"/>
                    </a:lnTo>
                    <a:lnTo>
                      <a:pt x="117" y="207"/>
                    </a:lnTo>
                    <a:lnTo>
                      <a:pt x="116" y="202"/>
                    </a:lnTo>
                    <a:lnTo>
                      <a:pt x="100" y="203"/>
                    </a:lnTo>
                    <a:lnTo>
                      <a:pt x="100" y="203"/>
                    </a:lnTo>
                    <a:lnTo>
                      <a:pt x="100" y="205"/>
                    </a:lnTo>
                    <a:lnTo>
                      <a:pt x="99" y="206"/>
                    </a:lnTo>
                    <a:lnTo>
                      <a:pt x="99" y="209"/>
                    </a:lnTo>
                    <a:lnTo>
                      <a:pt x="98" y="210"/>
                    </a:lnTo>
                    <a:lnTo>
                      <a:pt x="98" y="213"/>
                    </a:lnTo>
                    <a:lnTo>
                      <a:pt x="98" y="216"/>
                    </a:lnTo>
                    <a:lnTo>
                      <a:pt x="96" y="218"/>
                    </a:lnTo>
                    <a:lnTo>
                      <a:pt x="72" y="216"/>
                    </a:lnTo>
                    <a:lnTo>
                      <a:pt x="62" y="187"/>
                    </a:lnTo>
                    <a:lnTo>
                      <a:pt x="61" y="187"/>
                    </a:lnTo>
                    <a:lnTo>
                      <a:pt x="56" y="187"/>
                    </a:lnTo>
                    <a:lnTo>
                      <a:pt x="52" y="187"/>
                    </a:lnTo>
                    <a:lnTo>
                      <a:pt x="45" y="187"/>
                    </a:lnTo>
                    <a:lnTo>
                      <a:pt x="39" y="188"/>
                    </a:lnTo>
                    <a:lnTo>
                      <a:pt x="33" y="188"/>
                    </a:lnTo>
                    <a:lnTo>
                      <a:pt x="28" y="189"/>
                    </a:lnTo>
                    <a:lnTo>
                      <a:pt x="23" y="189"/>
                    </a:lnTo>
                    <a:lnTo>
                      <a:pt x="1" y="192"/>
                    </a:lnTo>
                    <a:lnTo>
                      <a:pt x="0" y="18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6" name="Freeform 999"/>
              <p:cNvSpPr>
                <a:spLocks/>
              </p:cNvSpPr>
              <p:nvPr/>
            </p:nvSpPr>
            <p:spPr bwMode="auto">
              <a:xfrm>
                <a:off x="2893" y="2850"/>
                <a:ext cx="303" cy="305"/>
              </a:xfrm>
              <a:custGeom>
                <a:avLst/>
                <a:gdLst>
                  <a:gd name="T0" fmla="*/ 29 w 303"/>
                  <a:gd name="T1" fmla="*/ 156 h 305"/>
                  <a:gd name="T2" fmla="*/ 39 w 303"/>
                  <a:gd name="T3" fmla="*/ 152 h 305"/>
                  <a:gd name="T4" fmla="*/ 48 w 303"/>
                  <a:gd name="T5" fmla="*/ 154 h 305"/>
                  <a:gd name="T6" fmla="*/ 56 w 303"/>
                  <a:gd name="T7" fmla="*/ 151 h 305"/>
                  <a:gd name="T8" fmla="*/ 61 w 303"/>
                  <a:gd name="T9" fmla="*/ 141 h 305"/>
                  <a:gd name="T10" fmla="*/ 70 w 303"/>
                  <a:gd name="T11" fmla="*/ 125 h 305"/>
                  <a:gd name="T12" fmla="*/ 81 w 303"/>
                  <a:gd name="T13" fmla="*/ 97 h 305"/>
                  <a:gd name="T14" fmla="*/ 84 w 303"/>
                  <a:gd name="T15" fmla="*/ 85 h 305"/>
                  <a:gd name="T16" fmla="*/ 87 w 303"/>
                  <a:gd name="T17" fmla="*/ 71 h 305"/>
                  <a:gd name="T18" fmla="*/ 87 w 303"/>
                  <a:gd name="T19" fmla="*/ 57 h 305"/>
                  <a:gd name="T20" fmla="*/ 88 w 303"/>
                  <a:gd name="T21" fmla="*/ 44 h 305"/>
                  <a:gd name="T22" fmla="*/ 89 w 303"/>
                  <a:gd name="T23" fmla="*/ 34 h 305"/>
                  <a:gd name="T24" fmla="*/ 88 w 303"/>
                  <a:gd name="T25" fmla="*/ 22 h 305"/>
                  <a:gd name="T26" fmla="*/ 88 w 303"/>
                  <a:gd name="T27" fmla="*/ 15 h 305"/>
                  <a:gd name="T28" fmla="*/ 102 w 303"/>
                  <a:gd name="T29" fmla="*/ 5 h 305"/>
                  <a:gd name="T30" fmla="*/ 109 w 303"/>
                  <a:gd name="T31" fmla="*/ 8 h 305"/>
                  <a:gd name="T32" fmla="*/ 114 w 303"/>
                  <a:gd name="T33" fmla="*/ 16 h 305"/>
                  <a:gd name="T34" fmla="*/ 121 w 303"/>
                  <a:gd name="T35" fmla="*/ 16 h 305"/>
                  <a:gd name="T36" fmla="*/ 140 w 303"/>
                  <a:gd name="T37" fmla="*/ 13 h 305"/>
                  <a:gd name="T38" fmla="*/ 150 w 303"/>
                  <a:gd name="T39" fmla="*/ 13 h 305"/>
                  <a:gd name="T40" fmla="*/ 158 w 303"/>
                  <a:gd name="T41" fmla="*/ 11 h 305"/>
                  <a:gd name="T42" fmla="*/ 220 w 303"/>
                  <a:gd name="T43" fmla="*/ 7 h 305"/>
                  <a:gd name="T44" fmla="*/ 239 w 303"/>
                  <a:gd name="T45" fmla="*/ 16 h 305"/>
                  <a:gd name="T46" fmla="*/ 248 w 303"/>
                  <a:gd name="T47" fmla="*/ 19 h 305"/>
                  <a:gd name="T48" fmla="*/ 260 w 303"/>
                  <a:gd name="T49" fmla="*/ 27 h 305"/>
                  <a:gd name="T50" fmla="*/ 278 w 303"/>
                  <a:gd name="T51" fmla="*/ 29 h 305"/>
                  <a:gd name="T52" fmla="*/ 290 w 303"/>
                  <a:gd name="T53" fmla="*/ 30 h 305"/>
                  <a:gd name="T54" fmla="*/ 289 w 303"/>
                  <a:gd name="T55" fmla="*/ 37 h 305"/>
                  <a:gd name="T56" fmla="*/ 286 w 303"/>
                  <a:gd name="T57" fmla="*/ 45 h 305"/>
                  <a:gd name="T58" fmla="*/ 283 w 303"/>
                  <a:gd name="T59" fmla="*/ 56 h 305"/>
                  <a:gd name="T60" fmla="*/ 282 w 303"/>
                  <a:gd name="T61" fmla="*/ 66 h 305"/>
                  <a:gd name="T62" fmla="*/ 275 w 303"/>
                  <a:gd name="T63" fmla="*/ 84 h 305"/>
                  <a:gd name="T64" fmla="*/ 277 w 303"/>
                  <a:gd name="T65" fmla="*/ 136 h 305"/>
                  <a:gd name="T66" fmla="*/ 293 w 303"/>
                  <a:gd name="T67" fmla="*/ 205 h 305"/>
                  <a:gd name="T68" fmla="*/ 296 w 303"/>
                  <a:gd name="T69" fmla="*/ 229 h 305"/>
                  <a:gd name="T70" fmla="*/ 283 w 303"/>
                  <a:gd name="T71" fmla="*/ 231 h 305"/>
                  <a:gd name="T72" fmla="*/ 270 w 303"/>
                  <a:gd name="T73" fmla="*/ 239 h 305"/>
                  <a:gd name="T74" fmla="*/ 271 w 303"/>
                  <a:gd name="T75" fmla="*/ 253 h 305"/>
                  <a:gd name="T76" fmla="*/ 282 w 303"/>
                  <a:gd name="T77" fmla="*/ 277 h 305"/>
                  <a:gd name="T78" fmla="*/ 303 w 303"/>
                  <a:gd name="T79" fmla="*/ 305 h 305"/>
                  <a:gd name="T80" fmla="*/ 285 w 303"/>
                  <a:gd name="T81" fmla="*/ 302 h 305"/>
                  <a:gd name="T82" fmla="*/ 255 w 303"/>
                  <a:gd name="T83" fmla="*/ 273 h 305"/>
                  <a:gd name="T84" fmla="*/ 248 w 303"/>
                  <a:gd name="T85" fmla="*/ 273 h 305"/>
                  <a:gd name="T86" fmla="*/ 245 w 303"/>
                  <a:gd name="T87" fmla="*/ 268 h 305"/>
                  <a:gd name="T88" fmla="*/ 239 w 303"/>
                  <a:gd name="T89" fmla="*/ 273 h 305"/>
                  <a:gd name="T90" fmla="*/ 230 w 303"/>
                  <a:gd name="T91" fmla="*/ 273 h 305"/>
                  <a:gd name="T92" fmla="*/ 204 w 303"/>
                  <a:gd name="T93" fmla="*/ 268 h 305"/>
                  <a:gd name="T94" fmla="*/ 191 w 303"/>
                  <a:gd name="T95" fmla="*/ 265 h 305"/>
                  <a:gd name="T96" fmla="*/ 186 w 303"/>
                  <a:gd name="T97" fmla="*/ 260 h 305"/>
                  <a:gd name="T98" fmla="*/ 176 w 303"/>
                  <a:gd name="T99" fmla="*/ 257 h 305"/>
                  <a:gd name="T100" fmla="*/ 168 w 303"/>
                  <a:gd name="T101" fmla="*/ 257 h 305"/>
                  <a:gd name="T102" fmla="*/ 153 w 303"/>
                  <a:gd name="T103" fmla="*/ 258 h 305"/>
                  <a:gd name="T104" fmla="*/ 132 w 303"/>
                  <a:gd name="T105" fmla="*/ 257 h 305"/>
                  <a:gd name="T106" fmla="*/ 134 w 303"/>
                  <a:gd name="T107" fmla="*/ 240 h 305"/>
                  <a:gd name="T108" fmla="*/ 129 w 303"/>
                  <a:gd name="T109" fmla="*/ 228 h 305"/>
                  <a:gd name="T110" fmla="*/ 128 w 303"/>
                  <a:gd name="T111" fmla="*/ 211 h 305"/>
                  <a:gd name="T112" fmla="*/ 100 w 303"/>
                  <a:gd name="T113" fmla="*/ 203 h 305"/>
                  <a:gd name="T114" fmla="*/ 98 w 303"/>
                  <a:gd name="T115" fmla="*/ 210 h 305"/>
                  <a:gd name="T116" fmla="*/ 72 w 303"/>
                  <a:gd name="T117" fmla="*/ 216 h 305"/>
                  <a:gd name="T118" fmla="*/ 52 w 303"/>
                  <a:gd name="T119" fmla="*/ 187 h 305"/>
                  <a:gd name="T120" fmla="*/ 28 w 303"/>
                  <a:gd name="T121" fmla="*/ 189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03" h="305">
                    <a:moveTo>
                      <a:pt x="0" y="180"/>
                    </a:moveTo>
                    <a:lnTo>
                      <a:pt x="28" y="158"/>
                    </a:lnTo>
                    <a:lnTo>
                      <a:pt x="28" y="156"/>
                    </a:lnTo>
                    <a:lnTo>
                      <a:pt x="29" y="156"/>
                    </a:lnTo>
                    <a:lnTo>
                      <a:pt x="30" y="155"/>
                    </a:lnTo>
                    <a:lnTo>
                      <a:pt x="33" y="154"/>
                    </a:lnTo>
                    <a:lnTo>
                      <a:pt x="34" y="152"/>
                    </a:lnTo>
                    <a:lnTo>
                      <a:pt x="39" y="152"/>
                    </a:lnTo>
                    <a:lnTo>
                      <a:pt x="41" y="152"/>
                    </a:lnTo>
                    <a:lnTo>
                      <a:pt x="45" y="152"/>
                    </a:lnTo>
                    <a:lnTo>
                      <a:pt x="47" y="154"/>
                    </a:lnTo>
                    <a:lnTo>
                      <a:pt x="48" y="154"/>
                    </a:lnTo>
                    <a:lnTo>
                      <a:pt x="50" y="155"/>
                    </a:lnTo>
                    <a:lnTo>
                      <a:pt x="52" y="154"/>
                    </a:lnTo>
                    <a:lnTo>
                      <a:pt x="54" y="154"/>
                    </a:lnTo>
                    <a:lnTo>
                      <a:pt x="56" y="151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59" y="144"/>
                    </a:lnTo>
                    <a:lnTo>
                      <a:pt x="61" y="141"/>
                    </a:lnTo>
                    <a:lnTo>
                      <a:pt x="62" y="137"/>
                    </a:lnTo>
                    <a:lnTo>
                      <a:pt x="65" y="134"/>
                    </a:lnTo>
                    <a:lnTo>
                      <a:pt x="66" y="130"/>
                    </a:lnTo>
                    <a:lnTo>
                      <a:pt x="70" y="125"/>
                    </a:lnTo>
                    <a:lnTo>
                      <a:pt x="78" y="101"/>
                    </a:lnTo>
                    <a:lnTo>
                      <a:pt x="80" y="100"/>
                    </a:lnTo>
                    <a:lnTo>
                      <a:pt x="80" y="99"/>
                    </a:lnTo>
                    <a:lnTo>
                      <a:pt x="81" y="97"/>
                    </a:lnTo>
                    <a:lnTo>
                      <a:pt x="83" y="95"/>
                    </a:lnTo>
                    <a:lnTo>
                      <a:pt x="83" y="90"/>
                    </a:lnTo>
                    <a:lnTo>
                      <a:pt x="84" y="86"/>
                    </a:lnTo>
                    <a:lnTo>
                      <a:pt x="84" y="85"/>
                    </a:lnTo>
                    <a:lnTo>
                      <a:pt x="85" y="82"/>
                    </a:lnTo>
                    <a:lnTo>
                      <a:pt x="85" y="78"/>
                    </a:lnTo>
                    <a:lnTo>
                      <a:pt x="85" y="75"/>
                    </a:lnTo>
                    <a:lnTo>
                      <a:pt x="87" y="71"/>
                    </a:lnTo>
                    <a:lnTo>
                      <a:pt x="87" y="66"/>
                    </a:lnTo>
                    <a:lnTo>
                      <a:pt x="85" y="62"/>
                    </a:lnTo>
                    <a:lnTo>
                      <a:pt x="85" y="60"/>
                    </a:lnTo>
                    <a:lnTo>
                      <a:pt x="87" y="57"/>
                    </a:lnTo>
                    <a:lnTo>
                      <a:pt x="87" y="55"/>
                    </a:lnTo>
                    <a:lnTo>
                      <a:pt x="87" y="51"/>
                    </a:lnTo>
                    <a:lnTo>
                      <a:pt x="87" y="48"/>
                    </a:lnTo>
                    <a:lnTo>
                      <a:pt x="88" y="44"/>
                    </a:lnTo>
                    <a:lnTo>
                      <a:pt x="88" y="38"/>
                    </a:lnTo>
                    <a:lnTo>
                      <a:pt x="89" y="38"/>
                    </a:lnTo>
                    <a:lnTo>
                      <a:pt x="89" y="37"/>
                    </a:lnTo>
                    <a:lnTo>
                      <a:pt x="89" y="34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89" y="24"/>
                    </a:lnTo>
                    <a:lnTo>
                      <a:pt x="88" y="22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8" y="15"/>
                    </a:lnTo>
                    <a:lnTo>
                      <a:pt x="89" y="12"/>
                    </a:lnTo>
                    <a:lnTo>
                      <a:pt x="92" y="9"/>
                    </a:lnTo>
                    <a:lnTo>
                      <a:pt x="96" y="7"/>
                    </a:lnTo>
                    <a:lnTo>
                      <a:pt x="102" y="5"/>
                    </a:lnTo>
                    <a:lnTo>
                      <a:pt x="107" y="4"/>
                    </a:lnTo>
                    <a:lnTo>
                      <a:pt x="107" y="5"/>
                    </a:lnTo>
                    <a:lnTo>
                      <a:pt x="109" y="5"/>
                    </a:lnTo>
                    <a:lnTo>
                      <a:pt x="109" y="8"/>
                    </a:lnTo>
                    <a:lnTo>
                      <a:pt x="110" y="9"/>
                    </a:lnTo>
                    <a:lnTo>
                      <a:pt x="111" y="12"/>
                    </a:lnTo>
                    <a:lnTo>
                      <a:pt x="113" y="13"/>
                    </a:lnTo>
                    <a:lnTo>
                      <a:pt x="114" y="16"/>
                    </a:lnTo>
                    <a:lnTo>
                      <a:pt x="114" y="18"/>
                    </a:lnTo>
                    <a:lnTo>
                      <a:pt x="116" y="18"/>
                    </a:lnTo>
                    <a:lnTo>
                      <a:pt x="118" y="16"/>
                    </a:lnTo>
                    <a:lnTo>
                      <a:pt x="121" y="16"/>
                    </a:lnTo>
                    <a:lnTo>
                      <a:pt x="125" y="15"/>
                    </a:lnTo>
                    <a:lnTo>
                      <a:pt x="129" y="15"/>
                    </a:lnTo>
                    <a:lnTo>
                      <a:pt x="135" y="13"/>
                    </a:lnTo>
                    <a:lnTo>
                      <a:pt x="140" y="13"/>
                    </a:lnTo>
                    <a:lnTo>
                      <a:pt x="145" y="13"/>
                    </a:lnTo>
                    <a:lnTo>
                      <a:pt x="146" y="13"/>
                    </a:lnTo>
                    <a:lnTo>
                      <a:pt x="149" y="13"/>
                    </a:lnTo>
                    <a:lnTo>
                      <a:pt x="150" y="13"/>
                    </a:lnTo>
                    <a:lnTo>
                      <a:pt x="153" y="12"/>
                    </a:lnTo>
                    <a:lnTo>
                      <a:pt x="154" y="12"/>
                    </a:lnTo>
                    <a:lnTo>
                      <a:pt x="157" y="12"/>
                    </a:lnTo>
                    <a:lnTo>
                      <a:pt x="158" y="11"/>
                    </a:lnTo>
                    <a:lnTo>
                      <a:pt x="215" y="0"/>
                    </a:lnTo>
                    <a:lnTo>
                      <a:pt x="216" y="1"/>
                    </a:lnTo>
                    <a:lnTo>
                      <a:pt x="217" y="4"/>
                    </a:lnTo>
                    <a:lnTo>
                      <a:pt x="220" y="7"/>
                    </a:lnTo>
                    <a:lnTo>
                      <a:pt x="223" y="9"/>
                    </a:lnTo>
                    <a:lnTo>
                      <a:pt x="227" y="12"/>
                    </a:lnTo>
                    <a:lnTo>
                      <a:pt x="233" y="15"/>
                    </a:lnTo>
                    <a:lnTo>
                      <a:pt x="239" y="16"/>
                    </a:lnTo>
                    <a:lnTo>
                      <a:pt x="241" y="16"/>
                    </a:lnTo>
                    <a:lnTo>
                      <a:pt x="242" y="16"/>
                    </a:lnTo>
                    <a:lnTo>
                      <a:pt x="245" y="18"/>
                    </a:lnTo>
                    <a:lnTo>
                      <a:pt x="248" y="19"/>
                    </a:lnTo>
                    <a:lnTo>
                      <a:pt x="250" y="20"/>
                    </a:lnTo>
                    <a:lnTo>
                      <a:pt x="255" y="23"/>
                    </a:lnTo>
                    <a:lnTo>
                      <a:pt x="257" y="27"/>
                    </a:lnTo>
                    <a:lnTo>
                      <a:pt x="260" y="27"/>
                    </a:lnTo>
                    <a:lnTo>
                      <a:pt x="263" y="27"/>
                    </a:lnTo>
                    <a:lnTo>
                      <a:pt x="267" y="29"/>
                    </a:lnTo>
                    <a:lnTo>
                      <a:pt x="272" y="29"/>
                    </a:lnTo>
                    <a:lnTo>
                      <a:pt x="278" y="29"/>
                    </a:lnTo>
                    <a:lnTo>
                      <a:pt x="285" y="29"/>
                    </a:lnTo>
                    <a:lnTo>
                      <a:pt x="292" y="29"/>
                    </a:lnTo>
                    <a:lnTo>
                      <a:pt x="292" y="30"/>
                    </a:lnTo>
                    <a:lnTo>
                      <a:pt x="290" y="30"/>
                    </a:lnTo>
                    <a:lnTo>
                      <a:pt x="290" y="31"/>
                    </a:lnTo>
                    <a:lnTo>
                      <a:pt x="289" y="33"/>
                    </a:lnTo>
                    <a:lnTo>
                      <a:pt x="289" y="35"/>
                    </a:lnTo>
                    <a:lnTo>
                      <a:pt x="289" y="37"/>
                    </a:lnTo>
                    <a:lnTo>
                      <a:pt x="288" y="40"/>
                    </a:lnTo>
                    <a:lnTo>
                      <a:pt x="288" y="42"/>
                    </a:lnTo>
                    <a:lnTo>
                      <a:pt x="288" y="44"/>
                    </a:lnTo>
                    <a:lnTo>
                      <a:pt x="286" y="45"/>
                    </a:lnTo>
                    <a:lnTo>
                      <a:pt x="285" y="48"/>
                    </a:lnTo>
                    <a:lnTo>
                      <a:pt x="285" y="51"/>
                    </a:lnTo>
                    <a:lnTo>
                      <a:pt x="283" y="53"/>
                    </a:lnTo>
                    <a:lnTo>
                      <a:pt x="283" y="56"/>
                    </a:lnTo>
                    <a:lnTo>
                      <a:pt x="283" y="59"/>
                    </a:lnTo>
                    <a:lnTo>
                      <a:pt x="283" y="60"/>
                    </a:lnTo>
                    <a:lnTo>
                      <a:pt x="283" y="63"/>
                    </a:lnTo>
                    <a:lnTo>
                      <a:pt x="282" y="66"/>
                    </a:lnTo>
                    <a:lnTo>
                      <a:pt x="281" y="70"/>
                    </a:lnTo>
                    <a:lnTo>
                      <a:pt x="279" y="75"/>
                    </a:lnTo>
                    <a:lnTo>
                      <a:pt x="278" y="79"/>
                    </a:lnTo>
                    <a:lnTo>
                      <a:pt x="275" y="84"/>
                    </a:lnTo>
                    <a:lnTo>
                      <a:pt x="274" y="86"/>
                    </a:lnTo>
                    <a:lnTo>
                      <a:pt x="274" y="121"/>
                    </a:lnTo>
                    <a:lnTo>
                      <a:pt x="275" y="125"/>
                    </a:lnTo>
                    <a:lnTo>
                      <a:pt x="277" y="136"/>
                    </a:lnTo>
                    <a:lnTo>
                      <a:pt x="281" y="151"/>
                    </a:lnTo>
                    <a:lnTo>
                      <a:pt x="285" y="169"/>
                    </a:lnTo>
                    <a:lnTo>
                      <a:pt x="289" y="188"/>
                    </a:lnTo>
                    <a:lnTo>
                      <a:pt x="293" y="205"/>
                    </a:lnTo>
                    <a:lnTo>
                      <a:pt x="296" y="218"/>
                    </a:lnTo>
                    <a:lnTo>
                      <a:pt x="297" y="227"/>
                    </a:lnTo>
                    <a:lnTo>
                      <a:pt x="297" y="228"/>
                    </a:lnTo>
                    <a:lnTo>
                      <a:pt x="296" y="229"/>
                    </a:lnTo>
                    <a:lnTo>
                      <a:pt x="294" y="229"/>
                    </a:lnTo>
                    <a:lnTo>
                      <a:pt x="293" y="231"/>
                    </a:lnTo>
                    <a:lnTo>
                      <a:pt x="289" y="231"/>
                    </a:lnTo>
                    <a:lnTo>
                      <a:pt x="283" y="231"/>
                    </a:lnTo>
                    <a:lnTo>
                      <a:pt x="278" y="232"/>
                    </a:lnTo>
                    <a:lnTo>
                      <a:pt x="272" y="235"/>
                    </a:lnTo>
                    <a:lnTo>
                      <a:pt x="271" y="236"/>
                    </a:lnTo>
                    <a:lnTo>
                      <a:pt x="270" y="239"/>
                    </a:lnTo>
                    <a:lnTo>
                      <a:pt x="270" y="243"/>
                    </a:lnTo>
                    <a:lnTo>
                      <a:pt x="270" y="247"/>
                    </a:lnTo>
                    <a:lnTo>
                      <a:pt x="270" y="249"/>
                    </a:lnTo>
                    <a:lnTo>
                      <a:pt x="271" y="253"/>
                    </a:lnTo>
                    <a:lnTo>
                      <a:pt x="274" y="258"/>
                    </a:lnTo>
                    <a:lnTo>
                      <a:pt x="277" y="265"/>
                    </a:lnTo>
                    <a:lnTo>
                      <a:pt x="279" y="272"/>
                    </a:lnTo>
                    <a:lnTo>
                      <a:pt x="282" y="277"/>
                    </a:lnTo>
                    <a:lnTo>
                      <a:pt x="283" y="283"/>
                    </a:lnTo>
                    <a:lnTo>
                      <a:pt x="286" y="286"/>
                    </a:lnTo>
                    <a:lnTo>
                      <a:pt x="301" y="287"/>
                    </a:lnTo>
                    <a:lnTo>
                      <a:pt x="303" y="305"/>
                    </a:lnTo>
                    <a:lnTo>
                      <a:pt x="300" y="305"/>
                    </a:lnTo>
                    <a:lnTo>
                      <a:pt x="296" y="305"/>
                    </a:lnTo>
                    <a:lnTo>
                      <a:pt x="290" y="303"/>
                    </a:lnTo>
                    <a:lnTo>
                      <a:pt x="285" y="302"/>
                    </a:lnTo>
                    <a:lnTo>
                      <a:pt x="279" y="299"/>
                    </a:lnTo>
                    <a:lnTo>
                      <a:pt x="272" y="295"/>
                    </a:lnTo>
                    <a:lnTo>
                      <a:pt x="264" y="290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2" y="273"/>
                    </a:lnTo>
                    <a:lnTo>
                      <a:pt x="250" y="273"/>
                    </a:lnTo>
                    <a:lnTo>
                      <a:pt x="248" y="273"/>
                    </a:lnTo>
                    <a:lnTo>
                      <a:pt x="246" y="272"/>
                    </a:lnTo>
                    <a:lnTo>
                      <a:pt x="245" y="269"/>
                    </a:lnTo>
                    <a:lnTo>
                      <a:pt x="245" y="266"/>
                    </a:lnTo>
                    <a:lnTo>
                      <a:pt x="245" y="268"/>
                    </a:lnTo>
                    <a:lnTo>
                      <a:pt x="244" y="269"/>
                    </a:lnTo>
                    <a:lnTo>
                      <a:pt x="244" y="271"/>
                    </a:lnTo>
                    <a:lnTo>
                      <a:pt x="242" y="272"/>
                    </a:lnTo>
                    <a:lnTo>
                      <a:pt x="239" y="273"/>
                    </a:lnTo>
                    <a:lnTo>
                      <a:pt x="238" y="273"/>
                    </a:lnTo>
                    <a:lnTo>
                      <a:pt x="235" y="273"/>
                    </a:lnTo>
                    <a:lnTo>
                      <a:pt x="234" y="273"/>
                    </a:lnTo>
                    <a:lnTo>
                      <a:pt x="230" y="273"/>
                    </a:lnTo>
                    <a:lnTo>
                      <a:pt x="224" y="272"/>
                    </a:lnTo>
                    <a:lnTo>
                      <a:pt x="217" y="271"/>
                    </a:lnTo>
                    <a:lnTo>
                      <a:pt x="211" y="269"/>
                    </a:lnTo>
                    <a:lnTo>
                      <a:pt x="204" y="268"/>
                    </a:lnTo>
                    <a:lnTo>
                      <a:pt x="198" y="266"/>
                    </a:lnTo>
                    <a:lnTo>
                      <a:pt x="194" y="266"/>
                    </a:lnTo>
                    <a:lnTo>
                      <a:pt x="193" y="265"/>
                    </a:lnTo>
                    <a:lnTo>
                      <a:pt x="191" y="265"/>
                    </a:lnTo>
                    <a:lnTo>
                      <a:pt x="190" y="264"/>
                    </a:lnTo>
                    <a:lnTo>
                      <a:pt x="189" y="262"/>
                    </a:lnTo>
                    <a:lnTo>
                      <a:pt x="187" y="261"/>
                    </a:lnTo>
                    <a:lnTo>
                      <a:pt x="186" y="260"/>
                    </a:lnTo>
                    <a:lnTo>
                      <a:pt x="184" y="258"/>
                    </a:lnTo>
                    <a:lnTo>
                      <a:pt x="183" y="258"/>
                    </a:lnTo>
                    <a:lnTo>
                      <a:pt x="180" y="258"/>
                    </a:lnTo>
                    <a:lnTo>
                      <a:pt x="176" y="257"/>
                    </a:lnTo>
                    <a:lnTo>
                      <a:pt x="173" y="258"/>
                    </a:lnTo>
                    <a:lnTo>
                      <a:pt x="172" y="258"/>
                    </a:lnTo>
                    <a:lnTo>
                      <a:pt x="171" y="258"/>
                    </a:lnTo>
                    <a:lnTo>
                      <a:pt x="168" y="257"/>
                    </a:lnTo>
                    <a:lnTo>
                      <a:pt x="165" y="257"/>
                    </a:lnTo>
                    <a:lnTo>
                      <a:pt x="161" y="257"/>
                    </a:lnTo>
                    <a:lnTo>
                      <a:pt x="157" y="258"/>
                    </a:lnTo>
                    <a:lnTo>
                      <a:pt x="153" y="258"/>
                    </a:lnTo>
                    <a:lnTo>
                      <a:pt x="147" y="260"/>
                    </a:lnTo>
                    <a:lnTo>
                      <a:pt x="131" y="260"/>
                    </a:lnTo>
                    <a:lnTo>
                      <a:pt x="131" y="258"/>
                    </a:lnTo>
                    <a:lnTo>
                      <a:pt x="132" y="257"/>
                    </a:lnTo>
                    <a:lnTo>
                      <a:pt x="132" y="253"/>
                    </a:lnTo>
                    <a:lnTo>
                      <a:pt x="134" y="249"/>
                    </a:lnTo>
                    <a:lnTo>
                      <a:pt x="134" y="244"/>
                    </a:lnTo>
                    <a:lnTo>
                      <a:pt x="134" y="240"/>
                    </a:lnTo>
                    <a:lnTo>
                      <a:pt x="132" y="236"/>
                    </a:lnTo>
                    <a:lnTo>
                      <a:pt x="131" y="232"/>
                    </a:lnTo>
                    <a:lnTo>
                      <a:pt x="129" y="231"/>
                    </a:lnTo>
                    <a:lnTo>
                      <a:pt x="129" y="228"/>
                    </a:lnTo>
                    <a:lnTo>
                      <a:pt x="128" y="224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11"/>
                    </a:lnTo>
                    <a:lnTo>
                      <a:pt x="128" y="207"/>
                    </a:lnTo>
                    <a:lnTo>
                      <a:pt x="117" y="207"/>
                    </a:lnTo>
                    <a:lnTo>
                      <a:pt x="116" y="202"/>
                    </a:lnTo>
                    <a:lnTo>
                      <a:pt x="100" y="203"/>
                    </a:lnTo>
                    <a:lnTo>
                      <a:pt x="100" y="205"/>
                    </a:lnTo>
                    <a:lnTo>
                      <a:pt x="99" y="206"/>
                    </a:lnTo>
                    <a:lnTo>
                      <a:pt x="99" y="209"/>
                    </a:lnTo>
                    <a:lnTo>
                      <a:pt x="98" y="210"/>
                    </a:lnTo>
                    <a:lnTo>
                      <a:pt x="98" y="213"/>
                    </a:lnTo>
                    <a:lnTo>
                      <a:pt x="98" y="216"/>
                    </a:lnTo>
                    <a:lnTo>
                      <a:pt x="96" y="218"/>
                    </a:lnTo>
                    <a:lnTo>
                      <a:pt x="72" y="216"/>
                    </a:lnTo>
                    <a:lnTo>
                      <a:pt x="62" y="187"/>
                    </a:lnTo>
                    <a:lnTo>
                      <a:pt x="61" y="187"/>
                    </a:lnTo>
                    <a:lnTo>
                      <a:pt x="56" y="187"/>
                    </a:lnTo>
                    <a:lnTo>
                      <a:pt x="52" y="187"/>
                    </a:lnTo>
                    <a:lnTo>
                      <a:pt x="45" y="187"/>
                    </a:lnTo>
                    <a:lnTo>
                      <a:pt x="39" y="188"/>
                    </a:lnTo>
                    <a:lnTo>
                      <a:pt x="33" y="188"/>
                    </a:lnTo>
                    <a:lnTo>
                      <a:pt x="28" y="189"/>
                    </a:lnTo>
                    <a:lnTo>
                      <a:pt x="23" y="189"/>
                    </a:lnTo>
                    <a:lnTo>
                      <a:pt x="1" y="192"/>
                    </a:lnTo>
                    <a:lnTo>
                      <a:pt x="0" y="18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7" name="Freeform 1000"/>
              <p:cNvSpPr>
                <a:spLocks/>
              </p:cNvSpPr>
              <p:nvPr/>
            </p:nvSpPr>
            <p:spPr bwMode="auto">
              <a:xfrm>
                <a:off x="3021" y="3077"/>
                <a:ext cx="232" cy="144"/>
              </a:xfrm>
              <a:custGeom>
                <a:avLst/>
                <a:gdLst>
                  <a:gd name="T0" fmla="*/ 168 w 232"/>
                  <a:gd name="T1" fmla="*/ 2 h 144"/>
                  <a:gd name="T2" fmla="*/ 161 w 232"/>
                  <a:gd name="T3" fmla="*/ 4 h 144"/>
                  <a:gd name="T4" fmla="*/ 144 w 232"/>
                  <a:gd name="T5" fmla="*/ 8 h 144"/>
                  <a:gd name="T6" fmla="*/ 142 w 232"/>
                  <a:gd name="T7" fmla="*/ 16 h 144"/>
                  <a:gd name="T8" fmla="*/ 143 w 232"/>
                  <a:gd name="T9" fmla="*/ 26 h 144"/>
                  <a:gd name="T10" fmla="*/ 151 w 232"/>
                  <a:gd name="T11" fmla="*/ 45 h 144"/>
                  <a:gd name="T12" fmla="*/ 158 w 232"/>
                  <a:gd name="T13" fmla="*/ 59 h 144"/>
                  <a:gd name="T14" fmla="*/ 175 w 232"/>
                  <a:gd name="T15" fmla="*/ 78 h 144"/>
                  <a:gd name="T16" fmla="*/ 162 w 232"/>
                  <a:gd name="T17" fmla="*/ 76 h 144"/>
                  <a:gd name="T18" fmla="*/ 144 w 232"/>
                  <a:gd name="T19" fmla="*/ 68 h 144"/>
                  <a:gd name="T20" fmla="*/ 127 w 232"/>
                  <a:gd name="T21" fmla="*/ 46 h 144"/>
                  <a:gd name="T22" fmla="*/ 122 w 232"/>
                  <a:gd name="T23" fmla="*/ 46 h 144"/>
                  <a:gd name="T24" fmla="*/ 117 w 232"/>
                  <a:gd name="T25" fmla="*/ 42 h 144"/>
                  <a:gd name="T26" fmla="*/ 117 w 232"/>
                  <a:gd name="T27" fmla="*/ 41 h 144"/>
                  <a:gd name="T28" fmla="*/ 114 w 232"/>
                  <a:gd name="T29" fmla="*/ 45 h 144"/>
                  <a:gd name="T30" fmla="*/ 107 w 232"/>
                  <a:gd name="T31" fmla="*/ 46 h 144"/>
                  <a:gd name="T32" fmla="*/ 96 w 232"/>
                  <a:gd name="T33" fmla="*/ 45 h 144"/>
                  <a:gd name="T34" fmla="*/ 76 w 232"/>
                  <a:gd name="T35" fmla="*/ 41 h 144"/>
                  <a:gd name="T36" fmla="*/ 66 w 232"/>
                  <a:gd name="T37" fmla="*/ 39 h 144"/>
                  <a:gd name="T38" fmla="*/ 62 w 232"/>
                  <a:gd name="T39" fmla="*/ 37 h 144"/>
                  <a:gd name="T40" fmla="*/ 59 w 232"/>
                  <a:gd name="T41" fmla="*/ 34 h 144"/>
                  <a:gd name="T42" fmla="*/ 59 w 232"/>
                  <a:gd name="T43" fmla="*/ 34 h 144"/>
                  <a:gd name="T44" fmla="*/ 55 w 232"/>
                  <a:gd name="T45" fmla="*/ 31 h 144"/>
                  <a:gd name="T46" fmla="*/ 45 w 232"/>
                  <a:gd name="T47" fmla="*/ 31 h 144"/>
                  <a:gd name="T48" fmla="*/ 40 w 232"/>
                  <a:gd name="T49" fmla="*/ 30 h 144"/>
                  <a:gd name="T50" fmla="*/ 29 w 232"/>
                  <a:gd name="T51" fmla="*/ 31 h 144"/>
                  <a:gd name="T52" fmla="*/ 19 w 232"/>
                  <a:gd name="T53" fmla="*/ 34 h 144"/>
                  <a:gd name="T54" fmla="*/ 19 w 232"/>
                  <a:gd name="T55" fmla="*/ 48 h 144"/>
                  <a:gd name="T56" fmla="*/ 19 w 232"/>
                  <a:gd name="T57" fmla="*/ 63 h 144"/>
                  <a:gd name="T58" fmla="*/ 0 w 232"/>
                  <a:gd name="T59" fmla="*/ 120 h 144"/>
                  <a:gd name="T60" fmla="*/ 3 w 232"/>
                  <a:gd name="T61" fmla="*/ 126 h 144"/>
                  <a:gd name="T62" fmla="*/ 12 w 232"/>
                  <a:gd name="T63" fmla="*/ 136 h 144"/>
                  <a:gd name="T64" fmla="*/ 23 w 232"/>
                  <a:gd name="T65" fmla="*/ 140 h 144"/>
                  <a:gd name="T66" fmla="*/ 32 w 232"/>
                  <a:gd name="T67" fmla="*/ 138 h 144"/>
                  <a:gd name="T68" fmla="*/ 48 w 232"/>
                  <a:gd name="T69" fmla="*/ 138 h 144"/>
                  <a:gd name="T70" fmla="*/ 61 w 232"/>
                  <a:gd name="T71" fmla="*/ 138 h 144"/>
                  <a:gd name="T72" fmla="*/ 77 w 232"/>
                  <a:gd name="T73" fmla="*/ 141 h 144"/>
                  <a:gd name="T74" fmla="*/ 94 w 232"/>
                  <a:gd name="T75" fmla="*/ 142 h 144"/>
                  <a:gd name="T76" fmla="*/ 107 w 232"/>
                  <a:gd name="T77" fmla="*/ 144 h 144"/>
                  <a:gd name="T78" fmla="*/ 129 w 232"/>
                  <a:gd name="T79" fmla="*/ 137 h 144"/>
                  <a:gd name="T80" fmla="*/ 136 w 232"/>
                  <a:gd name="T81" fmla="*/ 129 h 144"/>
                  <a:gd name="T82" fmla="*/ 230 w 232"/>
                  <a:gd name="T83" fmla="*/ 78 h 144"/>
                  <a:gd name="T84" fmla="*/ 231 w 232"/>
                  <a:gd name="T85" fmla="*/ 57 h 144"/>
                  <a:gd name="T86" fmla="*/ 224 w 232"/>
                  <a:gd name="T87" fmla="*/ 33 h 144"/>
                  <a:gd name="T88" fmla="*/ 208 w 232"/>
                  <a:gd name="T89" fmla="*/ 11 h 144"/>
                  <a:gd name="T90" fmla="*/ 191 w 232"/>
                  <a:gd name="T91" fmla="*/ 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2" h="144">
                    <a:moveTo>
                      <a:pt x="169" y="0"/>
                    </a:moveTo>
                    <a:lnTo>
                      <a:pt x="169" y="1"/>
                    </a:lnTo>
                    <a:lnTo>
                      <a:pt x="168" y="2"/>
                    </a:lnTo>
                    <a:lnTo>
                      <a:pt x="166" y="2"/>
                    </a:lnTo>
                    <a:lnTo>
                      <a:pt x="165" y="4"/>
                    </a:lnTo>
                    <a:lnTo>
                      <a:pt x="161" y="4"/>
                    </a:lnTo>
                    <a:lnTo>
                      <a:pt x="155" y="4"/>
                    </a:lnTo>
                    <a:lnTo>
                      <a:pt x="150" y="5"/>
                    </a:lnTo>
                    <a:lnTo>
                      <a:pt x="144" y="8"/>
                    </a:lnTo>
                    <a:lnTo>
                      <a:pt x="143" y="9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2" y="22"/>
                    </a:lnTo>
                    <a:lnTo>
                      <a:pt x="143" y="26"/>
                    </a:lnTo>
                    <a:lnTo>
                      <a:pt x="146" y="31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54" y="50"/>
                    </a:lnTo>
                    <a:lnTo>
                      <a:pt x="155" y="56"/>
                    </a:lnTo>
                    <a:lnTo>
                      <a:pt x="158" y="59"/>
                    </a:lnTo>
                    <a:lnTo>
                      <a:pt x="173" y="60"/>
                    </a:lnTo>
                    <a:lnTo>
                      <a:pt x="175" y="78"/>
                    </a:lnTo>
                    <a:lnTo>
                      <a:pt x="175" y="78"/>
                    </a:lnTo>
                    <a:lnTo>
                      <a:pt x="172" y="78"/>
                    </a:lnTo>
                    <a:lnTo>
                      <a:pt x="168" y="78"/>
                    </a:lnTo>
                    <a:lnTo>
                      <a:pt x="162" y="76"/>
                    </a:lnTo>
                    <a:lnTo>
                      <a:pt x="157" y="75"/>
                    </a:lnTo>
                    <a:lnTo>
                      <a:pt x="151" y="72"/>
                    </a:lnTo>
                    <a:lnTo>
                      <a:pt x="144" y="68"/>
                    </a:lnTo>
                    <a:lnTo>
                      <a:pt x="136" y="63"/>
                    </a:lnTo>
                    <a:lnTo>
                      <a:pt x="127" y="46"/>
                    </a:lnTo>
                    <a:lnTo>
                      <a:pt x="127" y="46"/>
                    </a:lnTo>
                    <a:lnTo>
                      <a:pt x="125" y="46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0" y="46"/>
                    </a:lnTo>
                    <a:lnTo>
                      <a:pt x="118" y="45"/>
                    </a:lnTo>
                    <a:lnTo>
                      <a:pt x="117" y="42"/>
                    </a:lnTo>
                    <a:lnTo>
                      <a:pt x="117" y="39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11" y="46"/>
                    </a:lnTo>
                    <a:lnTo>
                      <a:pt x="110" y="46"/>
                    </a:lnTo>
                    <a:lnTo>
                      <a:pt x="107" y="46"/>
                    </a:lnTo>
                    <a:lnTo>
                      <a:pt x="106" y="46"/>
                    </a:lnTo>
                    <a:lnTo>
                      <a:pt x="102" y="46"/>
                    </a:lnTo>
                    <a:lnTo>
                      <a:pt x="96" y="45"/>
                    </a:lnTo>
                    <a:lnTo>
                      <a:pt x="89" y="44"/>
                    </a:lnTo>
                    <a:lnTo>
                      <a:pt x="83" y="42"/>
                    </a:lnTo>
                    <a:lnTo>
                      <a:pt x="76" y="41"/>
                    </a:lnTo>
                    <a:lnTo>
                      <a:pt x="70" y="39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2" y="37"/>
                    </a:lnTo>
                    <a:lnTo>
                      <a:pt x="61" y="35"/>
                    </a:lnTo>
                    <a:lnTo>
                      <a:pt x="61" y="35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9" y="34"/>
                    </a:lnTo>
                    <a:lnTo>
                      <a:pt x="58" y="33"/>
                    </a:lnTo>
                    <a:lnTo>
                      <a:pt x="56" y="31"/>
                    </a:lnTo>
                    <a:lnTo>
                      <a:pt x="55" y="31"/>
                    </a:lnTo>
                    <a:lnTo>
                      <a:pt x="52" y="31"/>
                    </a:lnTo>
                    <a:lnTo>
                      <a:pt x="48" y="30"/>
                    </a:lnTo>
                    <a:lnTo>
                      <a:pt x="45" y="31"/>
                    </a:lnTo>
                    <a:lnTo>
                      <a:pt x="44" y="31"/>
                    </a:lnTo>
                    <a:lnTo>
                      <a:pt x="43" y="31"/>
                    </a:lnTo>
                    <a:lnTo>
                      <a:pt x="40" y="30"/>
                    </a:lnTo>
                    <a:lnTo>
                      <a:pt x="37" y="30"/>
                    </a:lnTo>
                    <a:lnTo>
                      <a:pt x="33" y="30"/>
                    </a:lnTo>
                    <a:lnTo>
                      <a:pt x="29" y="31"/>
                    </a:lnTo>
                    <a:lnTo>
                      <a:pt x="25" y="31"/>
                    </a:lnTo>
                    <a:lnTo>
                      <a:pt x="19" y="33"/>
                    </a:lnTo>
                    <a:lnTo>
                      <a:pt x="19" y="34"/>
                    </a:lnTo>
                    <a:lnTo>
                      <a:pt x="19" y="38"/>
                    </a:lnTo>
                    <a:lnTo>
                      <a:pt x="19" y="42"/>
                    </a:lnTo>
                    <a:lnTo>
                      <a:pt x="19" y="48"/>
                    </a:lnTo>
                    <a:lnTo>
                      <a:pt x="18" y="53"/>
                    </a:lnTo>
                    <a:lnTo>
                      <a:pt x="18" y="59"/>
                    </a:lnTo>
                    <a:lnTo>
                      <a:pt x="19" y="63"/>
                    </a:lnTo>
                    <a:lnTo>
                      <a:pt x="19" y="66"/>
                    </a:lnTo>
                    <a:lnTo>
                      <a:pt x="0" y="66"/>
                    </a:lnTo>
                    <a:lnTo>
                      <a:pt x="0" y="120"/>
                    </a:lnTo>
                    <a:lnTo>
                      <a:pt x="1" y="122"/>
                    </a:lnTo>
                    <a:lnTo>
                      <a:pt x="1" y="123"/>
                    </a:lnTo>
                    <a:lnTo>
                      <a:pt x="3" y="126"/>
                    </a:lnTo>
                    <a:lnTo>
                      <a:pt x="6" y="129"/>
                    </a:lnTo>
                    <a:lnTo>
                      <a:pt x="8" y="131"/>
                    </a:lnTo>
                    <a:lnTo>
                      <a:pt x="12" y="136"/>
                    </a:lnTo>
                    <a:lnTo>
                      <a:pt x="18" y="138"/>
                    </a:lnTo>
                    <a:lnTo>
                      <a:pt x="23" y="140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8" y="140"/>
                    </a:lnTo>
                    <a:lnTo>
                      <a:pt x="32" y="138"/>
                    </a:lnTo>
                    <a:lnTo>
                      <a:pt x="37" y="138"/>
                    </a:lnTo>
                    <a:lnTo>
                      <a:pt x="43" y="138"/>
                    </a:lnTo>
                    <a:lnTo>
                      <a:pt x="48" y="138"/>
                    </a:lnTo>
                    <a:lnTo>
                      <a:pt x="56" y="137"/>
                    </a:lnTo>
                    <a:lnTo>
                      <a:pt x="58" y="138"/>
                    </a:lnTo>
                    <a:lnTo>
                      <a:pt x="61" y="138"/>
                    </a:lnTo>
                    <a:lnTo>
                      <a:pt x="66" y="138"/>
                    </a:lnTo>
                    <a:lnTo>
                      <a:pt x="72" y="140"/>
                    </a:lnTo>
                    <a:lnTo>
                      <a:pt x="77" y="141"/>
                    </a:lnTo>
                    <a:lnTo>
                      <a:pt x="83" y="141"/>
                    </a:lnTo>
                    <a:lnTo>
                      <a:pt x="88" y="142"/>
                    </a:lnTo>
                    <a:lnTo>
                      <a:pt x="94" y="142"/>
                    </a:lnTo>
                    <a:lnTo>
                      <a:pt x="95" y="144"/>
                    </a:lnTo>
                    <a:lnTo>
                      <a:pt x="100" y="144"/>
                    </a:lnTo>
                    <a:lnTo>
                      <a:pt x="107" y="144"/>
                    </a:lnTo>
                    <a:lnTo>
                      <a:pt x="114" y="142"/>
                    </a:lnTo>
                    <a:lnTo>
                      <a:pt x="122" y="141"/>
                    </a:lnTo>
                    <a:lnTo>
                      <a:pt x="129" y="137"/>
                    </a:lnTo>
                    <a:lnTo>
                      <a:pt x="132" y="136"/>
                    </a:lnTo>
                    <a:lnTo>
                      <a:pt x="135" y="131"/>
                    </a:lnTo>
                    <a:lnTo>
                      <a:pt x="136" y="129"/>
                    </a:lnTo>
                    <a:lnTo>
                      <a:pt x="136" y="125"/>
                    </a:lnTo>
                    <a:lnTo>
                      <a:pt x="230" y="104"/>
                    </a:lnTo>
                    <a:lnTo>
                      <a:pt x="230" y="78"/>
                    </a:lnTo>
                    <a:lnTo>
                      <a:pt x="227" y="67"/>
                    </a:lnTo>
                    <a:lnTo>
                      <a:pt x="232" y="60"/>
                    </a:lnTo>
                    <a:lnTo>
                      <a:pt x="231" y="57"/>
                    </a:lnTo>
                    <a:lnTo>
                      <a:pt x="231" y="52"/>
                    </a:lnTo>
                    <a:lnTo>
                      <a:pt x="228" y="44"/>
                    </a:lnTo>
                    <a:lnTo>
                      <a:pt x="224" y="33"/>
                    </a:lnTo>
                    <a:lnTo>
                      <a:pt x="219" y="23"/>
                    </a:lnTo>
                    <a:lnTo>
                      <a:pt x="212" y="15"/>
                    </a:lnTo>
                    <a:lnTo>
                      <a:pt x="208" y="11"/>
                    </a:lnTo>
                    <a:lnTo>
                      <a:pt x="202" y="8"/>
                    </a:lnTo>
                    <a:lnTo>
                      <a:pt x="197" y="6"/>
                    </a:lnTo>
                    <a:lnTo>
                      <a:pt x="191" y="5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8" name="Freeform 1001"/>
              <p:cNvSpPr>
                <a:spLocks/>
              </p:cNvSpPr>
              <p:nvPr/>
            </p:nvSpPr>
            <p:spPr bwMode="auto">
              <a:xfrm>
                <a:off x="3021" y="3077"/>
                <a:ext cx="232" cy="144"/>
              </a:xfrm>
              <a:custGeom>
                <a:avLst/>
                <a:gdLst>
                  <a:gd name="T0" fmla="*/ 168 w 232"/>
                  <a:gd name="T1" fmla="*/ 2 h 144"/>
                  <a:gd name="T2" fmla="*/ 161 w 232"/>
                  <a:gd name="T3" fmla="*/ 4 h 144"/>
                  <a:gd name="T4" fmla="*/ 144 w 232"/>
                  <a:gd name="T5" fmla="*/ 8 h 144"/>
                  <a:gd name="T6" fmla="*/ 142 w 232"/>
                  <a:gd name="T7" fmla="*/ 16 h 144"/>
                  <a:gd name="T8" fmla="*/ 143 w 232"/>
                  <a:gd name="T9" fmla="*/ 26 h 144"/>
                  <a:gd name="T10" fmla="*/ 151 w 232"/>
                  <a:gd name="T11" fmla="*/ 45 h 144"/>
                  <a:gd name="T12" fmla="*/ 158 w 232"/>
                  <a:gd name="T13" fmla="*/ 59 h 144"/>
                  <a:gd name="T14" fmla="*/ 172 w 232"/>
                  <a:gd name="T15" fmla="*/ 78 h 144"/>
                  <a:gd name="T16" fmla="*/ 157 w 232"/>
                  <a:gd name="T17" fmla="*/ 75 h 144"/>
                  <a:gd name="T18" fmla="*/ 136 w 232"/>
                  <a:gd name="T19" fmla="*/ 63 h 144"/>
                  <a:gd name="T20" fmla="*/ 124 w 232"/>
                  <a:gd name="T21" fmla="*/ 46 h 144"/>
                  <a:gd name="T22" fmla="*/ 118 w 232"/>
                  <a:gd name="T23" fmla="*/ 45 h 144"/>
                  <a:gd name="T24" fmla="*/ 117 w 232"/>
                  <a:gd name="T25" fmla="*/ 41 h 144"/>
                  <a:gd name="T26" fmla="*/ 114 w 232"/>
                  <a:gd name="T27" fmla="*/ 45 h 144"/>
                  <a:gd name="T28" fmla="*/ 107 w 232"/>
                  <a:gd name="T29" fmla="*/ 46 h 144"/>
                  <a:gd name="T30" fmla="*/ 96 w 232"/>
                  <a:gd name="T31" fmla="*/ 45 h 144"/>
                  <a:gd name="T32" fmla="*/ 76 w 232"/>
                  <a:gd name="T33" fmla="*/ 41 h 144"/>
                  <a:gd name="T34" fmla="*/ 65 w 232"/>
                  <a:gd name="T35" fmla="*/ 38 h 144"/>
                  <a:gd name="T36" fmla="*/ 61 w 232"/>
                  <a:gd name="T37" fmla="*/ 35 h 144"/>
                  <a:gd name="T38" fmla="*/ 56 w 232"/>
                  <a:gd name="T39" fmla="*/ 31 h 144"/>
                  <a:gd name="T40" fmla="*/ 48 w 232"/>
                  <a:gd name="T41" fmla="*/ 30 h 144"/>
                  <a:gd name="T42" fmla="*/ 43 w 232"/>
                  <a:gd name="T43" fmla="*/ 31 h 144"/>
                  <a:gd name="T44" fmla="*/ 33 w 232"/>
                  <a:gd name="T45" fmla="*/ 30 h 144"/>
                  <a:gd name="T46" fmla="*/ 19 w 232"/>
                  <a:gd name="T47" fmla="*/ 33 h 144"/>
                  <a:gd name="T48" fmla="*/ 19 w 232"/>
                  <a:gd name="T49" fmla="*/ 42 h 144"/>
                  <a:gd name="T50" fmla="*/ 18 w 232"/>
                  <a:gd name="T51" fmla="*/ 59 h 144"/>
                  <a:gd name="T52" fmla="*/ 0 w 232"/>
                  <a:gd name="T53" fmla="*/ 66 h 144"/>
                  <a:gd name="T54" fmla="*/ 1 w 232"/>
                  <a:gd name="T55" fmla="*/ 123 h 144"/>
                  <a:gd name="T56" fmla="*/ 8 w 232"/>
                  <a:gd name="T57" fmla="*/ 131 h 144"/>
                  <a:gd name="T58" fmla="*/ 23 w 232"/>
                  <a:gd name="T59" fmla="*/ 140 h 144"/>
                  <a:gd name="T60" fmla="*/ 32 w 232"/>
                  <a:gd name="T61" fmla="*/ 138 h 144"/>
                  <a:gd name="T62" fmla="*/ 48 w 232"/>
                  <a:gd name="T63" fmla="*/ 138 h 144"/>
                  <a:gd name="T64" fmla="*/ 61 w 232"/>
                  <a:gd name="T65" fmla="*/ 138 h 144"/>
                  <a:gd name="T66" fmla="*/ 77 w 232"/>
                  <a:gd name="T67" fmla="*/ 141 h 144"/>
                  <a:gd name="T68" fmla="*/ 94 w 232"/>
                  <a:gd name="T69" fmla="*/ 142 h 144"/>
                  <a:gd name="T70" fmla="*/ 107 w 232"/>
                  <a:gd name="T71" fmla="*/ 144 h 144"/>
                  <a:gd name="T72" fmla="*/ 129 w 232"/>
                  <a:gd name="T73" fmla="*/ 137 h 144"/>
                  <a:gd name="T74" fmla="*/ 136 w 232"/>
                  <a:gd name="T75" fmla="*/ 129 h 144"/>
                  <a:gd name="T76" fmla="*/ 230 w 232"/>
                  <a:gd name="T77" fmla="*/ 78 h 144"/>
                  <a:gd name="T78" fmla="*/ 231 w 232"/>
                  <a:gd name="T79" fmla="*/ 57 h 144"/>
                  <a:gd name="T80" fmla="*/ 224 w 232"/>
                  <a:gd name="T81" fmla="*/ 33 h 144"/>
                  <a:gd name="T82" fmla="*/ 208 w 232"/>
                  <a:gd name="T83" fmla="*/ 11 h 144"/>
                  <a:gd name="T84" fmla="*/ 191 w 232"/>
                  <a:gd name="T85" fmla="*/ 5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2" h="144">
                    <a:moveTo>
                      <a:pt x="169" y="0"/>
                    </a:moveTo>
                    <a:lnTo>
                      <a:pt x="169" y="1"/>
                    </a:lnTo>
                    <a:lnTo>
                      <a:pt x="168" y="2"/>
                    </a:lnTo>
                    <a:lnTo>
                      <a:pt x="166" y="2"/>
                    </a:lnTo>
                    <a:lnTo>
                      <a:pt x="165" y="4"/>
                    </a:lnTo>
                    <a:lnTo>
                      <a:pt x="161" y="4"/>
                    </a:lnTo>
                    <a:lnTo>
                      <a:pt x="155" y="4"/>
                    </a:lnTo>
                    <a:lnTo>
                      <a:pt x="150" y="5"/>
                    </a:lnTo>
                    <a:lnTo>
                      <a:pt x="144" y="8"/>
                    </a:lnTo>
                    <a:lnTo>
                      <a:pt x="143" y="9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2" y="22"/>
                    </a:lnTo>
                    <a:lnTo>
                      <a:pt x="143" y="26"/>
                    </a:lnTo>
                    <a:lnTo>
                      <a:pt x="146" y="31"/>
                    </a:lnTo>
                    <a:lnTo>
                      <a:pt x="149" y="38"/>
                    </a:lnTo>
                    <a:lnTo>
                      <a:pt x="151" y="45"/>
                    </a:lnTo>
                    <a:lnTo>
                      <a:pt x="154" y="50"/>
                    </a:lnTo>
                    <a:lnTo>
                      <a:pt x="155" y="56"/>
                    </a:lnTo>
                    <a:lnTo>
                      <a:pt x="158" y="59"/>
                    </a:lnTo>
                    <a:lnTo>
                      <a:pt x="173" y="60"/>
                    </a:lnTo>
                    <a:lnTo>
                      <a:pt x="175" y="78"/>
                    </a:lnTo>
                    <a:lnTo>
                      <a:pt x="172" y="78"/>
                    </a:lnTo>
                    <a:lnTo>
                      <a:pt x="168" y="78"/>
                    </a:lnTo>
                    <a:lnTo>
                      <a:pt x="162" y="76"/>
                    </a:lnTo>
                    <a:lnTo>
                      <a:pt x="157" y="75"/>
                    </a:lnTo>
                    <a:lnTo>
                      <a:pt x="151" y="72"/>
                    </a:lnTo>
                    <a:lnTo>
                      <a:pt x="144" y="68"/>
                    </a:lnTo>
                    <a:lnTo>
                      <a:pt x="136" y="63"/>
                    </a:lnTo>
                    <a:lnTo>
                      <a:pt x="127" y="46"/>
                    </a:lnTo>
                    <a:lnTo>
                      <a:pt x="125" y="46"/>
                    </a:lnTo>
                    <a:lnTo>
                      <a:pt x="124" y="46"/>
                    </a:lnTo>
                    <a:lnTo>
                      <a:pt x="122" y="46"/>
                    </a:lnTo>
                    <a:lnTo>
                      <a:pt x="120" y="46"/>
                    </a:lnTo>
                    <a:lnTo>
                      <a:pt x="118" y="45"/>
                    </a:lnTo>
                    <a:lnTo>
                      <a:pt x="117" y="42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4" y="45"/>
                    </a:lnTo>
                    <a:lnTo>
                      <a:pt x="111" y="46"/>
                    </a:lnTo>
                    <a:lnTo>
                      <a:pt x="110" y="46"/>
                    </a:lnTo>
                    <a:lnTo>
                      <a:pt x="107" y="46"/>
                    </a:lnTo>
                    <a:lnTo>
                      <a:pt x="106" y="46"/>
                    </a:lnTo>
                    <a:lnTo>
                      <a:pt x="102" y="46"/>
                    </a:lnTo>
                    <a:lnTo>
                      <a:pt x="96" y="45"/>
                    </a:lnTo>
                    <a:lnTo>
                      <a:pt x="89" y="44"/>
                    </a:lnTo>
                    <a:lnTo>
                      <a:pt x="83" y="42"/>
                    </a:lnTo>
                    <a:lnTo>
                      <a:pt x="76" y="41"/>
                    </a:lnTo>
                    <a:lnTo>
                      <a:pt x="70" y="39"/>
                    </a:lnTo>
                    <a:lnTo>
                      <a:pt x="66" y="39"/>
                    </a:lnTo>
                    <a:lnTo>
                      <a:pt x="65" y="38"/>
                    </a:lnTo>
                    <a:lnTo>
                      <a:pt x="63" y="38"/>
                    </a:lnTo>
                    <a:lnTo>
                      <a:pt x="62" y="37"/>
                    </a:lnTo>
                    <a:lnTo>
                      <a:pt x="61" y="35"/>
                    </a:lnTo>
                    <a:lnTo>
                      <a:pt x="59" y="34"/>
                    </a:lnTo>
                    <a:lnTo>
                      <a:pt x="58" y="33"/>
                    </a:lnTo>
                    <a:lnTo>
                      <a:pt x="56" y="31"/>
                    </a:lnTo>
                    <a:lnTo>
                      <a:pt x="55" y="31"/>
                    </a:lnTo>
                    <a:lnTo>
                      <a:pt x="52" y="31"/>
                    </a:lnTo>
                    <a:lnTo>
                      <a:pt x="48" y="30"/>
                    </a:lnTo>
                    <a:lnTo>
                      <a:pt x="45" y="31"/>
                    </a:lnTo>
                    <a:lnTo>
                      <a:pt x="44" y="31"/>
                    </a:lnTo>
                    <a:lnTo>
                      <a:pt x="43" y="31"/>
                    </a:lnTo>
                    <a:lnTo>
                      <a:pt x="40" y="30"/>
                    </a:lnTo>
                    <a:lnTo>
                      <a:pt x="37" y="30"/>
                    </a:lnTo>
                    <a:lnTo>
                      <a:pt x="33" y="30"/>
                    </a:lnTo>
                    <a:lnTo>
                      <a:pt x="29" y="31"/>
                    </a:lnTo>
                    <a:lnTo>
                      <a:pt x="25" y="31"/>
                    </a:lnTo>
                    <a:lnTo>
                      <a:pt x="19" y="33"/>
                    </a:lnTo>
                    <a:lnTo>
                      <a:pt x="19" y="34"/>
                    </a:lnTo>
                    <a:lnTo>
                      <a:pt x="19" y="38"/>
                    </a:lnTo>
                    <a:lnTo>
                      <a:pt x="19" y="42"/>
                    </a:lnTo>
                    <a:lnTo>
                      <a:pt x="19" y="48"/>
                    </a:lnTo>
                    <a:lnTo>
                      <a:pt x="18" y="53"/>
                    </a:lnTo>
                    <a:lnTo>
                      <a:pt x="18" y="59"/>
                    </a:lnTo>
                    <a:lnTo>
                      <a:pt x="19" y="63"/>
                    </a:lnTo>
                    <a:lnTo>
                      <a:pt x="19" y="66"/>
                    </a:lnTo>
                    <a:lnTo>
                      <a:pt x="0" y="66"/>
                    </a:lnTo>
                    <a:lnTo>
                      <a:pt x="0" y="120"/>
                    </a:lnTo>
                    <a:lnTo>
                      <a:pt x="1" y="122"/>
                    </a:lnTo>
                    <a:lnTo>
                      <a:pt x="1" y="123"/>
                    </a:lnTo>
                    <a:lnTo>
                      <a:pt x="3" y="126"/>
                    </a:lnTo>
                    <a:lnTo>
                      <a:pt x="6" y="129"/>
                    </a:lnTo>
                    <a:lnTo>
                      <a:pt x="8" y="131"/>
                    </a:lnTo>
                    <a:lnTo>
                      <a:pt x="12" y="136"/>
                    </a:lnTo>
                    <a:lnTo>
                      <a:pt x="18" y="138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8" y="140"/>
                    </a:lnTo>
                    <a:lnTo>
                      <a:pt x="32" y="138"/>
                    </a:lnTo>
                    <a:lnTo>
                      <a:pt x="37" y="138"/>
                    </a:lnTo>
                    <a:lnTo>
                      <a:pt x="43" y="138"/>
                    </a:lnTo>
                    <a:lnTo>
                      <a:pt x="48" y="138"/>
                    </a:lnTo>
                    <a:lnTo>
                      <a:pt x="56" y="137"/>
                    </a:lnTo>
                    <a:lnTo>
                      <a:pt x="58" y="138"/>
                    </a:lnTo>
                    <a:lnTo>
                      <a:pt x="61" y="138"/>
                    </a:lnTo>
                    <a:lnTo>
                      <a:pt x="66" y="138"/>
                    </a:lnTo>
                    <a:lnTo>
                      <a:pt x="72" y="140"/>
                    </a:lnTo>
                    <a:lnTo>
                      <a:pt x="77" y="141"/>
                    </a:lnTo>
                    <a:lnTo>
                      <a:pt x="83" y="141"/>
                    </a:lnTo>
                    <a:lnTo>
                      <a:pt x="88" y="142"/>
                    </a:lnTo>
                    <a:lnTo>
                      <a:pt x="94" y="142"/>
                    </a:lnTo>
                    <a:lnTo>
                      <a:pt x="95" y="144"/>
                    </a:lnTo>
                    <a:lnTo>
                      <a:pt x="100" y="144"/>
                    </a:lnTo>
                    <a:lnTo>
                      <a:pt x="107" y="144"/>
                    </a:lnTo>
                    <a:lnTo>
                      <a:pt x="114" y="142"/>
                    </a:lnTo>
                    <a:lnTo>
                      <a:pt x="122" y="141"/>
                    </a:lnTo>
                    <a:lnTo>
                      <a:pt x="129" y="137"/>
                    </a:lnTo>
                    <a:lnTo>
                      <a:pt x="132" y="136"/>
                    </a:lnTo>
                    <a:lnTo>
                      <a:pt x="135" y="131"/>
                    </a:lnTo>
                    <a:lnTo>
                      <a:pt x="136" y="129"/>
                    </a:lnTo>
                    <a:lnTo>
                      <a:pt x="136" y="125"/>
                    </a:lnTo>
                    <a:lnTo>
                      <a:pt x="230" y="104"/>
                    </a:lnTo>
                    <a:lnTo>
                      <a:pt x="230" y="78"/>
                    </a:lnTo>
                    <a:lnTo>
                      <a:pt x="227" y="67"/>
                    </a:lnTo>
                    <a:lnTo>
                      <a:pt x="232" y="60"/>
                    </a:lnTo>
                    <a:lnTo>
                      <a:pt x="231" y="57"/>
                    </a:lnTo>
                    <a:lnTo>
                      <a:pt x="231" y="52"/>
                    </a:lnTo>
                    <a:lnTo>
                      <a:pt x="228" y="44"/>
                    </a:lnTo>
                    <a:lnTo>
                      <a:pt x="224" y="33"/>
                    </a:lnTo>
                    <a:lnTo>
                      <a:pt x="219" y="23"/>
                    </a:lnTo>
                    <a:lnTo>
                      <a:pt x="212" y="15"/>
                    </a:lnTo>
                    <a:lnTo>
                      <a:pt x="208" y="11"/>
                    </a:lnTo>
                    <a:lnTo>
                      <a:pt x="202" y="8"/>
                    </a:lnTo>
                    <a:lnTo>
                      <a:pt x="197" y="6"/>
                    </a:lnTo>
                    <a:lnTo>
                      <a:pt x="191" y="5"/>
                    </a:lnTo>
                    <a:lnTo>
                      <a:pt x="16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69" name="Freeform 1002"/>
              <p:cNvSpPr>
                <a:spLocks/>
              </p:cNvSpPr>
              <p:nvPr/>
            </p:nvSpPr>
            <p:spPr bwMode="auto">
              <a:xfrm>
                <a:off x="2888" y="3206"/>
                <a:ext cx="228" cy="196"/>
              </a:xfrm>
              <a:custGeom>
                <a:avLst/>
                <a:gdLst>
                  <a:gd name="T0" fmla="*/ 151 w 228"/>
                  <a:gd name="T1" fmla="*/ 11 h 196"/>
                  <a:gd name="T2" fmla="*/ 134 w 228"/>
                  <a:gd name="T3" fmla="*/ 13 h 196"/>
                  <a:gd name="T4" fmla="*/ 121 w 228"/>
                  <a:gd name="T5" fmla="*/ 16 h 196"/>
                  <a:gd name="T6" fmla="*/ 112 w 228"/>
                  <a:gd name="T7" fmla="*/ 15 h 196"/>
                  <a:gd name="T8" fmla="*/ 96 w 228"/>
                  <a:gd name="T9" fmla="*/ 13 h 196"/>
                  <a:gd name="T10" fmla="*/ 38 w 228"/>
                  <a:gd name="T11" fmla="*/ 9 h 196"/>
                  <a:gd name="T12" fmla="*/ 34 w 228"/>
                  <a:gd name="T13" fmla="*/ 9 h 196"/>
                  <a:gd name="T14" fmla="*/ 27 w 228"/>
                  <a:gd name="T15" fmla="*/ 7 h 196"/>
                  <a:gd name="T16" fmla="*/ 23 w 228"/>
                  <a:gd name="T17" fmla="*/ 2 h 196"/>
                  <a:gd name="T18" fmla="*/ 17 w 228"/>
                  <a:gd name="T19" fmla="*/ 0 h 196"/>
                  <a:gd name="T20" fmla="*/ 5 w 228"/>
                  <a:gd name="T21" fmla="*/ 0 h 196"/>
                  <a:gd name="T22" fmla="*/ 0 w 228"/>
                  <a:gd name="T23" fmla="*/ 12 h 196"/>
                  <a:gd name="T24" fmla="*/ 8 w 228"/>
                  <a:gd name="T25" fmla="*/ 30 h 196"/>
                  <a:gd name="T26" fmla="*/ 19 w 228"/>
                  <a:gd name="T27" fmla="*/ 56 h 196"/>
                  <a:gd name="T28" fmla="*/ 24 w 228"/>
                  <a:gd name="T29" fmla="*/ 77 h 196"/>
                  <a:gd name="T30" fmla="*/ 38 w 228"/>
                  <a:gd name="T31" fmla="*/ 125 h 196"/>
                  <a:gd name="T32" fmla="*/ 55 w 228"/>
                  <a:gd name="T33" fmla="*/ 161 h 196"/>
                  <a:gd name="T34" fmla="*/ 59 w 228"/>
                  <a:gd name="T35" fmla="*/ 170 h 196"/>
                  <a:gd name="T36" fmla="*/ 67 w 228"/>
                  <a:gd name="T37" fmla="*/ 187 h 196"/>
                  <a:gd name="T38" fmla="*/ 83 w 228"/>
                  <a:gd name="T39" fmla="*/ 191 h 196"/>
                  <a:gd name="T40" fmla="*/ 86 w 228"/>
                  <a:gd name="T41" fmla="*/ 188 h 196"/>
                  <a:gd name="T42" fmla="*/ 88 w 228"/>
                  <a:gd name="T43" fmla="*/ 183 h 196"/>
                  <a:gd name="T44" fmla="*/ 89 w 228"/>
                  <a:gd name="T45" fmla="*/ 180 h 196"/>
                  <a:gd name="T46" fmla="*/ 92 w 228"/>
                  <a:gd name="T47" fmla="*/ 180 h 196"/>
                  <a:gd name="T48" fmla="*/ 94 w 228"/>
                  <a:gd name="T49" fmla="*/ 180 h 196"/>
                  <a:gd name="T50" fmla="*/ 94 w 228"/>
                  <a:gd name="T51" fmla="*/ 183 h 196"/>
                  <a:gd name="T52" fmla="*/ 96 w 228"/>
                  <a:gd name="T53" fmla="*/ 189 h 196"/>
                  <a:gd name="T54" fmla="*/ 99 w 228"/>
                  <a:gd name="T55" fmla="*/ 195 h 196"/>
                  <a:gd name="T56" fmla="*/ 110 w 228"/>
                  <a:gd name="T57" fmla="*/ 196 h 196"/>
                  <a:gd name="T58" fmla="*/ 127 w 228"/>
                  <a:gd name="T59" fmla="*/ 195 h 196"/>
                  <a:gd name="T60" fmla="*/ 134 w 228"/>
                  <a:gd name="T61" fmla="*/ 71 h 196"/>
                  <a:gd name="T62" fmla="*/ 152 w 228"/>
                  <a:gd name="T63" fmla="*/ 19 h 196"/>
                  <a:gd name="T64" fmla="*/ 169 w 228"/>
                  <a:gd name="T65" fmla="*/ 18 h 196"/>
                  <a:gd name="T66" fmla="*/ 189 w 228"/>
                  <a:gd name="T67" fmla="*/ 18 h 196"/>
                  <a:gd name="T68" fmla="*/ 195 w 228"/>
                  <a:gd name="T69" fmla="*/ 19 h 196"/>
                  <a:gd name="T70" fmla="*/ 198 w 228"/>
                  <a:gd name="T71" fmla="*/ 22 h 196"/>
                  <a:gd name="T72" fmla="*/ 199 w 228"/>
                  <a:gd name="T73" fmla="*/ 26 h 196"/>
                  <a:gd name="T74" fmla="*/ 207 w 228"/>
                  <a:gd name="T75" fmla="*/ 23 h 196"/>
                  <a:gd name="T76" fmla="*/ 221 w 228"/>
                  <a:gd name="T77" fmla="*/ 16 h 196"/>
                  <a:gd name="T78" fmla="*/ 227 w 228"/>
                  <a:gd name="T79" fmla="*/ 15 h 196"/>
                  <a:gd name="T80" fmla="*/ 210 w 228"/>
                  <a:gd name="T81" fmla="*/ 12 h 196"/>
                  <a:gd name="T82" fmla="*/ 189 w 228"/>
                  <a:gd name="T83" fmla="*/ 9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28" h="196">
                    <a:moveTo>
                      <a:pt x="155" y="11"/>
                    </a:moveTo>
                    <a:lnTo>
                      <a:pt x="154" y="11"/>
                    </a:lnTo>
                    <a:lnTo>
                      <a:pt x="151" y="11"/>
                    </a:lnTo>
                    <a:lnTo>
                      <a:pt x="147" y="12"/>
                    </a:lnTo>
                    <a:lnTo>
                      <a:pt x="141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5" y="15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6" y="16"/>
                    </a:lnTo>
                    <a:lnTo>
                      <a:pt x="112" y="15"/>
                    </a:lnTo>
                    <a:lnTo>
                      <a:pt x="107" y="15"/>
                    </a:lnTo>
                    <a:lnTo>
                      <a:pt x="101" y="13"/>
                    </a:lnTo>
                    <a:lnTo>
                      <a:pt x="96" y="13"/>
                    </a:lnTo>
                    <a:lnTo>
                      <a:pt x="92" y="12"/>
                    </a:lnTo>
                    <a:lnTo>
                      <a:pt x="89" y="9"/>
                    </a:lnTo>
                    <a:lnTo>
                      <a:pt x="38" y="9"/>
                    </a:lnTo>
                    <a:lnTo>
                      <a:pt x="37" y="9"/>
                    </a:lnTo>
                    <a:lnTo>
                      <a:pt x="35" y="9"/>
                    </a:lnTo>
                    <a:lnTo>
                      <a:pt x="34" y="9"/>
                    </a:lnTo>
                    <a:lnTo>
                      <a:pt x="31" y="9"/>
                    </a:lnTo>
                    <a:lnTo>
                      <a:pt x="28" y="8"/>
                    </a:lnTo>
                    <a:lnTo>
                      <a:pt x="27" y="7"/>
                    </a:lnTo>
                    <a:lnTo>
                      <a:pt x="24" y="5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2"/>
                    </a:lnTo>
                    <a:lnTo>
                      <a:pt x="8" y="30"/>
                    </a:lnTo>
                    <a:lnTo>
                      <a:pt x="12" y="38"/>
                    </a:lnTo>
                    <a:lnTo>
                      <a:pt x="16" y="46"/>
                    </a:lnTo>
                    <a:lnTo>
                      <a:pt x="19" y="56"/>
                    </a:lnTo>
                    <a:lnTo>
                      <a:pt x="20" y="63"/>
                    </a:lnTo>
                    <a:lnTo>
                      <a:pt x="22" y="67"/>
                    </a:lnTo>
                    <a:lnTo>
                      <a:pt x="24" y="77"/>
                    </a:lnTo>
                    <a:lnTo>
                      <a:pt x="28" y="90"/>
                    </a:lnTo>
                    <a:lnTo>
                      <a:pt x="33" y="107"/>
                    </a:lnTo>
                    <a:lnTo>
                      <a:pt x="38" y="125"/>
                    </a:lnTo>
                    <a:lnTo>
                      <a:pt x="44" y="140"/>
                    </a:lnTo>
                    <a:lnTo>
                      <a:pt x="49" y="152"/>
                    </a:lnTo>
                    <a:lnTo>
                      <a:pt x="55" y="161"/>
                    </a:lnTo>
                    <a:lnTo>
                      <a:pt x="55" y="162"/>
                    </a:lnTo>
                    <a:lnTo>
                      <a:pt x="56" y="165"/>
                    </a:lnTo>
                    <a:lnTo>
                      <a:pt x="59" y="170"/>
                    </a:lnTo>
                    <a:lnTo>
                      <a:pt x="61" y="176"/>
                    </a:lnTo>
                    <a:lnTo>
                      <a:pt x="64" y="181"/>
                    </a:lnTo>
                    <a:lnTo>
                      <a:pt x="67" y="187"/>
                    </a:lnTo>
                    <a:lnTo>
                      <a:pt x="68" y="192"/>
                    </a:lnTo>
                    <a:lnTo>
                      <a:pt x="71" y="195"/>
                    </a:lnTo>
                    <a:lnTo>
                      <a:pt x="83" y="191"/>
                    </a:lnTo>
                    <a:lnTo>
                      <a:pt x="85" y="191"/>
                    </a:lnTo>
                    <a:lnTo>
                      <a:pt x="85" y="189"/>
                    </a:lnTo>
                    <a:lnTo>
                      <a:pt x="86" y="188"/>
                    </a:lnTo>
                    <a:lnTo>
                      <a:pt x="86" y="187"/>
                    </a:lnTo>
                    <a:lnTo>
                      <a:pt x="88" y="184"/>
                    </a:lnTo>
                    <a:lnTo>
                      <a:pt x="88" y="183"/>
                    </a:lnTo>
                    <a:lnTo>
                      <a:pt x="89" y="181"/>
                    </a:lnTo>
                    <a:lnTo>
                      <a:pt x="89" y="180"/>
                    </a:lnTo>
                    <a:lnTo>
                      <a:pt x="89" y="180"/>
                    </a:lnTo>
                    <a:lnTo>
                      <a:pt x="90" y="180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3" y="180"/>
                    </a:lnTo>
                    <a:lnTo>
                      <a:pt x="93" y="180"/>
                    </a:lnTo>
                    <a:lnTo>
                      <a:pt x="94" y="180"/>
                    </a:lnTo>
                    <a:lnTo>
                      <a:pt x="94" y="181"/>
                    </a:lnTo>
                    <a:lnTo>
                      <a:pt x="94" y="181"/>
                    </a:lnTo>
                    <a:lnTo>
                      <a:pt x="94" y="183"/>
                    </a:lnTo>
                    <a:lnTo>
                      <a:pt x="96" y="184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6" y="192"/>
                    </a:lnTo>
                    <a:lnTo>
                      <a:pt x="97" y="194"/>
                    </a:lnTo>
                    <a:lnTo>
                      <a:pt x="99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10" y="196"/>
                    </a:lnTo>
                    <a:lnTo>
                      <a:pt x="115" y="196"/>
                    </a:lnTo>
                    <a:lnTo>
                      <a:pt x="122" y="196"/>
                    </a:lnTo>
                    <a:lnTo>
                      <a:pt x="127" y="195"/>
                    </a:lnTo>
                    <a:lnTo>
                      <a:pt x="132" y="194"/>
                    </a:lnTo>
                    <a:lnTo>
                      <a:pt x="134" y="191"/>
                    </a:lnTo>
                    <a:lnTo>
                      <a:pt x="134" y="71"/>
                    </a:lnTo>
                    <a:lnTo>
                      <a:pt x="151" y="70"/>
                    </a:lnTo>
                    <a:lnTo>
                      <a:pt x="151" y="19"/>
                    </a:lnTo>
                    <a:lnTo>
                      <a:pt x="152" y="19"/>
                    </a:lnTo>
                    <a:lnTo>
                      <a:pt x="156" y="19"/>
                    </a:lnTo>
                    <a:lnTo>
                      <a:pt x="162" y="18"/>
                    </a:lnTo>
                    <a:lnTo>
                      <a:pt x="169" y="18"/>
                    </a:lnTo>
                    <a:lnTo>
                      <a:pt x="176" y="18"/>
                    </a:lnTo>
                    <a:lnTo>
                      <a:pt x="183" y="18"/>
                    </a:lnTo>
                    <a:lnTo>
                      <a:pt x="189" y="18"/>
                    </a:lnTo>
                    <a:lnTo>
                      <a:pt x="194" y="18"/>
                    </a:lnTo>
                    <a:lnTo>
                      <a:pt x="194" y="19"/>
                    </a:lnTo>
                    <a:lnTo>
                      <a:pt x="195" y="19"/>
                    </a:lnTo>
                    <a:lnTo>
                      <a:pt x="195" y="20"/>
                    </a:lnTo>
                    <a:lnTo>
                      <a:pt x="196" y="20"/>
                    </a:lnTo>
                    <a:lnTo>
                      <a:pt x="198" y="22"/>
                    </a:lnTo>
                    <a:lnTo>
                      <a:pt x="199" y="23"/>
                    </a:lnTo>
                    <a:lnTo>
                      <a:pt x="199" y="24"/>
                    </a:lnTo>
                    <a:lnTo>
                      <a:pt x="199" y="26"/>
                    </a:lnTo>
                    <a:lnTo>
                      <a:pt x="200" y="26"/>
                    </a:lnTo>
                    <a:lnTo>
                      <a:pt x="203" y="24"/>
                    </a:lnTo>
                    <a:lnTo>
                      <a:pt x="207" y="23"/>
                    </a:lnTo>
                    <a:lnTo>
                      <a:pt x="211" y="20"/>
                    </a:lnTo>
                    <a:lnTo>
                      <a:pt x="216" y="18"/>
                    </a:lnTo>
                    <a:lnTo>
                      <a:pt x="221" y="16"/>
                    </a:lnTo>
                    <a:lnTo>
                      <a:pt x="225" y="15"/>
                    </a:lnTo>
                    <a:lnTo>
                      <a:pt x="228" y="15"/>
                    </a:lnTo>
                    <a:lnTo>
                      <a:pt x="227" y="15"/>
                    </a:lnTo>
                    <a:lnTo>
                      <a:pt x="222" y="13"/>
                    </a:lnTo>
                    <a:lnTo>
                      <a:pt x="217" y="12"/>
                    </a:lnTo>
                    <a:lnTo>
                      <a:pt x="210" y="12"/>
                    </a:lnTo>
                    <a:lnTo>
                      <a:pt x="203" y="11"/>
                    </a:lnTo>
                    <a:lnTo>
                      <a:pt x="195" y="9"/>
                    </a:lnTo>
                    <a:lnTo>
                      <a:pt x="189" y="9"/>
                    </a:lnTo>
                    <a:lnTo>
                      <a:pt x="184" y="8"/>
                    </a:lnTo>
                    <a:lnTo>
                      <a:pt x="155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0" name="Freeform 1003"/>
              <p:cNvSpPr>
                <a:spLocks/>
              </p:cNvSpPr>
              <p:nvPr/>
            </p:nvSpPr>
            <p:spPr bwMode="auto">
              <a:xfrm>
                <a:off x="2888" y="3206"/>
                <a:ext cx="228" cy="196"/>
              </a:xfrm>
              <a:custGeom>
                <a:avLst/>
                <a:gdLst>
                  <a:gd name="T0" fmla="*/ 154 w 228"/>
                  <a:gd name="T1" fmla="*/ 11 h 196"/>
                  <a:gd name="T2" fmla="*/ 147 w 228"/>
                  <a:gd name="T3" fmla="*/ 12 h 196"/>
                  <a:gd name="T4" fmla="*/ 134 w 228"/>
                  <a:gd name="T5" fmla="*/ 13 h 196"/>
                  <a:gd name="T6" fmla="*/ 125 w 228"/>
                  <a:gd name="T7" fmla="*/ 15 h 196"/>
                  <a:gd name="T8" fmla="*/ 116 w 228"/>
                  <a:gd name="T9" fmla="*/ 16 h 196"/>
                  <a:gd name="T10" fmla="*/ 107 w 228"/>
                  <a:gd name="T11" fmla="*/ 15 h 196"/>
                  <a:gd name="T12" fmla="*/ 96 w 228"/>
                  <a:gd name="T13" fmla="*/ 13 h 196"/>
                  <a:gd name="T14" fmla="*/ 89 w 228"/>
                  <a:gd name="T15" fmla="*/ 9 h 196"/>
                  <a:gd name="T16" fmla="*/ 37 w 228"/>
                  <a:gd name="T17" fmla="*/ 9 h 196"/>
                  <a:gd name="T18" fmla="*/ 34 w 228"/>
                  <a:gd name="T19" fmla="*/ 9 h 196"/>
                  <a:gd name="T20" fmla="*/ 28 w 228"/>
                  <a:gd name="T21" fmla="*/ 8 h 196"/>
                  <a:gd name="T22" fmla="*/ 24 w 228"/>
                  <a:gd name="T23" fmla="*/ 5 h 196"/>
                  <a:gd name="T24" fmla="*/ 22 w 228"/>
                  <a:gd name="T25" fmla="*/ 1 h 196"/>
                  <a:gd name="T26" fmla="*/ 17 w 228"/>
                  <a:gd name="T27" fmla="*/ 0 h 196"/>
                  <a:gd name="T28" fmla="*/ 9 w 228"/>
                  <a:gd name="T29" fmla="*/ 0 h 196"/>
                  <a:gd name="T30" fmla="*/ 0 w 228"/>
                  <a:gd name="T31" fmla="*/ 1 h 196"/>
                  <a:gd name="T32" fmla="*/ 0 w 228"/>
                  <a:gd name="T33" fmla="*/ 12 h 196"/>
                  <a:gd name="T34" fmla="*/ 5 w 228"/>
                  <a:gd name="T35" fmla="*/ 22 h 196"/>
                  <a:gd name="T36" fmla="*/ 12 w 228"/>
                  <a:gd name="T37" fmla="*/ 38 h 196"/>
                  <a:gd name="T38" fmla="*/ 19 w 228"/>
                  <a:gd name="T39" fmla="*/ 56 h 196"/>
                  <a:gd name="T40" fmla="*/ 22 w 228"/>
                  <a:gd name="T41" fmla="*/ 67 h 196"/>
                  <a:gd name="T42" fmla="*/ 28 w 228"/>
                  <a:gd name="T43" fmla="*/ 90 h 196"/>
                  <a:gd name="T44" fmla="*/ 38 w 228"/>
                  <a:gd name="T45" fmla="*/ 125 h 196"/>
                  <a:gd name="T46" fmla="*/ 49 w 228"/>
                  <a:gd name="T47" fmla="*/ 152 h 196"/>
                  <a:gd name="T48" fmla="*/ 55 w 228"/>
                  <a:gd name="T49" fmla="*/ 162 h 196"/>
                  <a:gd name="T50" fmla="*/ 59 w 228"/>
                  <a:gd name="T51" fmla="*/ 170 h 196"/>
                  <a:gd name="T52" fmla="*/ 64 w 228"/>
                  <a:gd name="T53" fmla="*/ 181 h 196"/>
                  <a:gd name="T54" fmla="*/ 68 w 228"/>
                  <a:gd name="T55" fmla="*/ 192 h 196"/>
                  <a:gd name="T56" fmla="*/ 83 w 228"/>
                  <a:gd name="T57" fmla="*/ 191 h 196"/>
                  <a:gd name="T58" fmla="*/ 85 w 228"/>
                  <a:gd name="T59" fmla="*/ 189 h 196"/>
                  <a:gd name="T60" fmla="*/ 86 w 228"/>
                  <a:gd name="T61" fmla="*/ 187 h 196"/>
                  <a:gd name="T62" fmla="*/ 88 w 228"/>
                  <a:gd name="T63" fmla="*/ 183 h 196"/>
                  <a:gd name="T64" fmla="*/ 89 w 228"/>
                  <a:gd name="T65" fmla="*/ 180 h 196"/>
                  <a:gd name="T66" fmla="*/ 92 w 228"/>
                  <a:gd name="T67" fmla="*/ 180 h 196"/>
                  <a:gd name="T68" fmla="*/ 94 w 228"/>
                  <a:gd name="T69" fmla="*/ 180 h 196"/>
                  <a:gd name="T70" fmla="*/ 94 w 228"/>
                  <a:gd name="T71" fmla="*/ 183 h 196"/>
                  <a:gd name="T72" fmla="*/ 96 w 228"/>
                  <a:gd name="T73" fmla="*/ 187 h 196"/>
                  <a:gd name="T74" fmla="*/ 96 w 228"/>
                  <a:gd name="T75" fmla="*/ 192 h 196"/>
                  <a:gd name="T76" fmla="*/ 99 w 228"/>
                  <a:gd name="T77" fmla="*/ 195 h 196"/>
                  <a:gd name="T78" fmla="*/ 104 w 228"/>
                  <a:gd name="T79" fmla="*/ 195 h 196"/>
                  <a:gd name="T80" fmla="*/ 115 w 228"/>
                  <a:gd name="T81" fmla="*/ 196 h 196"/>
                  <a:gd name="T82" fmla="*/ 127 w 228"/>
                  <a:gd name="T83" fmla="*/ 195 h 196"/>
                  <a:gd name="T84" fmla="*/ 134 w 228"/>
                  <a:gd name="T85" fmla="*/ 191 h 196"/>
                  <a:gd name="T86" fmla="*/ 151 w 228"/>
                  <a:gd name="T87" fmla="*/ 70 h 196"/>
                  <a:gd name="T88" fmla="*/ 152 w 228"/>
                  <a:gd name="T89" fmla="*/ 19 h 196"/>
                  <a:gd name="T90" fmla="*/ 162 w 228"/>
                  <a:gd name="T91" fmla="*/ 18 h 196"/>
                  <a:gd name="T92" fmla="*/ 176 w 228"/>
                  <a:gd name="T93" fmla="*/ 18 h 196"/>
                  <a:gd name="T94" fmla="*/ 189 w 228"/>
                  <a:gd name="T95" fmla="*/ 18 h 196"/>
                  <a:gd name="T96" fmla="*/ 194 w 228"/>
                  <a:gd name="T97" fmla="*/ 19 h 196"/>
                  <a:gd name="T98" fmla="*/ 195 w 228"/>
                  <a:gd name="T99" fmla="*/ 20 h 196"/>
                  <a:gd name="T100" fmla="*/ 198 w 228"/>
                  <a:gd name="T101" fmla="*/ 22 h 196"/>
                  <a:gd name="T102" fmla="*/ 199 w 228"/>
                  <a:gd name="T103" fmla="*/ 24 h 196"/>
                  <a:gd name="T104" fmla="*/ 200 w 228"/>
                  <a:gd name="T105" fmla="*/ 26 h 196"/>
                  <a:gd name="T106" fmla="*/ 207 w 228"/>
                  <a:gd name="T107" fmla="*/ 23 h 196"/>
                  <a:gd name="T108" fmla="*/ 216 w 228"/>
                  <a:gd name="T109" fmla="*/ 18 h 196"/>
                  <a:gd name="T110" fmla="*/ 225 w 228"/>
                  <a:gd name="T111" fmla="*/ 15 h 196"/>
                  <a:gd name="T112" fmla="*/ 227 w 228"/>
                  <a:gd name="T113" fmla="*/ 15 h 196"/>
                  <a:gd name="T114" fmla="*/ 217 w 228"/>
                  <a:gd name="T115" fmla="*/ 12 h 196"/>
                  <a:gd name="T116" fmla="*/ 203 w 228"/>
                  <a:gd name="T117" fmla="*/ 11 h 196"/>
                  <a:gd name="T118" fmla="*/ 189 w 228"/>
                  <a:gd name="T119" fmla="*/ 9 h 196"/>
                  <a:gd name="T120" fmla="*/ 155 w 228"/>
                  <a:gd name="T121" fmla="*/ 11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8" h="196">
                    <a:moveTo>
                      <a:pt x="155" y="11"/>
                    </a:moveTo>
                    <a:lnTo>
                      <a:pt x="154" y="11"/>
                    </a:lnTo>
                    <a:lnTo>
                      <a:pt x="151" y="11"/>
                    </a:lnTo>
                    <a:lnTo>
                      <a:pt x="147" y="12"/>
                    </a:lnTo>
                    <a:lnTo>
                      <a:pt x="141" y="12"/>
                    </a:lnTo>
                    <a:lnTo>
                      <a:pt x="134" y="13"/>
                    </a:lnTo>
                    <a:lnTo>
                      <a:pt x="129" y="15"/>
                    </a:lnTo>
                    <a:lnTo>
                      <a:pt x="125" y="15"/>
                    </a:lnTo>
                    <a:lnTo>
                      <a:pt x="121" y="16"/>
                    </a:lnTo>
                    <a:lnTo>
                      <a:pt x="116" y="16"/>
                    </a:lnTo>
                    <a:lnTo>
                      <a:pt x="112" y="15"/>
                    </a:lnTo>
                    <a:lnTo>
                      <a:pt x="107" y="15"/>
                    </a:lnTo>
                    <a:lnTo>
                      <a:pt x="101" y="13"/>
                    </a:lnTo>
                    <a:lnTo>
                      <a:pt x="96" y="13"/>
                    </a:lnTo>
                    <a:lnTo>
                      <a:pt x="92" y="12"/>
                    </a:lnTo>
                    <a:lnTo>
                      <a:pt x="89" y="9"/>
                    </a:lnTo>
                    <a:lnTo>
                      <a:pt x="38" y="9"/>
                    </a:lnTo>
                    <a:lnTo>
                      <a:pt x="37" y="9"/>
                    </a:lnTo>
                    <a:lnTo>
                      <a:pt x="35" y="9"/>
                    </a:lnTo>
                    <a:lnTo>
                      <a:pt x="34" y="9"/>
                    </a:lnTo>
                    <a:lnTo>
                      <a:pt x="31" y="9"/>
                    </a:lnTo>
                    <a:lnTo>
                      <a:pt x="28" y="8"/>
                    </a:lnTo>
                    <a:lnTo>
                      <a:pt x="27" y="7"/>
                    </a:lnTo>
                    <a:lnTo>
                      <a:pt x="24" y="5"/>
                    </a:lnTo>
                    <a:lnTo>
                      <a:pt x="23" y="2"/>
                    </a:lnTo>
                    <a:lnTo>
                      <a:pt x="22" y="1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5" y="22"/>
                    </a:lnTo>
                    <a:lnTo>
                      <a:pt x="8" y="30"/>
                    </a:lnTo>
                    <a:lnTo>
                      <a:pt x="12" y="38"/>
                    </a:lnTo>
                    <a:lnTo>
                      <a:pt x="16" y="46"/>
                    </a:lnTo>
                    <a:lnTo>
                      <a:pt x="19" y="56"/>
                    </a:lnTo>
                    <a:lnTo>
                      <a:pt x="20" y="63"/>
                    </a:lnTo>
                    <a:lnTo>
                      <a:pt x="22" y="67"/>
                    </a:lnTo>
                    <a:lnTo>
                      <a:pt x="24" y="77"/>
                    </a:lnTo>
                    <a:lnTo>
                      <a:pt x="28" y="90"/>
                    </a:lnTo>
                    <a:lnTo>
                      <a:pt x="33" y="107"/>
                    </a:lnTo>
                    <a:lnTo>
                      <a:pt x="38" y="125"/>
                    </a:lnTo>
                    <a:lnTo>
                      <a:pt x="44" y="140"/>
                    </a:lnTo>
                    <a:lnTo>
                      <a:pt x="49" y="152"/>
                    </a:lnTo>
                    <a:lnTo>
                      <a:pt x="55" y="161"/>
                    </a:lnTo>
                    <a:lnTo>
                      <a:pt x="55" y="162"/>
                    </a:lnTo>
                    <a:lnTo>
                      <a:pt x="56" y="165"/>
                    </a:lnTo>
                    <a:lnTo>
                      <a:pt x="59" y="170"/>
                    </a:lnTo>
                    <a:lnTo>
                      <a:pt x="61" y="176"/>
                    </a:lnTo>
                    <a:lnTo>
                      <a:pt x="64" y="181"/>
                    </a:lnTo>
                    <a:lnTo>
                      <a:pt x="67" y="187"/>
                    </a:lnTo>
                    <a:lnTo>
                      <a:pt x="68" y="192"/>
                    </a:lnTo>
                    <a:lnTo>
                      <a:pt x="71" y="195"/>
                    </a:lnTo>
                    <a:lnTo>
                      <a:pt x="83" y="191"/>
                    </a:lnTo>
                    <a:lnTo>
                      <a:pt x="85" y="191"/>
                    </a:lnTo>
                    <a:lnTo>
                      <a:pt x="85" y="189"/>
                    </a:lnTo>
                    <a:lnTo>
                      <a:pt x="86" y="188"/>
                    </a:lnTo>
                    <a:lnTo>
                      <a:pt x="86" y="187"/>
                    </a:lnTo>
                    <a:lnTo>
                      <a:pt x="88" y="184"/>
                    </a:lnTo>
                    <a:lnTo>
                      <a:pt x="88" y="183"/>
                    </a:lnTo>
                    <a:lnTo>
                      <a:pt x="89" y="181"/>
                    </a:lnTo>
                    <a:lnTo>
                      <a:pt x="89" y="180"/>
                    </a:lnTo>
                    <a:lnTo>
                      <a:pt x="90" y="180"/>
                    </a:lnTo>
                    <a:lnTo>
                      <a:pt x="92" y="180"/>
                    </a:lnTo>
                    <a:lnTo>
                      <a:pt x="93" y="180"/>
                    </a:lnTo>
                    <a:lnTo>
                      <a:pt x="94" y="180"/>
                    </a:lnTo>
                    <a:lnTo>
                      <a:pt x="94" y="181"/>
                    </a:lnTo>
                    <a:lnTo>
                      <a:pt x="94" y="183"/>
                    </a:lnTo>
                    <a:lnTo>
                      <a:pt x="96" y="184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6" y="192"/>
                    </a:lnTo>
                    <a:lnTo>
                      <a:pt x="97" y="194"/>
                    </a:lnTo>
                    <a:lnTo>
                      <a:pt x="99" y="195"/>
                    </a:lnTo>
                    <a:lnTo>
                      <a:pt x="100" y="195"/>
                    </a:lnTo>
                    <a:lnTo>
                      <a:pt x="104" y="195"/>
                    </a:lnTo>
                    <a:lnTo>
                      <a:pt x="110" y="196"/>
                    </a:lnTo>
                    <a:lnTo>
                      <a:pt x="115" y="196"/>
                    </a:lnTo>
                    <a:lnTo>
                      <a:pt x="122" y="196"/>
                    </a:lnTo>
                    <a:lnTo>
                      <a:pt x="127" y="195"/>
                    </a:lnTo>
                    <a:lnTo>
                      <a:pt x="132" y="194"/>
                    </a:lnTo>
                    <a:lnTo>
                      <a:pt x="134" y="191"/>
                    </a:lnTo>
                    <a:lnTo>
                      <a:pt x="134" y="71"/>
                    </a:lnTo>
                    <a:lnTo>
                      <a:pt x="151" y="70"/>
                    </a:lnTo>
                    <a:lnTo>
                      <a:pt x="151" y="19"/>
                    </a:lnTo>
                    <a:lnTo>
                      <a:pt x="152" y="19"/>
                    </a:lnTo>
                    <a:lnTo>
                      <a:pt x="156" y="19"/>
                    </a:lnTo>
                    <a:lnTo>
                      <a:pt x="162" y="18"/>
                    </a:lnTo>
                    <a:lnTo>
                      <a:pt x="169" y="18"/>
                    </a:lnTo>
                    <a:lnTo>
                      <a:pt x="176" y="18"/>
                    </a:lnTo>
                    <a:lnTo>
                      <a:pt x="183" y="18"/>
                    </a:lnTo>
                    <a:lnTo>
                      <a:pt x="189" y="18"/>
                    </a:lnTo>
                    <a:lnTo>
                      <a:pt x="194" y="18"/>
                    </a:lnTo>
                    <a:lnTo>
                      <a:pt x="194" y="19"/>
                    </a:lnTo>
                    <a:lnTo>
                      <a:pt x="195" y="19"/>
                    </a:lnTo>
                    <a:lnTo>
                      <a:pt x="195" y="20"/>
                    </a:lnTo>
                    <a:lnTo>
                      <a:pt x="196" y="20"/>
                    </a:lnTo>
                    <a:lnTo>
                      <a:pt x="198" y="22"/>
                    </a:lnTo>
                    <a:lnTo>
                      <a:pt x="199" y="23"/>
                    </a:lnTo>
                    <a:lnTo>
                      <a:pt x="199" y="24"/>
                    </a:lnTo>
                    <a:lnTo>
                      <a:pt x="199" y="26"/>
                    </a:lnTo>
                    <a:lnTo>
                      <a:pt x="200" y="26"/>
                    </a:lnTo>
                    <a:lnTo>
                      <a:pt x="203" y="24"/>
                    </a:lnTo>
                    <a:lnTo>
                      <a:pt x="207" y="23"/>
                    </a:lnTo>
                    <a:lnTo>
                      <a:pt x="211" y="20"/>
                    </a:lnTo>
                    <a:lnTo>
                      <a:pt x="216" y="18"/>
                    </a:lnTo>
                    <a:lnTo>
                      <a:pt x="221" y="16"/>
                    </a:lnTo>
                    <a:lnTo>
                      <a:pt x="225" y="15"/>
                    </a:lnTo>
                    <a:lnTo>
                      <a:pt x="228" y="15"/>
                    </a:lnTo>
                    <a:lnTo>
                      <a:pt x="227" y="15"/>
                    </a:lnTo>
                    <a:lnTo>
                      <a:pt x="222" y="13"/>
                    </a:lnTo>
                    <a:lnTo>
                      <a:pt x="217" y="12"/>
                    </a:lnTo>
                    <a:lnTo>
                      <a:pt x="210" y="12"/>
                    </a:lnTo>
                    <a:lnTo>
                      <a:pt x="203" y="11"/>
                    </a:lnTo>
                    <a:lnTo>
                      <a:pt x="195" y="9"/>
                    </a:lnTo>
                    <a:lnTo>
                      <a:pt x="189" y="9"/>
                    </a:lnTo>
                    <a:lnTo>
                      <a:pt x="184" y="8"/>
                    </a:lnTo>
                    <a:lnTo>
                      <a:pt x="155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1" name="Freeform 1004"/>
              <p:cNvSpPr>
                <a:spLocks/>
              </p:cNvSpPr>
              <p:nvPr/>
            </p:nvSpPr>
            <p:spPr bwMode="auto">
              <a:xfrm>
                <a:off x="3022" y="3221"/>
                <a:ext cx="143" cy="165"/>
              </a:xfrm>
              <a:custGeom>
                <a:avLst/>
                <a:gdLst>
                  <a:gd name="T0" fmla="*/ 117 w 143"/>
                  <a:gd name="T1" fmla="*/ 58 h 165"/>
                  <a:gd name="T2" fmla="*/ 117 w 143"/>
                  <a:gd name="T3" fmla="*/ 53 h 165"/>
                  <a:gd name="T4" fmla="*/ 113 w 143"/>
                  <a:gd name="T5" fmla="*/ 45 h 165"/>
                  <a:gd name="T6" fmla="*/ 108 w 143"/>
                  <a:gd name="T7" fmla="*/ 38 h 165"/>
                  <a:gd name="T8" fmla="*/ 105 w 143"/>
                  <a:gd name="T9" fmla="*/ 36 h 165"/>
                  <a:gd name="T10" fmla="*/ 101 w 143"/>
                  <a:gd name="T11" fmla="*/ 29 h 165"/>
                  <a:gd name="T12" fmla="*/ 97 w 143"/>
                  <a:gd name="T13" fmla="*/ 16 h 165"/>
                  <a:gd name="T14" fmla="*/ 94 w 143"/>
                  <a:gd name="T15" fmla="*/ 5 h 165"/>
                  <a:gd name="T16" fmla="*/ 94 w 143"/>
                  <a:gd name="T17" fmla="*/ 0 h 165"/>
                  <a:gd name="T18" fmla="*/ 87 w 143"/>
                  <a:gd name="T19" fmla="*/ 1 h 165"/>
                  <a:gd name="T20" fmla="*/ 77 w 143"/>
                  <a:gd name="T21" fmla="*/ 5 h 165"/>
                  <a:gd name="T22" fmla="*/ 69 w 143"/>
                  <a:gd name="T23" fmla="*/ 9 h 165"/>
                  <a:gd name="T24" fmla="*/ 65 w 143"/>
                  <a:gd name="T25" fmla="*/ 12 h 165"/>
                  <a:gd name="T26" fmla="*/ 64 w 143"/>
                  <a:gd name="T27" fmla="*/ 7 h 165"/>
                  <a:gd name="T28" fmla="*/ 58 w 143"/>
                  <a:gd name="T29" fmla="*/ 4 h 165"/>
                  <a:gd name="T30" fmla="*/ 42 w 143"/>
                  <a:gd name="T31" fmla="*/ 3 h 165"/>
                  <a:gd name="T32" fmla="*/ 25 w 143"/>
                  <a:gd name="T33" fmla="*/ 4 h 165"/>
                  <a:gd name="T34" fmla="*/ 17 w 143"/>
                  <a:gd name="T35" fmla="*/ 5 h 165"/>
                  <a:gd name="T36" fmla="*/ 0 w 143"/>
                  <a:gd name="T37" fmla="*/ 58 h 165"/>
                  <a:gd name="T38" fmla="*/ 2 w 143"/>
                  <a:gd name="T39" fmla="*/ 121 h 165"/>
                  <a:gd name="T40" fmla="*/ 6 w 143"/>
                  <a:gd name="T41" fmla="*/ 124 h 165"/>
                  <a:gd name="T42" fmla="*/ 13 w 143"/>
                  <a:gd name="T43" fmla="*/ 130 h 165"/>
                  <a:gd name="T44" fmla="*/ 16 w 143"/>
                  <a:gd name="T45" fmla="*/ 143 h 165"/>
                  <a:gd name="T46" fmla="*/ 16 w 143"/>
                  <a:gd name="T47" fmla="*/ 151 h 165"/>
                  <a:gd name="T48" fmla="*/ 13 w 143"/>
                  <a:gd name="T49" fmla="*/ 152 h 165"/>
                  <a:gd name="T50" fmla="*/ 10 w 143"/>
                  <a:gd name="T51" fmla="*/ 157 h 165"/>
                  <a:gd name="T52" fmla="*/ 10 w 143"/>
                  <a:gd name="T53" fmla="*/ 161 h 165"/>
                  <a:gd name="T54" fmla="*/ 13 w 143"/>
                  <a:gd name="T55" fmla="*/ 165 h 165"/>
                  <a:gd name="T56" fmla="*/ 20 w 143"/>
                  <a:gd name="T57" fmla="*/ 165 h 165"/>
                  <a:gd name="T58" fmla="*/ 29 w 143"/>
                  <a:gd name="T59" fmla="*/ 162 h 165"/>
                  <a:gd name="T60" fmla="*/ 40 w 143"/>
                  <a:gd name="T61" fmla="*/ 155 h 165"/>
                  <a:gd name="T62" fmla="*/ 46 w 143"/>
                  <a:gd name="T63" fmla="*/ 150 h 165"/>
                  <a:gd name="T64" fmla="*/ 49 w 143"/>
                  <a:gd name="T65" fmla="*/ 147 h 165"/>
                  <a:gd name="T66" fmla="*/ 50 w 143"/>
                  <a:gd name="T67" fmla="*/ 141 h 165"/>
                  <a:gd name="T68" fmla="*/ 51 w 143"/>
                  <a:gd name="T69" fmla="*/ 137 h 165"/>
                  <a:gd name="T70" fmla="*/ 53 w 143"/>
                  <a:gd name="T71" fmla="*/ 135 h 165"/>
                  <a:gd name="T72" fmla="*/ 57 w 143"/>
                  <a:gd name="T73" fmla="*/ 132 h 165"/>
                  <a:gd name="T74" fmla="*/ 64 w 143"/>
                  <a:gd name="T75" fmla="*/ 130 h 165"/>
                  <a:gd name="T76" fmla="*/ 72 w 143"/>
                  <a:gd name="T77" fmla="*/ 132 h 165"/>
                  <a:gd name="T78" fmla="*/ 76 w 143"/>
                  <a:gd name="T79" fmla="*/ 136 h 165"/>
                  <a:gd name="T80" fmla="*/ 77 w 143"/>
                  <a:gd name="T81" fmla="*/ 137 h 165"/>
                  <a:gd name="T82" fmla="*/ 82 w 143"/>
                  <a:gd name="T83" fmla="*/ 139 h 165"/>
                  <a:gd name="T84" fmla="*/ 86 w 143"/>
                  <a:gd name="T85" fmla="*/ 139 h 165"/>
                  <a:gd name="T86" fmla="*/ 87 w 143"/>
                  <a:gd name="T87" fmla="*/ 137 h 165"/>
                  <a:gd name="T88" fmla="*/ 90 w 143"/>
                  <a:gd name="T89" fmla="*/ 130 h 165"/>
                  <a:gd name="T90" fmla="*/ 95 w 143"/>
                  <a:gd name="T91" fmla="*/ 121 h 165"/>
                  <a:gd name="T92" fmla="*/ 102 w 143"/>
                  <a:gd name="T93" fmla="*/ 111 h 165"/>
                  <a:gd name="T94" fmla="*/ 108 w 143"/>
                  <a:gd name="T95" fmla="*/ 108 h 165"/>
                  <a:gd name="T96" fmla="*/ 113 w 143"/>
                  <a:gd name="T97" fmla="*/ 106 h 165"/>
                  <a:gd name="T98" fmla="*/ 121 w 143"/>
                  <a:gd name="T99" fmla="*/ 103 h 165"/>
                  <a:gd name="T100" fmla="*/ 127 w 143"/>
                  <a:gd name="T101" fmla="*/ 97 h 165"/>
                  <a:gd name="T102" fmla="*/ 130 w 143"/>
                  <a:gd name="T103" fmla="*/ 96 h 165"/>
                  <a:gd name="T104" fmla="*/ 132 w 143"/>
                  <a:gd name="T105" fmla="*/ 93 h 165"/>
                  <a:gd name="T106" fmla="*/ 138 w 143"/>
                  <a:gd name="T107" fmla="*/ 91 h 165"/>
                  <a:gd name="T108" fmla="*/ 142 w 143"/>
                  <a:gd name="T109" fmla="*/ 86 h 165"/>
                  <a:gd name="T110" fmla="*/ 143 w 143"/>
                  <a:gd name="T111" fmla="*/ 84 h 165"/>
                  <a:gd name="T112" fmla="*/ 142 w 143"/>
                  <a:gd name="T113" fmla="*/ 81 h 165"/>
                  <a:gd name="T114" fmla="*/ 141 w 143"/>
                  <a:gd name="T115" fmla="*/ 78 h 165"/>
                  <a:gd name="T116" fmla="*/ 137 w 143"/>
                  <a:gd name="T117" fmla="*/ 74 h 165"/>
                  <a:gd name="T118" fmla="*/ 134 w 143"/>
                  <a:gd name="T119" fmla="*/ 73 h 165"/>
                  <a:gd name="T120" fmla="*/ 131 w 143"/>
                  <a:gd name="T121" fmla="*/ 73 h 165"/>
                  <a:gd name="T122" fmla="*/ 127 w 143"/>
                  <a:gd name="T123" fmla="*/ 70 h 165"/>
                  <a:gd name="T124" fmla="*/ 123 w 143"/>
                  <a:gd name="T125" fmla="*/ 64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3" h="165">
                    <a:moveTo>
                      <a:pt x="123" y="58"/>
                    </a:moveTo>
                    <a:lnTo>
                      <a:pt x="117" y="58"/>
                    </a:lnTo>
                    <a:lnTo>
                      <a:pt x="117" y="56"/>
                    </a:lnTo>
                    <a:lnTo>
                      <a:pt x="117" y="53"/>
                    </a:lnTo>
                    <a:lnTo>
                      <a:pt x="116" y="49"/>
                    </a:lnTo>
                    <a:lnTo>
                      <a:pt x="113" y="45"/>
                    </a:lnTo>
                    <a:lnTo>
                      <a:pt x="110" y="42"/>
                    </a:lnTo>
                    <a:lnTo>
                      <a:pt x="108" y="38"/>
                    </a:lnTo>
                    <a:lnTo>
                      <a:pt x="106" y="37"/>
                    </a:lnTo>
                    <a:lnTo>
                      <a:pt x="105" y="36"/>
                    </a:lnTo>
                    <a:lnTo>
                      <a:pt x="102" y="33"/>
                    </a:lnTo>
                    <a:lnTo>
                      <a:pt x="101" y="29"/>
                    </a:lnTo>
                    <a:lnTo>
                      <a:pt x="98" y="23"/>
                    </a:lnTo>
                    <a:lnTo>
                      <a:pt x="97" y="16"/>
                    </a:lnTo>
                    <a:lnTo>
                      <a:pt x="95" y="11"/>
                    </a:lnTo>
                    <a:lnTo>
                      <a:pt x="94" y="5"/>
                    </a:lnTo>
                    <a:lnTo>
                      <a:pt x="94" y="1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7" y="1"/>
                    </a:lnTo>
                    <a:lnTo>
                      <a:pt x="83" y="4"/>
                    </a:lnTo>
                    <a:lnTo>
                      <a:pt x="77" y="5"/>
                    </a:lnTo>
                    <a:lnTo>
                      <a:pt x="73" y="8"/>
                    </a:lnTo>
                    <a:lnTo>
                      <a:pt x="69" y="9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9"/>
                    </a:lnTo>
                    <a:lnTo>
                      <a:pt x="64" y="7"/>
                    </a:lnTo>
                    <a:lnTo>
                      <a:pt x="61" y="5"/>
                    </a:lnTo>
                    <a:lnTo>
                      <a:pt x="58" y="4"/>
                    </a:lnTo>
                    <a:lnTo>
                      <a:pt x="51" y="3"/>
                    </a:lnTo>
                    <a:lnTo>
                      <a:pt x="42" y="3"/>
                    </a:lnTo>
                    <a:lnTo>
                      <a:pt x="32" y="3"/>
                    </a:lnTo>
                    <a:lnTo>
                      <a:pt x="25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7" y="56"/>
                    </a:lnTo>
                    <a:lnTo>
                      <a:pt x="0" y="58"/>
                    </a:lnTo>
                    <a:lnTo>
                      <a:pt x="0" y="121"/>
                    </a:lnTo>
                    <a:lnTo>
                      <a:pt x="2" y="121"/>
                    </a:lnTo>
                    <a:lnTo>
                      <a:pt x="3" y="122"/>
                    </a:lnTo>
                    <a:lnTo>
                      <a:pt x="6" y="124"/>
                    </a:lnTo>
                    <a:lnTo>
                      <a:pt x="10" y="128"/>
                    </a:lnTo>
                    <a:lnTo>
                      <a:pt x="13" y="130"/>
                    </a:lnTo>
                    <a:lnTo>
                      <a:pt x="14" y="136"/>
                    </a:lnTo>
                    <a:lnTo>
                      <a:pt x="16" y="143"/>
                    </a:lnTo>
                    <a:lnTo>
                      <a:pt x="16" y="151"/>
                    </a:lnTo>
                    <a:lnTo>
                      <a:pt x="16" y="151"/>
                    </a:lnTo>
                    <a:lnTo>
                      <a:pt x="14" y="151"/>
                    </a:lnTo>
                    <a:lnTo>
                      <a:pt x="13" y="152"/>
                    </a:lnTo>
                    <a:lnTo>
                      <a:pt x="11" y="154"/>
                    </a:lnTo>
                    <a:lnTo>
                      <a:pt x="10" y="157"/>
                    </a:lnTo>
                    <a:lnTo>
                      <a:pt x="10" y="158"/>
                    </a:lnTo>
                    <a:lnTo>
                      <a:pt x="10" y="161"/>
                    </a:lnTo>
                    <a:lnTo>
                      <a:pt x="13" y="165"/>
                    </a:lnTo>
                    <a:lnTo>
                      <a:pt x="13" y="165"/>
                    </a:lnTo>
                    <a:lnTo>
                      <a:pt x="16" y="165"/>
                    </a:lnTo>
                    <a:lnTo>
                      <a:pt x="20" y="165"/>
                    </a:lnTo>
                    <a:lnTo>
                      <a:pt x="24" y="163"/>
                    </a:lnTo>
                    <a:lnTo>
                      <a:pt x="29" y="162"/>
                    </a:lnTo>
                    <a:lnTo>
                      <a:pt x="35" y="159"/>
                    </a:lnTo>
                    <a:lnTo>
                      <a:pt x="40" y="155"/>
                    </a:lnTo>
                    <a:lnTo>
                      <a:pt x="46" y="150"/>
                    </a:lnTo>
                    <a:lnTo>
                      <a:pt x="46" y="150"/>
                    </a:lnTo>
                    <a:lnTo>
                      <a:pt x="47" y="148"/>
                    </a:lnTo>
                    <a:lnTo>
                      <a:pt x="49" y="147"/>
                    </a:lnTo>
                    <a:lnTo>
                      <a:pt x="49" y="144"/>
                    </a:lnTo>
                    <a:lnTo>
                      <a:pt x="50" y="141"/>
                    </a:lnTo>
                    <a:lnTo>
                      <a:pt x="51" y="140"/>
                    </a:lnTo>
                    <a:lnTo>
                      <a:pt x="51" y="137"/>
                    </a:lnTo>
                    <a:lnTo>
                      <a:pt x="53" y="135"/>
                    </a:lnTo>
                    <a:lnTo>
                      <a:pt x="53" y="135"/>
                    </a:lnTo>
                    <a:lnTo>
                      <a:pt x="54" y="133"/>
                    </a:lnTo>
                    <a:lnTo>
                      <a:pt x="57" y="132"/>
                    </a:lnTo>
                    <a:lnTo>
                      <a:pt x="61" y="130"/>
                    </a:lnTo>
                    <a:lnTo>
                      <a:pt x="64" y="130"/>
                    </a:lnTo>
                    <a:lnTo>
                      <a:pt x="68" y="130"/>
                    </a:lnTo>
                    <a:lnTo>
                      <a:pt x="72" y="132"/>
                    </a:lnTo>
                    <a:lnTo>
                      <a:pt x="76" y="136"/>
                    </a:lnTo>
                    <a:lnTo>
                      <a:pt x="76" y="136"/>
                    </a:lnTo>
                    <a:lnTo>
                      <a:pt x="76" y="137"/>
                    </a:lnTo>
                    <a:lnTo>
                      <a:pt x="77" y="137"/>
                    </a:lnTo>
                    <a:lnTo>
                      <a:pt x="80" y="139"/>
                    </a:lnTo>
                    <a:lnTo>
                      <a:pt x="82" y="139"/>
                    </a:lnTo>
                    <a:lnTo>
                      <a:pt x="83" y="139"/>
                    </a:lnTo>
                    <a:lnTo>
                      <a:pt x="86" y="139"/>
                    </a:lnTo>
                    <a:lnTo>
                      <a:pt x="87" y="139"/>
                    </a:lnTo>
                    <a:lnTo>
                      <a:pt x="87" y="137"/>
                    </a:lnTo>
                    <a:lnTo>
                      <a:pt x="88" y="135"/>
                    </a:lnTo>
                    <a:lnTo>
                      <a:pt x="90" y="130"/>
                    </a:lnTo>
                    <a:lnTo>
                      <a:pt x="93" y="125"/>
                    </a:lnTo>
                    <a:lnTo>
                      <a:pt x="95" y="121"/>
                    </a:lnTo>
                    <a:lnTo>
                      <a:pt x="98" y="115"/>
                    </a:lnTo>
                    <a:lnTo>
                      <a:pt x="102" y="111"/>
                    </a:lnTo>
                    <a:lnTo>
                      <a:pt x="106" y="108"/>
                    </a:lnTo>
                    <a:lnTo>
                      <a:pt x="108" y="108"/>
                    </a:lnTo>
                    <a:lnTo>
                      <a:pt x="109" y="107"/>
                    </a:lnTo>
                    <a:lnTo>
                      <a:pt x="113" y="106"/>
                    </a:lnTo>
                    <a:lnTo>
                      <a:pt x="117" y="104"/>
                    </a:lnTo>
                    <a:lnTo>
                      <a:pt x="121" y="103"/>
                    </a:lnTo>
                    <a:lnTo>
                      <a:pt x="126" y="100"/>
                    </a:lnTo>
                    <a:lnTo>
                      <a:pt x="127" y="97"/>
                    </a:lnTo>
                    <a:lnTo>
                      <a:pt x="128" y="96"/>
                    </a:lnTo>
                    <a:lnTo>
                      <a:pt x="130" y="96"/>
                    </a:lnTo>
                    <a:lnTo>
                      <a:pt x="131" y="95"/>
                    </a:lnTo>
                    <a:lnTo>
                      <a:pt x="132" y="93"/>
                    </a:lnTo>
                    <a:lnTo>
                      <a:pt x="135" y="92"/>
                    </a:lnTo>
                    <a:lnTo>
                      <a:pt x="138" y="91"/>
                    </a:lnTo>
                    <a:lnTo>
                      <a:pt x="141" y="88"/>
                    </a:lnTo>
                    <a:lnTo>
                      <a:pt x="142" y="86"/>
                    </a:lnTo>
                    <a:lnTo>
                      <a:pt x="143" y="84"/>
                    </a:lnTo>
                    <a:lnTo>
                      <a:pt x="143" y="84"/>
                    </a:lnTo>
                    <a:lnTo>
                      <a:pt x="143" y="82"/>
                    </a:lnTo>
                    <a:lnTo>
                      <a:pt x="142" y="81"/>
                    </a:lnTo>
                    <a:lnTo>
                      <a:pt x="142" y="80"/>
                    </a:lnTo>
                    <a:lnTo>
                      <a:pt x="141" y="78"/>
                    </a:lnTo>
                    <a:lnTo>
                      <a:pt x="138" y="75"/>
                    </a:lnTo>
                    <a:lnTo>
                      <a:pt x="137" y="74"/>
                    </a:lnTo>
                    <a:lnTo>
                      <a:pt x="134" y="73"/>
                    </a:lnTo>
                    <a:lnTo>
                      <a:pt x="134" y="73"/>
                    </a:lnTo>
                    <a:lnTo>
                      <a:pt x="132" y="73"/>
                    </a:lnTo>
                    <a:lnTo>
                      <a:pt x="131" y="73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4" y="67"/>
                    </a:lnTo>
                    <a:lnTo>
                      <a:pt x="123" y="64"/>
                    </a:lnTo>
                    <a:lnTo>
                      <a:pt x="123" y="5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2" name="Freeform 1005"/>
              <p:cNvSpPr>
                <a:spLocks/>
              </p:cNvSpPr>
              <p:nvPr/>
            </p:nvSpPr>
            <p:spPr bwMode="auto">
              <a:xfrm>
                <a:off x="3022" y="3221"/>
                <a:ext cx="143" cy="165"/>
              </a:xfrm>
              <a:custGeom>
                <a:avLst/>
                <a:gdLst>
                  <a:gd name="T0" fmla="*/ 117 w 143"/>
                  <a:gd name="T1" fmla="*/ 58 h 165"/>
                  <a:gd name="T2" fmla="*/ 117 w 143"/>
                  <a:gd name="T3" fmla="*/ 53 h 165"/>
                  <a:gd name="T4" fmla="*/ 113 w 143"/>
                  <a:gd name="T5" fmla="*/ 45 h 165"/>
                  <a:gd name="T6" fmla="*/ 108 w 143"/>
                  <a:gd name="T7" fmla="*/ 38 h 165"/>
                  <a:gd name="T8" fmla="*/ 105 w 143"/>
                  <a:gd name="T9" fmla="*/ 36 h 165"/>
                  <a:gd name="T10" fmla="*/ 101 w 143"/>
                  <a:gd name="T11" fmla="*/ 29 h 165"/>
                  <a:gd name="T12" fmla="*/ 97 w 143"/>
                  <a:gd name="T13" fmla="*/ 16 h 165"/>
                  <a:gd name="T14" fmla="*/ 94 w 143"/>
                  <a:gd name="T15" fmla="*/ 5 h 165"/>
                  <a:gd name="T16" fmla="*/ 94 w 143"/>
                  <a:gd name="T17" fmla="*/ 0 h 165"/>
                  <a:gd name="T18" fmla="*/ 87 w 143"/>
                  <a:gd name="T19" fmla="*/ 1 h 165"/>
                  <a:gd name="T20" fmla="*/ 77 w 143"/>
                  <a:gd name="T21" fmla="*/ 5 h 165"/>
                  <a:gd name="T22" fmla="*/ 69 w 143"/>
                  <a:gd name="T23" fmla="*/ 9 h 165"/>
                  <a:gd name="T24" fmla="*/ 65 w 143"/>
                  <a:gd name="T25" fmla="*/ 12 h 165"/>
                  <a:gd name="T26" fmla="*/ 64 w 143"/>
                  <a:gd name="T27" fmla="*/ 7 h 165"/>
                  <a:gd name="T28" fmla="*/ 58 w 143"/>
                  <a:gd name="T29" fmla="*/ 4 h 165"/>
                  <a:gd name="T30" fmla="*/ 42 w 143"/>
                  <a:gd name="T31" fmla="*/ 3 h 165"/>
                  <a:gd name="T32" fmla="*/ 25 w 143"/>
                  <a:gd name="T33" fmla="*/ 4 h 165"/>
                  <a:gd name="T34" fmla="*/ 17 w 143"/>
                  <a:gd name="T35" fmla="*/ 5 h 165"/>
                  <a:gd name="T36" fmla="*/ 0 w 143"/>
                  <a:gd name="T37" fmla="*/ 58 h 165"/>
                  <a:gd name="T38" fmla="*/ 2 w 143"/>
                  <a:gd name="T39" fmla="*/ 121 h 165"/>
                  <a:gd name="T40" fmla="*/ 6 w 143"/>
                  <a:gd name="T41" fmla="*/ 124 h 165"/>
                  <a:gd name="T42" fmla="*/ 13 w 143"/>
                  <a:gd name="T43" fmla="*/ 130 h 165"/>
                  <a:gd name="T44" fmla="*/ 16 w 143"/>
                  <a:gd name="T45" fmla="*/ 143 h 165"/>
                  <a:gd name="T46" fmla="*/ 14 w 143"/>
                  <a:gd name="T47" fmla="*/ 151 h 165"/>
                  <a:gd name="T48" fmla="*/ 11 w 143"/>
                  <a:gd name="T49" fmla="*/ 154 h 165"/>
                  <a:gd name="T50" fmla="*/ 10 w 143"/>
                  <a:gd name="T51" fmla="*/ 158 h 165"/>
                  <a:gd name="T52" fmla="*/ 13 w 143"/>
                  <a:gd name="T53" fmla="*/ 165 h 165"/>
                  <a:gd name="T54" fmla="*/ 20 w 143"/>
                  <a:gd name="T55" fmla="*/ 165 h 165"/>
                  <a:gd name="T56" fmla="*/ 29 w 143"/>
                  <a:gd name="T57" fmla="*/ 162 h 165"/>
                  <a:gd name="T58" fmla="*/ 40 w 143"/>
                  <a:gd name="T59" fmla="*/ 155 h 165"/>
                  <a:gd name="T60" fmla="*/ 47 w 143"/>
                  <a:gd name="T61" fmla="*/ 148 h 165"/>
                  <a:gd name="T62" fmla="*/ 49 w 143"/>
                  <a:gd name="T63" fmla="*/ 144 h 165"/>
                  <a:gd name="T64" fmla="*/ 51 w 143"/>
                  <a:gd name="T65" fmla="*/ 140 h 165"/>
                  <a:gd name="T66" fmla="*/ 53 w 143"/>
                  <a:gd name="T67" fmla="*/ 135 h 165"/>
                  <a:gd name="T68" fmla="*/ 57 w 143"/>
                  <a:gd name="T69" fmla="*/ 132 h 165"/>
                  <a:gd name="T70" fmla="*/ 64 w 143"/>
                  <a:gd name="T71" fmla="*/ 130 h 165"/>
                  <a:gd name="T72" fmla="*/ 72 w 143"/>
                  <a:gd name="T73" fmla="*/ 132 h 165"/>
                  <a:gd name="T74" fmla="*/ 76 w 143"/>
                  <a:gd name="T75" fmla="*/ 137 h 165"/>
                  <a:gd name="T76" fmla="*/ 80 w 143"/>
                  <a:gd name="T77" fmla="*/ 139 h 165"/>
                  <a:gd name="T78" fmla="*/ 83 w 143"/>
                  <a:gd name="T79" fmla="*/ 139 h 165"/>
                  <a:gd name="T80" fmla="*/ 87 w 143"/>
                  <a:gd name="T81" fmla="*/ 139 h 165"/>
                  <a:gd name="T82" fmla="*/ 88 w 143"/>
                  <a:gd name="T83" fmla="*/ 135 h 165"/>
                  <a:gd name="T84" fmla="*/ 93 w 143"/>
                  <a:gd name="T85" fmla="*/ 125 h 165"/>
                  <a:gd name="T86" fmla="*/ 98 w 143"/>
                  <a:gd name="T87" fmla="*/ 115 h 165"/>
                  <a:gd name="T88" fmla="*/ 106 w 143"/>
                  <a:gd name="T89" fmla="*/ 108 h 165"/>
                  <a:gd name="T90" fmla="*/ 109 w 143"/>
                  <a:gd name="T91" fmla="*/ 107 h 165"/>
                  <a:gd name="T92" fmla="*/ 117 w 143"/>
                  <a:gd name="T93" fmla="*/ 104 h 165"/>
                  <a:gd name="T94" fmla="*/ 126 w 143"/>
                  <a:gd name="T95" fmla="*/ 100 h 165"/>
                  <a:gd name="T96" fmla="*/ 128 w 143"/>
                  <a:gd name="T97" fmla="*/ 96 h 165"/>
                  <a:gd name="T98" fmla="*/ 131 w 143"/>
                  <a:gd name="T99" fmla="*/ 95 h 165"/>
                  <a:gd name="T100" fmla="*/ 135 w 143"/>
                  <a:gd name="T101" fmla="*/ 92 h 165"/>
                  <a:gd name="T102" fmla="*/ 141 w 143"/>
                  <a:gd name="T103" fmla="*/ 88 h 165"/>
                  <a:gd name="T104" fmla="*/ 143 w 143"/>
                  <a:gd name="T105" fmla="*/ 84 h 165"/>
                  <a:gd name="T106" fmla="*/ 142 w 143"/>
                  <a:gd name="T107" fmla="*/ 81 h 165"/>
                  <a:gd name="T108" fmla="*/ 141 w 143"/>
                  <a:gd name="T109" fmla="*/ 78 h 165"/>
                  <a:gd name="T110" fmla="*/ 137 w 143"/>
                  <a:gd name="T111" fmla="*/ 74 h 165"/>
                  <a:gd name="T112" fmla="*/ 132 w 143"/>
                  <a:gd name="T113" fmla="*/ 73 h 165"/>
                  <a:gd name="T114" fmla="*/ 128 w 143"/>
                  <a:gd name="T115" fmla="*/ 71 h 165"/>
                  <a:gd name="T116" fmla="*/ 124 w 143"/>
                  <a:gd name="T117" fmla="*/ 67 h 165"/>
                  <a:gd name="T118" fmla="*/ 123 w 143"/>
                  <a:gd name="T119" fmla="*/ 58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3" h="165">
                    <a:moveTo>
                      <a:pt x="123" y="58"/>
                    </a:moveTo>
                    <a:lnTo>
                      <a:pt x="117" y="58"/>
                    </a:lnTo>
                    <a:lnTo>
                      <a:pt x="117" y="56"/>
                    </a:lnTo>
                    <a:lnTo>
                      <a:pt x="117" y="53"/>
                    </a:lnTo>
                    <a:lnTo>
                      <a:pt x="116" y="49"/>
                    </a:lnTo>
                    <a:lnTo>
                      <a:pt x="113" y="45"/>
                    </a:lnTo>
                    <a:lnTo>
                      <a:pt x="110" y="42"/>
                    </a:lnTo>
                    <a:lnTo>
                      <a:pt x="108" y="38"/>
                    </a:lnTo>
                    <a:lnTo>
                      <a:pt x="106" y="37"/>
                    </a:lnTo>
                    <a:lnTo>
                      <a:pt x="105" y="36"/>
                    </a:lnTo>
                    <a:lnTo>
                      <a:pt x="102" y="33"/>
                    </a:lnTo>
                    <a:lnTo>
                      <a:pt x="101" y="29"/>
                    </a:lnTo>
                    <a:lnTo>
                      <a:pt x="98" y="23"/>
                    </a:lnTo>
                    <a:lnTo>
                      <a:pt x="97" y="16"/>
                    </a:lnTo>
                    <a:lnTo>
                      <a:pt x="95" y="11"/>
                    </a:lnTo>
                    <a:lnTo>
                      <a:pt x="94" y="5"/>
                    </a:lnTo>
                    <a:lnTo>
                      <a:pt x="94" y="1"/>
                    </a:lnTo>
                    <a:lnTo>
                      <a:pt x="94" y="0"/>
                    </a:lnTo>
                    <a:lnTo>
                      <a:pt x="91" y="0"/>
                    </a:lnTo>
                    <a:lnTo>
                      <a:pt x="87" y="1"/>
                    </a:lnTo>
                    <a:lnTo>
                      <a:pt x="83" y="4"/>
                    </a:lnTo>
                    <a:lnTo>
                      <a:pt x="77" y="5"/>
                    </a:lnTo>
                    <a:lnTo>
                      <a:pt x="73" y="8"/>
                    </a:lnTo>
                    <a:lnTo>
                      <a:pt x="69" y="9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5" y="9"/>
                    </a:lnTo>
                    <a:lnTo>
                      <a:pt x="64" y="7"/>
                    </a:lnTo>
                    <a:lnTo>
                      <a:pt x="61" y="5"/>
                    </a:lnTo>
                    <a:lnTo>
                      <a:pt x="58" y="4"/>
                    </a:lnTo>
                    <a:lnTo>
                      <a:pt x="51" y="3"/>
                    </a:lnTo>
                    <a:lnTo>
                      <a:pt x="42" y="3"/>
                    </a:lnTo>
                    <a:lnTo>
                      <a:pt x="32" y="3"/>
                    </a:lnTo>
                    <a:lnTo>
                      <a:pt x="25" y="4"/>
                    </a:lnTo>
                    <a:lnTo>
                      <a:pt x="18" y="5"/>
                    </a:lnTo>
                    <a:lnTo>
                      <a:pt x="17" y="5"/>
                    </a:lnTo>
                    <a:lnTo>
                      <a:pt x="17" y="56"/>
                    </a:lnTo>
                    <a:lnTo>
                      <a:pt x="0" y="58"/>
                    </a:lnTo>
                    <a:lnTo>
                      <a:pt x="0" y="121"/>
                    </a:lnTo>
                    <a:lnTo>
                      <a:pt x="2" y="121"/>
                    </a:lnTo>
                    <a:lnTo>
                      <a:pt x="3" y="122"/>
                    </a:lnTo>
                    <a:lnTo>
                      <a:pt x="6" y="124"/>
                    </a:lnTo>
                    <a:lnTo>
                      <a:pt x="10" y="128"/>
                    </a:lnTo>
                    <a:lnTo>
                      <a:pt x="13" y="130"/>
                    </a:lnTo>
                    <a:lnTo>
                      <a:pt x="14" y="136"/>
                    </a:lnTo>
                    <a:lnTo>
                      <a:pt x="16" y="143"/>
                    </a:lnTo>
                    <a:lnTo>
                      <a:pt x="16" y="151"/>
                    </a:lnTo>
                    <a:lnTo>
                      <a:pt x="14" y="151"/>
                    </a:lnTo>
                    <a:lnTo>
                      <a:pt x="13" y="152"/>
                    </a:lnTo>
                    <a:lnTo>
                      <a:pt x="11" y="154"/>
                    </a:lnTo>
                    <a:lnTo>
                      <a:pt x="10" y="157"/>
                    </a:lnTo>
                    <a:lnTo>
                      <a:pt x="10" y="158"/>
                    </a:lnTo>
                    <a:lnTo>
                      <a:pt x="10" y="161"/>
                    </a:lnTo>
                    <a:lnTo>
                      <a:pt x="13" y="165"/>
                    </a:lnTo>
                    <a:lnTo>
                      <a:pt x="16" y="165"/>
                    </a:lnTo>
                    <a:lnTo>
                      <a:pt x="20" y="165"/>
                    </a:lnTo>
                    <a:lnTo>
                      <a:pt x="24" y="163"/>
                    </a:lnTo>
                    <a:lnTo>
                      <a:pt x="29" y="162"/>
                    </a:lnTo>
                    <a:lnTo>
                      <a:pt x="35" y="159"/>
                    </a:lnTo>
                    <a:lnTo>
                      <a:pt x="40" y="155"/>
                    </a:lnTo>
                    <a:lnTo>
                      <a:pt x="46" y="150"/>
                    </a:lnTo>
                    <a:lnTo>
                      <a:pt x="47" y="148"/>
                    </a:lnTo>
                    <a:lnTo>
                      <a:pt x="49" y="147"/>
                    </a:lnTo>
                    <a:lnTo>
                      <a:pt x="49" y="144"/>
                    </a:lnTo>
                    <a:lnTo>
                      <a:pt x="50" y="141"/>
                    </a:lnTo>
                    <a:lnTo>
                      <a:pt x="51" y="140"/>
                    </a:lnTo>
                    <a:lnTo>
                      <a:pt x="51" y="137"/>
                    </a:lnTo>
                    <a:lnTo>
                      <a:pt x="53" y="135"/>
                    </a:lnTo>
                    <a:lnTo>
                      <a:pt x="54" y="133"/>
                    </a:lnTo>
                    <a:lnTo>
                      <a:pt x="57" y="132"/>
                    </a:lnTo>
                    <a:lnTo>
                      <a:pt x="61" y="130"/>
                    </a:lnTo>
                    <a:lnTo>
                      <a:pt x="64" y="130"/>
                    </a:lnTo>
                    <a:lnTo>
                      <a:pt x="68" y="130"/>
                    </a:lnTo>
                    <a:lnTo>
                      <a:pt x="72" y="132"/>
                    </a:lnTo>
                    <a:lnTo>
                      <a:pt x="76" y="136"/>
                    </a:lnTo>
                    <a:lnTo>
                      <a:pt x="76" y="137"/>
                    </a:lnTo>
                    <a:lnTo>
                      <a:pt x="77" y="137"/>
                    </a:lnTo>
                    <a:lnTo>
                      <a:pt x="80" y="139"/>
                    </a:lnTo>
                    <a:lnTo>
                      <a:pt x="82" y="139"/>
                    </a:lnTo>
                    <a:lnTo>
                      <a:pt x="83" y="139"/>
                    </a:lnTo>
                    <a:lnTo>
                      <a:pt x="86" y="139"/>
                    </a:lnTo>
                    <a:lnTo>
                      <a:pt x="87" y="139"/>
                    </a:lnTo>
                    <a:lnTo>
                      <a:pt x="87" y="137"/>
                    </a:lnTo>
                    <a:lnTo>
                      <a:pt x="88" y="135"/>
                    </a:lnTo>
                    <a:lnTo>
                      <a:pt x="90" y="130"/>
                    </a:lnTo>
                    <a:lnTo>
                      <a:pt x="93" y="125"/>
                    </a:lnTo>
                    <a:lnTo>
                      <a:pt x="95" y="121"/>
                    </a:lnTo>
                    <a:lnTo>
                      <a:pt x="98" y="115"/>
                    </a:lnTo>
                    <a:lnTo>
                      <a:pt x="102" y="111"/>
                    </a:lnTo>
                    <a:lnTo>
                      <a:pt x="106" y="108"/>
                    </a:lnTo>
                    <a:lnTo>
                      <a:pt x="108" y="108"/>
                    </a:lnTo>
                    <a:lnTo>
                      <a:pt x="109" y="107"/>
                    </a:lnTo>
                    <a:lnTo>
                      <a:pt x="113" y="106"/>
                    </a:lnTo>
                    <a:lnTo>
                      <a:pt x="117" y="104"/>
                    </a:lnTo>
                    <a:lnTo>
                      <a:pt x="121" y="103"/>
                    </a:lnTo>
                    <a:lnTo>
                      <a:pt x="126" y="100"/>
                    </a:lnTo>
                    <a:lnTo>
                      <a:pt x="127" y="97"/>
                    </a:lnTo>
                    <a:lnTo>
                      <a:pt x="128" y="96"/>
                    </a:lnTo>
                    <a:lnTo>
                      <a:pt x="130" y="96"/>
                    </a:lnTo>
                    <a:lnTo>
                      <a:pt x="131" y="95"/>
                    </a:lnTo>
                    <a:lnTo>
                      <a:pt x="132" y="93"/>
                    </a:lnTo>
                    <a:lnTo>
                      <a:pt x="135" y="92"/>
                    </a:lnTo>
                    <a:lnTo>
                      <a:pt x="138" y="91"/>
                    </a:lnTo>
                    <a:lnTo>
                      <a:pt x="141" y="88"/>
                    </a:lnTo>
                    <a:lnTo>
                      <a:pt x="142" y="86"/>
                    </a:lnTo>
                    <a:lnTo>
                      <a:pt x="143" y="84"/>
                    </a:lnTo>
                    <a:lnTo>
                      <a:pt x="143" y="82"/>
                    </a:lnTo>
                    <a:lnTo>
                      <a:pt x="142" y="81"/>
                    </a:lnTo>
                    <a:lnTo>
                      <a:pt x="142" y="80"/>
                    </a:lnTo>
                    <a:lnTo>
                      <a:pt x="141" y="78"/>
                    </a:lnTo>
                    <a:lnTo>
                      <a:pt x="138" y="75"/>
                    </a:lnTo>
                    <a:lnTo>
                      <a:pt x="137" y="74"/>
                    </a:lnTo>
                    <a:lnTo>
                      <a:pt x="134" y="73"/>
                    </a:lnTo>
                    <a:lnTo>
                      <a:pt x="132" y="73"/>
                    </a:lnTo>
                    <a:lnTo>
                      <a:pt x="131" y="73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4" y="67"/>
                    </a:lnTo>
                    <a:lnTo>
                      <a:pt x="123" y="64"/>
                    </a:lnTo>
                    <a:lnTo>
                      <a:pt x="123" y="5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3" name="Freeform 1006"/>
              <p:cNvSpPr>
                <a:spLocks/>
              </p:cNvSpPr>
              <p:nvPr/>
            </p:nvSpPr>
            <p:spPr bwMode="auto">
              <a:xfrm>
                <a:off x="3353" y="2751"/>
                <a:ext cx="138" cy="195"/>
              </a:xfrm>
              <a:custGeom>
                <a:avLst/>
                <a:gdLst>
                  <a:gd name="T0" fmla="*/ 5 w 138"/>
                  <a:gd name="T1" fmla="*/ 195 h 195"/>
                  <a:gd name="T2" fmla="*/ 33 w 138"/>
                  <a:gd name="T3" fmla="*/ 176 h 195"/>
                  <a:gd name="T4" fmla="*/ 35 w 138"/>
                  <a:gd name="T5" fmla="*/ 173 h 195"/>
                  <a:gd name="T6" fmla="*/ 41 w 138"/>
                  <a:gd name="T7" fmla="*/ 167 h 195"/>
                  <a:gd name="T8" fmla="*/ 49 w 138"/>
                  <a:gd name="T9" fmla="*/ 159 h 195"/>
                  <a:gd name="T10" fmla="*/ 59 w 138"/>
                  <a:gd name="T11" fmla="*/ 150 h 195"/>
                  <a:gd name="T12" fmla="*/ 68 w 138"/>
                  <a:gd name="T13" fmla="*/ 137 h 195"/>
                  <a:gd name="T14" fmla="*/ 79 w 138"/>
                  <a:gd name="T15" fmla="*/ 125 h 195"/>
                  <a:gd name="T16" fmla="*/ 89 w 138"/>
                  <a:gd name="T17" fmla="*/ 112 h 195"/>
                  <a:gd name="T18" fmla="*/ 96 w 138"/>
                  <a:gd name="T19" fmla="*/ 101 h 195"/>
                  <a:gd name="T20" fmla="*/ 103 w 138"/>
                  <a:gd name="T21" fmla="*/ 90 h 195"/>
                  <a:gd name="T22" fmla="*/ 108 w 138"/>
                  <a:gd name="T23" fmla="*/ 79 h 195"/>
                  <a:gd name="T24" fmla="*/ 114 w 138"/>
                  <a:gd name="T25" fmla="*/ 68 h 195"/>
                  <a:gd name="T26" fmla="*/ 119 w 138"/>
                  <a:gd name="T27" fmla="*/ 59 h 195"/>
                  <a:gd name="T28" fmla="*/ 122 w 138"/>
                  <a:gd name="T29" fmla="*/ 51 h 195"/>
                  <a:gd name="T30" fmla="*/ 126 w 138"/>
                  <a:gd name="T31" fmla="*/ 44 h 195"/>
                  <a:gd name="T32" fmla="*/ 127 w 138"/>
                  <a:gd name="T33" fmla="*/ 40 h 195"/>
                  <a:gd name="T34" fmla="*/ 129 w 138"/>
                  <a:gd name="T35" fmla="*/ 38 h 195"/>
                  <a:gd name="T36" fmla="*/ 137 w 138"/>
                  <a:gd name="T37" fmla="*/ 22 h 195"/>
                  <a:gd name="T38" fmla="*/ 138 w 138"/>
                  <a:gd name="T39" fmla="*/ 0 h 195"/>
                  <a:gd name="T40" fmla="*/ 129 w 138"/>
                  <a:gd name="T41" fmla="*/ 0 h 195"/>
                  <a:gd name="T42" fmla="*/ 127 w 138"/>
                  <a:gd name="T43" fmla="*/ 0 h 195"/>
                  <a:gd name="T44" fmla="*/ 127 w 138"/>
                  <a:gd name="T45" fmla="*/ 1 h 195"/>
                  <a:gd name="T46" fmla="*/ 126 w 138"/>
                  <a:gd name="T47" fmla="*/ 3 h 195"/>
                  <a:gd name="T48" fmla="*/ 123 w 138"/>
                  <a:gd name="T49" fmla="*/ 3 h 195"/>
                  <a:gd name="T50" fmla="*/ 121 w 138"/>
                  <a:gd name="T51" fmla="*/ 4 h 195"/>
                  <a:gd name="T52" fmla="*/ 118 w 138"/>
                  <a:gd name="T53" fmla="*/ 5 h 195"/>
                  <a:gd name="T54" fmla="*/ 114 w 138"/>
                  <a:gd name="T55" fmla="*/ 5 h 195"/>
                  <a:gd name="T56" fmla="*/ 110 w 138"/>
                  <a:gd name="T57" fmla="*/ 7 h 195"/>
                  <a:gd name="T58" fmla="*/ 103 w 138"/>
                  <a:gd name="T59" fmla="*/ 7 h 195"/>
                  <a:gd name="T60" fmla="*/ 96 w 138"/>
                  <a:gd name="T61" fmla="*/ 7 h 195"/>
                  <a:gd name="T62" fmla="*/ 88 w 138"/>
                  <a:gd name="T63" fmla="*/ 8 h 195"/>
                  <a:gd name="T64" fmla="*/ 79 w 138"/>
                  <a:gd name="T65" fmla="*/ 9 h 195"/>
                  <a:gd name="T66" fmla="*/ 71 w 138"/>
                  <a:gd name="T67" fmla="*/ 11 h 195"/>
                  <a:gd name="T68" fmla="*/ 64 w 138"/>
                  <a:gd name="T69" fmla="*/ 12 h 195"/>
                  <a:gd name="T70" fmla="*/ 60 w 138"/>
                  <a:gd name="T71" fmla="*/ 12 h 195"/>
                  <a:gd name="T72" fmla="*/ 59 w 138"/>
                  <a:gd name="T73" fmla="*/ 14 h 195"/>
                  <a:gd name="T74" fmla="*/ 33 w 138"/>
                  <a:gd name="T75" fmla="*/ 18 h 195"/>
                  <a:gd name="T76" fmla="*/ 33 w 138"/>
                  <a:gd name="T77" fmla="*/ 18 h 195"/>
                  <a:gd name="T78" fmla="*/ 33 w 138"/>
                  <a:gd name="T79" fmla="*/ 16 h 195"/>
                  <a:gd name="T80" fmla="*/ 31 w 138"/>
                  <a:gd name="T81" fmla="*/ 16 h 195"/>
                  <a:gd name="T82" fmla="*/ 30 w 138"/>
                  <a:gd name="T83" fmla="*/ 16 h 195"/>
                  <a:gd name="T84" fmla="*/ 28 w 138"/>
                  <a:gd name="T85" fmla="*/ 15 h 195"/>
                  <a:gd name="T86" fmla="*/ 27 w 138"/>
                  <a:gd name="T87" fmla="*/ 14 h 195"/>
                  <a:gd name="T88" fmla="*/ 26 w 138"/>
                  <a:gd name="T89" fmla="*/ 14 h 195"/>
                  <a:gd name="T90" fmla="*/ 24 w 138"/>
                  <a:gd name="T91" fmla="*/ 12 h 195"/>
                  <a:gd name="T92" fmla="*/ 15 w 138"/>
                  <a:gd name="T93" fmla="*/ 23 h 195"/>
                  <a:gd name="T94" fmla="*/ 19 w 138"/>
                  <a:gd name="T95" fmla="*/ 27 h 195"/>
                  <a:gd name="T96" fmla="*/ 15 w 138"/>
                  <a:gd name="T97" fmla="*/ 33 h 195"/>
                  <a:gd name="T98" fmla="*/ 27 w 138"/>
                  <a:gd name="T99" fmla="*/ 41 h 195"/>
                  <a:gd name="T100" fmla="*/ 67 w 138"/>
                  <a:gd name="T101" fmla="*/ 62 h 195"/>
                  <a:gd name="T102" fmla="*/ 83 w 138"/>
                  <a:gd name="T103" fmla="*/ 64 h 195"/>
                  <a:gd name="T104" fmla="*/ 46 w 138"/>
                  <a:gd name="T105" fmla="*/ 115 h 195"/>
                  <a:gd name="T106" fmla="*/ 28 w 138"/>
                  <a:gd name="T107" fmla="*/ 122 h 195"/>
                  <a:gd name="T108" fmla="*/ 26 w 138"/>
                  <a:gd name="T109" fmla="*/ 129 h 195"/>
                  <a:gd name="T110" fmla="*/ 8 w 138"/>
                  <a:gd name="T111" fmla="*/ 128 h 195"/>
                  <a:gd name="T112" fmla="*/ 0 w 138"/>
                  <a:gd name="T113" fmla="*/ 145 h 195"/>
                  <a:gd name="T114" fmla="*/ 0 w 138"/>
                  <a:gd name="T115" fmla="*/ 185 h 195"/>
                  <a:gd name="T116" fmla="*/ 5 w 138"/>
                  <a:gd name="T117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8" h="195">
                    <a:moveTo>
                      <a:pt x="5" y="195"/>
                    </a:moveTo>
                    <a:lnTo>
                      <a:pt x="33" y="176"/>
                    </a:lnTo>
                    <a:lnTo>
                      <a:pt x="35" y="173"/>
                    </a:lnTo>
                    <a:lnTo>
                      <a:pt x="41" y="167"/>
                    </a:lnTo>
                    <a:lnTo>
                      <a:pt x="49" y="159"/>
                    </a:lnTo>
                    <a:lnTo>
                      <a:pt x="59" y="150"/>
                    </a:lnTo>
                    <a:lnTo>
                      <a:pt x="68" y="137"/>
                    </a:lnTo>
                    <a:lnTo>
                      <a:pt x="79" y="125"/>
                    </a:lnTo>
                    <a:lnTo>
                      <a:pt x="89" y="112"/>
                    </a:lnTo>
                    <a:lnTo>
                      <a:pt x="96" y="101"/>
                    </a:lnTo>
                    <a:lnTo>
                      <a:pt x="103" y="90"/>
                    </a:lnTo>
                    <a:lnTo>
                      <a:pt x="108" y="79"/>
                    </a:lnTo>
                    <a:lnTo>
                      <a:pt x="114" y="68"/>
                    </a:lnTo>
                    <a:lnTo>
                      <a:pt x="119" y="59"/>
                    </a:lnTo>
                    <a:lnTo>
                      <a:pt x="122" y="51"/>
                    </a:lnTo>
                    <a:lnTo>
                      <a:pt x="126" y="44"/>
                    </a:lnTo>
                    <a:lnTo>
                      <a:pt x="127" y="40"/>
                    </a:lnTo>
                    <a:lnTo>
                      <a:pt x="129" y="38"/>
                    </a:lnTo>
                    <a:lnTo>
                      <a:pt x="137" y="22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1"/>
                    </a:lnTo>
                    <a:lnTo>
                      <a:pt x="126" y="3"/>
                    </a:lnTo>
                    <a:lnTo>
                      <a:pt x="123" y="3"/>
                    </a:lnTo>
                    <a:lnTo>
                      <a:pt x="121" y="4"/>
                    </a:lnTo>
                    <a:lnTo>
                      <a:pt x="118" y="5"/>
                    </a:lnTo>
                    <a:lnTo>
                      <a:pt x="114" y="5"/>
                    </a:lnTo>
                    <a:lnTo>
                      <a:pt x="110" y="7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88" y="8"/>
                    </a:lnTo>
                    <a:lnTo>
                      <a:pt x="79" y="9"/>
                    </a:lnTo>
                    <a:lnTo>
                      <a:pt x="71" y="11"/>
                    </a:lnTo>
                    <a:lnTo>
                      <a:pt x="64" y="12"/>
                    </a:lnTo>
                    <a:lnTo>
                      <a:pt x="60" y="12"/>
                    </a:lnTo>
                    <a:lnTo>
                      <a:pt x="59" y="14"/>
                    </a:lnTo>
                    <a:lnTo>
                      <a:pt x="33" y="18"/>
                    </a:lnTo>
                    <a:lnTo>
                      <a:pt x="33" y="18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30" y="16"/>
                    </a:lnTo>
                    <a:lnTo>
                      <a:pt x="28" y="15"/>
                    </a:lnTo>
                    <a:lnTo>
                      <a:pt x="27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5" y="23"/>
                    </a:lnTo>
                    <a:lnTo>
                      <a:pt x="19" y="27"/>
                    </a:lnTo>
                    <a:lnTo>
                      <a:pt x="15" y="33"/>
                    </a:lnTo>
                    <a:lnTo>
                      <a:pt x="27" y="41"/>
                    </a:lnTo>
                    <a:lnTo>
                      <a:pt x="67" y="62"/>
                    </a:lnTo>
                    <a:lnTo>
                      <a:pt x="83" y="64"/>
                    </a:lnTo>
                    <a:lnTo>
                      <a:pt x="46" y="115"/>
                    </a:lnTo>
                    <a:lnTo>
                      <a:pt x="28" y="122"/>
                    </a:lnTo>
                    <a:lnTo>
                      <a:pt x="26" y="129"/>
                    </a:lnTo>
                    <a:lnTo>
                      <a:pt x="8" y="128"/>
                    </a:lnTo>
                    <a:lnTo>
                      <a:pt x="0" y="145"/>
                    </a:lnTo>
                    <a:lnTo>
                      <a:pt x="0" y="185"/>
                    </a:lnTo>
                    <a:lnTo>
                      <a:pt x="5" y="19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4" name="Freeform 1007"/>
              <p:cNvSpPr>
                <a:spLocks/>
              </p:cNvSpPr>
              <p:nvPr/>
            </p:nvSpPr>
            <p:spPr bwMode="auto">
              <a:xfrm>
                <a:off x="3353" y="2751"/>
                <a:ext cx="138" cy="195"/>
              </a:xfrm>
              <a:custGeom>
                <a:avLst/>
                <a:gdLst>
                  <a:gd name="T0" fmla="*/ 5 w 138"/>
                  <a:gd name="T1" fmla="*/ 195 h 195"/>
                  <a:gd name="T2" fmla="*/ 33 w 138"/>
                  <a:gd name="T3" fmla="*/ 176 h 195"/>
                  <a:gd name="T4" fmla="*/ 35 w 138"/>
                  <a:gd name="T5" fmla="*/ 173 h 195"/>
                  <a:gd name="T6" fmla="*/ 41 w 138"/>
                  <a:gd name="T7" fmla="*/ 167 h 195"/>
                  <a:gd name="T8" fmla="*/ 49 w 138"/>
                  <a:gd name="T9" fmla="*/ 159 h 195"/>
                  <a:gd name="T10" fmla="*/ 59 w 138"/>
                  <a:gd name="T11" fmla="*/ 150 h 195"/>
                  <a:gd name="T12" fmla="*/ 68 w 138"/>
                  <a:gd name="T13" fmla="*/ 137 h 195"/>
                  <a:gd name="T14" fmla="*/ 79 w 138"/>
                  <a:gd name="T15" fmla="*/ 125 h 195"/>
                  <a:gd name="T16" fmla="*/ 89 w 138"/>
                  <a:gd name="T17" fmla="*/ 112 h 195"/>
                  <a:gd name="T18" fmla="*/ 96 w 138"/>
                  <a:gd name="T19" fmla="*/ 101 h 195"/>
                  <a:gd name="T20" fmla="*/ 103 w 138"/>
                  <a:gd name="T21" fmla="*/ 90 h 195"/>
                  <a:gd name="T22" fmla="*/ 108 w 138"/>
                  <a:gd name="T23" fmla="*/ 79 h 195"/>
                  <a:gd name="T24" fmla="*/ 114 w 138"/>
                  <a:gd name="T25" fmla="*/ 68 h 195"/>
                  <a:gd name="T26" fmla="*/ 119 w 138"/>
                  <a:gd name="T27" fmla="*/ 59 h 195"/>
                  <a:gd name="T28" fmla="*/ 122 w 138"/>
                  <a:gd name="T29" fmla="*/ 51 h 195"/>
                  <a:gd name="T30" fmla="*/ 126 w 138"/>
                  <a:gd name="T31" fmla="*/ 44 h 195"/>
                  <a:gd name="T32" fmla="*/ 127 w 138"/>
                  <a:gd name="T33" fmla="*/ 40 h 195"/>
                  <a:gd name="T34" fmla="*/ 129 w 138"/>
                  <a:gd name="T35" fmla="*/ 38 h 195"/>
                  <a:gd name="T36" fmla="*/ 137 w 138"/>
                  <a:gd name="T37" fmla="*/ 22 h 195"/>
                  <a:gd name="T38" fmla="*/ 138 w 138"/>
                  <a:gd name="T39" fmla="*/ 0 h 195"/>
                  <a:gd name="T40" fmla="*/ 129 w 138"/>
                  <a:gd name="T41" fmla="*/ 0 h 195"/>
                  <a:gd name="T42" fmla="*/ 127 w 138"/>
                  <a:gd name="T43" fmla="*/ 0 h 195"/>
                  <a:gd name="T44" fmla="*/ 127 w 138"/>
                  <a:gd name="T45" fmla="*/ 1 h 195"/>
                  <a:gd name="T46" fmla="*/ 126 w 138"/>
                  <a:gd name="T47" fmla="*/ 3 h 195"/>
                  <a:gd name="T48" fmla="*/ 123 w 138"/>
                  <a:gd name="T49" fmla="*/ 3 h 195"/>
                  <a:gd name="T50" fmla="*/ 121 w 138"/>
                  <a:gd name="T51" fmla="*/ 4 h 195"/>
                  <a:gd name="T52" fmla="*/ 118 w 138"/>
                  <a:gd name="T53" fmla="*/ 5 h 195"/>
                  <a:gd name="T54" fmla="*/ 114 w 138"/>
                  <a:gd name="T55" fmla="*/ 5 h 195"/>
                  <a:gd name="T56" fmla="*/ 110 w 138"/>
                  <a:gd name="T57" fmla="*/ 7 h 195"/>
                  <a:gd name="T58" fmla="*/ 103 w 138"/>
                  <a:gd name="T59" fmla="*/ 7 h 195"/>
                  <a:gd name="T60" fmla="*/ 96 w 138"/>
                  <a:gd name="T61" fmla="*/ 7 h 195"/>
                  <a:gd name="T62" fmla="*/ 88 w 138"/>
                  <a:gd name="T63" fmla="*/ 8 h 195"/>
                  <a:gd name="T64" fmla="*/ 79 w 138"/>
                  <a:gd name="T65" fmla="*/ 9 h 195"/>
                  <a:gd name="T66" fmla="*/ 71 w 138"/>
                  <a:gd name="T67" fmla="*/ 11 h 195"/>
                  <a:gd name="T68" fmla="*/ 64 w 138"/>
                  <a:gd name="T69" fmla="*/ 12 h 195"/>
                  <a:gd name="T70" fmla="*/ 60 w 138"/>
                  <a:gd name="T71" fmla="*/ 12 h 195"/>
                  <a:gd name="T72" fmla="*/ 59 w 138"/>
                  <a:gd name="T73" fmla="*/ 14 h 195"/>
                  <a:gd name="T74" fmla="*/ 33 w 138"/>
                  <a:gd name="T75" fmla="*/ 18 h 195"/>
                  <a:gd name="T76" fmla="*/ 33 w 138"/>
                  <a:gd name="T77" fmla="*/ 16 h 195"/>
                  <a:gd name="T78" fmla="*/ 31 w 138"/>
                  <a:gd name="T79" fmla="*/ 16 h 195"/>
                  <a:gd name="T80" fmla="*/ 30 w 138"/>
                  <a:gd name="T81" fmla="*/ 16 h 195"/>
                  <a:gd name="T82" fmla="*/ 28 w 138"/>
                  <a:gd name="T83" fmla="*/ 15 h 195"/>
                  <a:gd name="T84" fmla="*/ 27 w 138"/>
                  <a:gd name="T85" fmla="*/ 14 h 195"/>
                  <a:gd name="T86" fmla="*/ 26 w 138"/>
                  <a:gd name="T87" fmla="*/ 14 h 195"/>
                  <a:gd name="T88" fmla="*/ 24 w 138"/>
                  <a:gd name="T89" fmla="*/ 12 h 195"/>
                  <a:gd name="T90" fmla="*/ 15 w 138"/>
                  <a:gd name="T91" fmla="*/ 23 h 195"/>
                  <a:gd name="T92" fmla="*/ 19 w 138"/>
                  <a:gd name="T93" fmla="*/ 27 h 195"/>
                  <a:gd name="T94" fmla="*/ 15 w 138"/>
                  <a:gd name="T95" fmla="*/ 33 h 195"/>
                  <a:gd name="T96" fmla="*/ 27 w 138"/>
                  <a:gd name="T97" fmla="*/ 41 h 195"/>
                  <a:gd name="T98" fmla="*/ 67 w 138"/>
                  <a:gd name="T99" fmla="*/ 62 h 195"/>
                  <a:gd name="T100" fmla="*/ 83 w 138"/>
                  <a:gd name="T101" fmla="*/ 64 h 195"/>
                  <a:gd name="T102" fmla="*/ 46 w 138"/>
                  <a:gd name="T103" fmla="*/ 115 h 195"/>
                  <a:gd name="T104" fmla="*/ 28 w 138"/>
                  <a:gd name="T105" fmla="*/ 122 h 195"/>
                  <a:gd name="T106" fmla="*/ 26 w 138"/>
                  <a:gd name="T107" fmla="*/ 129 h 195"/>
                  <a:gd name="T108" fmla="*/ 8 w 138"/>
                  <a:gd name="T109" fmla="*/ 128 h 195"/>
                  <a:gd name="T110" fmla="*/ 0 w 138"/>
                  <a:gd name="T111" fmla="*/ 145 h 195"/>
                  <a:gd name="T112" fmla="*/ 0 w 138"/>
                  <a:gd name="T113" fmla="*/ 185 h 195"/>
                  <a:gd name="T114" fmla="*/ 5 w 138"/>
                  <a:gd name="T115" fmla="*/ 195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95">
                    <a:moveTo>
                      <a:pt x="5" y="195"/>
                    </a:moveTo>
                    <a:lnTo>
                      <a:pt x="33" y="176"/>
                    </a:lnTo>
                    <a:lnTo>
                      <a:pt x="35" y="173"/>
                    </a:lnTo>
                    <a:lnTo>
                      <a:pt x="41" y="167"/>
                    </a:lnTo>
                    <a:lnTo>
                      <a:pt x="49" y="159"/>
                    </a:lnTo>
                    <a:lnTo>
                      <a:pt x="59" y="150"/>
                    </a:lnTo>
                    <a:lnTo>
                      <a:pt x="68" y="137"/>
                    </a:lnTo>
                    <a:lnTo>
                      <a:pt x="79" y="125"/>
                    </a:lnTo>
                    <a:lnTo>
                      <a:pt x="89" y="112"/>
                    </a:lnTo>
                    <a:lnTo>
                      <a:pt x="96" y="101"/>
                    </a:lnTo>
                    <a:lnTo>
                      <a:pt x="103" y="90"/>
                    </a:lnTo>
                    <a:lnTo>
                      <a:pt x="108" y="79"/>
                    </a:lnTo>
                    <a:lnTo>
                      <a:pt x="114" y="68"/>
                    </a:lnTo>
                    <a:lnTo>
                      <a:pt x="119" y="59"/>
                    </a:lnTo>
                    <a:lnTo>
                      <a:pt x="122" y="51"/>
                    </a:lnTo>
                    <a:lnTo>
                      <a:pt x="126" y="44"/>
                    </a:lnTo>
                    <a:lnTo>
                      <a:pt x="127" y="40"/>
                    </a:lnTo>
                    <a:lnTo>
                      <a:pt x="129" y="38"/>
                    </a:lnTo>
                    <a:lnTo>
                      <a:pt x="137" y="22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1"/>
                    </a:lnTo>
                    <a:lnTo>
                      <a:pt x="126" y="3"/>
                    </a:lnTo>
                    <a:lnTo>
                      <a:pt x="123" y="3"/>
                    </a:lnTo>
                    <a:lnTo>
                      <a:pt x="121" y="4"/>
                    </a:lnTo>
                    <a:lnTo>
                      <a:pt x="118" y="5"/>
                    </a:lnTo>
                    <a:lnTo>
                      <a:pt x="114" y="5"/>
                    </a:lnTo>
                    <a:lnTo>
                      <a:pt x="110" y="7"/>
                    </a:lnTo>
                    <a:lnTo>
                      <a:pt x="103" y="7"/>
                    </a:lnTo>
                    <a:lnTo>
                      <a:pt x="96" y="7"/>
                    </a:lnTo>
                    <a:lnTo>
                      <a:pt x="88" y="8"/>
                    </a:lnTo>
                    <a:lnTo>
                      <a:pt x="79" y="9"/>
                    </a:lnTo>
                    <a:lnTo>
                      <a:pt x="71" y="11"/>
                    </a:lnTo>
                    <a:lnTo>
                      <a:pt x="64" y="12"/>
                    </a:lnTo>
                    <a:lnTo>
                      <a:pt x="60" y="12"/>
                    </a:lnTo>
                    <a:lnTo>
                      <a:pt x="59" y="14"/>
                    </a:lnTo>
                    <a:lnTo>
                      <a:pt x="33" y="18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30" y="16"/>
                    </a:lnTo>
                    <a:lnTo>
                      <a:pt x="28" y="15"/>
                    </a:lnTo>
                    <a:lnTo>
                      <a:pt x="27" y="14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5" y="23"/>
                    </a:lnTo>
                    <a:lnTo>
                      <a:pt x="19" y="27"/>
                    </a:lnTo>
                    <a:lnTo>
                      <a:pt x="15" y="33"/>
                    </a:lnTo>
                    <a:lnTo>
                      <a:pt x="27" y="41"/>
                    </a:lnTo>
                    <a:lnTo>
                      <a:pt x="67" y="62"/>
                    </a:lnTo>
                    <a:lnTo>
                      <a:pt x="83" y="64"/>
                    </a:lnTo>
                    <a:lnTo>
                      <a:pt x="46" y="115"/>
                    </a:lnTo>
                    <a:lnTo>
                      <a:pt x="28" y="122"/>
                    </a:lnTo>
                    <a:lnTo>
                      <a:pt x="26" y="129"/>
                    </a:lnTo>
                    <a:lnTo>
                      <a:pt x="8" y="128"/>
                    </a:lnTo>
                    <a:lnTo>
                      <a:pt x="0" y="145"/>
                    </a:lnTo>
                    <a:lnTo>
                      <a:pt x="0" y="185"/>
                    </a:lnTo>
                    <a:lnTo>
                      <a:pt x="5" y="19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5" name="Freeform 1008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3 w 128"/>
                  <a:gd name="T27" fmla="*/ 0 h 148"/>
                  <a:gd name="T28" fmla="*/ 33 w 128"/>
                  <a:gd name="T29" fmla="*/ 0 h 148"/>
                  <a:gd name="T30" fmla="*/ 31 w 128"/>
                  <a:gd name="T31" fmla="*/ 1 h 148"/>
                  <a:gd name="T32" fmla="*/ 30 w 128"/>
                  <a:gd name="T33" fmla="*/ 3 h 148"/>
                  <a:gd name="T34" fmla="*/ 27 w 128"/>
                  <a:gd name="T35" fmla="*/ 4 h 148"/>
                  <a:gd name="T36" fmla="*/ 23 w 128"/>
                  <a:gd name="T37" fmla="*/ 5 h 148"/>
                  <a:gd name="T38" fmla="*/ 18 w 128"/>
                  <a:gd name="T39" fmla="*/ 7 h 148"/>
                  <a:gd name="T40" fmla="*/ 11 w 128"/>
                  <a:gd name="T41" fmla="*/ 8 h 148"/>
                  <a:gd name="T42" fmla="*/ 12 w 128"/>
                  <a:gd name="T43" fmla="*/ 15 h 148"/>
                  <a:gd name="T44" fmla="*/ 18 w 128"/>
                  <a:gd name="T45" fmla="*/ 48 h 148"/>
                  <a:gd name="T46" fmla="*/ 0 w 128"/>
                  <a:gd name="T47" fmla="*/ 67 h 148"/>
                  <a:gd name="T48" fmla="*/ 0 w 128"/>
                  <a:gd name="T49" fmla="*/ 69 h 148"/>
                  <a:gd name="T50" fmla="*/ 1 w 128"/>
                  <a:gd name="T51" fmla="*/ 70 h 148"/>
                  <a:gd name="T52" fmla="*/ 4 w 128"/>
                  <a:gd name="T53" fmla="*/ 73 h 148"/>
                  <a:gd name="T54" fmla="*/ 5 w 128"/>
                  <a:gd name="T55" fmla="*/ 77 h 148"/>
                  <a:gd name="T56" fmla="*/ 7 w 128"/>
                  <a:gd name="T57" fmla="*/ 80 h 148"/>
                  <a:gd name="T58" fmla="*/ 7 w 128"/>
                  <a:gd name="T59" fmla="*/ 85 h 148"/>
                  <a:gd name="T60" fmla="*/ 5 w 128"/>
                  <a:gd name="T61" fmla="*/ 89 h 148"/>
                  <a:gd name="T62" fmla="*/ 3 w 128"/>
                  <a:gd name="T63" fmla="*/ 93 h 148"/>
                  <a:gd name="T64" fmla="*/ 56 w 128"/>
                  <a:gd name="T65" fmla="*/ 130 h 148"/>
                  <a:gd name="T66" fmla="*/ 56 w 128"/>
                  <a:gd name="T67" fmla="*/ 130 h 148"/>
                  <a:gd name="T68" fmla="*/ 56 w 128"/>
                  <a:gd name="T69" fmla="*/ 132 h 148"/>
                  <a:gd name="T70" fmla="*/ 56 w 128"/>
                  <a:gd name="T71" fmla="*/ 132 h 148"/>
                  <a:gd name="T72" fmla="*/ 56 w 128"/>
                  <a:gd name="T73" fmla="*/ 133 h 148"/>
                  <a:gd name="T74" fmla="*/ 58 w 128"/>
                  <a:gd name="T75" fmla="*/ 135 h 148"/>
                  <a:gd name="T76" fmla="*/ 58 w 128"/>
                  <a:gd name="T77" fmla="*/ 136 h 148"/>
                  <a:gd name="T78" fmla="*/ 59 w 128"/>
                  <a:gd name="T79" fmla="*/ 137 h 148"/>
                  <a:gd name="T80" fmla="*/ 62 w 128"/>
                  <a:gd name="T81" fmla="*/ 140 h 148"/>
                  <a:gd name="T82" fmla="*/ 76 w 128"/>
                  <a:gd name="T83" fmla="*/ 148 h 148"/>
                  <a:gd name="T84" fmla="*/ 80 w 128"/>
                  <a:gd name="T85" fmla="*/ 137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  <a:lnTo>
                      <a:pt x="80" y="13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6" name="Freeform 1009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1 w 128"/>
                  <a:gd name="T27" fmla="*/ 1 h 148"/>
                  <a:gd name="T28" fmla="*/ 30 w 128"/>
                  <a:gd name="T29" fmla="*/ 3 h 148"/>
                  <a:gd name="T30" fmla="*/ 27 w 128"/>
                  <a:gd name="T31" fmla="*/ 4 h 148"/>
                  <a:gd name="T32" fmla="*/ 23 w 128"/>
                  <a:gd name="T33" fmla="*/ 5 h 148"/>
                  <a:gd name="T34" fmla="*/ 18 w 128"/>
                  <a:gd name="T35" fmla="*/ 7 h 148"/>
                  <a:gd name="T36" fmla="*/ 11 w 128"/>
                  <a:gd name="T37" fmla="*/ 8 h 148"/>
                  <a:gd name="T38" fmla="*/ 12 w 128"/>
                  <a:gd name="T39" fmla="*/ 15 h 148"/>
                  <a:gd name="T40" fmla="*/ 18 w 128"/>
                  <a:gd name="T41" fmla="*/ 48 h 148"/>
                  <a:gd name="T42" fmla="*/ 0 w 128"/>
                  <a:gd name="T43" fmla="*/ 67 h 148"/>
                  <a:gd name="T44" fmla="*/ 0 w 128"/>
                  <a:gd name="T45" fmla="*/ 69 h 148"/>
                  <a:gd name="T46" fmla="*/ 1 w 128"/>
                  <a:gd name="T47" fmla="*/ 70 h 148"/>
                  <a:gd name="T48" fmla="*/ 4 w 128"/>
                  <a:gd name="T49" fmla="*/ 73 h 148"/>
                  <a:gd name="T50" fmla="*/ 5 w 128"/>
                  <a:gd name="T51" fmla="*/ 77 h 148"/>
                  <a:gd name="T52" fmla="*/ 7 w 128"/>
                  <a:gd name="T53" fmla="*/ 80 h 148"/>
                  <a:gd name="T54" fmla="*/ 7 w 128"/>
                  <a:gd name="T55" fmla="*/ 85 h 148"/>
                  <a:gd name="T56" fmla="*/ 5 w 128"/>
                  <a:gd name="T57" fmla="*/ 89 h 148"/>
                  <a:gd name="T58" fmla="*/ 3 w 128"/>
                  <a:gd name="T59" fmla="*/ 93 h 148"/>
                  <a:gd name="T60" fmla="*/ 56 w 128"/>
                  <a:gd name="T61" fmla="*/ 130 h 148"/>
                  <a:gd name="T62" fmla="*/ 56 w 128"/>
                  <a:gd name="T63" fmla="*/ 132 h 148"/>
                  <a:gd name="T64" fmla="*/ 56 w 128"/>
                  <a:gd name="T65" fmla="*/ 133 h 148"/>
                  <a:gd name="T66" fmla="*/ 58 w 128"/>
                  <a:gd name="T67" fmla="*/ 135 h 148"/>
                  <a:gd name="T68" fmla="*/ 58 w 128"/>
                  <a:gd name="T69" fmla="*/ 136 h 148"/>
                  <a:gd name="T70" fmla="*/ 59 w 128"/>
                  <a:gd name="T71" fmla="*/ 137 h 148"/>
                  <a:gd name="T72" fmla="*/ 62 w 128"/>
                  <a:gd name="T73" fmla="*/ 140 h 148"/>
                  <a:gd name="T74" fmla="*/ 76 w 128"/>
                  <a:gd name="T75" fmla="*/ 148 h 148"/>
                  <a:gd name="T76" fmla="*/ 80 w 128"/>
                  <a:gd name="T77" fmla="*/ 137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  <a:lnTo>
                      <a:pt x="80" y="13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7" name="Freeform 1010"/>
              <p:cNvSpPr>
                <a:spLocks/>
              </p:cNvSpPr>
              <p:nvPr/>
            </p:nvSpPr>
            <p:spPr bwMode="auto">
              <a:xfrm>
                <a:off x="3233" y="2865"/>
                <a:ext cx="128" cy="148"/>
              </a:xfrm>
              <a:custGeom>
                <a:avLst/>
                <a:gdLst>
                  <a:gd name="T0" fmla="*/ 80 w 128"/>
                  <a:gd name="T1" fmla="*/ 137 h 148"/>
                  <a:gd name="T2" fmla="*/ 99 w 128"/>
                  <a:gd name="T3" fmla="*/ 119 h 148"/>
                  <a:gd name="T4" fmla="*/ 121 w 128"/>
                  <a:gd name="T5" fmla="*/ 82 h 148"/>
                  <a:gd name="T6" fmla="*/ 125 w 128"/>
                  <a:gd name="T7" fmla="*/ 81 h 148"/>
                  <a:gd name="T8" fmla="*/ 120 w 128"/>
                  <a:gd name="T9" fmla="*/ 71 h 148"/>
                  <a:gd name="T10" fmla="*/ 120 w 128"/>
                  <a:gd name="T11" fmla="*/ 31 h 148"/>
                  <a:gd name="T12" fmla="*/ 128 w 128"/>
                  <a:gd name="T13" fmla="*/ 14 h 148"/>
                  <a:gd name="T14" fmla="*/ 124 w 128"/>
                  <a:gd name="T15" fmla="*/ 7 h 148"/>
                  <a:gd name="T16" fmla="*/ 100 w 128"/>
                  <a:gd name="T17" fmla="*/ 11 h 148"/>
                  <a:gd name="T18" fmla="*/ 92 w 128"/>
                  <a:gd name="T19" fmla="*/ 22 h 148"/>
                  <a:gd name="T20" fmla="*/ 69 w 128"/>
                  <a:gd name="T21" fmla="*/ 19 h 148"/>
                  <a:gd name="T22" fmla="*/ 49 w 128"/>
                  <a:gd name="T23" fmla="*/ 1 h 148"/>
                  <a:gd name="T24" fmla="*/ 33 w 128"/>
                  <a:gd name="T25" fmla="*/ 0 h 148"/>
                  <a:gd name="T26" fmla="*/ 31 w 128"/>
                  <a:gd name="T27" fmla="*/ 1 h 148"/>
                  <a:gd name="T28" fmla="*/ 30 w 128"/>
                  <a:gd name="T29" fmla="*/ 3 h 148"/>
                  <a:gd name="T30" fmla="*/ 27 w 128"/>
                  <a:gd name="T31" fmla="*/ 4 h 148"/>
                  <a:gd name="T32" fmla="*/ 23 w 128"/>
                  <a:gd name="T33" fmla="*/ 5 h 148"/>
                  <a:gd name="T34" fmla="*/ 18 w 128"/>
                  <a:gd name="T35" fmla="*/ 7 h 148"/>
                  <a:gd name="T36" fmla="*/ 11 w 128"/>
                  <a:gd name="T37" fmla="*/ 8 h 148"/>
                  <a:gd name="T38" fmla="*/ 12 w 128"/>
                  <a:gd name="T39" fmla="*/ 15 h 148"/>
                  <a:gd name="T40" fmla="*/ 18 w 128"/>
                  <a:gd name="T41" fmla="*/ 48 h 148"/>
                  <a:gd name="T42" fmla="*/ 0 w 128"/>
                  <a:gd name="T43" fmla="*/ 67 h 148"/>
                  <a:gd name="T44" fmla="*/ 0 w 128"/>
                  <a:gd name="T45" fmla="*/ 69 h 148"/>
                  <a:gd name="T46" fmla="*/ 1 w 128"/>
                  <a:gd name="T47" fmla="*/ 70 h 148"/>
                  <a:gd name="T48" fmla="*/ 4 w 128"/>
                  <a:gd name="T49" fmla="*/ 73 h 148"/>
                  <a:gd name="T50" fmla="*/ 5 w 128"/>
                  <a:gd name="T51" fmla="*/ 77 h 148"/>
                  <a:gd name="T52" fmla="*/ 7 w 128"/>
                  <a:gd name="T53" fmla="*/ 80 h 148"/>
                  <a:gd name="T54" fmla="*/ 7 w 128"/>
                  <a:gd name="T55" fmla="*/ 85 h 148"/>
                  <a:gd name="T56" fmla="*/ 5 w 128"/>
                  <a:gd name="T57" fmla="*/ 89 h 148"/>
                  <a:gd name="T58" fmla="*/ 3 w 128"/>
                  <a:gd name="T59" fmla="*/ 93 h 148"/>
                  <a:gd name="T60" fmla="*/ 56 w 128"/>
                  <a:gd name="T61" fmla="*/ 130 h 148"/>
                  <a:gd name="T62" fmla="*/ 56 w 128"/>
                  <a:gd name="T63" fmla="*/ 132 h 148"/>
                  <a:gd name="T64" fmla="*/ 56 w 128"/>
                  <a:gd name="T65" fmla="*/ 133 h 148"/>
                  <a:gd name="T66" fmla="*/ 58 w 128"/>
                  <a:gd name="T67" fmla="*/ 135 h 148"/>
                  <a:gd name="T68" fmla="*/ 58 w 128"/>
                  <a:gd name="T69" fmla="*/ 136 h 148"/>
                  <a:gd name="T70" fmla="*/ 59 w 128"/>
                  <a:gd name="T71" fmla="*/ 137 h 148"/>
                  <a:gd name="T72" fmla="*/ 62 w 128"/>
                  <a:gd name="T73" fmla="*/ 140 h 148"/>
                  <a:gd name="T74" fmla="*/ 76 w 128"/>
                  <a:gd name="T75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8" h="148">
                    <a:moveTo>
                      <a:pt x="80" y="137"/>
                    </a:moveTo>
                    <a:lnTo>
                      <a:pt x="99" y="119"/>
                    </a:lnTo>
                    <a:lnTo>
                      <a:pt x="121" y="82"/>
                    </a:lnTo>
                    <a:lnTo>
                      <a:pt x="125" y="81"/>
                    </a:lnTo>
                    <a:lnTo>
                      <a:pt x="120" y="71"/>
                    </a:lnTo>
                    <a:lnTo>
                      <a:pt x="120" y="31"/>
                    </a:lnTo>
                    <a:lnTo>
                      <a:pt x="128" y="14"/>
                    </a:lnTo>
                    <a:lnTo>
                      <a:pt x="124" y="7"/>
                    </a:lnTo>
                    <a:lnTo>
                      <a:pt x="100" y="11"/>
                    </a:lnTo>
                    <a:lnTo>
                      <a:pt x="92" y="22"/>
                    </a:lnTo>
                    <a:lnTo>
                      <a:pt x="69" y="19"/>
                    </a:lnTo>
                    <a:lnTo>
                      <a:pt x="49" y="1"/>
                    </a:lnTo>
                    <a:lnTo>
                      <a:pt x="33" y="0"/>
                    </a:lnTo>
                    <a:lnTo>
                      <a:pt x="31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5"/>
                    </a:lnTo>
                    <a:lnTo>
                      <a:pt x="18" y="7"/>
                    </a:lnTo>
                    <a:lnTo>
                      <a:pt x="11" y="8"/>
                    </a:lnTo>
                    <a:lnTo>
                      <a:pt x="12" y="15"/>
                    </a:lnTo>
                    <a:lnTo>
                      <a:pt x="18" y="48"/>
                    </a:lnTo>
                    <a:lnTo>
                      <a:pt x="0" y="67"/>
                    </a:lnTo>
                    <a:lnTo>
                      <a:pt x="0" y="69"/>
                    </a:lnTo>
                    <a:lnTo>
                      <a:pt x="1" y="70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0"/>
                    </a:lnTo>
                    <a:lnTo>
                      <a:pt x="7" y="85"/>
                    </a:lnTo>
                    <a:lnTo>
                      <a:pt x="5" y="89"/>
                    </a:lnTo>
                    <a:lnTo>
                      <a:pt x="3" y="93"/>
                    </a:lnTo>
                    <a:lnTo>
                      <a:pt x="56" y="130"/>
                    </a:lnTo>
                    <a:lnTo>
                      <a:pt x="56" y="132"/>
                    </a:lnTo>
                    <a:lnTo>
                      <a:pt x="56" y="133"/>
                    </a:lnTo>
                    <a:lnTo>
                      <a:pt x="58" y="135"/>
                    </a:lnTo>
                    <a:lnTo>
                      <a:pt x="58" y="136"/>
                    </a:lnTo>
                    <a:lnTo>
                      <a:pt x="59" y="137"/>
                    </a:lnTo>
                    <a:lnTo>
                      <a:pt x="62" y="140"/>
                    </a:lnTo>
                    <a:lnTo>
                      <a:pt x="76" y="1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8" name="Freeform 1011"/>
              <p:cNvSpPr>
                <a:spLocks/>
              </p:cNvSpPr>
              <p:nvPr/>
            </p:nvSpPr>
            <p:spPr bwMode="auto">
              <a:xfrm>
                <a:off x="3165" y="2873"/>
                <a:ext cx="86" cy="89"/>
              </a:xfrm>
              <a:custGeom>
                <a:avLst/>
                <a:gdLst>
                  <a:gd name="T0" fmla="*/ 20 w 86"/>
                  <a:gd name="T1" fmla="*/ 7 h 89"/>
                  <a:gd name="T2" fmla="*/ 18 w 86"/>
                  <a:gd name="T3" fmla="*/ 8 h 89"/>
                  <a:gd name="T4" fmla="*/ 17 w 86"/>
                  <a:gd name="T5" fmla="*/ 12 h 89"/>
                  <a:gd name="T6" fmla="*/ 16 w 86"/>
                  <a:gd name="T7" fmla="*/ 17 h 89"/>
                  <a:gd name="T8" fmla="*/ 16 w 86"/>
                  <a:gd name="T9" fmla="*/ 19 h 89"/>
                  <a:gd name="T10" fmla="*/ 14 w 86"/>
                  <a:gd name="T11" fmla="*/ 22 h 89"/>
                  <a:gd name="T12" fmla="*/ 13 w 86"/>
                  <a:gd name="T13" fmla="*/ 26 h 89"/>
                  <a:gd name="T14" fmla="*/ 11 w 86"/>
                  <a:gd name="T15" fmla="*/ 33 h 89"/>
                  <a:gd name="T16" fmla="*/ 11 w 86"/>
                  <a:gd name="T17" fmla="*/ 36 h 89"/>
                  <a:gd name="T18" fmla="*/ 10 w 86"/>
                  <a:gd name="T19" fmla="*/ 41 h 89"/>
                  <a:gd name="T20" fmla="*/ 7 w 86"/>
                  <a:gd name="T21" fmla="*/ 50 h 89"/>
                  <a:gd name="T22" fmla="*/ 3 w 86"/>
                  <a:gd name="T23" fmla="*/ 59 h 89"/>
                  <a:gd name="T24" fmla="*/ 0 w 86"/>
                  <a:gd name="T25" fmla="*/ 63 h 89"/>
                  <a:gd name="T26" fmla="*/ 0 w 86"/>
                  <a:gd name="T27" fmla="*/ 70 h 89"/>
                  <a:gd name="T28" fmla="*/ 0 w 86"/>
                  <a:gd name="T29" fmla="*/ 80 h 89"/>
                  <a:gd name="T30" fmla="*/ 2 w 86"/>
                  <a:gd name="T31" fmla="*/ 87 h 89"/>
                  <a:gd name="T32" fmla="*/ 5 w 86"/>
                  <a:gd name="T33" fmla="*/ 89 h 89"/>
                  <a:gd name="T34" fmla="*/ 10 w 86"/>
                  <a:gd name="T35" fmla="*/ 88 h 89"/>
                  <a:gd name="T36" fmla="*/ 18 w 86"/>
                  <a:gd name="T37" fmla="*/ 87 h 89"/>
                  <a:gd name="T38" fmla="*/ 29 w 86"/>
                  <a:gd name="T39" fmla="*/ 83 h 89"/>
                  <a:gd name="T40" fmla="*/ 51 w 86"/>
                  <a:gd name="T41" fmla="*/ 66 h 89"/>
                  <a:gd name="T42" fmla="*/ 51 w 86"/>
                  <a:gd name="T43" fmla="*/ 65 h 89"/>
                  <a:gd name="T44" fmla="*/ 53 w 86"/>
                  <a:gd name="T45" fmla="*/ 62 h 89"/>
                  <a:gd name="T46" fmla="*/ 57 w 86"/>
                  <a:gd name="T47" fmla="*/ 59 h 89"/>
                  <a:gd name="T48" fmla="*/ 66 w 86"/>
                  <a:gd name="T49" fmla="*/ 58 h 89"/>
                  <a:gd name="T50" fmla="*/ 80 w 86"/>
                  <a:gd name="T51" fmla="*/ 11 h 89"/>
                  <a:gd name="T52" fmla="*/ 80 w 86"/>
                  <a:gd name="T53" fmla="*/ 10 h 89"/>
                  <a:gd name="T54" fmla="*/ 80 w 86"/>
                  <a:gd name="T55" fmla="*/ 6 h 89"/>
                  <a:gd name="T56" fmla="*/ 79 w 86"/>
                  <a:gd name="T57" fmla="*/ 3 h 89"/>
                  <a:gd name="T58" fmla="*/ 76 w 86"/>
                  <a:gd name="T59" fmla="*/ 0 h 89"/>
                  <a:gd name="T60" fmla="*/ 72 w 86"/>
                  <a:gd name="T61" fmla="*/ 1 h 89"/>
                  <a:gd name="T62" fmla="*/ 64 w 86"/>
                  <a:gd name="T63" fmla="*/ 1 h 89"/>
                  <a:gd name="T64" fmla="*/ 54 w 86"/>
                  <a:gd name="T65" fmla="*/ 3 h 89"/>
                  <a:gd name="T66" fmla="*/ 49 w 86"/>
                  <a:gd name="T67" fmla="*/ 4 h 89"/>
                  <a:gd name="T68" fmla="*/ 20 w 86"/>
                  <a:gd name="T69" fmla="*/ 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6" h="89">
                    <a:moveTo>
                      <a:pt x="20" y="6"/>
                    </a:moveTo>
                    <a:lnTo>
                      <a:pt x="20" y="7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4" y="22"/>
                    </a:lnTo>
                    <a:lnTo>
                      <a:pt x="13" y="25"/>
                    </a:lnTo>
                    <a:lnTo>
                      <a:pt x="13" y="26"/>
                    </a:lnTo>
                    <a:lnTo>
                      <a:pt x="11" y="29"/>
                    </a:lnTo>
                    <a:lnTo>
                      <a:pt x="11" y="33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9"/>
                    </a:lnTo>
                    <a:lnTo>
                      <a:pt x="10" y="41"/>
                    </a:lnTo>
                    <a:lnTo>
                      <a:pt x="9" y="45"/>
                    </a:lnTo>
                    <a:lnTo>
                      <a:pt x="7" y="50"/>
                    </a:lnTo>
                    <a:lnTo>
                      <a:pt x="5" y="54"/>
                    </a:lnTo>
                    <a:lnTo>
                      <a:pt x="3" y="59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2" y="87"/>
                    </a:lnTo>
                    <a:lnTo>
                      <a:pt x="3" y="89"/>
                    </a:lnTo>
                    <a:lnTo>
                      <a:pt x="5" y="89"/>
                    </a:lnTo>
                    <a:lnTo>
                      <a:pt x="6" y="89"/>
                    </a:lnTo>
                    <a:lnTo>
                      <a:pt x="10" y="88"/>
                    </a:lnTo>
                    <a:lnTo>
                      <a:pt x="14" y="88"/>
                    </a:lnTo>
                    <a:lnTo>
                      <a:pt x="18" y="87"/>
                    </a:lnTo>
                    <a:lnTo>
                      <a:pt x="24" y="85"/>
                    </a:lnTo>
                    <a:lnTo>
                      <a:pt x="29" y="83"/>
                    </a:lnTo>
                    <a:lnTo>
                      <a:pt x="33" y="80"/>
                    </a:lnTo>
                    <a:lnTo>
                      <a:pt x="51" y="66"/>
                    </a:lnTo>
                    <a:lnTo>
                      <a:pt x="51" y="65"/>
                    </a:lnTo>
                    <a:lnTo>
                      <a:pt x="51" y="65"/>
                    </a:lnTo>
                    <a:lnTo>
                      <a:pt x="51" y="63"/>
                    </a:lnTo>
                    <a:lnTo>
                      <a:pt x="53" y="62"/>
                    </a:lnTo>
                    <a:lnTo>
                      <a:pt x="54" y="61"/>
                    </a:lnTo>
                    <a:lnTo>
                      <a:pt x="57" y="59"/>
                    </a:lnTo>
                    <a:lnTo>
                      <a:pt x="61" y="58"/>
                    </a:lnTo>
                    <a:lnTo>
                      <a:pt x="66" y="58"/>
                    </a:lnTo>
                    <a:lnTo>
                      <a:pt x="86" y="40"/>
                    </a:lnTo>
                    <a:lnTo>
                      <a:pt x="80" y="11"/>
                    </a:lnTo>
                    <a:lnTo>
                      <a:pt x="80" y="11"/>
                    </a:lnTo>
                    <a:lnTo>
                      <a:pt x="80" y="10"/>
                    </a:lnTo>
                    <a:lnTo>
                      <a:pt x="80" y="8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9" y="3"/>
                    </a:lnTo>
                    <a:lnTo>
                      <a:pt x="79" y="1"/>
                    </a:lnTo>
                    <a:lnTo>
                      <a:pt x="76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8" y="3"/>
                    </a:lnTo>
                    <a:lnTo>
                      <a:pt x="54" y="3"/>
                    </a:lnTo>
                    <a:lnTo>
                      <a:pt x="50" y="4"/>
                    </a:lnTo>
                    <a:lnTo>
                      <a:pt x="49" y="4"/>
                    </a:lnTo>
                    <a:lnTo>
                      <a:pt x="25" y="4"/>
                    </a:lnTo>
                    <a:lnTo>
                      <a:pt x="20" y="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79" name="Freeform 1012"/>
              <p:cNvSpPr>
                <a:spLocks/>
              </p:cNvSpPr>
              <p:nvPr/>
            </p:nvSpPr>
            <p:spPr bwMode="auto">
              <a:xfrm>
                <a:off x="3165" y="2873"/>
                <a:ext cx="86" cy="89"/>
              </a:xfrm>
              <a:custGeom>
                <a:avLst/>
                <a:gdLst>
                  <a:gd name="T0" fmla="*/ 20 w 86"/>
                  <a:gd name="T1" fmla="*/ 7 h 89"/>
                  <a:gd name="T2" fmla="*/ 18 w 86"/>
                  <a:gd name="T3" fmla="*/ 8 h 89"/>
                  <a:gd name="T4" fmla="*/ 17 w 86"/>
                  <a:gd name="T5" fmla="*/ 12 h 89"/>
                  <a:gd name="T6" fmla="*/ 16 w 86"/>
                  <a:gd name="T7" fmla="*/ 17 h 89"/>
                  <a:gd name="T8" fmla="*/ 16 w 86"/>
                  <a:gd name="T9" fmla="*/ 21 h 89"/>
                  <a:gd name="T10" fmla="*/ 13 w 86"/>
                  <a:gd name="T11" fmla="*/ 25 h 89"/>
                  <a:gd name="T12" fmla="*/ 11 w 86"/>
                  <a:gd name="T13" fmla="*/ 29 h 89"/>
                  <a:gd name="T14" fmla="*/ 11 w 86"/>
                  <a:gd name="T15" fmla="*/ 36 h 89"/>
                  <a:gd name="T16" fmla="*/ 10 w 86"/>
                  <a:gd name="T17" fmla="*/ 41 h 89"/>
                  <a:gd name="T18" fmla="*/ 7 w 86"/>
                  <a:gd name="T19" fmla="*/ 50 h 89"/>
                  <a:gd name="T20" fmla="*/ 3 w 86"/>
                  <a:gd name="T21" fmla="*/ 59 h 89"/>
                  <a:gd name="T22" fmla="*/ 0 w 86"/>
                  <a:gd name="T23" fmla="*/ 63 h 89"/>
                  <a:gd name="T24" fmla="*/ 0 w 86"/>
                  <a:gd name="T25" fmla="*/ 70 h 89"/>
                  <a:gd name="T26" fmla="*/ 0 w 86"/>
                  <a:gd name="T27" fmla="*/ 80 h 89"/>
                  <a:gd name="T28" fmla="*/ 2 w 86"/>
                  <a:gd name="T29" fmla="*/ 87 h 89"/>
                  <a:gd name="T30" fmla="*/ 5 w 86"/>
                  <a:gd name="T31" fmla="*/ 89 h 89"/>
                  <a:gd name="T32" fmla="*/ 10 w 86"/>
                  <a:gd name="T33" fmla="*/ 88 h 89"/>
                  <a:gd name="T34" fmla="*/ 18 w 86"/>
                  <a:gd name="T35" fmla="*/ 87 h 89"/>
                  <a:gd name="T36" fmla="*/ 29 w 86"/>
                  <a:gd name="T37" fmla="*/ 83 h 89"/>
                  <a:gd name="T38" fmla="*/ 51 w 86"/>
                  <a:gd name="T39" fmla="*/ 66 h 89"/>
                  <a:gd name="T40" fmla="*/ 51 w 86"/>
                  <a:gd name="T41" fmla="*/ 63 h 89"/>
                  <a:gd name="T42" fmla="*/ 54 w 86"/>
                  <a:gd name="T43" fmla="*/ 61 h 89"/>
                  <a:gd name="T44" fmla="*/ 61 w 86"/>
                  <a:gd name="T45" fmla="*/ 58 h 89"/>
                  <a:gd name="T46" fmla="*/ 86 w 86"/>
                  <a:gd name="T47" fmla="*/ 40 h 89"/>
                  <a:gd name="T48" fmla="*/ 80 w 86"/>
                  <a:gd name="T49" fmla="*/ 10 h 89"/>
                  <a:gd name="T50" fmla="*/ 80 w 86"/>
                  <a:gd name="T51" fmla="*/ 6 h 89"/>
                  <a:gd name="T52" fmla="*/ 79 w 86"/>
                  <a:gd name="T53" fmla="*/ 3 h 89"/>
                  <a:gd name="T54" fmla="*/ 76 w 86"/>
                  <a:gd name="T55" fmla="*/ 0 h 89"/>
                  <a:gd name="T56" fmla="*/ 72 w 86"/>
                  <a:gd name="T57" fmla="*/ 1 h 89"/>
                  <a:gd name="T58" fmla="*/ 64 w 86"/>
                  <a:gd name="T59" fmla="*/ 1 h 89"/>
                  <a:gd name="T60" fmla="*/ 54 w 86"/>
                  <a:gd name="T61" fmla="*/ 3 h 89"/>
                  <a:gd name="T62" fmla="*/ 49 w 86"/>
                  <a:gd name="T63" fmla="*/ 4 h 89"/>
                  <a:gd name="T64" fmla="*/ 20 w 86"/>
                  <a:gd name="T65" fmla="*/ 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89">
                    <a:moveTo>
                      <a:pt x="20" y="6"/>
                    </a:moveTo>
                    <a:lnTo>
                      <a:pt x="20" y="7"/>
                    </a:lnTo>
                    <a:lnTo>
                      <a:pt x="18" y="7"/>
                    </a:lnTo>
                    <a:lnTo>
                      <a:pt x="18" y="8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6" y="14"/>
                    </a:lnTo>
                    <a:lnTo>
                      <a:pt x="16" y="17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4" y="22"/>
                    </a:lnTo>
                    <a:lnTo>
                      <a:pt x="13" y="25"/>
                    </a:lnTo>
                    <a:lnTo>
                      <a:pt x="13" y="26"/>
                    </a:lnTo>
                    <a:lnTo>
                      <a:pt x="11" y="29"/>
                    </a:lnTo>
                    <a:lnTo>
                      <a:pt x="11" y="33"/>
                    </a:lnTo>
                    <a:lnTo>
                      <a:pt x="11" y="36"/>
                    </a:lnTo>
                    <a:lnTo>
                      <a:pt x="11" y="39"/>
                    </a:lnTo>
                    <a:lnTo>
                      <a:pt x="10" y="41"/>
                    </a:lnTo>
                    <a:lnTo>
                      <a:pt x="9" y="45"/>
                    </a:lnTo>
                    <a:lnTo>
                      <a:pt x="7" y="50"/>
                    </a:lnTo>
                    <a:lnTo>
                      <a:pt x="5" y="54"/>
                    </a:lnTo>
                    <a:lnTo>
                      <a:pt x="3" y="59"/>
                    </a:lnTo>
                    <a:lnTo>
                      <a:pt x="0" y="62"/>
                    </a:lnTo>
                    <a:lnTo>
                      <a:pt x="0" y="63"/>
                    </a:lnTo>
                    <a:lnTo>
                      <a:pt x="0" y="66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2" y="87"/>
                    </a:lnTo>
                    <a:lnTo>
                      <a:pt x="3" y="89"/>
                    </a:lnTo>
                    <a:lnTo>
                      <a:pt x="5" y="89"/>
                    </a:lnTo>
                    <a:lnTo>
                      <a:pt x="6" y="89"/>
                    </a:lnTo>
                    <a:lnTo>
                      <a:pt x="10" y="88"/>
                    </a:lnTo>
                    <a:lnTo>
                      <a:pt x="14" y="88"/>
                    </a:lnTo>
                    <a:lnTo>
                      <a:pt x="18" y="87"/>
                    </a:lnTo>
                    <a:lnTo>
                      <a:pt x="24" y="85"/>
                    </a:lnTo>
                    <a:lnTo>
                      <a:pt x="29" y="83"/>
                    </a:lnTo>
                    <a:lnTo>
                      <a:pt x="33" y="80"/>
                    </a:lnTo>
                    <a:lnTo>
                      <a:pt x="51" y="66"/>
                    </a:lnTo>
                    <a:lnTo>
                      <a:pt x="51" y="65"/>
                    </a:lnTo>
                    <a:lnTo>
                      <a:pt x="51" y="63"/>
                    </a:lnTo>
                    <a:lnTo>
                      <a:pt x="53" y="62"/>
                    </a:lnTo>
                    <a:lnTo>
                      <a:pt x="54" y="61"/>
                    </a:lnTo>
                    <a:lnTo>
                      <a:pt x="57" y="59"/>
                    </a:lnTo>
                    <a:lnTo>
                      <a:pt x="61" y="58"/>
                    </a:lnTo>
                    <a:lnTo>
                      <a:pt x="66" y="58"/>
                    </a:lnTo>
                    <a:lnTo>
                      <a:pt x="86" y="40"/>
                    </a:lnTo>
                    <a:lnTo>
                      <a:pt x="80" y="11"/>
                    </a:lnTo>
                    <a:lnTo>
                      <a:pt x="80" y="10"/>
                    </a:lnTo>
                    <a:lnTo>
                      <a:pt x="80" y="8"/>
                    </a:lnTo>
                    <a:lnTo>
                      <a:pt x="80" y="6"/>
                    </a:lnTo>
                    <a:lnTo>
                      <a:pt x="80" y="4"/>
                    </a:lnTo>
                    <a:lnTo>
                      <a:pt x="79" y="3"/>
                    </a:lnTo>
                    <a:lnTo>
                      <a:pt x="79" y="1"/>
                    </a:lnTo>
                    <a:lnTo>
                      <a:pt x="76" y="0"/>
                    </a:lnTo>
                    <a:lnTo>
                      <a:pt x="75" y="0"/>
                    </a:lnTo>
                    <a:lnTo>
                      <a:pt x="72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8" y="3"/>
                    </a:lnTo>
                    <a:lnTo>
                      <a:pt x="54" y="3"/>
                    </a:lnTo>
                    <a:lnTo>
                      <a:pt x="50" y="4"/>
                    </a:lnTo>
                    <a:lnTo>
                      <a:pt x="49" y="4"/>
                    </a:lnTo>
                    <a:lnTo>
                      <a:pt x="25" y="4"/>
                    </a:lnTo>
                    <a:lnTo>
                      <a:pt x="20" y="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0" name="Freeform 1013"/>
              <p:cNvSpPr>
                <a:spLocks/>
              </p:cNvSpPr>
              <p:nvPr/>
            </p:nvSpPr>
            <p:spPr bwMode="auto">
              <a:xfrm>
                <a:off x="3226" y="2660"/>
                <a:ext cx="212" cy="227"/>
              </a:xfrm>
              <a:custGeom>
                <a:avLst/>
                <a:gdLst>
                  <a:gd name="T0" fmla="*/ 78 w 212"/>
                  <a:gd name="T1" fmla="*/ 1 h 227"/>
                  <a:gd name="T2" fmla="*/ 76 w 212"/>
                  <a:gd name="T3" fmla="*/ 4 h 227"/>
                  <a:gd name="T4" fmla="*/ 71 w 212"/>
                  <a:gd name="T5" fmla="*/ 10 h 227"/>
                  <a:gd name="T6" fmla="*/ 66 w 212"/>
                  <a:gd name="T7" fmla="*/ 12 h 227"/>
                  <a:gd name="T8" fmla="*/ 62 w 212"/>
                  <a:gd name="T9" fmla="*/ 14 h 227"/>
                  <a:gd name="T10" fmla="*/ 55 w 212"/>
                  <a:gd name="T11" fmla="*/ 21 h 227"/>
                  <a:gd name="T12" fmla="*/ 49 w 212"/>
                  <a:gd name="T13" fmla="*/ 29 h 227"/>
                  <a:gd name="T14" fmla="*/ 45 w 212"/>
                  <a:gd name="T15" fmla="*/ 36 h 227"/>
                  <a:gd name="T16" fmla="*/ 44 w 212"/>
                  <a:gd name="T17" fmla="*/ 41 h 227"/>
                  <a:gd name="T18" fmla="*/ 40 w 212"/>
                  <a:gd name="T19" fmla="*/ 55 h 227"/>
                  <a:gd name="T20" fmla="*/ 33 w 212"/>
                  <a:gd name="T21" fmla="*/ 67 h 227"/>
                  <a:gd name="T22" fmla="*/ 29 w 212"/>
                  <a:gd name="T23" fmla="*/ 74 h 227"/>
                  <a:gd name="T24" fmla="*/ 22 w 212"/>
                  <a:gd name="T25" fmla="*/ 81 h 227"/>
                  <a:gd name="T26" fmla="*/ 12 w 212"/>
                  <a:gd name="T27" fmla="*/ 92 h 227"/>
                  <a:gd name="T28" fmla="*/ 7 w 212"/>
                  <a:gd name="T29" fmla="*/ 102 h 227"/>
                  <a:gd name="T30" fmla="*/ 5 w 212"/>
                  <a:gd name="T31" fmla="*/ 109 h 227"/>
                  <a:gd name="T32" fmla="*/ 5 w 212"/>
                  <a:gd name="T33" fmla="*/ 114 h 227"/>
                  <a:gd name="T34" fmla="*/ 5 w 212"/>
                  <a:gd name="T35" fmla="*/ 122 h 227"/>
                  <a:gd name="T36" fmla="*/ 5 w 212"/>
                  <a:gd name="T37" fmla="*/ 131 h 227"/>
                  <a:gd name="T38" fmla="*/ 5 w 212"/>
                  <a:gd name="T39" fmla="*/ 135 h 227"/>
                  <a:gd name="T40" fmla="*/ 1 w 212"/>
                  <a:gd name="T41" fmla="*/ 139 h 227"/>
                  <a:gd name="T42" fmla="*/ 0 w 212"/>
                  <a:gd name="T43" fmla="*/ 143 h 227"/>
                  <a:gd name="T44" fmla="*/ 3 w 212"/>
                  <a:gd name="T45" fmla="*/ 149 h 227"/>
                  <a:gd name="T46" fmla="*/ 5 w 212"/>
                  <a:gd name="T47" fmla="*/ 151 h 227"/>
                  <a:gd name="T48" fmla="*/ 10 w 212"/>
                  <a:gd name="T49" fmla="*/ 154 h 227"/>
                  <a:gd name="T50" fmla="*/ 19 w 212"/>
                  <a:gd name="T51" fmla="*/ 164 h 227"/>
                  <a:gd name="T52" fmla="*/ 29 w 212"/>
                  <a:gd name="T53" fmla="*/ 175 h 227"/>
                  <a:gd name="T54" fmla="*/ 34 w 212"/>
                  <a:gd name="T55" fmla="*/ 183 h 227"/>
                  <a:gd name="T56" fmla="*/ 40 w 212"/>
                  <a:gd name="T57" fmla="*/ 205 h 227"/>
                  <a:gd name="T58" fmla="*/ 76 w 212"/>
                  <a:gd name="T59" fmla="*/ 224 h 227"/>
                  <a:gd name="T60" fmla="*/ 107 w 212"/>
                  <a:gd name="T61" fmla="*/ 216 h 227"/>
                  <a:gd name="T62" fmla="*/ 135 w 212"/>
                  <a:gd name="T63" fmla="*/ 219 h 227"/>
                  <a:gd name="T64" fmla="*/ 155 w 212"/>
                  <a:gd name="T65" fmla="*/ 213 h 227"/>
                  <a:gd name="T66" fmla="*/ 212 w 212"/>
                  <a:gd name="T67" fmla="*/ 155 h 227"/>
                  <a:gd name="T68" fmla="*/ 155 w 212"/>
                  <a:gd name="T69" fmla="*/ 132 h 227"/>
                  <a:gd name="T70" fmla="*/ 146 w 212"/>
                  <a:gd name="T71" fmla="*/ 118 h 227"/>
                  <a:gd name="T72" fmla="*/ 125 w 212"/>
                  <a:gd name="T73" fmla="*/ 111 h 227"/>
                  <a:gd name="T74" fmla="*/ 133 w 212"/>
                  <a:gd name="T75" fmla="*/ 85 h 227"/>
                  <a:gd name="T76" fmla="*/ 142 w 212"/>
                  <a:gd name="T77" fmla="*/ 84 h 227"/>
                  <a:gd name="T78" fmla="*/ 142 w 212"/>
                  <a:gd name="T79" fmla="*/ 83 h 227"/>
                  <a:gd name="T80" fmla="*/ 139 w 212"/>
                  <a:gd name="T81" fmla="*/ 77 h 227"/>
                  <a:gd name="T82" fmla="*/ 132 w 212"/>
                  <a:gd name="T83" fmla="*/ 67 h 227"/>
                  <a:gd name="T84" fmla="*/ 116 w 212"/>
                  <a:gd name="T85" fmla="*/ 52 h 227"/>
                  <a:gd name="T86" fmla="*/ 111 w 212"/>
                  <a:gd name="T87" fmla="*/ 48 h 227"/>
                  <a:gd name="T88" fmla="*/ 102 w 212"/>
                  <a:gd name="T89" fmla="*/ 39 h 227"/>
                  <a:gd name="T90" fmla="*/ 91 w 212"/>
                  <a:gd name="T91" fmla="*/ 28 h 227"/>
                  <a:gd name="T92" fmla="*/ 87 w 212"/>
                  <a:gd name="T93" fmla="*/ 17 h 227"/>
                  <a:gd name="T94" fmla="*/ 85 w 212"/>
                  <a:gd name="T95" fmla="*/ 17 h 227"/>
                  <a:gd name="T96" fmla="*/ 85 w 212"/>
                  <a:gd name="T97" fmla="*/ 14 h 227"/>
                  <a:gd name="T98" fmla="*/ 84 w 212"/>
                  <a:gd name="T99" fmla="*/ 11 h 227"/>
                  <a:gd name="T100" fmla="*/ 83 w 212"/>
                  <a:gd name="T101" fmla="*/ 8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2" h="227">
                    <a:moveTo>
                      <a:pt x="80" y="0"/>
                    </a:moveTo>
                    <a:lnTo>
                      <a:pt x="78" y="1"/>
                    </a:lnTo>
                    <a:lnTo>
                      <a:pt x="77" y="3"/>
                    </a:lnTo>
                    <a:lnTo>
                      <a:pt x="76" y="4"/>
                    </a:lnTo>
                    <a:lnTo>
                      <a:pt x="74" y="7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2" y="14"/>
                    </a:lnTo>
                    <a:lnTo>
                      <a:pt x="59" y="17"/>
                    </a:lnTo>
                    <a:lnTo>
                      <a:pt x="55" y="21"/>
                    </a:lnTo>
                    <a:lnTo>
                      <a:pt x="52" y="25"/>
                    </a:lnTo>
                    <a:lnTo>
                      <a:pt x="49" y="29"/>
                    </a:lnTo>
                    <a:lnTo>
                      <a:pt x="47" y="33"/>
                    </a:lnTo>
                    <a:lnTo>
                      <a:pt x="45" y="36"/>
                    </a:lnTo>
                    <a:lnTo>
                      <a:pt x="44" y="36"/>
                    </a:lnTo>
                    <a:lnTo>
                      <a:pt x="44" y="41"/>
                    </a:lnTo>
                    <a:lnTo>
                      <a:pt x="43" y="48"/>
                    </a:lnTo>
                    <a:lnTo>
                      <a:pt x="40" y="55"/>
                    </a:lnTo>
                    <a:lnTo>
                      <a:pt x="37" y="62"/>
                    </a:lnTo>
                    <a:lnTo>
                      <a:pt x="33" y="67"/>
                    </a:lnTo>
                    <a:lnTo>
                      <a:pt x="32" y="72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2" y="81"/>
                    </a:lnTo>
                    <a:lnTo>
                      <a:pt x="16" y="87"/>
                    </a:lnTo>
                    <a:lnTo>
                      <a:pt x="12" y="92"/>
                    </a:lnTo>
                    <a:lnTo>
                      <a:pt x="10" y="98"/>
                    </a:lnTo>
                    <a:lnTo>
                      <a:pt x="7" y="102"/>
                    </a:lnTo>
                    <a:lnTo>
                      <a:pt x="5" y="106"/>
                    </a:lnTo>
                    <a:lnTo>
                      <a:pt x="5" y="109"/>
                    </a:lnTo>
                    <a:lnTo>
                      <a:pt x="5" y="109"/>
                    </a:lnTo>
                    <a:lnTo>
                      <a:pt x="5" y="114"/>
                    </a:lnTo>
                    <a:lnTo>
                      <a:pt x="5" y="118"/>
                    </a:lnTo>
                    <a:lnTo>
                      <a:pt x="5" y="122"/>
                    </a:lnTo>
                    <a:lnTo>
                      <a:pt x="5" y="127"/>
                    </a:lnTo>
                    <a:lnTo>
                      <a:pt x="5" y="131"/>
                    </a:lnTo>
                    <a:lnTo>
                      <a:pt x="5" y="133"/>
                    </a:lnTo>
                    <a:lnTo>
                      <a:pt x="5" y="135"/>
                    </a:lnTo>
                    <a:lnTo>
                      <a:pt x="5" y="136"/>
                    </a:lnTo>
                    <a:lnTo>
                      <a:pt x="1" y="139"/>
                    </a:lnTo>
                    <a:lnTo>
                      <a:pt x="0" y="140"/>
                    </a:lnTo>
                    <a:lnTo>
                      <a:pt x="0" y="143"/>
                    </a:lnTo>
                    <a:lnTo>
                      <a:pt x="1" y="146"/>
                    </a:lnTo>
                    <a:lnTo>
                      <a:pt x="3" y="149"/>
                    </a:lnTo>
                    <a:lnTo>
                      <a:pt x="4" y="150"/>
                    </a:lnTo>
                    <a:lnTo>
                      <a:pt x="5" y="151"/>
                    </a:lnTo>
                    <a:lnTo>
                      <a:pt x="7" y="151"/>
                    </a:lnTo>
                    <a:lnTo>
                      <a:pt x="10" y="154"/>
                    </a:lnTo>
                    <a:lnTo>
                      <a:pt x="15" y="158"/>
                    </a:lnTo>
                    <a:lnTo>
                      <a:pt x="19" y="164"/>
                    </a:lnTo>
                    <a:lnTo>
                      <a:pt x="23" y="169"/>
                    </a:lnTo>
                    <a:lnTo>
                      <a:pt x="29" y="175"/>
                    </a:lnTo>
                    <a:lnTo>
                      <a:pt x="32" y="180"/>
                    </a:lnTo>
                    <a:lnTo>
                      <a:pt x="34" y="183"/>
                    </a:lnTo>
                    <a:lnTo>
                      <a:pt x="36" y="184"/>
                    </a:lnTo>
                    <a:lnTo>
                      <a:pt x="40" y="205"/>
                    </a:lnTo>
                    <a:lnTo>
                      <a:pt x="56" y="206"/>
                    </a:lnTo>
                    <a:lnTo>
                      <a:pt x="76" y="224"/>
                    </a:lnTo>
                    <a:lnTo>
                      <a:pt x="99" y="227"/>
                    </a:lnTo>
                    <a:lnTo>
                      <a:pt x="107" y="216"/>
                    </a:lnTo>
                    <a:lnTo>
                      <a:pt x="131" y="212"/>
                    </a:lnTo>
                    <a:lnTo>
                      <a:pt x="135" y="219"/>
                    </a:lnTo>
                    <a:lnTo>
                      <a:pt x="153" y="220"/>
                    </a:lnTo>
                    <a:lnTo>
                      <a:pt x="155" y="213"/>
                    </a:lnTo>
                    <a:lnTo>
                      <a:pt x="175" y="206"/>
                    </a:lnTo>
                    <a:lnTo>
                      <a:pt x="212" y="155"/>
                    </a:lnTo>
                    <a:lnTo>
                      <a:pt x="194" y="153"/>
                    </a:lnTo>
                    <a:lnTo>
                      <a:pt x="155" y="132"/>
                    </a:lnTo>
                    <a:lnTo>
                      <a:pt x="142" y="124"/>
                    </a:lnTo>
                    <a:lnTo>
                      <a:pt x="146" y="118"/>
                    </a:lnTo>
                    <a:lnTo>
                      <a:pt x="142" y="114"/>
                    </a:lnTo>
                    <a:lnTo>
                      <a:pt x="125" y="111"/>
                    </a:lnTo>
                    <a:lnTo>
                      <a:pt x="124" y="98"/>
                    </a:lnTo>
                    <a:lnTo>
                      <a:pt x="133" y="85"/>
                    </a:lnTo>
                    <a:lnTo>
                      <a:pt x="136" y="89"/>
                    </a:lnTo>
                    <a:lnTo>
                      <a:pt x="142" y="84"/>
                    </a:lnTo>
                    <a:lnTo>
                      <a:pt x="142" y="83"/>
                    </a:lnTo>
                    <a:lnTo>
                      <a:pt x="142" y="83"/>
                    </a:lnTo>
                    <a:lnTo>
                      <a:pt x="140" y="80"/>
                    </a:lnTo>
                    <a:lnTo>
                      <a:pt x="139" y="77"/>
                    </a:lnTo>
                    <a:lnTo>
                      <a:pt x="136" y="73"/>
                    </a:lnTo>
                    <a:lnTo>
                      <a:pt x="132" y="67"/>
                    </a:lnTo>
                    <a:lnTo>
                      <a:pt x="125" y="61"/>
                    </a:lnTo>
                    <a:lnTo>
                      <a:pt x="116" y="52"/>
                    </a:lnTo>
                    <a:lnTo>
                      <a:pt x="114" y="51"/>
                    </a:lnTo>
                    <a:lnTo>
                      <a:pt x="111" y="48"/>
                    </a:lnTo>
                    <a:lnTo>
                      <a:pt x="106" y="44"/>
                    </a:lnTo>
                    <a:lnTo>
                      <a:pt x="102" y="39"/>
                    </a:lnTo>
                    <a:lnTo>
                      <a:pt x="96" y="33"/>
                    </a:lnTo>
                    <a:lnTo>
                      <a:pt x="91" y="28"/>
                    </a:lnTo>
                    <a:lnTo>
                      <a:pt x="88" y="22"/>
                    </a:lnTo>
                    <a:lnTo>
                      <a:pt x="87" y="17"/>
                    </a:lnTo>
                    <a:lnTo>
                      <a:pt x="87" y="17"/>
                    </a:lnTo>
                    <a:lnTo>
                      <a:pt x="85" y="17"/>
                    </a:lnTo>
                    <a:lnTo>
                      <a:pt x="85" y="15"/>
                    </a:lnTo>
                    <a:lnTo>
                      <a:pt x="85" y="14"/>
                    </a:lnTo>
                    <a:lnTo>
                      <a:pt x="85" y="12"/>
                    </a:lnTo>
                    <a:lnTo>
                      <a:pt x="84" y="11"/>
                    </a:lnTo>
                    <a:lnTo>
                      <a:pt x="84" y="10"/>
                    </a:lnTo>
                    <a:lnTo>
                      <a:pt x="83" y="8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1" name="Freeform 1014"/>
              <p:cNvSpPr>
                <a:spLocks/>
              </p:cNvSpPr>
              <p:nvPr/>
            </p:nvSpPr>
            <p:spPr bwMode="auto">
              <a:xfrm>
                <a:off x="3226" y="2660"/>
                <a:ext cx="212" cy="227"/>
              </a:xfrm>
              <a:custGeom>
                <a:avLst/>
                <a:gdLst>
                  <a:gd name="T0" fmla="*/ 78 w 212"/>
                  <a:gd name="T1" fmla="*/ 1 h 227"/>
                  <a:gd name="T2" fmla="*/ 76 w 212"/>
                  <a:gd name="T3" fmla="*/ 4 h 227"/>
                  <a:gd name="T4" fmla="*/ 71 w 212"/>
                  <a:gd name="T5" fmla="*/ 10 h 227"/>
                  <a:gd name="T6" fmla="*/ 66 w 212"/>
                  <a:gd name="T7" fmla="*/ 12 h 227"/>
                  <a:gd name="T8" fmla="*/ 62 w 212"/>
                  <a:gd name="T9" fmla="*/ 14 h 227"/>
                  <a:gd name="T10" fmla="*/ 55 w 212"/>
                  <a:gd name="T11" fmla="*/ 21 h 227"/>
                  <a:gd name="T12" fmla="*/ 49 w 212"/>
                  <a:gd name="T13" fmla="*/ 29 h 227"/>
                  <a:gd name="T14" fmla="*/ 45 w 212"/>
                  <a:gd name="T15" fmla="*/ 36 h 227"/>
                  <a:gd name="T16" fmla="*/ 44 w 212"/>
                  <a:gd name="T17" fmla="*/ 41 h 227"/>
                  <a:gd name="T18" fmla="*/ 40 w 212"/>
                  <a:gd name="T19" fmla="*/ 55 h 227"/>
                  <a:gd name="T20" fmla="*/ 33 w 212"/>
                  <a:gd name="T21" fmla="*/ 67 h 227"/>
                  <a:gd name="T22" fmla="*/ 29 w 212"/>
                  <a:gd name="T23" fmla="*/ 74 h 227"/>
                  <a:gd name="T24" fmla="*/ 22 w 212"/>
                  <a:gd name="T25" fmla="*/ 81 h 227"/>
                  <a:gd name="T26" fmla="*/ 12 w 212"/>
                  <a:gd name="T27" fmla="*/ 92 h 227"/>
                  <a:gd name="T28" fmla="*/ 7 w 212"/>
                  <a:gd name="T29" fmla="*/ 102 h 227"/>
                  <a:gd name="T30" fmla="*/ 5 w 212"/>
                  <a:gd name="T31" fmla="*/ 109 h 227"/>
                  <a:gd name="T32" fmla="*/ 5 w 212"/>
                  <a:gd name="T33" fmla="*/ 118 h 227"/>
                  <a:gd name="T34" fmla="*/ 5 w 212"/>
                  <a:gd name="T35" fmla="*/ 127 h 227"/>
                  <a:gd name="T36" fmla="*/ 5 w 212"/>
                  <a:gd name="T37" fmla="*/ 133 h 227"/>
                  <a:gd name="T38" fmla="*/ 5 w 212"/>
                  <a:gd name="T39" fmla="*/ 136 h 227"/>
                  <a:gd name="T40" fmla="*/ 0 w 212"/>
                  <a:gd name="T41" fmla="*/ 140 h 227"/>
                  <a:gd name="T42" fmla="*/ 1 w 212"/>
                  <a:gd name="T43" fmla="*/ 146 h 227"/>
                  <a:gd name="T44" fmla="*/ 4 w 212"/>
                  <a:gd name="T45" fmla="*/ 150 h 227"/>
                  <a:gd name="T46" fmla="*/ 7 w 212"/>
                  <a:gd name="T47" fmla="*/ 151 h 227"/>
                  <a:gd name="T48" fmla="*/ 15 w 212"/>
                  <a:gd name="T49" fmla="*/ 158 h 227"/>
                  <a:gd name="T50" fmla="*/ 23 w 212"/>
                  <a:gd name="T51" fmla="*/ 169 h 227"/>
                  <a:gd name="T52" fmla="*/ 32 w 212"/>
                  <a:gd name="T53" fmla="*/ 180 h 227"/>
                  <a:gd name="T54" fmla="*/ 36 w 212"/>
                  <a:gd name="T55" fmla="*/ 184 h 227"/>
                  <a:gd name="T56" fmla="*/ 56 w 212"/>
                  <a:gd name="T57" fmla="*/ 206 h 227"/>
                  <a:gd name="T58" fmla="*/ 99 w 212"/>
                  <a:gd name="T59" fmla="*/ 227 h 227"/>
                  <a:gd name="T60" fmla="*/ 131 w 212"/>
                  <a:gd name="T61" fmla="*/ 212 h 227"/>
                  <a:gd name="T62" fmla="*/ 153 w 212"/>
                  <a:gd name="T63" fmla="*/ 220 h 227"/>
                  <a:gd name="T64" fmla="*/ 175 w 212"/>
                  <a:gd name="T65" fmla="*/ 206 h 227"/>
                  <a:gd name="T66" fmla="*/ 194 w 212"/>
                  <a:gd name="T67" fmla="*/ 153 h 227"/>
                  <a:gd name="T68" fmla="*/ 142 w 212"/>
                  <a:gd name="T69" fmla="*/ 124 h 227"/>
                  <a:gd name="T70" fmla="*/ 142 w 212"/>
                  <a:gd name="T71" fmla="*/ 114 h 227"/>
                  <a:gd name="T72" fmla="*/ 124 w 212"/>
                  <a:gd name="T73" fmla="*/ 98 h 227"/>
                  <a:gd name="T74" fmla="*/ 136 w 212"/>
                  <a:gd name="T75" fmla="*/ 89 h 227"/>
                  <a:gd name="T76" fmla="*/ 142 w 212"/>
                  <a:gd name="T77" fmla="*/ 83 h 227"/>
                  <a:gd name="T78" fmla="*/ 139 w 212"/>
                  <a:gd name="T79" fmla="*/ 77 h 227"/>
                  <a:gd name="T80" fmla="*/ 132 w 212"/>
                  <a:gd name="T81" fmla="*/ 67 h 227"/>
                  <a:gd name="T82" fmla="*/ 116 w 212"/>
                  <a:gd name="T83" fmla="*/ 52 h 227"/>
                  <a:gd name="T84" fmla="*/ 111 w 212"/>
                  <a:gd name="T85" fmla="*/ 48 h 227"/>
                  <a:gd name="T86" fmla="*/ 102 w 212"/>
                  <a:gd name="T87" fmla="*/ 39 h 227"/>
                  <a:gd name="T88" fmla="*/ 91 w 212"/>
                  <a:gd name="T89" fmla="*/ 28 h 227"/>
                  <a:gd name="T90" fmla="*/ 87 w 212"/>
                  <a:gd name="T91" fmla="*/ 17 h 227"/>
                  <a:gd name="T92" fmla="*/ 85 w 212"/>
                  <a:gd name="T93" fmla="*/ 15 h 227"/>
                  <a:gd name="T94" fmla="*/ 85 w 212"/>
                  <a:gd name="T95" fmla="*/ 12 h 227"/>
                  <a:gd name="T96" fmla="*/ 84 w 212"/>
                  <a:gd name="T97" fmla="*/ 10 h 227"/>
                  <a:gd name="T98" fmla="*/ 80 w 212"/>
                  <a:gd name="T99" fmla="*/ 0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12" h="227">
                    <a:moveTo>
                      <a:pt x="80" y="0"/>
                    </a:moveTo>
                    <a:lnTo>
                      <a:pt x="78" y="1"/>
                    </a:lnTo>
                    <a:lnTo>
                      <a:pt x="77" y="3"/>
                    </a:lnTo>
                    <a:lnTo>
                      <a:pt x="76" y="4"/>
                    </a:lnTo>
                    <a:lnTo>
                      <a:pt x="74" y="7"/>
                    </a:lnTo>
                    <a:lnTo>
                      <a:pt x="71" y="10"/>
                    </a:lnTo>
                    <a:lnTo>
                      <a:pt x="69" y="11"/>
                    </a:lnTo>
                    <a:lnTo>
                      <a:pt x="66" y="12"/>
                    </a:lnTo>
                    <a:lnTo>
                      <a:pt x="65" y="12"/>
                    </a:lnTo>
                    <a:lnTo>
                      <a:pt x="62" y="14"/>
                    </a:lnTo>
                    <a:lnTo>
                      <a:pt x="59" y="17"/>
                    </a:lnTo>
                    <a:lnTo>
                      <a:pt x="55" y="21"/>
                    </a:lnTo>
                    <a:lnTo>
                      <a:pt x="52" y="25"/>
                    </a:lnTo>
                    <a:lnTo>
                      <a:pt x="49" y="29"/>
                    </a:lnTo>
                    <a:lnTo>
                      <a:pt x="47" y="33"/>
                    </a:lnTo>
                    <a:lnTo>
                      <a:pt x="45" y="36"/>
                    </a:lnTo>
                    <a:lnTo>
                      <a:pt x="44" y="36"/>
                    </a:lnTo>
                    <a:lnTo>
                      <a:pt x="44" y="41"/>
                    </a:lnTo>
                    <a:lnTo>
                      <a:pt x="43" y="48"/>
                    </a:lnTo>
                    <a:lnTo>
                      <a:pt x="40" y="55"/>
                    </a:lnTo>
                    <a:lnTo>
                      <a:pt x="37" y="62"/>
                    </a:lnTo>
                    <a:lnTo>
                      <a:pt x="33" y="67"/>
                    </a:lnTo>
                    <a:lnTo>
                      <a:pt x="32" y="72"/>
                    </a:lnTo>
                    <a:lnTo>
                      <a:pt x="29" y="74"/>
                    </a:lnTo>
                    <a:lnTo>
                      <a:pt x="29" y="76"/>
                    </a:lnTo>
                    <a:lnTo>
                      <a:pt x="22" y="81"/>
                    </a:lnTo>
                    <a:lnTo>
                      <a:pt x="16" y="87"/>
                    </a:lnTo>
                    <a:lnTo>
                      <a:pt x="12" y="92"/>
                    </a:lnTo>
                    <a:lnTo>
                      <a:pt x="10" y="98"/>
                    </a:lnTo>
                    <a:lnTo>
                      <a:pt x="7" y="102"/>
                    </a:lnTo>
                    <a:lnTo>
                      <a:pt x="5" y="106"/>
                    </a:lnTo>
                    <a:lnTo>
                      <a:pt x="5" y="109"/>
                    </a:lnTo>
                    <a:lnTo>
                      <a:pt x="5" y="114"/>
                    </a:lnTo>
                    <a:lnTo>
                      <a:pt x="5" y="118"/>
                    </a:lnTo>
                    <a:lnTo>
                      <a:pt x="5" y="122"/>
                    </a:lnTo>
                    <a:lnTo>
                      <a:pt x="5" y="127"/>
                    </a:lnTo>
                    <a:lnTo>
                      <a:pt x="5" y="131"/>
                    </a:lnTo>
                    <a:lnTo>
                      <a:pt x="5" y="133"/>
                    </a:lnTo>
                    <a:lnTo>
                      <a:pt x="5" y="135"/>
                    </a:lnTo>
                    <a:lnTo>
                      <a:pt x="5" y="136"/>
                    </a:lnTo>
                    <a:lnTo>
                      <a:pt x="1" y="139"/>
                    </a:lnTo>
                    <a:lnTo>
                      <a:pt x="0" y="140"/>
                    </a:lnTo>
                    <a:lnTo>
                      <a:pt x="0" y="143"/>
                    </a:lnTo>
                    <a:lnTo>
                      <a:pt x="1" y="146"/>
                    </a:lnTo>
                    <a:lnTo>
                      <a:pt x="3" y="149"/>
                    </a:lnTo>
                    <a:lnTo>
                      <a:pt x="4" y="150"/>
                    </a:lnTo>
                    <a:lnTo>
                      <a:pt x="5" y="151"/>
                    </a:lnTo>
                    <a:lnTo>
                      <a:pt x="7" y="151"/>
                    </a:lnTo>
                    <a:lnTo>
                      <a:pt x="10" y="154"/>
                    </a:lnTo>
                    <a:lnTo>
                      <a:pt x="15" y="158"/>
                    </a:lnTo>
                    <a:lnTo>
                      <a:pt x="19" y="164"/>
                    </a:lnTo>
                    <a:lnTo>
                      <a:pt x="23" y="169"/>
                    </a:lnTo>
                    <a:lnTo>
                      <a:pt x="29" y="175"/>
                    </a:lnTo>
                    <a:lnTo>
                      <a:pt x="32" y="180"/>
                    </a:lnTo>
                    <a:lnTo>
                      <a:pt x="34" y="183"/>
                    </a:lnTo>
                    <a:lnTo>
                      <a:pt x="36" y="184"/>
                    </a:lnTo>
                    <a:lnTo>
                      <a:pt x="40" y="205"/>
                    </a:lnTo>
                    <a:lnTo>
                      <a:pt x="56" y="206"/>
                    </a:lnTo>
                    <a:lnTo>
                      <a:pt x="76" y="224"/>
                    </a:lnTo>
                    <a:lnTo>
                      <a:pt x="99" y="227"/>
                    </a:lnTo>
                    <a:lnTo>
                      <a:pt x="107" y="216"/>
                    </a:lnTo>
                    <a:lnTo>
                      <a:pt x="131" y="212"/>
                    </a:lnTo>
                    <a:lnTo>
                      <a:pt x="135" y="219"/>
                    </a:lnTo>
                    <a:lnTo>
                      <a:pt x="153" y="220"/>
                    </a:lnTo>
                    <a:lnTo>
                      <a:pt x="155" y="213"/>
                    </a:lnTo>
                    <a:lnTo>
                      <a:pt x="175" y="206"/>
                    </a:lnTo>
                    <a:lnTo>
                      <a:pt x="212" y="155"/>
                    </a:lnTo>
                    <a:lnTo>
                      <a:pt x="194" y="153"/>
                    </a:lnTo>
                    <a:lnTo>
                      <a:pt x="155" y="132"/>
                    </a:lnTo>
                    <a:lnTo>
                      <a:pt x="142" y="124"/>
                    </a:lnTo>
                    <a:lnTo>
                      <a:pt x="146" y="118"/>
                    </a:lnTo>
                    <a:lnTo>
                      <a:pt x="142" y="114"/>
                    </a:lnTo>
                    <a:lnTo>
                      <a:pt x="125" y="111"/>
                    </a:lnTo>
                    <a:lnTo>
                      <a:pt x="124" y="98"/>
                    </a:lnTo>
                    <a:lnTo>
                      <a:pt x="133" y="85"/>
                    </a:lnTo>
                    <a:lnTo>
                      <a:pt x="136" y="89"/>
                    </a:lnTo>
                    <a:lnTo>
                      <a:pt x="142" y="84"/>
                    </a:lnTo>
                    <a:lnTo>
                      <a:pt x="142" y="83"/>
                    </a:lnTo>
                    <a:lnTo>
                      <a:pt x="140" y="80"/>
                    </a:lnTo>
                    <a:lnTo>
                      <a:pt x="139" y="77"/>
                    </a:lnTo>
                    <a:lnTo>
                      <a:pt x="136" y="73"/>
                    </a:lnTo>
                    <a:lnTo>
                      <a:pt x="132" y="67"/>
                    </a:lnTo>
                    <a:lnTo>
                      <a:pt x="125" y="61"/>
                    </a:lnTo>
                    <a:lnTo>
                      <a:pt x="116" y="52"/>
                    </a:lnTo>
                    <a:lnTo>
                      <a:pt x="114" y="51"/>
                    </a:lnTo>
                    <a:lnTo>
                      <a:pt x="111" y="48"/>
                    </a:lnTo>
                    <a:lnTo>
                      <a:pt x="106" y="44"/>
                    </a:lnTo>
                    <a:lnTo>
                      <a:pt x="102" y="39"/>
                    </a:lnTo>
                    <a:lnTo>
                      <a:pt x="96" y="33"/>
                    </a:lnTo>
                    <a:lnTo>
                      <a:pt x="91" y="28"/>
                    </a:lnTo>
                    <a:lnTo>
                      <a:pt x="88" y="22"/>
                    </a:lnTo>
                    <a:lnTo>
                      <a:pt x="87" y="17"/>
                    </a:lnTo>
                    <a:lnTo>
                      <a:pt x="85" y="17"/>
                    </a:lnTo>
                    <a:lnTo>
                      <a:pt x="85" y="15"/>
                    </a:lnTo>
                    <a:lnTo>
                      <a:pt x="85" y="14"/>
                    </a:lnTo>
                    <a:lnTo>
                      <a:pt x="85" y="12"/>
                    </a:lnTo>
                    <a:lnTo>
                      <a:pt x="84" y="11"/>
                    </a:lnTo>
                    <a:lnTo>
                      <a:pt x="84" y="10"/>
                    </a:lnTo>
                    <a:lnTo>
                      <a:pt x="83" y="8"/>
                    </a:lnTo>
                    <a:lnTo>
                      <a:pt x="8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2" name="Freeform 1015"/>
              <p:cNvSpPr>
                <a:spLocks/>
              </p:cNvSpPr>
              <p:nvPr/>
            </p:nvSpPr>
            <p:spPr bwMode="auto">
              <a:xfrm>
                <a:off x="3165" y="2957"/>
                <a:ext cx="29" cy="30"/>
              </a:xfrm>
              <a:custGeom>
                <a:avLst/>
                <a:gdLst>
                  <a:gd name="T0" fmla="*/ 2 w 29"/>
                  <a:gd name="T1" fmla="*/ 7 h 30"/>
                  <a:gd name="T2" fmla="*/ 24 w 29"/>
                  <a:gd name="T3" fmla="*/ 0 h 30"/>
                  <a:gd name="T4" fmla="*/ 24 w 29"/>
                  <a:gd name="T5" fmla="*/ 0 h 30"/>
                  <a:gd name="T6" fmla="*/ 25 w 29"/>
                  <a:gd name="T7" fmla="*/ 0 h 30"/>
                  <a:gd name="T8" fmla="*/ 25 w 29"/>
                  <a:gd name="T9" fmla="*/ 1 h 30"/>
                  <a:gd name="T10" fmla="*/ 27 w 29"/>
                  <a:gd name="T11" fmla="*/ 1 h 30"/>
                  <a:gd name="T12" fmla="*/ 27 w 29"/>
                  <a:gd name="T13" fmla="*/ 3 h 30"/>
                  <a:gd name="T14" fmla="*/ 27 w 29"/>
                  <a:gd name="T15" fmla="*/ 4 h 30"/>
                  <a:gd name="T16" fmla="*/ 27 w 29"/>
                  <a:gd name="T17" fmla="*/ 4 h 30"/>
                  <a:gd name="T18" fmla="*/ 27 w 29"/>
                  <a:gd name="T19" fmla="*/ 5 h 30"/>
                  <a:gd name="T20" fmla="*/ 28 w 29"/>
                  <a:gd name="T21" fmla="*/ 5 h 30"/>
                  <a:gd name="T22" fmla="*/ 28 w 29"/>
                  <a:gd name="T23" fmla="*/ 7 h 30"/>
                  <a:gd name="T24" fmla="*/ 28 w 29"/>
                  <a:gd name="T25" fmla="*/ 10 h 30"/>
                  <a:gd name="T26" fmla="*/ 29 w 29"/>
                  <a:gd name="T27" fmla="*/ 14 h 30"/>
                  <a:gd name="T28" fmla="*/ 29 w 29"/>
                  <a:gd name="T29" fmla="*/ 16 h 30"/>
                  <a:gd name="T30" fmla="*/ 28 w 29"/>
                  <a:gd name="T31" fmla="*/ 19 h 30"/>
                  <a:gd name="T32" fmla="*/ 27 w 29"/>
                  <a:gd name="T33" fmla="*/ 22 h 30"/>
                  <a:gd name="T34" fmla="*/ 24 w 29"/>
                  <a:gd name="T35" fmla="*/ 25 h 30"/>
                  <a:gd name="T36" fmla="*/ 24 w 29"/>
                  <a:gd name="T37" fmla="*/ 25 h 30"/>
                  <a:gd name="T38" fmla="*/ 22 w 29"/>
                  <a:gd name="T39" fmla="*/ 25 h 30"/>
                  <a:gd name="T40" fmla="*/ 21 w 29"/>
                  <a:gd name="T41" fmla="*/ 26 h 30"/>
                  <a:gd name="T42" fmla="*/ 20 w 29"/>
                  <a:gd name="T43" fmla="*/ 26 h 30"/>
                  <a:gd name="T44" fmla="*/ 18 w 29"/>
                  <a:gd name="T45" fmla="*/ 27 h 30"/>
                  <a:gd name="T46" fmla="*/ 17 w 29"/>
                  <a:gd name="T47" fmla="*/ 27 h 30"/>
                  <a:gd name="T48" fmla="*/ 17 w 29"/>
                  <a:gd name="T49" fmla="*/ 29 h 30"/>
                  <a:gd name="T50" fmla="*/ 16 w 29"/>
                  <a:gd name="T51" fmla="*/ 30 h 30"/>
                  <a:gd name="T52" fmla="*/ 16 w 29"/>
                  <a:gd name="T53" fmla="*/ 30 h 30"/>
                  <a:gd name="T54" fmla="*/ 16 w 29"/>
                  <a:gd name="T55" fmla="*/ 30 h 30"/>
                  <a:gd name="T56" fmla="*/ 16 w 29"/>
                  <a:gd name="T57" fmla="*/ 30 h 30"/>
                  <a:gd name="T58" fmla="*/ 16 w 29"/>
                  <a:gd name="T59" fmla="*/ 30 h 30"/>
                  <a:gd name="T60" fmla="*/ 16 w 29"/>
                  <a:gd name="T61" fmla="*/ 30 h 30"/>
                  <a:gd name="T62" fmla="*/ 14 w 29"/>
                  <a:gd name="T63" fmla="*/ 29 h 30"/>
                  <a:gd name="T64" fmla="*/ 13 w 29"/>
                  <a:gd name="T65" fmla="*/ 29 h 30"/>
                  <a:gd name="T66" fmla="*/ 11 w 29"/>
                  <a:gd name="T67" fmla="*/ 29 h 30"/>
                  <a:gd name="T68" fmla="*/ 5 w 29"/>
                  <a:gd name="T69" fmla="*/ 29 h 30"/>
                  <a:gd name="T70" fmla="*/ 5 w 29"/>
                  <a:gd name="T71" fmla="*/ 27 h 30"/>
                  <a:gd name="T72" fmla="*/ 5 w 29"/>
                  <a:gd name="T73" fmla="*/ 26 h 30"/>
                  <a:gd name="T74" fmla="*/ 3 w 29"/>
                  <a:gd name="T75" fmla="*/ 23 h 30"/>
                  <a:gd name="T76" fmla="*/ 2 w 29"/>
                  <a:gd name="T77" fmla="*/ 21 h 30"/>
                  <a:gd name="T78" fmla="*/ 2 w 29"/>
                  <a:gd name="T79" fmla="*/ 16 h 30"/>
                  <a:gd name="T80" fmla="*/ 0 w 29"/>
                  <a:gd name="T81" fmla="*/ 12 h 30"/>
                  <a:gd name="T82" fmla="*/ 0 w 29"/>
                  <a:gd name="T83" fmla="*/ 10 h 30"/>
                  <a:gd name="T84" fmla="*/ 2 w 29"/>
                  <a:gd name="T85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" h="30">
                    <a:moveTo>
                      <a:pt x="2" y="7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7" y="3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8" y="19"/>
                    </a:lnTo>
                    <a:lnTo>
                      <a:pt x="27" y="22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2" y="25"/>
                    </a:lnTo>
                    <a:lnTo>
                      <a:pt x="21" y="26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4" y="29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5" y="29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3" y="23"/>
                    </a:lnTo>
                    <a:lnTo>
                      <a:pt x="2" y="21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3" name="Freeform 1016"/>
              <p:cNvSpPr>
                <a:spLocks/>
              </p:cNvSpPr>
              <p:nvPr/>
            </p:nvSpPr>
            <p:spPr bwMode="auto">
              <a:xfrm>
                <a:off x="3165" y="2957"/>
                <a:ext cx="29" cy="30"/>
              </a:xfrm>
              <a:custGeom>
                <a:avLst/>
                <a:gdLst>
                  <a:gd name="T0" fmla="*/ 2 w 29"/>
                  <a:gd name="T1" fmla="*/ 7 h 30"/>
                  <a:gd name="T2" fmla="*/ 24 w 29"/>
                  <a:gd name="T3" fmla="*/ 0 h 30"/>
                  <a:gd name="T4" fmla="*/ 25 w 29"/>
                  <a:gd name="T5" fmla="*/ 0 h 30"/>
                  <a:gd name="T6" fmla="*/ 25 w 29"/>
                  <a:gd name="T7" fmla="*/ 1 h 30"/>
                  <a:gd name="T8" fmla="*/ 27 w 29"/>
                  <a:gd name="T9" fmla="*/ 1 h 30"/>
                  <a:gd name="T10" fmla="*/ 27 w 29"/>
                  <a:gd name="T11" fmla="*/ 3 h 30"/>
                  <a:gd name="T12" fmla="*/ 27 w 29"/>
                  <a:gd name="T13" fmla="*/ 4 h 30"/>
                  <a:gd name="T14" fmla="*/ 27 w 29"/>
                  <a:gd name="T15" fmla="*/ 5 h 30"/>
                  <a:gd name="T16" fmla="*/ 28 w 29"/>
                  <a:gd name="T17" fmla="*/ 5 h 30"/>
                  <a:gd name="T18" fmla="*/ 28 w 29"/>
                  <a:gd name="T19" fmla="*/ 7 h 30"/>
                  <a:gd name="T20" fmla="*/ 28 w 29"/>
                  <a:gd name="T21" fmla="*/ 10 h 30"/>
                  <a:gd name="T22" fmla="*/ 29 w 29"/>
                  <a:gd name="T23" fmla="*/ 14 h 30"/>
                  <a:gd name="T24" fmla="*/ 29 w 29"/>
                  <a:gd name="T25" fmla="*/ 16 h 30"/>
                  <a:gd name="T26" fmla="*/ 28 w 29"/>
                  <a:gd name="T27" fmla="*/ 19 h 30"/>
                  <a:gd name="T28" fmla="*/ 27 w 29"/>
                  <a:gd name="T29" fmla="*/ 22 h 30"/>
                  <a:gd name="T30" fmla="*/ 24 w 29"/>
                  <a:gd name="T31" fmla="*/ 25 h 30"/>
                  <a:gd name="T32" fmla="*/ 22 w 29"/>
                  <a:gd name="T33" fmla="*/ 25 h 30"/>
                  <a:gd name="T34" fmla="*/ 21 w 29"/>
                  <a:gd name="T35" fmla="*/ 26 h 30"/>
                  <a:gd name="T36" fmla="*/ 20 w 29"/>
                  <a:gd name="T37" fmla="*/ 26 h 30"/>
                  <a:gd name="T38" fmla="*/ 18 w 29"/>
                  <a:gd name="T39" fmla="*/ 27 h 30"/>
                  <a:gd name="T40" fmla="*/ 17 w 29"/>
                  <a:gd name="T41" fmla="*/ 27 h 30"/>
                  <a:gd name="T42" fmla="*/ 17 w 29"/>
                  <a:gd name="T43" fmla="*/ 29 h 30"/>
                  <a:gd name="T44" fmla="*/ 16 w 29"/>
                  <a:gd name="T45" fmla="*/ 30 h 30"/>
                  <a:gd name="T46" fmla="*/ 14 w 29"/>
                  <a:gd name="T47" fmla="*/ 29 h 30"/>
                  <a:gd name="T48" fmla="*/ 13 w 29"/>
                  <a:gd name="T49" fmla="*/ 29 h 30"/>
                  <a:gd name="T50" fmla="*/ 11 w 29"/>
                  <a:gd name="T51" fmla="*/ 29 h 30"/>
                  <a:gd name="T52" fmla="*/ 5 w 29"/>
                  <a:gd name="T53" fmla="*/ 29 h 30"/>
                  <a:gd name="T54" fmla="*/ 5 w 29"/>
                  <a:gd name="T55" fmla="*/ 27 h 30"/>
                  <a:gd name="T56" fmla="*/ 5 w 29"/>
                  <a:gd name="T57" fmla="*/ 26 h 30"/>
                  <a:gd name="T58" fmla="*/ 3 w 29"/>
                  <a:gd name="T59" fmla="*/ 23 h 30"/>
                  <a:gd name="T60" fmla="*/ 2 w 29"/>
                  <a:gd name="T61" fmla="*/ 21 h 30"/>
                  <a:gd name="T62" fmla="*/ 2 w 29"/>
                  <a:gd name="T63" fmla="*/ 16 h 30"/>
                  <a:gd name="T64" fmla="*/ 0 w 29"/>
                  <a:gd name="T65" fmla="*/ 12 h 30"/>
                  <a:gd name="T66" fmla="*/ 0 w 29"/>
                  <a:gd name="T67" fmla="*/ 10 h 30"/>
                  <a:gd name="T68" fmla="*/ 2 w 29"/>
                  <a:gd name="T69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" h="30">
                    <a:moveTo>
                      <a:pt x="2" y="7"/>
                    </a:moveTo>
                    <a:lnTo>
                      <a:pt x="24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7" y="1"/>
                    </a:lnTo>
                    <a:lnTo>
                      <a:pt x="27" y="3"/>
                    </a:lnTo>
                    <a:lnTo>
                      <a:pt x="27" y="4"/>
                    </a:lnTo>
                    <a:lnTo>
                      <a:pt x="27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8" y="19"/>
                    </a:lnTo>
                    <a:lnTo>
                      <a:pt x="27" y="22"/>
                    </a:lnTo>
                    <a:lnTo>
                      <a:pt x="24" y="25"/>
                    </a:lnTo>
                    <a:lnTo>
                      <a:pt x="22" y="25"/>
                    </a:lnTo>
                    <a:lnTo>
                      <a:pt x="21" y="26"/>
                    </a:lnTo>
                    <a:lnTo>
                      <a:pt x="20" y="26"/>
                    </a:lnTo>
                    <a:lnTo>
                      <a:pt x="18" y="27"/>
                    </a:lnTo>
                    <a:lnTo>
                      <a:pt x="17" y="27"/>
                    </a:lnTo>
                    <a:lnTo>
                      <a:pt x="17" y="29"/>
                    </a:lnTo>
                    <a:lnTo>
                      <a:pt x="16" y="30"/>
                    </a:lnTo>
                    <a:lnTo>
                      <a:pt x="14" y="29"/>
                    </a:lnTo>
                    <a:lnTo>
                      <a:pt x="13" y="29"/>
                    </a:lnTo>
                    <a:lnTo>
                      <a:pt x="11" y="29"/>
                    </a:lnTo>
                    <a:lnTo>
                      <a:pt x="5" y="29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3" y="23"/>
                    </a:lnTo>
                    <a:lnTo>
                      <a:pt x="2" y="21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4" name="Freeform 1017"/>
              <p:cNvSpPr>
                <a:spLocks/>
              </p:cNvSpPr>
              <p:nvPr/>
            </p:nvSpPr>
            <p:spPr bwMode="auto">
              <a:xfrm>
                <a:off x="3170" y="2979"/>
                <a:ext cx="28" cy="37"/>
              </a:xfrm>
              <a:custGeom>
                <a:avLst/>
                <a:gdLst>
                  <a:gd name="T0" fmla="*/ 22 w 28"/>
                  <a:gd name="T1" fmla="*/ 0 h 37"/>
                  <a:gd name="T2" fmla="*/ 22 w 28"/>
                  <a:gd name="T3" fmla="*/ 0 h 37"/>
                  <a:gd name="T4" fmla="*/ 20 w 28"/>
                  <a:gd name="T5" fmla="*/ 0 h 37"/>
                  <a:gd name="T6" fmla="*/ 20 w 28"/>
                  <a:gd name="T7" fmla="*/ 0 h 37"/>
                  <a:gd name="T8" fmla="*/ 19 w 28"/>
                  <a:gd name="T9" fmla="*/ 0 h 37"/>
                  <a:gd name="T10" fmla="*/ 19 w 28"/>
                  <a:gd name="T11" fmla="*/ 1 h 37"/>
                  <a:gd name="T12" fmla="*/ 17 w 28"/>
                  <a:gd name="T13" fmla="*/ 3 h 37"/>
                  <a:gd name="T14" fmla="*/ 16 w 28"/>
                  <a:gd name="T15" fmla="*/ 4 h 37"/>
                  <a:gd name="T16" fmla="*/ 15 w 28"/>
                  <a:gd name="T17" fmla="*/ 5 h 37"/>
                  <a:gd name="T18" fmla="*/ 15 w 28"/>
                  <a:gd name="T19" fmla="*/ 5 h 37"/>
                  <a:gd name="T20" fmla="*/ 13 w 28"/>
                  <a:gd name="T21" fmla="*/ 5 h 37"/>
                  <a:gd name="T22" fmla="*/ 13 w 28"/>
                  <a:gd name="T23" fmla="*/ 5 h 37"/>
                  <a:gd name="T24" fmla="*/ 12 w 28"/>
                  <a:gd name="T25" fmla="*/ 5 h 37"/>
                  <a:gd name="T26" fmla="*/ 12 w 28"/>
                  <a:gd name="T27" fmla="*/ 5 h 37"/>
                  <a:gd name="T28" fmla="*/ 12 w 28"/>
                  <a:gd name="T29" fmla="*/ 7 h 37"/>
                  <a:gd name="T30" fmla="*/ 11 w 28"/>
                  <a:gd name="T31" fmla="*/ 7 h 37"/>
                  <a:gd name="T32" fmla="*/ 11 w 28"/>
                  <a:gd name="T33" fmla="*/ 8 h 37"/>
                  <a:gd name="T34" fmla="*/ 11 w 28"/>
                  <a:gd name="T35" fmla="*/ 8 h 37"/>
                  <a:gd name="T36" fmla="*/ 9 w 28"/>
                  <a:gd name="T37" fmla="*/ 8 h 37"/>
                  <a:gd name="T38" fmla="*/ 8 w 28"/>
                  <a:gd name="T39" fmla="*/ 7 h 37"/>
                  <a:gd name="T40" fmla="*/ 6 w 28"/>
                  <a:gd name="T41" fmla="*/ 7 h 37"/>
                  <a:gd name="T42" fmla="*/ 5 w 28"/>
                  <a:gd name="T43" fmla="*/ 7 h 37"/>
                  <a:gd name="T44" fmla="*/ 2 w 28"/>
                  <a:gd name="T45" fmla="*/ 5 h 37"/>
                  <a:gd name="T46" fmla="*/ 1 w 28"/>
                  <a:gd name="T47" fmla="*/ 5 h 37"/>
                  <a:gd name="T48" fmla="*/ 0 w 28"/>
                  <a:gd name="T49" fmla="*/ 7 h 37"/>
                  <a:gd name="T50" fmla="*/ 8 w 28"/>
                  <a:gd name="T51" fmla="*/ 37 h 37"/>
                  <a:gd name="T52" fmla="*/ 8 w 28"/>
                  <a:gd name="T53" fmla="*/ 37 h 37"/>
                  <a:gd name="T54" fmla="*/ 11 w 28"/>
                  <a:gd name="T55" fmla="*/ 34 h 37"/>
                  <a:gd name="T56" fmla="*/ 13 w 28"/>
                  <a:gd name="T57" fmla="*/ 33 h 37"/>
                  <a:gd name="T58" fmla="*/ 17 w 28"/>
                  <a:gd name="T59" fmla="*/ 29 h 37"/>
                  <a:gd name="T60" fmla="*/ 20 w 28"/>
                  <a:gd name="T61" fmla="*/ 25 h 37"/>
                  <a:gd name="T62" fmla="*/ 24 w 28"/>
                  <a:gd name="T63" fmla="*/ 21 h 37"/>
                  <a:gd name="T64" fmla="*/ 27 w 28"/>
                  <a:gd name="T65" fmla="*/ 16 h 37"/>
                  <a:gd name="T66" fmla="*/ 28 w 28"/>
                  <a:gd name="T67" fmla="*/ 12 h 37"/>
                  <a:gd name="T68" fmla="*/ 28 w 28"/>
                  <a:gd name="T69" fmla="*/ 11 h 37"/>
                  <a:gd name="T70" fmla="*/ 27 w 28"/>
                  <a:gd name="T71" fmla="*/ 11 h 37"/>
                  <a:gd name="T72" fmla="*/ 26 w 28"/>
                  <a:gd name="T73" fmla="*/ 10 h 37"/>
                  <a:gd name="T74" fmla="*/ 24 w 28"/>
                  <a:gd name="T75" fmla="*/ 8 h 37"/>
                  <a:gd name="T76" fmla="*/ 23 w 28"/>
                  <a:gd name="T77" fmla="*/ 5 h 37"/>
                  <a:gd name="T78" fmla="*/ 23 w 28"/>
                  <a:gd name="T79" fmla="*/ 4 h 37"/>
                  <a:gd name="T80" fmla="*/ 22 w 28"/>
                  <a:gd name="T81" fmla="*/ 1 h 37"/>
                  <a:gd name="T82" fmla="*/ 22 w 28"/>
                  <a:gd name="T8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8" h="37">
                    <a:moveTo>
                      <a:pt x="22" y="0"/>
                    </a:moveTo>
                    <a:lnTo>
                      <a:pt x="2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8" y="37"/>
                    </a:lnTo>
                    <a:lnTo>
                      <a:pt x="8" y="37"/>
                    </a:lnTo>
                    <a:lnTo>
                      <a:pt x="11" y="34"/>
                    </a:lnTo>
                    <a:lnTo>
                      <a:pt x="13" y="33"/>
                    </a:lnTo>
                    <a:lnTo>
                      <a:pt x="17" y="29"/>
                    </a:lnTo>
                    <a:lnTo>
                      <a:pt x="20" y="25"/>
                    </a:lnTo>
                    <a:lnTo>
                      <a:pt x="24" y="21"/>
                    </a:lnTo>
                    <a:lnTo>
                      <a:pt x="27" y="16"/>
                    </a:lnTo>
                    <a:lnTo>
                      <a:pt x="28" y="12"/>
                    </a:lnTo>
                    <a:lnTo>
                      <a:pt x="28" y="11"/>
                    </a:lnTo>
                    <a:lnTo>
                      <a:pt x="27" y="11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3" y="5"/>
                    </a:lnTo>
                    <a:lnTo>
                      <a:pt x="23" y="4"/>
                    </a:lnTo>
                    <a:lnTo>
                      <a:pt x="22" y="1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5" name="Freeform 1018"/>
              <p:cNvSpPr>
                <a:spLocks/>
              </p:cNvSpPr>
              <p:nvPr/>
            </p:nvSpPr>
            <p:spPr bwMode="auto">
              <a:xfrm>
                <a:off x="3170" y="2979"/>
                <a:ext cx="28" cy="37"/>
              </a:xfrm>
              <a:custGeom>
                <a:avLst/>
                <a:gdLst>
                  <a:gd name="T0" fmla="*/ 22 w 28"/>
                  <a:gd name="T1" fmla="*/ 0 h 37"/>
                  <a:gd name="T2" fmla="*/ 20 w 28"/>
                  <a:gd name="T3" fmla="*/ 0 h 37"/>
                  <a:gd name="T4" fmla="*/ 19 w 28"/>
                  <a:gd name="T5" fmla="*/ 0 h 37"/>
                  <a:gd name="T6" fmla="*/ 19 w 28"/>
                  <a:gd name="T7" fmla="*/ 1 h 37"/>
                  <a:gd name="T8" fmla="*/ 17 w 28"/>
                  <a:gd name="T9" fmla="*/ 3 h 37"/>
                  <a:gd name="T10" fmla="*/ 16 w 28"/>
                  <a:gd name="T11" fmla="*/ 4 h 37"/>
                  <a:gd name="T12" fmla="*/ 15 w 28"/>
                  <a:gd name="T13" fmla="*/ 5 h 37"/>
                  <a:gd name="T14" fmla="*/ 13 w 28"/>
                  <a:gd name="T15" fmla="*/ 5 h 37"/>
                  <a:gd name="T16" fmla="*/ 12 w 28"/>
                  <a:gd name="T17" fmla="*/ 5 h 37"/>
                  <a:gd name="T18" fmla="*/ 12 w 28"/>
                  <a:gd name="T19" fmla="*/ 7 h 37"/>
                  <a:gd name="T20" fmla="*/ 11 w 28"/>
                  <a:gd name="T21" fmla="*/ 7 h 37"/>
                  <a:gd name="T22" fmla="*/ 11 w 28"/>
                  <a:gd name="T23" fmla="*/ 8 h 37"/>
                  <a:gd name="T24" fmla="*/ 9 w 28"/>
                  <a:gd name="T25" fmla="*/ 8 h 37"/>
                  <a:gd name="T26" fmla="*/ 8 w 28"/>
                  <a:gd name="T27" fmla="*/ 7 h 37"/>
                  <a:gd name="T28" fmla="*/ 6 w 28"/>
                  <a:gd name="T29" fmla="*/ 7 h 37"/>
                  <a:gd name="T30" fmla="*/ 5 w 28"/>
                  <a:gd name="T31" fmla="*/ 7 h 37"/>
                  <a:gd name="T32" fmla="*/ 2 w 28"/>
                  <a:gd name="T33" fmla="*/ 5 h 37"/>
                  <a:gd name="T34" fmla="*/ 1 w 28"/>
                  <a:gd name="T35" fmla="*/ 5 h 37"/>
                  <a:gd name="T36" fmla="*/ 0 w 28"/>
                  <a:gd name="T37" fmla="*/ 7 h 37"/>
                  <a:gd name="T38" fmla="*/ 8 w 28"/>
                  <a:gd name="T39" fmla="*/ 37 h 37"/>
                  <a:gd name="T40" fmla="*/ 11 w 28"/>
                  <a:gd name="T41" fmla="*/ 34 h 37"/>
                  <a:gd name="T42" fmla="*/ 13 w 28"/>
                  <a:gd name="T43" fmla="*/ 33 h 37"/>
                  <a:gd name="T44" fmla="*/ 17 w 28"/>
                  <a:gd name="T45" fmla="*/ 29 h 37"/>
                  <a:gd name="T46" fmla="*/ 20 w 28"/>
                  <a:gd name="T47" fmla="*/ 25 h 37"/>
                  <a:gd name="T48" fmla="*/ 24 w 28"/>
                  <a:gd name="T49" fmla="*/ 21 h 37"/>
                  <a:gd name="T50" fmla="*/ 27 w 28"/>
                  <a:gd name="T51" fmla="*/ 16 h 37"/>
                  <a:gd name="T52" fmla="*/ 28 w 28"/>
                  <a:gd name="T53" fmla="*/ 12 h 37"/>
                  <a:gd name="T54" fmla="*/ 28 w 28"/>
                  <a:gd name="T55" fmla="*/ 11 h 37"/>
                  <a:gd name="T56" fmla="*/ 27 w 28"/>
                  <a:gd name="T57" fmla="*/ 11 h 37"/>
                  <a:gd name="T58" fmla="*/ 26 w 28"/>
                  <a:gd name="T59" fmla="*/ 10 h 37"/>
                  <a:gd name="T60" fmla="*/ 24 w 28"/>
                  <a:gd name="T61" fmla="*/ 8 h 37"/>
                  <a:gd name="T62" fmla="*/ 23 w 28"/>
                  <a:gd name="T63" fmla="*/ 5 h 37"/>
                  <a:gd name="T64" fmla="*/ 23 w 28"/>
                  <a:gd name="T65" fmla="*/ 4 h 37"/>
                  <a:gd name="T66" fmla="*/ 22 w 28"/>
                  <a:gd name="T67" fmla="*/ 1 h 37"/>
                  <a:gd name="T68" fmla="*/ 22 w 28"/>
                  <a:gd name="T6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8" h="37">
                    <a:moveTo>
                      <a:pt x="22" y="0"/>
                    </a:moveTo>
                    <a:lnTo>
                      <a:pt x="20" y="0"/>
                    </a:lnTo>
                    <a:lnTo>
                      <a:pt x="19" y="0"/>
                    </a:lnTo>
                    <a:lnTo>
                      <a:pt x="19" y="1"/>
                    </a:lnTo>
                    <a:lnTo>
                      <a:pt x="17" y="3"/>
                    </a:lnTo>
                    <a:lnTo>
                      <a:pt x="16" y="4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8"/>
                    </a:lnTo>
                    <a:lnTo>
                      <a:pt x="9" y="8"/>
                    </a:lnTo>
                    <a:lnTo>
                      <a:pt x="8" y="7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2" y="5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8" y="37"/>
                    </a:lnTo>
                    <a:lnTo>
                      <a:pt x="11" y="34"/>
                    </a:lnTo>
                    <a:lnTo>
                      <a:pt x="13" y="33"/>
                    </a:lnTo>
                    <a:lnTo>
                      <a:pt x="17" y="29"/>
                    </a:lnTo>
                    <a:lnTo>
                      <a:pt x="20" y="25"/>
                    </a:lnTo>
                    <a:lnTo>
                      <a:pt x="24" y="21"/>
                    </a:lnTo>
                    <a:lnTo>
                      <a:pt x="27" y="16"/>
                    </a:lnTo>
                    <a:lnTo>
                      <a:pt x="28" y="12"/>
                    </a:lnTo>
                    <a:lnTo>
                      <a:pt x="28" y="11"/>
                    </a:lnTo>
                    <a:lnTo>
                      <a:pt x="27" y="11"/>
                    </a:lnTo>
                    <a:lnTo>
                      <a:pt x="26" y="10"/>
                    </a:lnTo>
                    <a:lnTo>
                      <a:pt x="24" y="8"/>
                    </a:lnTo>
                    <a:lnTo>
                      <a:pt x="23" y="5"/>
                    </a:lnTo>
                    <a:lnTo>
                      <a:pt x="23" y="4"/>
                    </a:lnTo>
                    <a:lnTo>
                      <a:pt x="22" y="1"/>
                    </a:lnTo>
                    <a:lnTo>
                      <a:pt x="2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6" name="Freeform 1019"/>
              <p:cNvSpPr>
                <a:spLocks/>
              </p:cNvSpPr>
              <p:nvPr/>
            </p:nvSpPr>
            <p:spPr bwMode="auto">
              <a:xfrm>
                <a:off x="3178" y="2954"/>
                <a:ext cx="150" cy="169"/>
              </a:xfrm>
              <a:custGeom>
                <a:avLst/>
                <a:gdLst>
                  <a:gd name="T0" fmla="*/ 48 w 150"/>
                  <a:gd name="T1" fmla="*/ 4 h 169"/>
                  <a:gd name="T2" fmla="*/ 48 w 150"/>
                  <a:gd name="T3" fmla="*/ 7 h 169"/>
                  <a:gd name="T4" fmla="*/ 47 w 150"/>
                  <a:gd name="T5" fmla="*/ 13 h 169"/>
                  <a:gd name="T6" fmla="*/ 42 w 150"/>
                  <a:gd name="T7" fmla="*/ 18 h 169"/>
                  <a:gd name="T8" fmla="*/ 34 w 150"/>
                  <a:gd name="T9" fmla="*/ 21 h 169"/>
                  <a:gd name="T10" fmla="*/ 31 w 150"/>
                  <a:gd name="T11" fmla="*/ 19 h 169"/>
                  <a:gd name="T12" fmla="*/ 27 w 150"/>
                  <a:gd name="T13" fmla="*/ 15 h 169"/>
                  <a:gd name="T14" fmla="*/ 23 w 150"/>
                  <a:gd name="T15" fmla="*/ 8 h 169"/>
                  <a:gd name="T16" fmla="*/ 22 w 150"/>
                  <a:gd name="T17" fmla="*/ 0 h 169"/>
                  <a:gd name="T18" fmla="*/ 12 w 150"/>
                  <a:gd name="T19" fmla="*/ 3 h 169"/>
                  <a:gd name="T20" fmla="*/ 14 w 150"/>
                  <a:gd name="T21" fmla="*/ 6 h 169"/>
                  <a:gd name="T22" fmla="*/ 15 w 150"/>
                  <a:gd name="T23" fmla="*/ 8 h 169"/>
                  <a:gd name="T24" fmla="*/ 15 w 150"/>
                  <a:gd name="T25" fmla="*/ 13 h 169"/>
                  <a:gd name="T26" fmla="*/ 15 w 150"/>
                  <a:gd name="T27" fmla="*/ 15 h 169"/>
                  <a:gd name="T28" fmla="*/ 16 w 150"/>
                  <a:gd name="T29" fmla="*/ 18 h 169"/>
                  <a:gd name="T30" fmla="*/ 16 w 150"/>
                  <a:gd name="T31" fmla="*/ 21 h 169"/>
                  <a:gd name="T32" fmla="*/ 15 w 150"/>
                  <a:gd name="T33" fmla="*/ 24 h 169"/>
                  <a:gd name="T34" fmla="*/ 14 w 150"/>
                  <a:gd name="T35" fmla="*/ 25 h 169"/>
                  <a:gd name="T36" fmla="*/ 15 w 150"/>
                  <a:gd name="T37" fmla="*/ 28 h 169"/>
                  <a:gd name="T38" fmla="*/ 16 w 150"/>
                  <a:gd name="T39" fmla="*/ 32 h 169"/>
                  <a:gd name="T40" fmla="*/ 19 w 150"/>
                  <a:gd name="T41" fmla="*/ 36 h 169"/>
                  <a:gd name="T42" fmla="*/ 20 w 150"/>
                  <a:gd name="T43" fmla="*/ 37 h 169"/>
                  <a:gd name="T44" fmla="*/ 20 w 150"/>
                  <a:gd name="T45" fmla="*/ 40 h 169"/>
                  <a:gd name="T46" fmla="*/ 16 w 150"/>
                  <a:gd name="T47" fmla="*/ 47 h 169"/>
                  <a:gd name="T48" fmla="*/ 7 w 150"/>
                  <a:gd name="T49" fmla="*/ 57 h 169"/>
                  <a:gd name="T50" fmla="*/ 12 w 150"/>
                  <a:gd name="T51" fmla="*/ 123 h 169"/>
                  <a:gd name="T52" fmla="*/ 15 w 150"/>
                  <a:gd name="T53" fmla="*/ 124 h 169"/>
                  <a:gd name="T54" fmla="*/ 23 w 150"/>
                  <a:gd name="T55" fmla="*/ 127 h 169"/>
                  <a:gd name="T56" fmla="*/ 33 w 150"/>
                  <a:gd name="T57" fmla="*/ 128 h 169"/>
                  <a:gd name="T58" fmla="*/ 40 w 150"/>
                  <a:gd name="T59" fmla="*/ 129 h 169"/>
                  <a:gd name="T60" fmla="*/ 44 w 150"/>
                  <a:gd name="T61" fmla="*/ 128 h 169"/>
                  <a:gd name="T62" fmla="*/ 52 w 150"/>
                  <a:gd name="T63" fmla="*/ 127 h 169"/>
                  <a:gd name="T64" fmla="*/ 62 w 150"/>
                  <a:gd name="T65" fmla="*/ 132 h 169"/>
                  <a:gd name="T66" fmla="*/ 73 w 150"/>
                  <a:gd name="T67" fmla="*/ 147 h 169"/>
                  <a:gd name="T68" fmla="*/ 73 w 150"/>
                  <a:gd name="T69" fmla="*/ 150 h 169"/>
                  <a:gd name="T70" fmla="*/ 74 w 150"/>
                  <a:gd name="T71" fmla="*/ 154 h 169"/>
                  <a:gd name="T72" fmla="*/ 77 w 150"/>
                  <a:gd name="T73" fmla="*/ 161 h 169"/>
                  <a:gd name="T74" fmla="*/ 81 w 150"/>
                  <a:gd name="T75" fmla="*/ 169 h 169"/>
                  <a:gd name="T76" fmla="*/ 100 w 150"/>
                  <a:gd name="T77" fmla="*/ 167 h 169"/>
                  <a:gd name="T78" fmla="*/ 128 w 150"/>
                  <a:gd name="T79" fmla="*/ 168 h 169"/>
                  <a:gd name="T80" fmla="*/ 133 w 150"/>
                  <a:gd name="T81" fmla="*/ 128 h 169"/>
                  <a:gd name="T82" fmla="*/ 128 w 150"/>
                  <a:gd name="T83" fmla="*/ 106 h 169"/>
                  <a:gd name="T84" fmla="*/ 125 w 150"/>
                  <a:gd name="T85" fmla="*/ 103 h 169"/>
                  <a:gd name="T86" fmla="*/ 122 w 150"/>
                  <a:gd name="T87" fmla="*/ 96 h 169"/>
                  <a:gd name="T88" fmla="*/ 121 w 150"/>
                  <a:gd name="T89" fmla="*/ 88 h 169"/>
                  <a:gd name="T90" fmla="*/ 131 w 150"/>
                  <a:gd name="T91" fmla="*/ 61 h 169"/>
                  <a:gd name="T92" fmla="*/ 117 w 150"/>
                  <a:gd name="T93" fmla="*/ 51 h 169"/>
                  <a:gd name="T94" fmla="*/ 115 w 150"/>
                  <a:gd name="T95" fmla="*/ 50 h 169"/>
                  <a:gd name="T96" fmla="*/ 113 w 150"/>
                  <a:gd name="T97" fmla="*/ 47 h 169"/>
                  <a:gd name="T98" fmla="*/ 111 w 150"/>
                  <a:gd name="T99" fmla="*/ 44 h 169"/>
                  <a:gd name="T100" fmla="*/ 58 w 150"/>
                  <a:gd name="T101" fmla="*/ 4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0" h="169">
                    <a:moveTo>
                      <a:pt x="58" y="4"/>
                    </a:moveTo>
                    <a:lnTo>
                      <a:pt x="48" y="4"/>
                    </a:lnTo>
                    <a:lnTo>
                      <a:pt x="48" y="4"/>
                    </a:lnTo>
                    <a:lnTo>
                      <a:pt x="48" y="7"/>
                    </a:lnTo>
                    <a:lnTo>
                      <a:pt x="47" y="10"/>
                    </a:lnTo>
                    <a:lnTo>
                      <a:pt x="47" y="13"/>
                    </a:lnTo>
                    <a:lnTo>
                      <a:pt x="44" y="15"/>
                    </a:lnTo>
                    <a:lnTo>
                      <a:pt x="42" y="18"/>
                    </a:lnTo>
                    <a:lnTo>
                      <a:pt x="38" y="21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30" y="18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3" y="8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5" y="8"/>
                    </a:lnTo>
                    <a:lnTo>
                      <a:pt x="15" y="11"/>
                    </a:lnTo>
                    <a:lnTo>
                      <a:pt x="15" y="13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6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14" y="25"/>
                    </a:lnTo>
                    <a:lnTo>
                      <a:pt x="15" y="26"/>
                    </a:lnTo>
                    <a:lnTo>
                      <a:pt x="15" y="28"/>
                    </a:lnTo>
                    <a:lnTo>
                      <a:pt x="15" y="29"/>
                    </a:lnTo>
                    <a:lnTo>
                      <a:pt x="16" y="32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0" y="39"/>
                    </a:lnTo>
                    <a:lnTo>
                      <a:pt x="20" y="40"/>
                    </a:lnTo>
                    <a:lnTo>
                      <a:pt x="19" y="43"/>
                    </a:lnTo>
                    <a:lnTo>
                      <a:pt x="16" y="47"/>
                    </a:lnTo>
                    <a:lnTo>
                      <a:pt x="12" y="51"/>
                    </a:lnTo>
                    <a:lnTo>
                      <a:pt x="7" y="57"/>
                    </a:lnTo>
                    <a:lnTo>
                      <a:pt x="0" y="63"/>
                    </a:lnTo>
                    <a:lnTo>
                      <a:pt x="12" y="123"/>
                    </a:lnTo>
                    <a:lnTo>
                      <a:pt x="14" y="123"/>
                    </a:lnTo>
                    <a:lnTo>
                      <a:pt x="15" y="124"/>
                    </a:lnTo>
                    <a:lnTo>
                      <a:pt x="19" y="125"/>
                    </a:lnTo>
                    <a:lnTo>
                      <a:pt x="23" y="127"/>
                    </a:lnTo>
                    <a:lnTo>
                      <a:pt x="29" y="127"/>
                    </a:lnTo>
                    <a:lnTo>
                      <a:pt x="33" y="128"/>
                    </a:lnTo>
                    <a:lnTo>
                      <a:pt x="37" y="129"/>
                    </a:lnTo>
                    <a:lnTo>
                      <a:pt x="40" y="129"/>
                    </a:lnTo>
                    <a:lnTo>
                      <a:pt x="41" y="129"/>
                    </a:lnTo>
                    <a:lnTo>
                      <a:pt x="44" y="128"/>
                    </a:lnTo>
                    <a:lnTo>
                      <a:pt x="47" y="127"/>
                    </a:lnTo>
                    <a:lnTo>
                      <a:pt x="52" y="127"/>
                    </a:lnTo>
                    <a:lnTo>
                      <a:pt x="58" y="128"/>
                    </a:lnTo>
                    <a:lnTo>
                      <a:pt x="62" y="132"/>
                    </a:lnTo>
                    <a:lnTo>
                      <a:pt x="67" y="138"/>
                    </a:lnTo>
                    <a:lnTo>
                      <a:pt x="73" y="147"/>
                    </a:lnTo>
                    <a:lnTo>
                      <a:pt x="73" y="149"/>
                    </a:lnTo>
                    <a:lnTo>
                      <a:pt x="73" y="150"/>
                    </a:lnTo>
                    <a:lnTo>
                      <a:pt x="74" y="151"/>
                    </a:lnTo>
                    <a:lnTo>
                      <a:pt x="74" y="154"/>
                    </a:lnTo>
                    <a:lnTo>
                      <a:pt x="75" y="158"/>
                    </a:lnTo>
                    <a:lnTo>
                      <a:pt x="77" y="161"/>
                    </a:lnTo>
                    <a:lnTo>
                      <a:pt x="78" y="165"/>
                    </a:lnTo>
                    <a:lnTo>
                      <a:pt x="81" y="169"/>
                    </a:lnTo>
                    <a:lnTo>
                      <a:pt x="97" y="169"/>
                    </a:lnTo>
                    <a:lnTo>
                      <a:pt x="100" y="167"/>
                    </a:lnTo>
                    <a:lnTo>
                      <a:pt x="103" y="169"/>
                    </a:lnTo>
                    <a:lnTo>
                      <a:pt x="128" y="168"/>
                    </a:lnTo>
                    <a:lnTo>
                      <a:pt x="150" y="160"/>
                    </a:lnTo>
                    <a:lnTo>
                      <a:pt x="133" y="128"/>
                    </a:lnTo>
                    <a:lnTo>
                      <a:pt x="129" y="106"/>
                    </a:lnTo>
                    <a:lnTo>
                      <a:pt x="128" y="106"/>
                    </a:lnTo>
                    <a:lnTo>
                      <a:pt x="126" y="105"/>
                    </a:lnTo>
                    <a:lnTo>
                      <a:pt x="125" y="103"/>
                    </a:lnTo>
                    <a:lnTo>
                      <a:pt x="124" y="101"/>
                    </a:lnTo>
                    <a:lnTo>
                      <a:pt x="122" y="96"/>
                    </a:lnTo>
                    <a:lnTo>
                      <a:pt x="121" y="94"/>
                    </a:lnTo>
                    <a:lnTo>
                      <a:pt x="121" y="88"/>
                    </a:lnTo>
                    <a:lnTo>
                      <a:pt x="122" y="83"/>
                    </a:lnTo>
                    <a:lnTo>
                      <a:pt x="131" y="61"/>
                    </a:lnTo>
                    <a:lnTo>
                      <a:pt x="117" y="51"/>
                    </a:lnTo>
                    <a:lnTo>
                      <a:pt x="117" y="51"/>
                    </a:lnTo>
                    <a:lnTo>
                      <a:pt x="115" y="50"/>
                    </a:lnTo>
                    <a:lnTo>
                      <a:pt x="115" y="50"/>
                    </a:lnTo>
                    <a:lnTo>
                      <a:pt x="114" y="48"/>
                    </a:lnTo>
                    <a:lnTo>
                      <a:pt x="113" y="47"/>
                    </a:lnTo>
                    <a:lnTo>
                      <a:pt x="113" y="46"/>
                    </a:lnTo>
                    <a:lnTo>
                      <a:pt x="111" y="44"/>
                    </a:lnTo>
                    <a:lnTo>
                      <a:pt x="113" y="43"/>
                    </a:lnTo>
                    <a:lnTo>
                      <a:pt x="58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7" name="Freeform 1020"/>
              <p:cNvSpPr>
                <a:spLocks/>
              </p:cNvSpPr>
              <p:nvPr/>
            </p:nvSpPr>
            <p:spPr bwMode="auto">
              <a:xfrm>
                <a:off x="3178" y="2954"/>
                <a:ext cx="150" cy="169"/>
              </a:xfrm>
              <a:custGeom>
                <a:avLst/>
                <a:gdLst>
                  <a:gd name="T0" fmla="*/ 48 w 150"/>
                  <a:gd name="T1" fmla="*/ 4 h 169"/>
                  <a:gd name="T2" fmla="*/ 47 w 150"/>
                  <a:gd name="T3" fmla="*/ 10 h 169"/>
                  <a:gd name="T4" fmla="*/ 44 w 150"/>
                  <a:gd name="T5" fmla="*/ 15 h 169"/>
                  <a:gd name="T6" fmla="*/ 38 w 150"/>
                  <a:gd name="T7" fmla="*/ 21 h 169"/>
                  <a:gd name="T8" fmla="*/ 33 w 150"/>
                  <a:gd name="T9" fmla="*/ 21 h 169"/>
                  <a:gd name="T10" fmla="*/ 30 w 150"/>
                  <a:gd name="T11" fmla="*/ 18 h 169"/>
                  <a:gd name="T12" fmla="*/ 25 w 150"/>
                  <a:gd name="T13" fmla="*/ 13 h 169"/>
                  <a:gd name="T14" fmla="*/ 22 w 150"/>
                  <a:gd name="T15" fmla="*/ 4 h 169"/>
                  <a:gd name="T16" fmla="*/ 12 w 150"/>
                  <a:gd name="T17" fmla="*/ 3 h 169"/>
                  <a:gd name="T18" fmla="*/ 14 w 150"/>
                  <a:gd name="T19" fmla="*/ 6 h 169"/>
                  <a:gd name="T20" fmla="*/ 15 w 150"/>
                  <a:gd name="T21" fmla="*/ 8 h 169"/>
                  <a:gd name="T22" fmla="*/ 15 w 150"/>
                  <a:gd name="T23" fmla="*/ 13 h 169"/>
                  <a:gd name="T24" fmla="*/ 16 w 150"/>
                  <a:gd name="T25" fmla="*/ 17 h 169"/>
                  <a:gd name="T26" fmla="*/ 16 w 150"/>
                  <a:gd name="T27" fmla="*/ 19 h 169"/>
                  <a:gd name="T28" fmla="*/ 16 w 150"/>
                  <a:gd name="T29" fmla="*/ 22 h 169"/>
                  <a:gd name="T30" fmla="*/ 14 w 150"/>
                  <a:gd name="T31" fmla="*/ 25 h 169"/>
                  <a:gd name="T32" fmla="*/ 15 w 150"/>
                  <a:gd name="T33" fmla="*/ 28 h 169"/>
                  <a:gd name="T34" fmla="*/ 16 w 150"/>
                  <a:gd name="T35" fmla="*/ 32 h 169"/>
                  <a:gd name="T36" fmla="*/ 19 w 150"/>
                  <a:gd name="T37" fmla="*/ 36 h 169"/>
                  <a:gd name="T38" fmla="*/ 20 w 150"/>
                  <a:gd name="T39" fmla="*/ 39 h 169"/>
                  <a:gd name="T40" fmla="*/ 19 w 150"/>
                  <a:gd name="T41" fmla="*/ 43 h 169"/>
                  <a:gd name="T42" fmla="*/ 12 w 150"/>
                  <a:gd name="T43" fmla="*/ 51 h 169"/>
                  <a:gd name="T44" fmla="*/ 0 w 150"/>
                  <a:gd name="T45" fmla="*/ 63 h 169"/>
                  <a:gd name="T46" fmla="*/ 14 w 150"/>
                  <a:gd name="T47" fmla="*/ 123 h 169"/>
                  <a:gd name="T48" fmla="*/ 19 w 150"/>
                  <a:gd name="T49" fmla="*/ 125 h 169"/>
                  <a:gd name="T50" fmla="*/ 29 w 150"/>
                  <a:gd name="T51" fmla="*/ 127 h 169"/>
                  <a:gd name="T52" fmla="*/ 37 w 150"/>
                  <a:gd name="T53" fmla="*/ 129 h 169"/>
                  <a:gd name="T54" fmla="*/ 41 w 150"/>
                  <a:gd name="T55" fmla="*/ 129 h 169"/>
                  <a:gd name="T56" fmla="*/ 47 w 150"/>
                  <a:gd name="T57" fmla="*/ 127 h 169"/>
                  <a:gd name="T58" fmla="*/ 58 w 150"/>
                  <a:gd name="T59" fmla="*/ 128 h 169"/>
                  <a:gd name="T60" fmla="*/ 67 w 150"/>
                  <a:gd name="T61" fmla="*/ 138 h 169"/>
                  <a:gd name="T62" fmla="*/ 73 w 150"/>
                  <a:gd name="T63" fmla="*/ 149 h 169"/>
                  <a:gd name="T64" fmla="*/ 74 w 150"/>
                  <a:gd name="T65" fmla="*/ 151 h 169"/>
                  <a:gd name="T66" fmla="*/ 75 w 150"/>
                  <a:gd name="T67" fmla="*/ 158 h 169"/>
                  <a:gd name="T68" fmla="*/ 78 w 150"/>
                  <a:gd name="T69" fmla="*/ 165 h 169"/>
                  <a:gd name="T70" fmla="*/ 97 w 150"/>
                  <a:gd name="T71" fmla="*/ 169 h 169"/>
                  <a:gd name="T72" fmla="*/ 103 w 150"/>
                  <a:gd name="T73" fmla="*/ 169 h 169"/>
                  <a:gd name="T74" fmla="*/ 150 w 150"/>
                  <a:gd name="T75" fmla="*/ 160 h 169"/>
                  <a:gd name="T76" fmla="*/ 129 w 150"/>
                  <a:gd name="T77" fmla="*/ 106 h 169"/>
                  <a:gd name="T78" fmla="*/ 126 w 150"/>
                  <a:gd name="T79" fmla="*/ 105 h 169"/>
                  <a:gd name="T80" fmla="*/ 124 w 150"/>
                  <a:gd name="T81" fmla="*/ 101 h 169"/>
                  <a:gd name="T82" fmla="*/ 121 w 150"/>
                  <a:gd name="T83" fmla="*/ 94 h 169"/>
                  <a:gd name="T84" fmla="*/ 122 w 150"/>
                  <a:gd name="T85" fmla="*/ 83 h 169"/>
                  <a:gd name="T86" fmla="*/ 117 w 150"/>
                  <a:gd name="T87" fmla="*/ 51 h 169"/>
                  <a:gd name="T88" fmla="*/ 114 w 150"/>
                  <a:gd name="T89" fmla="*/ 48 h 169"/>
                  <a:gd name="T90" fmla="*/ 113 w 150"/>
                  <a:gd name="T91" fmla="*/ 46 h 169"/>
                  <a:gd name="T92" fmla="*/ 113 w 150"/>
                  <a:gd name="T93" fmla="*/ 4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0" h="169">
                    <a:moveTo>
                      <a:pt x="58" y="4"/>
                    </a:moveTo>
                    <a:lnTo>
                      <a:pt x="48" y="4"/>
                    </a:lnTo>
                    <a:lnTo>
                      <a:pt x="48" y="7"/>
                    </a:lnTo>
                    <a:lnTo>
                      <a:pt x="47" y="10"/>
                    </a:lnTo>
                    <a:lnTo>
                      <a:pt x="47" y="13"/>
                    </a:lnTo>
                    <a:lnTo>
                      <a:pt x="44" y="15"/>
                    </a:lnTo>
                    <a:lnTo>
                      <a:pt x="42" y="18"/>
                    </a:lnTo>
                    <a:lnTo>
                      <a:pt x="38" y="21"/>
                    </a:lnTo>
                    <a:lnTo>
                      <a:pt x="34" y="21"/>
                    </a:lnTo>
                    <a:lnTo>
                      <a:pt x="33" y="21"/>
                    </a:lnTo>
                    <a:lnTo>
                      <a:pt x="31" y="19"/>
                    </a:lnTo>
                    <a:lnTo>
                      <a:pt x="30" y="18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3" y="8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2" y="3"/>
                    </a:lnTo>
                    <a:lnTo>
                      <a:pt x="12" y="4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5" y="8"/>
                    </a:lnTo>
                    <a:lnTo>
                      <a:pt x="15" y="11"/>
                    </a:lnTo>
                    <a:lnTo>
                      <a:pt x="15" y="13"/>
                    </a:lnTo>
                    <a:lnTo>
                      <a:pt x="15" y="15"/>
                    </a:lnTo>
                    <a:lnTo>
                      <a:pt x="16" y="17"/>
                    </a:lnTo>
                    <a:lnTo>
                      <a:pt x="16" y="18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6" y="22"/>
                    </a:lnTo>
                    <a:lnTo>
                      <a:pt x="15" y="24"/>
                    </a:lnTo>
                    <a:lnTo>
                      <a:pt x="14" y="25"/>
                    </a:lnTo>
                    <a:lnTo>
                      <a:pt x="15" y="26"/>
                    </a:lnTo>
                    <a:lnTo>
                      <a:pt x="15" y="28"/>
                    </a:lnTo>
                    <a:lnTo>
                      <a:pt x="15" y="29"/>
                    </a:lnTo>
                    <a:lnTo>
                      <a:pt x="16" y="32"/>
                    </a:lnTo>
                    <a:lnTo>
                      <a:pt x="18" y="33"/>
                    </a:lnTo>
                    <a:lnTo>
                      <a:pt x="19" y="36"/>
                    </a:lnTo>
                    <a:lnTo>
                      <a:pt x="20" y="37"/>
                    </a:lnTo>
                    <a:lnTo>
                      <a:pt x="20" y="39"/>
                    </a:lnTo>
                    <a:lnTo>
                      <a:pt x="20" y="40"/>
                    </a:lnTo>
                    <a:lnTo>
                      <a:pt x="19" y="43"/>
                    </a:lnTo>
                    <a:lnTo>
                      <a:pt x="16" y="47"/>
                    </a:lnTo>
                    <a:lnTo>
                      <a:pt x="12" y="51"/>
                    </a:lnTo>
                    <a:lnTo>
                      <a:pt x="7" y="57"/>
                    </a:lnTo>
                    <a:lnTo>
                      <a:pt x="0" y="63"/>
                    </a:lnTo>
                    <a:lnTo>
                      <a:pt x="12" y="123"/>
                    </a:lnTo>
                    <a:lnTo>
                      <a:pt x="14" y="123"/>
                    </a:lnTo>
                    <a:lnTo>
                      <a:pt x="15" y="124"/>
                    </a:lnTo>
                    <a:lnTo>
                      <a:pt x="19" y="125"/>
                    </a:lnTo>
                    <a:lnTo>
                      <a:pt x="23" y="127"/>
                    </a:lnTo>
                    <a:lnTo>
                      <a:pt x="29" y="127"/>
                    </a:lnTo>
                    <a:lnTo>
                      <a:pt x="33" y="128"/>
                    </a:lnTo>
                    <a:lnTo>
                      <a:pt x="37" y="129"/>
                    </a:lnTo>
                    <a:lnTo>
                      <a:pt x="40" y="129"/>
                    </a:lnTo>
                    <a:lnTo>
                      <a:pt x="41" y="129"/>
                    </a:lnTo>
                    <a:lnTo>
                      <a:pt x="44" y="128"/>
                    </a:lnTo>
                    <a:lnTo>
                      <a:pt x="47" y="127"/>
                    </a:lnTo>
                    <a:lnTo>
                      <a:pt x="52" y="127"/>
                    </a:lnTo>
                    <a:lnTo>
                      <a:pt x="58" y="128"/>
                    </a:lnTo>
                    <a:lnTo>
                      <a:pt x="62" y="132"/>
                    </a:lnTo>
                    <a:lnTo>
                      <a:pt x="67" y="138"/>
                    </a:lnTo>
                    <a:lnTo>
                      <a:pt x="73" y="147"/>
                    </a:lnTo>
                    <a:lnTo>
                      <a:pt x="73" y="149"/>
                    </a:lnTo>
                    <a:lnTo>
                      <a:pt x="73" y="150"/>
                    </a:lnTo>
                    <a:lnTo>
                      <a:pt x="74" y="151"/>
                    </a:lnTo>
                    <a:lnTo>
                      <a:pt x="74" y="154"/>
                    </a:lnTo>
                    <a:lnTo>
                      <a:pt x="75" y="158"/>
                    </a:lnTo>
                    <a:lnTo>
                      <a:pt x="77" y="161"/>
                    </a:lnTo>
                    <a:lnTo>
                      <a:pt x="78" y="165"/>
                    </a:lnTo>
                    <a:lnTo>
                      <a:pt x="81" y="169"/>
                    </a:lnTo>
                    <a:lnTo>
                      <a:pt x="97" y="169"/>
                    </a:lnTo>
                    <a:lnTo>
                      <a:pt x="100" y="167"/>
                    </a:lnTo>
                    <a:lnTo>
                      <a:pt x="103" y="169"/>
                    </a:lnTo>
                    <a:lnTo>
                      <a:pt x="128" y="168"/>
                    </a:lnTo>
                    <a:lnTo>
                      <a:pt x="150" y="160"/>
                    </a:lnTo>
                    <a:lnTo>
                      <a:pt x="133" y="128"/>
                    </a:lnTo>
                    <a:lnTo>
                      <a:pt x="129" y="106"/>
                    </a:lnTo>
                    <a:lnTo>
                      <a:pt x="128" y="106"/>
                    </a:lnTo>
                    <a:lnTo>
                      <a:pt x="126" y="105"/>
                    </a:lnTo>
                    <a:lnTo>
                      <a:pt x="125" y="103"/>
                    </a:lnTo>
                    <a:lnTo>
                      <a:pt x="124" y="101"/>
                    </a:lnTo>
                    <a:lnTo>
                      <a:pt x="122" y="96"/>
                    </a:lnTo>
                    <a:lnTo>
                      <a:pt x="121" y="94"/>
                    </a:lnTo>
                    <a:lnTo>
                      <a:pt x="121" y="88"/>
                    </a:lnTo>
                    <a:lnTo>
                      <a:pt x="122" y="83"/>
                    </a:lnTo>
                    <a:lnTo>
                      <a:pt x="131" y="61"/>
                    </a:lnTo>
                    <a:lnTo>
                      <a:pt x="117" y="51"/>
                    </a:lnTo>
                    <a:lnTo>
                      <a:pt x="115" y="50"/>
                    </a:lnTo>
                    <a:lnTo>
                      <a:pt x="114" y="48"/>
                    </a:lnTo>
                    <a:lnTo>
                      <a:pt x="113" y="47"/>
                    </a:lnTo>
                    <a:lnTo>
                      <a:pt x="113" y="46"/>
                    </a:lnTo>
                    <a:lnTo>
                      <a:pt x="111" y="44"/>
                    </a:lnTo>
                    <a:lnTo>
                      <a:pt x="113" y="43"/>
                    </a:lnTo>
                    <a:lnTo>
                      <a:pt x="58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8" name="Freeform 1021"/>
              <p:cNvSpPr>
                <a:spLocks/>
              </p:cNvSpPr>
              <p:nvPr/>
            </p:nvSpPr>
            <p:spPr bwMode="auto">
              <a:xfrm>
                <a:off x="3198" y="3114"/>
                <a:ext cx="134" cy="253"/>
              </a:xfrm>
              <a:custGeom>
                <a:avLst/>
                <a:gdLst>
                  <a:gd name="T0" fmla="*/ 24 w 134"/>
                  <a:gd name="T1" fmla="*/ 165 h 253"/>
                  <a:gd name="T2" fmla="*/ 33 w 134"/>
                  <a:gd name="T3" fmla="*/ 112 h 253"/>
                  <a:gd name="T4" fmla="*/ 10 w 134"/>
                  <a:gd name="T5" fmla="*/ 85 h 253"/>
                  <a:gd name="T6" fmla="*/ 53 w 134"/>
                  <a:gd name="T7" fmla="*/ 41 h 253"/>
                  <a:gd name="T8" fmla="*/ 60 w 134"/>
                  <a:gd name="T9" fmla="*/ 33 h 253"/>
                  <a:gd name="T10" fmla="*/ 66 w 134"/>
                  <a:gd name="T11" fmla="*/ 41 h 253"/>
                  <a:gd name="T12" fmla="*/ 73 w 134"/>
                  <a:gd name="T13" fmla="*/ 46 h 253"/>
                  <a:gd name="T14" fmla="*/ 77 w 134"/>
                  <a:gd name="T15" fmla="*/ 46 h 253"/>
                  <a:gd name="T16" fmla="*/ 72 w 134"/>
                  <a:gd name="T17" fmla="*/ 30 h 253"/>
                  <a:gd name="T18" fmla="*/ 68 w 134"/>
                  <a:gd name="T19" fmla="*/ 27 h 253"/>
                  <a:gd name="T20" fmla="*/ 66 w 134"/>
                  <a:gd name="T21" fmla="*/ 23 h 253"/>
                  <a:gd name="T22" fmla="*/ 77 w 134"/>
                  <a:gd name="T23" fmla="*/ 9 h 253"/>
                  <a:gd name="T24" fmla="*/ 109 w 134"/>
                  <a:gd name="T25" fmla="*/ 8 h 253"/>
                  <a:gd name="T26" fmla="*/ 131 w 134"/>
                  <a:gd name="T27" fmla="*/ 11 h 253"/>
                  <a:gd name="T28" fmla="*/ 130 w 134"/>
                  <a:gd name="T29" fmla="*/ 30 h 253"/>
                  <a:gd name="T30" fmla="*/ 131 w 134"/>
                  <a:gd name="T31" fmla="*/ 45 h 253"/>
                  <a:gd name="T32" fmla="*/ 134 w 134"/>
                  <a:gd name="T33" fmla="*/ 57 h 253"/>
                  <a:gd name="T34" fmla="*/ 131 w 134"/>
                  <a:gd name="T35" fmla="*/ 75 h 253"/>
                  <a:gd name="T36" fmla="*/ 115 w 134"/>
                  <a:gd name="T37" fmla="*/ 94 h 253"/>
                  <a:gd name="T38" fmla="*/ 104 w 134"/>
                  <a:gd name="T39" fmla="*/ 97 h 253"/>
                  <a:gd name="T40" fmla="*/ 94 w 134"/>
                  <a:gd name="T41" fmla="*/ 104 h 253"/>
                  <a:gd name="T42" fmla="*/ 87 w 134"/>
                  <a:gd name="T43" fmla="*/ 110 h 253"/>
                  <a:gd name="T44" fmla="*/ 82 w 134"/>
                  <a:gd name="T45" fmla="*/ 116 h 253"/>
                  <a:gd name="T46" fmla="*/ 72 w 134"/>
                  <a:gd name="T47" fmla="*/ 126 h 253"/>
                  <a:gd name="T48" fmla="*/ 66 w 134"/>
                  <a:gd name="T49" fmla="*/ 129 h 253"/>
                  <a:gd name="T50" fmla="*/ 58 w 134"/>
                  <a:gd name="T51" fmla="*/ 136 h 253"/>
                  <a:gd name="T52" fmla="*/ 54 w 134"/>
                  <a:gd name="T53" fmla="*/ 145 h 253"/>
                  <a:gd name="T54" fmla="*/ 53 w 134"/>
                  <a:gd name="T55" fmla="*/ 149 h 253"/>
                  <a:gd name="T56" fmla="*/ 51 w 134"/>
                  <a:gd name="T57" fmla="*/ 177 h 253"/>
                  <a:gd name="T58" fmla="*/ 54 w 134"/>
                  <a:gd name="T59" fmla="*/ 199 h 253"/>
                  <a:gd name="T60" fmla="*/ 54 w 134"/>
                  <a:gd name="T61" fmla="*/ 206 h 253"/>
                  <a:gd name="T62" fmla="*/ 54 w 134"/>
                  <a:gd name="T63" fmla="*/ 213 h 253"/>
                  <a:gd name="T64" fmla="*/ 54 w 134"/>
                  <a:gd name="T65" fmla="*/ 218 h 253"/>
                  <a:gd name="T66" fmla="*/ 49 w 134"/>
                  <a:gd name="T67" fmla="*/ 224 h 253"/>
                  <a:gd name="T68" fmla="*/ 39 w 134"/>
                  <a:gd name="T69" fmla="*/ 228 h 253"/>
                  <a:gd name="T70" fmla="*/ 35 w 134"/>
                  <a:gd name="T71" fmla="*/ 229 h 253"/>
                  <a:gd name="T72" fmla="*/ 27 w 134"/>
                  <a:gd name="T73" fmla="*/ 235 h 253"/>
                  <a:gd name="T74" fmla="*/ 24 w 134"/>
                  <a:gd name="T75" fmla="*/ 239 h 253"/>
                  <a:gd name="T76" fmla="*/ 24 w 134"/>
                  <a:gd name="T77" fmla="*/ 240 h 253"/>
                  <a:gd name="T78" fmla="*/ 25 w 134"/>
                  <a:gd name="T79" fmla="*/ 244 h 253"/>
                  <a:gd name="T80" fmla="*/ 25 w 134"/>
                  <a:gd name="T81" fmla="*/ 246 h 253"/>
                  <a:gd name="T82" fmla="*/ 25 w 134"/>
                  <a:gd name="T83" fmla="*/ 248 h 253"/>
                  <a:gd name="T84" fmla="*/ 24 w 134"/>
                  <a:gd name="T85" fmla="*/ 251 h 253"/>
                  <a:gd name="T86" fmla="*/ 22 w 134"/>
                  <a:gd name="T87" fmla="*/ 251 h 253"/>
                  <a:gd name="T88" fmla="*/ 13 w 134"/>
                  <a:gd name="T89" fmla="*/ 236 h 253"/>
                  <a:gd name="T90" fmla="*/ 10 w 134"/>
                  <a:gd name="T91" fmla="*/ 228 h 253"/>
                  <a:gd name="T92" fmla="*/ 7 w 134"/>
                  <a:gd name="T93" fmla="*/ 226 h 253"/>
                  <a:gd name="T94" fmla="*/ 6 w 134"/>
                  <a:gd name="T95" fmla="*/ 204 h 253"/>
                  <a:gd name="T96" fmla="*/ 2 w 134"/>
                  <a:gd name="T97" fmla="*/ 192 h 253"/>
                  <a:gd name="T98" fmla="*/ 3 w 134"/>
                  <a:gd name="T99" fmla="*/ 185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4" h="253">
                    <a:moveTo>
                      <a:pt x="3" y="185"/>
                    </a:moveTo>
                    <a:lnTo>
                      <a:pt x="10" y="176"/>
                    </a:lnTo>
                    <a:lnTo>
                      <a:pt x="24" y="165"/>
                    </a:lnTo>
                    <a:lnTo>
                      <a:pt x="33" y="151"/>
                    </a:lnTo>
                    <a:lnTo>
                      <a:pt x="36" y="132"/>
                    </a:lnTo>
                    <a:lnTo>
                      <a:pt x="33" y="112"/>
                    </a:lnTo>
                    <a:lnTo>
                      <a:pt x="35" y="97"/>
                    </a:lnTo>
                    <a:lnTo>
                      <a:pt x="22" y="89"/>
                    </a:lnTo>
                    <a:lnTo>
                      <a:pt x="10" y="85"/>
                    </a:lnTo>
                    <a:lnTo>
                      <a:pt x="10" y="77"/>
                    </a:lnTo>
                    <a:lnTo>
                      <a:pt x="53" y="67"/>
                    </a:lnTo>
                    <a:lnTo>
                      <a:pt x="53" y="41"/>
                    </a:lnTo>
                    <a:lnTo>
                      <a:pt x="50" y="30"/>
                    </a:lnTo>
                    <a:lnTo>
                      <a:pt x="55" y="23"/>
                    </a:lnTo>
                    <a:lnTo>
                      <a:pt x="60" y="33"/>
                    </a:lnTo>
                    <a:lnTo>
                      <a:pt x="64" y="33"/>
                    </a:lnTo>
                    <a:lnTo>
                      <a:pt x="65" y="37"/>
                    </a:lnTo>
                    <a:lnTo>
                      <a:pt x="66" y="41"/>
                    </a:lnTo>
                    <a:lnTo>
                      <a:pt x="69" y="44"/>
                    </a:lnTo>
                    <a:lnTo>
                      <a:pt x="71" y="45"/>
                    </a:lnTo>
                    <a:lnTo>
                      <a:pt x="73" y="46"/>
                    </a:lnTo>
                    <a:lnTo>
                      <a:pt x="75" y="46"/>
                    </a:lnTo>
                    <a:lnTo>
                      <a:pt x="76" y="46"/>
                    </a:lnTo>
                    <a:lnTo>
                      <a:pt x="77" y="46"/>
                    </a:lnTo>
                    <a:lnTo>
                      <a:pt x="77" y="38"/>
                    </a:lnTo>
                    <a:lnTo>
                      <a:pt x="73" y="31"/>
                    </a:lnTo>
                    <a:lnTo>
                      <a:pt x="72" y="30"/>
                    </a:lnTo>
                    <a:lnTo>
                      <a:pt x="71" y="30"/>
                    </a:lnTo>
                    <a:lnTo>
                      <a:pt x="69" y="29"/>
                    </a:lnTo>
                    <a:lnTo>
                      <a:pt x="68" y="27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3"/>
                    </a:lnTo>
                    <a:lnTo>
                      <a:pt x="66" y="23"/>
                    </a:lnTo>
                    <a:lnTo>
                      <a:pt x="61" y="9"/>
                    </a:lnTo>
                    <a:lnTo>
                      <a:pt x="77" y="9"/>
                    </a:lnTo>
                    <a:lnTo>
                      <a:pt x="80" y="7"/>
                    </a:lnTo>
                    <a:lnTo>
                      <a:pt x="83" y="9"/>
                    </a:lnTo>
                    <a:lnTo>
                      <a:pt x="109" y="8"/>
                    </a:lnTo>
                    <a:lnTo>
                      <a:pt x="130" y="0"/>
                    </a:lnTo>
                    <a:lnTo>
                      <a:pt x="133" y="4"/>
                    </a:lnTo>
                    <a:lnTo>
                      <a:pt x="131" y="11"/>
                    </a:lnTo>
                    <a:lnTo>
                      <a:pt x="130" y="18"/>
                    </a:lnTo>
                    <a:lnTo>
                      <a:pt x="130" y="24"/>
                    </a:lnTo>
                    <a:lnTo>
                      <a:pt x="130" y="30"/>
                    </a:lnTo>
                    <a:lnTo>
                      <a:pt x="130" y="37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4" y="57"/>
                    </a:lnTo>
                    <a:lnTo>
                      <a:pt x="134" y="64"/>
                    </a:lnTo>
                    <a:lnTo>
                      <a:pt x="133" y="70"/>
                    </a:lnTo>
                    <a:lnTo>
                      <a:pt x="131" y="75"/>
                    </a:lnTo>
                    <a:lnTo>
                      <a:pt x="127" y="85"/>
                    </a:lnTo>
                    <a:lnTo>
                      <a:pt x="122" y="90"/>
                    </a:lnTo>
                    <a:lnTo>
                      <a:pt x="115" y="94"/>
                    </a:lnTo>
                    <a:lnTo>
                      <a:pt x="109" y="96"/>
                    </a:lnTo>
                    <a:lnTo>
                      <a:pt x="105" y="97"/>
                    </a:lnTo>
                    <a:lnTo>
                      <a:pt x="104" y="97"/>
                    </a:lnTo>
                    <a:lnTo>
                      <a:pt x="99" y="99"/>
                    </a:lnTo>
                    <a:lnTo>
                      <a:pt x="97" y="101"/>
                    </a:lnTo>
                    <a:lnTo>
                      <a:pt x="94" y="104"/>
                    </a:lnTo>
                    <a:lnTo>
                      <a:pt x="91" y="105"/>
                    </a:lnTo>
                    <a:lnTo>
                      <a:pt x="88" y="108"/>
                    </a:lnTo>
                    <a:lnTo>
                      <a:pt x="87" y="110"/>
                    </a:lnTo>
                    <a:lnTo>
                      <a:pt x="86" y="111"/>
                    </a:lnTo>
                    <a:lnTo>
                      <a:pt x="86" y="111"/>
                    </a:lnTo>
                    <a:lnTo>
                      <a:pt x="82" y="116"/>
                    </a:lnTo>
                    <a:lnTo>
                      <a:pt x="79" y="121"/>
                    </a:lnTo>
                    <a:lnTo>
                      <a:pt x="75" y="123"/>
                    </a:lnTo>
                    <a:lnTo>
                      <a:pt x="72" y="126"/>
                    </a:lnTo>
                    <a:lnTo>
                      <a:pt x="69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2" y="132"/>
                    </a:lnTo>
                    <a:lnTo>
                      <a:pt x="58" y="136"/>
                    </a:lnTo>
                    <a:lnTo>
                      <a:pt x="57" y="138"/>
                    </a:lnTo>
                    <a:lnTo>
                      <a:pt x="55" y="143"/>
                    </a:lnTo>
                    <a:lnTo>
                      <a:pt x="54" y="145"/>
                    </a:lnTo>
                    <a:lnTo>
                      <a:pt x="53" y="147"/>
                    </a:lnTo>
                    <a:lnTo>
                      <a:pt x="53" y="148"/>
                    </a:lnTo>
                    <a:lnTo>
                      <a:pt x="53" y="149"/>
                    </a:lnTo>
                    <a:lnTo>
                      <a:pt x="53" y="159"/>
                    </a:lnTo>
                    <a:lnTo>
                      <a:pt x="51" y="169"/>
                    </a:lnTo>
                    <a:lnTo>
                      <a:pt x="51" y="177"/>
                    </a:lnTo>
                    <a:lnTo>
                      <a:pt x="53" y="185"/>
                    </a:lnTo>
                    <a:lnTo>
                      <a:pt x="53" y="193"/>
                    </a:lnTo>
                    <a:lnTo>
                      <a:pt x="54" y="199"/>
                    </a:lnTo>
                    <a:lnTo>
                      <a:pt x="54" y="202"/>
                    </a:lnTo>
                    <a:lnTo>
                      <a:pt x="54" y="203"/>
                    </a:lnTo>
                    <a:lnTo>
                      <a:pt x="54" y="206"/>
                    </a:lnTo>
                    <a:lnTo>
                      <a:pt x="55" y="209"/>
                    </a:lnTo>
                    <a:lnTo>
                      <a:pt x="54" y="211"/>
                    </a:lnTo>
                    <a:lnTo>
                      <a:pt x="54" y="213"/>
                    </a:lnTo>
                    <a:lnTo>
                      <a:pt x="54" y="215"/>
                    </a:lnTo>
                    <a:lnTo>
                      <a:pt x="54" y="217"/>
                    </a:lnTo>
                    <a:lnTo>
                      <a:pt x="54" y="218"/>
                    </a:lnTo>
                    <a:lnTo>
                      <a:pt x="54" y="218"/>
                    </a:lnTo>
                    <a:lnTo>
                      <a:pt x="51" y="221"/>
                    </a:lnTo>
                    <a:lnTo>
                      <a:pt x="49" y="224"/>
                    </a:lnTo>
                    <a:lnTo>
                      <a:pt x="46" y="225"/>
                    </a:lnTo>
                    <a:lnTo>
                      <a:pt x="43" y="226"/>
                    </a:lnTo>
                    <a:lnTo>
                      <a:pt x="39" y="228"/>
                    </a:lnTo>
                    <a:lnTo>
                      <a:pt x="38" y="228"/>
                    </a:lnTo>
                    <a:lnTo>
                      <a:pt x="35" y="229"/>
                    </a:lnTo>
                    <a:lnTo>
                      <a:pt x="35" y="229"/>
                    </a:lnTo>
                    <a:lnTo>
                      <a:pt x="31" y="231"/>
                    </a:lnTo>
                    <a:lnTo>
                      <a:pt x="28" y="232"/>
                    </a:lnTo>
                    <a:lnTo>
                      <a:pt x="27" y="235"/>
                    </a:lnTo>
                    <a:lnTo>
                      <a:pt x="25" y="236"/>
                    </a:lnTo>
                    <a:lnTo>
                      <a:pt x="24" y="237"/>
                    </a:lnTo>
                    <a:lnTo>
                      <a:pt x="24" y="239"/>
                    </a:lnTo>
                    <a:lnTo>
                      <a:pt x="24" y="239"/>
                    </a:lnTo>
                    <a:lnTo>
                      <a:pt x="24" y="240"/>
                    </a:lnTo>
                    <a:lnTo>
                      <a:pt x="24" y="240"/>
                    </a:lnTo>
                    <a:lnTo>
                      <a:pt x="24" y="242"/>
                    </a:lnTo>
                    <a:lnTo>
                      <a:pt x="24" y="243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6"/>
                    </a:lnTo>
                    <a:lnTo>
                      <a:pt x="25" y="246"/>
                    </a:lnTo>
                    <a:lnTo>
                      <a:pt x="25" y="247"/>
                    </a:lnTo>
                    <a:lnTo>
                      <a:pt x="25" y="248"/>
                    </a:lnTo>
                    <a:lnTo>
                      <a:pt x="25" y="248"/>
                    </a:lnTo>
                    <a:lnTo>
                      <a:pt x="25" y="250"/>
                    </a:lnTo>
                    <a:lnTo>
                      <a:pt x="24" y="250"/>
                    </a:lnTo>
                    <a:lnTo>
                      <a:pt x="24" y="251"/>
                    </a:lnTo>
                    <a:lnTo>
                      <a:pt x="22" y="251"/>
                    </a:lnTo>
                    <a:lnTo>
                      <a:pt x="22" y="251"/>
                    </a:lnTo>
                    <a:lnTo>
                      <a:pt x="22" y="251"/>
                    </a:lnTo>
                    <a:lnTo>
                      <a:pt x="16" y="253"/>
                    </a:lnTo>
                    <a:lnTo>
                      <a:pt x="14" y="243"/>
                    </a:lnTo>
                    <a:lnTo>
                      <a:pt x="13" y="236"/>
                    </a:lnTo>
                    <a:lnTo>
                      <a:pt x="11" y="232"/>
                    </a:lnTo>
                    <a:lnTo>
                      <a:pt x="11" y="229"/>
                    </a:lnTo>
                    <a:lnTo>
                      <a:pt x="10" y="228"/>
                    </a:lnTo>
                    <a:lnTo>
                      <a:pt x="9" y="226"/>
                    </a:lnTo>
                    <a:lnTo>
                      <a:pt x="9" y="226"/>
                    </a:lnTo>
                    <a:lnTo>
                      <a:pt x="7" y="226"/>
                    </a:lnTo>
                    <a:lnTo>
                      <a:pt x="9" y="218"/>
                    </a:lnTo>
                    <a:lnTo>
                      <a:pt x="7" y="210"/>
                    </a:lnTo>
                    <a:lnTo>
                      <a:pt x="6" y="204"/>
                    </a:lnTo>
                    <a:lnTo>
                      <a:pt x="5" y="199"/>
                    </a:lnTo>
                    <a:lnTo>
                      <a:pt x="3" y="195"/>
                    </a:lnTo>
                    <a:lnTo>
                      <a:pt x="2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3" y="18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89" name="Freeform 1022"/>
              <p:cNvSpPr>
                <a:spLocks/>
              </p:cNvSpPr>
              <p:nvPr/>
            </p:nvSpPr>
            <p:spPr bwMode="auto">
              <a:xfrm>
                <a:off x="3198" y="3114"/>
                <a:ext cx="134" cy="253"/>
              </a:xfrm>
              <a:custGeom>
                <a:avLst/>
                <a:gdLst>
                  <a:gd name="T0" fmla="*/ 24 w 134"/>
                  <a:gd name="T1" fmla="*/ 165 h 253"/>
                  <a:gd name="T2" fmla="*/ 33 w 134"/>
                  <a:gd name="T3" fmla="*/ 112 h 253"/>
                  <a:gd name="T4" fmla="*/ 10 w 134"/>
                  <a:gd name="T5" fmla="*/ 85 h 253"/>
                  <a:gd name="T6" fmla="*/ 53 w 134"/>
                  <a:gd name="T7" fmla="*/ 41 h 253"/>
                  <a:gd name="T8" fmla="*/ 60 w 134"/>
                  <a:gd name="T9" fmla="*/ 33 h 253"/>
                  <a:gd name="T10" fmla="*/ 66 w 134"/>
                  <a:gd name="T11" fmla="*/ 41 h 253"/>
                  <a:gd name="T12" fmla="*/ 73 w 134"/>
                  <a:gd name="T13" fmla="*/ 46 h 253"/>
                  <a:gd name="T14" fmla="*/ 77 w 134"/>
                  <a:gd name="T15" fmla="*/ 46 h 253"/>
                  <a:gd name="T16" fmla="*/ 72 w 134"/>
                  <a:gd name="T17" fmla="*/ 30 h 253"/>
                  <a:gd name="T18" fmla="*/ 68 w 134"/>
                  <a:gd name="T19" fmla="*/ 27 h 253"/>
                  <a:gd name="T20" fmla="*/ 66 w 134"/>
                  <a:gd name="T21" fmla="*/ 23 h 253"/>
                  <a:gd name="T22" fmla="*/ 80 w 134"/>
                  <a:gd name="T23" fmla="*/ 7 h 253"/>
                  <a:gd name="T24" fmla="*/ 130 w 134"/>
                  <a:gd name="T25" fmla="*/ 0 h 253"/>
                  <a:gd name="T26" fmla="*/ 130 w 134"/>
                  <a:gd name="T27" fmla="*/ 18 h 253"/>
                  <a:gd name="T28" fmla="*/ 130 w 134"/>
                  <a:gd name="T29" fmla="*/ 37 h 253"/>
                  <a:gd name="T30" fmla="*/ 133 w 134"/>
                  <a:gd name="T31" fmla="*/ 48 h 253"/>
                  <a:gd name="T32" fmla="*/ 134 w 134"/>
                  <a:gd name="T33" fmla="*/ 64 h 253"/>
                  <a:gd name="T34" fmla="*/ 127 w 134"/>
                  <a:gd name="T35" fmla="*/ 85 h 253"/>
                  <a:gd name="T36" fmla="*/ 109 w 134"/>
                  <a:gd name="T37" fmla="*/ 96 h 253"/>
                  <a:gd name="T38" fmla="*/ 99 w 134"/>
                  <a:gd name="T39" fmla="*/ 99 h 253"/>
                  <a:gd name="T40" fmla="*/ 91 w 134"/>
                  <a:gd name="T41" fmla="*/ 105 h 253"/>
                  <a:gd name="T42" fmla="*/ 86 w 134"/>
                  <a:gd name="T43" fmla="*/ 111 h 253"/>
                  <a:gd name="T44" fmla="*/ 75 w 134"/>
                  <a:gd name="T45" fmla="*/ 123 h 253"/>
                  <a:gd name="T46" fmla="*/ 68 w 134"/>
                  <a:gd name="T47" fmla="*/ 129 h 253"/>
                  <a:gd name="T48" fmla="*/ 58 w 134"/>
                  <a:gd name="T49" fmla="*/ 136 h 253"/>
                  <a:gd name="T50" fmla="*/ 54 w 134"/>
                  <a:gd name="T51" fmla="*/ 145 h 253"/>
                  <a:gd name="T52" fmla="*/ 53 w 134"/>
                  <a:gd name="T53" fmla="*/ 149 h 253"/>
                  <a:gd name="T54" fmla="*/ 51 w 134"/>
                  <a:gd name="T55" fmla="*/ 177 h 253"/>
                  <a:gd name="T56" fmla="*/ 54 w 134"/>
                  <a:gd name="T57" fmla="*/ 199 h 253"/>
                  <a:gd name="T58" fmla="*/ 54 w 134"/>
                  <a:gd name="T59" fmla="*/ 206 h 253"/>
                  <a:gd name="T60" fmla="*/ 54 w 134"/>
                  <a:gd name="T61" fmla="*/ 213 h 253"/>
                  <a:gd name="T62" fmla="*/ 54 w 134"/>
                  <a:gd name="T63" fmla="*/ 218 h 253"/>
                  <a:gd name="T64" fmla="*/ 46 w 134"/>
                  <a:gd name="T65" fmla="*/ 225 h 253"/>
                  <a:gd name="T66" fmla="*/ 38 w 134"/>
                  <a:gd name="T67" fmla="*/ 228 h 253"/>
                  <a:gd name="T68" fmla="*/ 28 w 134"/>
                  <a:gd name="T69" fmla="*/ 232 h 253"/>
                  <a:gd name="T70" fmla="*/ 24 w 134"/>
                  <a:gd name="T71" fmla="*/ 237 h 253"/>
                  <a:gd name="T72" fmla="*/ 24 w 134"/>
                  <a:gd name="T73" fmla="*/ 242 h 253"/>
                  <a:gd name="T74" fmla="*/ 25 w 134"/>
                  <a:gd name="T75" fmla="*/ 246 h 253"/>
                  <a:gd name="T76" fmla="*/ 25 w 134"/>
                  <a:gd name="T77" fmla="*/ 250 h 253"/>
                  <a:gd name="T78" fmla="*/ 22 w 134"/>
                  <a:gd name="T79" fmla="*/ 251 h 253"/>
                  <a:gd name="T80" fmla="*/ 13 w 134"/>
                  <a:gd name="T81" fmla="*/ 236 h 253"/>
                  <a:gd name="T82" fmla="*/ 10 w 134"/>
                  <a:gd name="T83" fmla="*/ 228 h 253"/>
                  <a:gd name="T84" fmla="*/ 9 w 134"/>
                  <a:gd name="T85" fmla="*/ 218 h 253"/>
                  <a:gd name="T86" fmla="*/ 5 w 134"/>
                  <a:gd name="T87" fmla="*/ 199 h 253"/>
                  <a:gd name="T88" fmla="*/ 0 w 134"/>
                  <a:gd name="T89" fmla="*/ 191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34" h="253">
                    <a:moveTo>
                      <a:pt x="3" y="185"/>
                    </a:moveTo>
                    <a:lnTo>
                      <a:pt x="10" y="176"/>
                    </a:lnTo>
                    <a:lnTo>
                      <a:pt x="24" y="165"/>
                    </a:lnTo>
                    <a:lnTo>
                      <a:pt x="33" y="151"/>
                    </a:lnTo>
                    <a:lnTo>
                      <a:pt x="36" y="132"/>
                    </a:lnTo>
                    <a:lnTo>
                      <a:pt x="33" y="112"/>
                    </a:lnTo>
                    <a:lnTo>
                      <a:pt x="35" y="97"/>
                    </a:lnTo>
                    <a:lnTo>
                      <a:pt x="22" y="89"/>
                    </a:lnTo>
                    <a:lnTo>
                      <a:pt x="10" y="85"/>
                    </a:lnTo>
                    <a:lnTo>
                      <a:pt x="10" y="77"/>
                    </a:lnTo>
                    <a:lnTo>
                      <a:pt x="53" y="67"/>
                    </a:lnTo>
                    <a:lnTo>
                      <a:pt x="53" y="41"/>
                    </a:lnTo>
                    <a:lnTo>
                      <a:pt x="50" y="30"/>
                    </a:lnTo>
                    <a:lnTo>
                      <a:pt x="55" y="23"/>
                    </a:lnTo>
                    <a:lnTo>
                      <a:pt x="60" y="33"/>
                    </a:lnTo>
                    <a:lnTo>
                      <a:pt x="64" y="33"/>
                    </a:lnTo>
                    <a:lnTo>
                      <a:pt x="65" y="37"/>
                    </a:lnTo>
                    <a:lnTo>
                      <a:pt x="66" y="41"/>
                    </a:lnTo>
                    <a:lnTo>
                      <a:pt x="69" y="44"/>
                    </a:lnTo>
                    <a:lnTo>
                      <a:pt x="71" y="45"/>
                    </a:lnTo>
                    <a:lnTo>
                      <a:pt x="73" y="46"/>
                    </a:lnTo>
                    <a:lnTo>
                      <a:pt x="75" y="46"/>
                    </a:lnTo>
                    <a:lnTo>
                      <a:pt x="76" y="46"/>
                    </a:lnTo>
                    <a:lnTo>
                      <a:pt x="77" y="46"/>
                    </a:lnTo>
                    <a:lnTo>
                      <a:pt x="77" y="38"/>
                    </a:lnTo>
                    <a:lnTo>
                      <a:pt x="73" y="31"/>
                    </a:lnTo>
                    <a:lnTo>
                      <a:pt x="72" y="30"/>
                    </a:lnTo>
                    <a:lnTo>
                      <a:pt x="71" y="30"/>
                    </a:lnTo>
                    <a:lnTo>
                      <a:pt x="69" y="29"/>
                    </a:lnTo>
                    <a:lnTo>
                      <a:pt x="68" y="27"/>
                    </a:lnTo>
                    <a:lnTo>
                      <a:pt x="66" y="26"/>
                    </a:lnTo>
                    <a:lnTo>
                      <a:pt x="66" y="24"/>
                    </a:lnTo>
                    <a:lnTo>
                      <a:pt x="66" y="23"/>
                    </a:lnTo>
                    <a:lnTo>
                      <a:pt x="61" y="9"/>
                    </a:lnTo>
                    <a:lnTo>
                      <a:pt x="77" y="9"/>
                    </a:lnTo>
                    <a:lnTo>
                      <a:pt x="80" y="7"/>
                    </a:lnTo>
                    <a:lnTo>
                      <a:pt x="83" y="9"/>
                    </a:lnTo>
                    <a:lnTo>
                      <a:pt x="109" y="8"/>
                    </a:lnTo>
                    <a:lnTo>
                      <a:pt x="130" y="0"/>
                    </a:lnTo>
                    <a:lnTo>
                      <a:pt x="133" y="4"/>
                    </a:lnTo>
                    <a:lnTo>
                      <a:pt x="131" y="11"/>
                    </a:lnTo>
                    <a:lnTo>
                      <a:pt x="130" y="18"/>
                    </a:lnTo>
                    <a:lnTo>
                      <a:pt x="130" y="24"/>
                    </a:lnTo>
                    <a:lnTo>
                      <a:pt x="130" y="30"/>
                    </a:lnTo>
                    <a:lnTo>
                      <a:pt x="130" y="37"/>
                    </a:lnTo>
                    <a:lnTo>
                      <a:pt x="131" y="41"/>
                    </a:lnTo>
                    <a:lnTo>
                      <a:pt x="131" y="45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4" y="57"/>
                    </a:lnTo>
                    <a:lnTo>
                      <a:pt x="134" y="64"/>
                    </a:lnTo>
                    <a:lnTo>
                      <a:pt x="133" y="70"/>
                    </a:lnTo>
                    <a:lnTo>
                      <a:pt x="131" y="75"/>
                    </a:lnTo>
                    <a:lnTo>
                      <a:pt x="127" y="85"/>
                    </a:lnTo>
                    <a:lnTo>
                      <a:pt x="122" y="90"/>
                    </a:lnTo>
                    <a:lnTo>
                      <a:pt x="115" y="94"/>
                    </a:lnTo>
                    <a:lnTo>
                      <a:pt x="109" y="96"/>
                    </a:lnTo>
                    <a:lnTo>
                      <a:pt x="105" y="97"/>
                    </a:lnTo>
                    <a:lnTo>
                      <a:pt x="104" y="97"/>
                    </a:lnTo>
                    <a:lnTo>
                      <a:pt x="99" y="99"/>
                    </a:lnTo>
                    <a:lnTo>
                      <a:pt x="97" y="101"/>
                    </a:lnTo>
                    <a:lnTo>
                      <a:pt x="94" y="104"/>
                    </a:lnTo>
                    <a:lnTo>
                      <a:pt x="91" y="105"/>
                    </a:lnTo>
                    <a:lnTo>
                      <a:pt x="88" y="108"/>
                    </a:lnTo>
                    <a:lnTo>
                      <a:pt x="87" y="110"/>
                    </a:lnTo>
                    <a:lnTo>
                      <a:pt x="86" y="111"/>
                    </a:lnTo>
                    <a:lnTo>
                      <a:pt x="82" y="116"/>
                    </a:lnTo>
                    <a:lnTo>
                      <a:pt x="79" y="121"/>
                    </a:lnTo>
                    <a:lnTo>
                      <a:pt x="75" y="123"/>
                    </a:lnTo>
                    <a:lnTo>
                      <a:pt x="72" y="126"/>
                    </a:lnTo>
                    <a:lnTo>
                      <a:pt x="69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2" y="132"/>
                    </a:lnTo>
                    <a:lnTo>
                      <a:pt x="58" y="136"/>
                    </a:lnTo>
                    <a:lnTo>
                      <a:pt x="57" y="138"/>
                    </a:lnTo>
                    <a:lnTo>
                      <a:pt x="55" y="143"/>
                    </a:lnTo>
                    <a:lnTo>
                      <a:pt x="54" y="145"/>
                    </a:lnTo>
                    <a:lnTo>
                      <a:pt x="53" y="147"/>
                    </a:lnTo>
                    <a:lnTo>
                      <a:pt x="53" y="148"/>
                    </a:lnTo>
                    <a:lnTo>
                      <a:pt x="53" y="149"/>
                    </a:lnTo>
                    <a:lnTo>
                      <a:pt x="53" y="159"/>
                    </a:lnTo>
                    <a:lnTo>
                      <a:pt x="51" y="169"/>
                    </a:lnTo>
                    <a:lnTo>
                      <a:pt x="51" y="177"/>
                    </a:lnTo>
                    <a:lnTo>
                      <a:pt x="53" y="185"/>
                    </a:lnTo>
                    <a:lnTo>
                      <a:pt x="53" y="193"/>
                    </a:lnTo>
                    <a:lnTo>
                      <a:pt x="54" y="199"/>
                    </a:lnTo>
                    <a:lnTo>
                      <a:pt x="54" y="202"/>
                    </a:lnTo>
                    <a:lnTo>
                      <a:pt x="54" y="203"/>
                    </a:lnTo>
                    <a:lnTo>
                      <a:pt x="54" y="206"/>
                    </a:lnTo>
                    <a:lnTo>
                      <a:pt x="55" y="209"/>
                    </a:lnTo>
                    <a:lnTo>
                      <a:pt x="54" y="211"/>
                    </a:lnTo>
                    <a:lnTo>
                      <a:pt x="54" y="213"/>
                    </a:lnTo>
                    <a:lnTo>
                      <a:pt x="54" y="215"/>
                    </a:lnTo>
                    <a:lnTo>
                      <a:pt x="54" y="217"/>
                    </a:lnTo>
                    <a:lnTo>
                      <a:pt x="54" y="218"/>
                    </a:lnTo>
                    <a:lnTo>
                      <a:pt x="51" y="221"/>
                    </a:lnTo>
                    <a:lnTo>
                      <a:pt x="49" y="224"/>
                    </a:lnTo>
                    <a:lnTo>
                      <a:pt x="46" y="225"/>
                    </a:lnTo>
                    <a:lnTo>
                      <a:pt x="43" y="226"/>
                    </a:lnTo>
                    <a:lnTo>
                      <a:pt x="39" y="228"/>
                    </a:lnTo>
                    <a:lnTo>
                      <a:pt x="38" y="228"/>
                    </a:lnTo>
                    <a:lnTo>
                      <a:pt x="35" y="229"/>
                    </a:lnTo>
                    <a:lnTo>
                      <a:pt x="31" y="231"/>
                    </a:lnTo>
                    <a:lnTo>
                      <a:pt x="28" y="232"/>
                    </a:lnTo>
                    <a:lnTo>
                      <a:pt x="27" y="235"/>
                    </a:lnTo>
                    <a:lnTo>
                      <a:pt x="25" y="236"/>
                    </a:lnTo>
                    <a:lnTo>
                      <a:pt x="24" y="237"/>
                    </a:lnTo>
                    <a:lnTo>
                      <a:pt x="24" y="239"/>
                    </a:lnTo>
                    <a:lnTo>
                      <a:pt x="24" y="240"/>
                    </a:lnTo>
                    <a:lnTo>
                      <a:pt x="24" y="242"/>
                    </a:lnTo>
                    <a:lnTo>
                      <a:pt x="24" y="243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7"/>
                    </a:lnTo>
                    <a:lnTo>
                      <a:pt x="25" y="248"/>
                    </a:lnTo>
                    <a:lnTo>
                      <a:pt x="25" y="250"/>
                    </a:lnTo>
                    <a:lnTo>
                      <a:pt x="24" y="250"/>
                    </a:lnTo>
                    <a:lnTo>
                      <a:pt x="24" y="251"/>
                    </a:lnTo>
                    <a:lnTo>
                      <a:pt x="22" y="251"/>
                    </a:lnTo>
                    <a:lnTo>
                      <a:pt x="16" y="253"/>
                    </a:lnTo>
                    <a:lnTo>
                      <a:pt x="14" y="243"/>
                    </a:lnTo>
                    <a:lnTo>
                      <a:pt x="13" y="236"/>
                    </a:lnTo>
                    <a:lnTo>
                      <a:pt x="11" y="232"/>
                    </a:lnTo>
                    <a:lnTo>
                      <a:pt x="11" y="229"/>
                    </a:lnTo>
                    <a:lnTo>
                      <a:pt x="10" y="228"/>
                    </a:lnTo>
                    <a:lnTo>
                      <a:pt x="9" y="226"/>
                    </a:lnTo>
                    <a:lnTo>
                      <a:pt x="7" y="226"/>
                    </a:lnTo>
                    <a:lnTo>
                      <a:pt x="9" y="218"/>
                    </a:lnTo>
                    <a:lnTo>
                      <a:pt x="7" y="210"/>
                    </a:lnTo>
                    <a:lnTo>
                      <a:pt x="6" y="204"/>
                    </a:lnTo>
                    <a:lnTo>
                      <a:pt x="5" y="199"/>
                    </a:lnTo>
                    <a:lnTo>
                      <a:pt x="3" y="195"/>
                    </a:lnTo>
                    <a:lnTo>
                      <a:pt x="2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3" y="18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0" name="Freeform 1023"/>
              <p:cNvSpPr>
                <a:spLocks/>
              </p:cNvSpPr>
              <p:nvPr/>
            </p:nvSpPr>
            <p:spPr bwMode="auto">
              <a:xfrm>
                <a:off x="2959" y="3303"/>
                <a:ext cx="266" cy="211"/>
              </a:xfrm>
              <a:custGeom>
                <a:avLst/>
                <a:gdLst>
                  <a:gd name="T0" fmla="*/ 204 w 266"/>
                  <a:gd name="T1" fmla="*/ 6 h 211"/>
                  <a:gd name="T2" fmla="*/ 195 w 266"/>
                  <a:gd name="T3" fmla="*/ 11 h 211"/>
                  <a:gd name="T4" fmla="*/ 191 w 266"/>
                  <a:gd name="T5" fmla="*/ 13 h 211"/>
                  <a:gd name="T6" fmla="*/ 184 w 266"/>
                  <a:gd name="T7" fmla="*/ 20 h 211"/>
                  <a:gd name="T8" fmla="*/ 173 w 266"/>
                  <a:gd name="T9" fmla="*/ 24 h 211"/>
                  <a:gd name="T10" fmla="*/ 167 w 266"/>
                  <a:gd name="T11" fmla="*/ 28 h 211"/>
                  <a:gd name="T12" fmla="*/ 156 w 266"/>
                  <a:gd name="T13" fmla="*/ 43 h 211"/>
                  <a:gd name="T14" fmla="*/ 151 w 266"/>
                  <a:gd name="T15" fmla="*/ 55 h 211"/>
                  <a:gd name="T16" fmla="*/ 147 w 266"/>
                  <a:gd name="T17" fmla="*/ 57 h 211"/>
                  <a:gd name="T18" fmla="*/ 142 w 266"/>
                  <a:gd name="T19" fmla="*/ 54 h 211"/>
                  <a:gd name="T20" fmla="*/ 139 w 266"/>
                  <a:gd name="T21" fmla="*/ 53 h 211"/>
                  <a:gd name="T22" fmla="*/ 128 w 266"/>
                  <a:gd name="T23" fmla="*/ 47 h 211"/>
                  <a:gd name="T24" fmla="*/ 118 w 266"/>
                  <a:gd name="T25" fmla="*/ 50 h 211"/>
                  <a:gd name="T26" fmla="*/ 116 w 266"/>
                  <a:gd name="T27" fmla="*/ 54 h 211"/>
                  <a:gd name="T28" fmla="*/ 113 w 266"/>
                  <a:gd name="T29" fmla="*/ 61 h 211"/>
                  <a:gd name="T30" fmla="*/ 110 w 266"/>
                  <a:gd name="T31" fmla="*/ 66 h 211"/>
                  <a:gd name="T32" fmla="*/ 98 w 266"/>
                  <a:gd name="T33" fmla="*/ 76 h 211"/>
                  <a:gd name="T34" fmla="*/ 83 w 266"/>
                  <a:gd name="T35" fmla="*/ 81 h 211"/>
                  <a:gd name="T36" fmla="*/ 76 w 266"/>
                  <a:gd name="T37" fmla="*/ 81 h 211"/>
                  <a:gd name="T38" fmla="*/ 74 w 266"/>
                  <a:gd name="T39" fmla="*/ 73 h 211"/>
                  <a:gd name="T40" fmla="*/ 77 w 266"/>
                  <a:gd name="T41" fmla="*/ 69 h 211"/>
                  <a:gd name="T42" fmla="*/ 79 w 266"/>
                  <a:gd name="T43" fmla="*/ 59 h 211"/>
                  <a:gd name="T44" fmla="*/ 73 w 266"/>
                  <a:gd name="T45" fmla="*/ 44 h 211"/>
                  <a:gd name="T46" fmla="*/ 65 w 266"/>
                  <a:gd name="T47" fmla="*/ 39 h 211"/>
                  <a:gd name="T48" fmla="*/ 63 w 266"/>
                  <a:gd name="T49" fmla="*/ 92 h 211"/>
                  <a:gd name="T50" fmla="*/ 61 w 266"/>
                  <a:gd name="T51" fmla="*/ 97 h 211"/>
                  <a:gd name="T52" fmla="*/ 51 w 266"/>
                  <a:gd name="T53" fmla="*/ 99 h 211"/>
                  <a:gd name="T54" fmla="*/ 30 w 266"/>
                  <a:gd name="T55" fmla="*/ 98 h 211"/>
                  <a:gd name="T56" fmla="*/ 28 w 266"/>
                  <a:gd name="T57" fmla="*/ 97 h 211"/>
                  <a:gd name="T58" fmla="*/ 26 w 266"/>
                  <a:gd name="T59" fmla="*/ 94 h 211"/>
                  <a:gd name="T60" fmla="*/ 23 w 266"/>
                  <a:gd name="T61" fmla="*/ 83 h 211"/>
                  <a:gd name="T62" fmla="*/ 22 w 266"/>
                  <a:gd name="T63" fmla="*/ 81 h 211"/>
                  <a:gd name="T64" fmla="*/ 19 w 266"/>
                  <a:gd name="T65" fmla="*/ 81 h 211"/>
                  <a:gd name="T66" fmla="*/ 0 w 266"/>
                  <a:gd name="T67" fmla="*/ 98 h 211"/>
                  <a:gd name="T68" fmla="*/ 21 w 266"/>
                  <a:gd name="T69" fmla="*/ 190 h 211"/>
                  <a:gd name="T70" fmla="*/ 26 w 266"/>
                  <a:gd name="T71" fmla="*/ 195 h 211"/>
                  <a:gd name="T72" fmla="*/ 44 w 266"/>
                  <a:gd name="T73" fmla="*/ 205 h 211"/>
                  <a:gd name="T74" fmla="*/ 68 w 266"/>
                  <a:gd name="T75" fmla="*/ 209 h 211"/>
                  <a:gd name="T76" fmla="*/ 88 w 266"/>
                  <a:gd name="T77" fmla="*/ 201 h 211"/>
                  <a:gd name="T78" fmla="*/ 113 w 266"/>
                  <a:gd name="T79" fmla="*/ 194 h 211"/>
                  <a:gd name="T80" fmla="*/ 124 w 266"/>
                  <a:gd name="T81" fmla="*/ 194 h 211"/>
                  <a:gd name="T82" fmla="*/ 143 w 266"/>
                  <a:gd name="T83" fmla="*/ 193 h 211"/>
                  <a:gd name="T84" fmla="*/ 168 w 266"/>
                  <a:gd name="T85" fmla="*/ 182 h 211"/>
                  <a:gd name="T86" fmla="*/ 172 w 266"/>
                  <a:gd name="T87" fmla="*/ 178 h 211"/>
                  <a:gd name="T88" fmla="*/ 180 w 266"/>
                  <a:gd name="T89" fmla="*/ 169 h 211"/>
                  <a:gd name="T90" fmla="*/ 184 w 266"/>
                  <a:gd name="T91" fmla="*/ 164 h 211"/>
                  <a:gd name="T92" fmla="*/ 201 w 266"/>
                  <a:gd name="T93" fmla="*/ 145 h 211"/>
                  <a:gd name="T94" fmla="*/ 217 w 266"/>
                  <a:gd name="T95" fmla="*/ 125 h 211"/>
                  <a:gd name="T96" fmla="*/ 222 w 266"/>
                  <a:gd name="T97" fmla="*/ 120 h 211"/>
                  <a:gd name="T98" fmla="*/ 230 w 266"/>
                  <a:gd name="T99" fmla="*/ 109 h 211"/>
                  <a:gd name="T100" fmla="*/ 235 w 266"/>
                  <a:gd name="T101" fmla="*/ 103 h 211"/>
                  <a:gd name="T102" fmla="*/ 241 w 266"/>
                  <a:gd name="T103" fmla="*/ 99 h 211"/>
                  <a:gd name="T104" fmla="*/ 252 w 266"/>
                  <a:gd name="T105" fmla="*/ 90 h 211"/>
                  <a:gd name="T106" fmla="*/ 256 w 266"/>
                  <a:gd name="T107" fmla="*/ 84 h 211"/>
                  <a:gd name="T108" fmla="*/ 260 w 266"/>
                  <a:gd name="T109" fmla="*/ 75 h 211"/>
                  <a:gd name="T110" fmla="*/ 264 w 266"/>
                  <a:gd name="T111" fmla="*/ 64 h 211"/>
                  <a:gd name="T112" fmla="*/ 255 w 266"/>
                  <a:gd name="T113" fmla="*/ 61 h 211"/>
                  <a:gd name="T114" fmla="*/ 253 w 266"/>
                  <a:gd name="T115" fmla="*/ 50 h 211"/>
                  <a:gd name="T116" fmla="*/ 249 w 266"/>
                  <a:gd name="T117" fmla="*/ 39 h 211"/>
                  <a:gd name="T118" fmla="*/ 248 w 266"/>
                  <a:gd name="T119" fmla="*/ 33 h 211"/>
                  <a:gd name="T120" fmla="*/ 248 w 266"/>
                  <a:gd name="T121" fmla="*/ 18 h 211"/>
                  <a:gd name="T122" fmla="*/ 242 w 266"/>
                  <a:gd name="T12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66" h="211">
                    <a:moveTo>
                      <a:pt x="206" y="0"/>
                    </a:moveTo>
                    <a:lnTo>
                      <a:pt x="205" y="3"/>
                    </a:lnTo>
                    <a:lnTo>
                      <a:pt x="204" y="6"/>
                    </a:lnTo>
                    <a:lnTo>
                      <a:pt x="201" y="7"/>
                    </a:lnTo>
                    <a:lnTo>
                      <a:pt x="198" y="10"/>
                    </a:lnTo>
                    <a:lnTo>
                      <a:pt x="195" y="11"/>
                    </a:lnTo>
                    <a:lnTo>
                      <a:pt x="194" y="13"/>
                    </a:lnTo>
                    <a:lnTo>
                      <a:pt x="193" y="13"/>
                    </a:lnTo>
                    <a:lnTo>
                      <a:pt x="191" y="13"/>
                    </a:lnTo>
                    <a:lnTo>
                      <a:pt x="191" y="15"/>
                    </a:lnTo>
                    <a:lnTo>
                      <a:pt x="189" y="18"/>
                    </a:lnTo>
                    <a:lnTo>
                      <a:pt x="184" y="20"/>
                    </a:lnTo>
                    <a:lnTo>
                      <a:pt x="180" y="21"/>
                    </a:lnTo>
                    <a:lnTo>
                      <a:pt x="176" y="24"/>
                    </a:lnTo>
                    <a:lnTo>
                      <a:pt x="173" y="24"/>
                    </a:lnTo>
                    <a:lnTo>
                      <a:pt x="171" y="25"/>
                    </a:lnTo>
                    <a:lnTo>
                      <a:pt x="171" y="25"/>
                    </a:lnTo>
                    <a:lnTo>
                      <a:pt x="167" y="28"/>
                    </a:lnTo>
                    <a:lnTo>
                      <a:pt x="162" y="32"/>
                    </a:lnTo>
                    <a:lnTo>
                      <a:pt x="158" y="37"/>
                    </a:lnTo>
                    <a:lnTo>
                      <a:pt x="156" y="43"/>
                    </a:lnTo>
                    <a:lnTo>
                      <a:pt x="154" y="48"/>
                    </a:lnTo>
                    <a:lnTo>
                      <a:pt x="153" y="53"/>
                    </a:lnTo>
                    <a:lnTo>
                      <a:pt x="151" y="55"/>
                    </a:lnTo>
                    <a:lnTo>
                      <a:pt x="151" y="57"/>
                    </a:lnTo>
                    <a:lnTo>
                      <a:pt x="149" y="57"/>
                    </a:lnTo>
                    <a:lnTo>
                      <a:pt x="147" y="57"/>
                    </a:lnTo>
                    <a:lnTo>
                      <a:pt x="145" y="55"/>
                    </a:lnTo>
                    <a:lnTo>
                      <a:pt x="143" y="55"/>
                    </a:lnTo>
                    <a:lnTo>
                      <a:pt x="142" y="54"/>
                    </a:lnTo>
                    <a:lnTo>
                      <a:pt x="140" y="54"/>
                    </a:lnTo>
                    <a:lnTo>
                      <a:pt x="139" y="53"/>
                    </a:lnTo>
                    <a:lnTo>
                      <a:pt x="139" y="53"/>
                    </a:lnTo>
                    <a:lnTo>
                      <a:pt x="135" y="50"/>
                    </a:lnTo>
                    <a:lnTo>
                      <a:pt x="132" y="47"/>
                    </a:lnTo>
                    <a:lnTo>
                      <a:pt x="128" y="47"/>
                    </a:lnTo>
                    <a:lnTo>
                      <a:pt x="124" y="48"/>
                    </a:lnTo>
                    <a:lnTo>
                      <a:pt x="121" y="48"/>
                    </a:lnTo>
                    <a:lnTo>
                      <a:pt x="118" y="50"/>
                    </a:lnTo>
                    <a:lnTo>
                      <a:pt x="117" y="51"/>
                    </a:lnTo>
                    <a:lnTo>
                      <a:pt x="116" y="53"/>
                    </a:lnTo>
                    <a:lnTo>
                      <a:pt x="116" y="54"/>
                    </a:lnTo>
                    <a:lnTo>
                      <a:pt x="114" y="57"/>
                    </a:lnTo>
                    <a:lnTo>
                      <a:pt x="113" y="58"/>
                    </a:lnTo>
                    <a:lnTo>
                      <a:pt x="113" y="61"/>
                    </a:lnTo>
                    <a:lnTo>
                      <a:pt x="112" y="64"/>
                    </a:lnTo>
                    <a:lnTo>
                      <a:pt x="110" y="65"/>
                    </a:lnTo>
                    <a:lnTo>
                      <a:pt x="110" y="66"/>
                    </a:lnTo>
                    <a:lnTo>
                      <a:pt x="110" y="66"/>
                    </a:lnTo>
                    <a:lnTo>
                      <a:pt x="105" y="72"/>
                    </a:lnTo>
                    <a:lnTo>
                      <a:pt x="98" y="76"/>
                    </a:lnTo>
                    <a:lnTo>
                      <a:pt x="92" y="79"/>
                    </a:lnTo>
                    <a:lnTo>
                      <a:pt x="87" y="81"/>
                    </a:lnTo>
                    <a:lnTo>
                      <a:pt x="83" y="81"/>
                    </a:lnTo>
                    <a:lnTo>
                      <a:pt x="79" y="81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4" y="79"/>
                    </a:lnTo>
                    <a:lnTo>
                      <a:pt x="73" y="76"/>
                    </a:lnTo>
                    <a:lnTo>
                      <a:pt x="74" y="73"/>
                    </a:lnTo>
                    <a:lnTo>
                      <a:pt x="74" y="72"/>
                    </a:lnTo>
                    <a:lnTo>
                      <a:pt x="76" y="70"/>
                    </a:lnTo>
                    <a:lnTo>
                      <a:pt x="77" y="69"/>
                    </a:lnTo>
                    <a:lnTo>
                      <a:pt x="79" y="68"/>
                    </a:lnTo>
                    <a:lnTo>
                      <a:pt x="79" y="68"/>
                    </a:lnTo>
                    <a:lnTo>
                      <a:pt x="79" y="59"/>
                    </a:lnTo>
                    <a:lnTo>
                      <a:pt x="77" y="54"/>
                    </a:lnTo>
                    <a:lnTo>
                      <a:pt x="76" y="48"/>
                    </a:lnTo>
                    <a:lnTo>
                      <a:pt x="73" y="44"/>
                    </a:lnTo>
                    <a:lnTo>
                      <a:pt x="69" y="42"/>
                    </a:lnTo>
                    <a:lnTo>
                      <a:pt x="66" y="40"/>
                    </a:lnTo>
                    <a:lnTo>
                      <a:pt x="65" y="39"/>
                    </a:lnTo>
                    <a:lnTo>
                      <a:pt x="63" y="39"/>
                    </a:lnTo>
                    <a:lnTo>
                      <a:pt x="63" y="92"/>
                    </a:lnTo>
                    <a:lnTo>
                      <a:pt x="63" y="92"/>
                    </a:lnTo>
                    <a:lnTo>
                      <a:pt x="63" y="94"/>
                    </a:lnTo>
                    <a:lnTo>
                      <a:pt x="62" y="95"/>
                    </a:lnTo>
                    <a:lnTo>
                      <a:pt x="61" y="97"/>
                    </a:lnTo>
                    <a:lnTo>
                      <a:pt x="58" y="98"/>
                    </a:lnTo>
                    <a:lnTo>
                      <a:pt x="55" y="98"/>
                    </a:lnTo>
                    <a:lnTo>
                      <a:pt x="51" y="99"/>
                    </a:lnTo>
                    <a:lnTo>
                      <a:pt x="44" y="99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30" y="98"/>
                    </a:lnTo>
                    <a:lnTo>
                      <a:pt x="29" y="97"/>
                    </a:lnTo>
                    <a:lnTo>
                      <a:pt x="28" y="97"/>
                    </a:lnTo>
                    <a:lnTo>
                      <a:pt x="28" y="97"/>
                    </a:lnTo>
                    <a:lnTo>
                      <a:pt x="26" y="95"/>
                    </a:lnTo>
                    <a:lnTo>
                      <a:pt x="26" y="94"/>
                    </a:lnTo>
                    <a:lnTo>
                      <a:pt x="25" y="91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2" y="81"/>
                    </a:lnTo>
                    <a:lnTo>
                      <a:pt x="21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3"/>
                    </a:lnTo>
                    <a:lnTo>
                      <a:pt x="14" y="94"/>
                    </a:lnTo>
                    <a:lnTo>
                      <a:pt x="0" y="98"/>
                    </a:lnTo>
                    <a:lnTo>
                      <a:pt x="8" y="131"/>
                    </a:lnTo>
                    <a:lnTo>
                      <a:pt x="21" y="150"/>
                    </a:lnTo>
                    <a:lnTo>
                      <a:pt x="21" y="190"/>
                    </a:lnTo>
                    <a:lnTo>
                      <a:pt x="22" y="191"/>
                    </a:lnTo>
                    <a:lnTo>
                      <a:pt x="23" y="193"/>
                    </a:lnTo>
                    <a:lnTo>
                      <a:pt x="26" y="195"/>
                    </a:lnTo>
                    <a:lnTo>
                      <a:pt x="30" y="200"/>
                    </a:lnTo>
                    <a:lnTo>
                      <a:pt x="37" y="202"/>
                    </a:lnTo>
                    <a:lnTo>
                      <a:pt x="44" y="205"/>
                    </a:lnTo>
                    <a:lnTo>
                      <a:pt x="54" y="208"/>
                    </a:lnTo>
                    <a:lnTo>
                      <a:pt x="65" y="211"/>
                    </a:lnTo>
                    <a:lnTo>
                      <a:pt x="68" y="209"/>
                    </a:lnTo>
                    <a:lnTo>
                      <a:pt x="72" y="208"/>
                    </a:lnTo>
                    <a:lnTo>
                      <a:pt x="80" y="204"/>
                    </a:lnTo>
                    <a:lnTo>
                      <a:pt x="88" y="201"/>
                    </a:lnTo>
                    <a:lnTo>
                      <a:pt x="96" y="198"/>
                    </a:lnTo>
                    <a:lnTo>
                      <a:pt x="106" y="195"/>
                    </a:lnTo>
                    <a:lnTo>
                      <a:pt x="113" y="194"/>
                    </a:lnTo>
                    <a:lnTo>
                      <a:pt x="118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8" y="194"/>
                    </a:lnTo>
                    <a:lnTo>
                      <a:pt x="135" y="194"/>
                    </a:lnTo>
                    <a:lnTo>
                      <a:pt x="143" y="193"/>
                    </a:lnTo>
                    <a:lnTo>
                      <a:pt x="151" y="190"/>
                    </a:lnTo>
                    <a:lnTo>
                      <a:pt x="160" y="187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71" y="180"/>
                    </a:lnTo>
                    <a:lnTo>
                      <a:pt x="172" y="178"/>
                    </a:lnTo>
                    <a:lnTo>
                      <a:pt x="175" y="175"/>
                    </a:lnTo>
                    <a:lnTo>
                      <a:pt x="178" y="172"/>
                    </a:lnTo>
                    <a:lnTo>
                      <a:pt x="180" y="169"/>
                    </a:lnTo>
                    <a:lnTo>
                      <a:pt x="182" y="167"/>
                    </a:lnTo>
                    <a:lnTo>
                      <a:pt x="183" y="165"/>
                    </a:lnTo>
                    <a:lnTo>
                      <a:pt x="184" y="164"/>
                    </a:lnTo>
                    <a:lnTo>
                      <a:pt x="189" y="158"/>
                    </a:lnTo>
                    <a:lnTo>
                      <a:pt x="194" y="152"/>
                    </a:lnTo>
                    <a:lnTo>
                      <a:pt x="201" y="145"/>
                    </a:lnTo>
                    <a:lnTo>
                      <a:pt x="208" y="136"/>
                    </a:lnTo>
                    <a:lnTo>
                      <a:pt x="213" y="130"/>
                    </a:lnTo>
                    <a:lnTo>
                      <a:pt x="217" y="125"/>
                    </a:lnTo>
                    <a:lnTo>
                      <a:pt x="219" y="123"/>
                    </a:lnTo>
                    <a:lnTo>
                      <a:pt x="220" y="123"/>
                    </a:lnTo>
                    <a:lnTo>
                      <a:pt x="222" y="120"/>
                    </a:lnTo>
                    <a:lnTo>
                      <a:pt x="224" y="117"/>
                    </a:lnTo>
                    <a:lnTo>
                      <a:pt x="227" y="113"/>
                    </a:lnTo>
                    <a:lnTo>
                      <a:pt x="230" y="109"/>
                    </a:lnTo>
                    <a:lnTo>
                      <a:pt x="233" y="106"/>
                    </a:lnTo>
                    <a:lnTo>
                      <a:pt x="234" y="105"/>
                    </a:lnTo>
                    <a:lnTo>
                      <a:pt x="235" y="103"/>
                    </a:lnTo>
                    <a:lnTo>
                      <a:pt x="235" y="103"/>
                    </a:lnTo>
                    <a:lnTo>
                      <a:pt x="238" y="101"/>
                    </a:lnTo>
                    <a:lnTo>
                      <a:pt x="241" y="99"/>
                    </a:lnTo>
                    <a:lnTo>
                      <a:pt x="245" y="97"/>
                    </a:lnTo>
                    <a:lnTo>
                      <a:pt x="249" y="94"/>
                    </a:lnTo>
                    <a:lnTo>
                      <a:pt x="252" y="90"/>
                    </a:lnTo>
                    <a:lnTo>
                      <a:pt x="255" y="87"/>
                    </a:lnTo>
                    <a:lnTo>
                      <a:pt x="256" y="86"/>
                    </a:lnTo>
                    <a:lnTo>
                      <a:pt x="256" y="84"/>
                    </a:lnTo>
                    <a:lnTo>
                      <a:pt x="257" y="81"/>
                    </a:lnTo>
                    <a:lnTo>
                      <a:pt x="259" y="79"/>
                    </a:lnTo>
                    <a:lnTo>
                      <a:pt x="260" y="75"/>
                    </a:lnTo>
                    <a:lnTo>
                      <a:pt x="263" y="70"/>
                    </a:lnTo>
                    <a:lnTo>
                      <a:pt x="264" y="68"/>
                    </a:lnTo>
                    <a:lnTo>
                      <a:pt x="264" y="64"/>
                    </a:lnTo>
                    <a:lnTo>
                      <a:pt x="266" y="61"/>
                    </a:lnTo>
                    <a:lnTo>
                      <a:pt x="255" y="62"/>
                    </a:lnTo>
                    <a:lnTo>
                      <a:pt x="255" y="61"/>
                    </a:lnTo>
                    <a:lnTo>
                      <a:pt x="255" y="58"/>
                    </a:lnTo>
                    <a:lnTo>
                      <a:pt x="253" y="55"/>
                    </a:lnTo>
                    <a:lnTo>
                      <a:pt x="253" y="50"/>
                    </a:lnTo>
                    <a:lnTo>
                      <a:pt x="252" y="46"/>
                    </a:lnTo>
                    <a:lnTo>
                      <a:pt x="250" y="42"/>
                    </a:lnTo>
                    <a:lnTo>
                      <a:pt x="249" y="39"/>
                    </a:lnTo>
                    <a:lnTo>
                      <a:pt x="246" y="37"/>
                    </a:lnTo>
                    <a:lnTo>
                      <a:pt x="246" y="36"/>
                    </a:lnTo>
                    <a:lnTo>
                      <a:pt x="248" y="33"/>
                    </a:lnTo>
                    <a:lnTo>
                      <a:pt x="248" y="29"/>
                    </a:lnTo>
                    <a:lnTo>
                      <a:pt x="248" y="24"/>
                    </a:lnTo>
                    <a:lnTo>
                      <a:pt x="248" y="18"/>
                    </a:lnTo>
                    <a:lnTo>
                      <a:pt x="246" y="14"/>
                    </a:lnTo>
                    <a:lnTo>
                      <a:pt x="245" y="9"/>
                    </a:lnTo>
                    <a:lnTo>
                      <a:pt x="242" y="6"/>
                    </a:lnTo>
                    <a:lnTo>
                      <a:pt x="239" y="0"/>
                    </a:lnTo>
                    <a:lnTo>
                      <a:pt x="206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1" name="Freeform 0"/>
              <p:cNvSpPr>
                <a:spLocks/>
              </p:cNvSpPr>
              <p:nvPr/>
            </p:nvSpPr>
            <p:spPr bwMode="auto">
              <a:xfrm>
                <a:off x="2959" y="3303"/>
                <a:ext cx="266" cy="211"/>
              </a:xfrm>
              <a:custGeom>
                <a:avLst/>
                <a:gdLst>
                  <a:gd name="T0" fmla="*/ 204 w 266"/>
                  <a:gd name="T1" fmla="*/ 6 h 211"/>
                  <a:gd name="T2" fmla="*/ 195 w 266"/>
                  <a:gd name="T3" fmla="*/ 11 h 211"/>
                  <a:gd name="T4" fmla="*/ 191 w 266"/>
                  <a:gd name="T5" fmla="*/ 13 h 211"/>
                  <a:gd name="T6" fmla="*/ 184 w 266"/>
                  <a:gd name="T7" fmla="*/ 20 h 211"/>
                  <a:gd name="T8" fmla="*/ 173 w 266"/>
                  <a:gd name="T9" fmla="*/ 24 h 211"/>
                  <a:gd name="T10" fmla="*/ 162 w 266"/>
                  <a:gd name="T11" fmla="*/ 32 h 211"/>
                  <a:gd name="T12" fmla="*/ 154 w 266"/>
                  <a:gd name="T13" fmla="*/ 48 h 211"/>
                  <a:gd name="T14" fmla="*/ 151 w 266"/>
                  <a:gd name="T15" fmla="*/ 57 h 211"/>
                  <a:gd name="T16" fmla="*/ 145 w 266"/>
                  <a:gd name="T17" fmla="*/ 55 h 211"/>
                  <a:gd name="T18" fmla="*/ 140 w 266"/>
                  <a:gd name="T19" fmla="*/ 54 h 211"/>
                  <a:gd name="T20" fmla="*/ 132 w 266"/>
                  <a:gd name="T21" fmla="*/ 47 h 211"/>
                  <a:gd name="T22" fmla="*/ 121 w 266"/>
                  <a:gd name="T23" fmla="*/ 48 h 211"/>
                  <a:gd name="T24" fmla="*/ 116 w 266"/>
                  <a:gd name="T25" fmla="*/ 53 h 211"/>
                  <a:gd name="T26" fmla="*/ 113 w 266"/>
                  <a:gd name="T27" fmla="*/ 58 h 211"/>
                  <a:gd name="T28" fmla="*/ 110 w 266"/>
                  <a:gd name="T29" fmla="*/ 65 h 211"/>
                  <a:gd name="T30" fmla="*/ 98 w 266"/>
                  <a:gd name="T31" fmla="*/ 76 h 211"/>
                  <a:gd name="T32" fmla="*/ 83 w 266"/>
                  <a:gd name="T33" fmla="*/ 81 h 211"/>
                  <a:gd name="T34" fmla="*/ 74 w 266"/>
                  <a:gd name="T35" fmla="*/ 79 h 211"/>
                  <a:gd name="T36" fmla="*/ 74 w 266"/>
                  <a:gd name="T37" fmla="*/ 72 h 211"/>
                  <a:gd name="T38" fmla="*/ 79 w 266"/>
                  <a:gd name="T39" fmla="*/ 68 h 211"/>
                  <a:gd name="T40" fmla="*/ 76 w 266"/>
                  <a:gd name="T41" fmla="*/ 48 h 211"/>
                  <a:gd name="T42" fmla="*/ 66 w 266"/>
                  <a:gd name="T43" fmla="*/ 40 h 211"/>
                  <a:gd name="T44" fmla="*/ 63 w 266"/>
                  <a:gd name="T45" fmla="*/ 92 h 211"/>
                  <a:gd name="T46" fmla="*/ 61 w 266"/>
                  <a:gd name="T47" fmla="*/ 97 h 211"/>
                  <a:gd name="T48" fmla="*/ 51 w 266"/>
                  <a:gd name="T49" fmla="*/ 99 h 211"/>
                  <a:gd name="T50" fmla="*/ 29 w 266"/>
                  <a:gd name="T51" fmla="*/ 97 h 211"/>
                  <a:gd name="T52" fmla="*/ 26 w 266"/>
                  <a:gd name="T53" fmla="*/ 94 h 211"/>
                  <a:gd name="T54" fmla="*/ 22 w 266"/>
                  <a:gd name="T55" fmla="*/ 81 h 211"/>
                  <a:gd name="T56" fmla="*/ 18 w 266"/>
                  <a:gd name="T57" fmla="*/ 83 h 211"/>
                  <a:gd name="T58" fmla="*/ 8 w 266"/>
                  <a:gd name="T59" fmla="*/ 131 h 211"/>
                  <a:gd name="T60" fmla="*/ 22 w 266"/>
                  <a:gd name="T61" fmla="*/ 191 h 211"/>
                  <a:gd name="T62" fmla="*/ 30 w 266"/>
                  <a:gd name="T63" fmla="*/ 200 h 211"/>
                  <a:gd name="T64" fmla="*/ 54 w 266"/>
                  <a:gd name="T65" fmla="*/ 208 h 211"/>
                  <a:gd name="T66" fmla="*/ 72 w 266"/>
                  <a:gd name="T67" fmla="*/ 208 h 211"/>
                  <a:gd name="T68" fmla="*/ 96 w 266"/>
                  <a:gd name="T69" fmla="*/ 198 h 211"/>
                  <a:gd name="T70" fmla="*/ 118 w 266"/>
                  <a:gd name="T71" fmla="*/ 194 h 211"/>
                  <a:gd name="T72" fmla="*/ 128 w 266"/>
                  <a:gd name="T73" fmla="*/ 194 h 211"/>
                  <a:gd name="T74" fmla="*/ 151 w 266"/>
                  <a:gd name="T75" fmla="*/ 190 h 211"/>
                  <a:gd name="T76" fmla="*/ 171 w 266"/>
                  <a:gd name="T77" fmla="*/ 180 h 211"/>
                  <a:gd name="T78" fmla="*/ 178 w 266"/>
                  <a:gd name="T79" fmla="*/ 172 h 211"/>
                  <a:gd name="T80" fmla="*/ 183 w 266"/>
                  <a:gd name="T81" fmla="*/ 165 h 211"/>
                  <a:gd name="T82" fmla="*/ 194 w 266"/>
                  <a:gd name="T83" fmla="*/ 152 h 211"/>
                  <a:gd name="T84" fmla="*/ 213 w 266"/>
                  <a:gd name="T85" fmla="*/ 130 h 211"/>
                  <a:gd name="T86" fmla="*/ 220 w 266"/>
                  <a:gd name="T87" fmla="*/ 123 h 211"/>
                  <a:gd name="T88" fmla="*/ 227 w 266"/>
                  <a:gd name="T89" fmla="*/ 113 h 211"/>
                  <a:gd name="T90" fmla="*/ 234 w 266"/>
                  <a:gd name="T91" fmla="*/ 105 h 211"/>
                  <a:gd name="T92" fmla="*/ 241 w 266"/>
                  <a:gd name="T93" fmla="*/ 99 h 211"/>
                  <a:gd name="T94" fmla="*/ 252 w 266"/>
                  <a:gd name="T95" fmla="*/ 90 h 211"/>
                  <a:gd name="T96" fmla="*/ 256 w 266"/>
                  <a:gd name="T97" fmla="*/ 84 h 211"/>
                  <a:gd name="T98" fmla="*/ 260 w 266"/>
                  <a:gd name="T99" fmla="*/ 75 h 211"/>
                  <a:gd name="T100" fmla="*/ 264 w 266"/>
                  <a:gd name="T101" fmla="*/ 64 h 211"/>
                  <a:gd name="T102" fmla="*/ 255 w 266"/>
                  <a:gd name="T103" fmla="*/ 61 h 211"/>
                  <a:gd name="T104" fmla="*/ 253 w 266"/>
                  <a:gd name="T105" fmla="*/ 50 h 211"/>
                  <a:gd name="T106" fmla="*/ 249 w 266"/>
                  <a:gd name="T107" fmla="*/ 39 h 211"/>
                  <a:gd name="T108" fmla="*/ 248 w 266"/>
                  <a:gd name="T109" fmla="*/ 33 h 211"/>
                  <a:gd name="T110" fmla="*/ 248 w 266"/>
                  <a:gd name="T111" fmla="*/ 18 h 211"/>
                  <a:gd name="T112" fmla="*/ 242 w 266"/>
                  <a:gd name="T113" fmla="*/ 6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66" h="211">
                    <a:moveTo>
                      <a:pt x="206" y="0"/>
                    </a:moveTo>
                    <a:lnTo>
                      <a:pt x="205" y="3"/>
                    </a:lnTo>
                    <a:lnTo>
                      <a:pt x="204" y="6"/>
                    </a:lnTo>
                    <a:lnTo>
                      <a:pt x="201" y="7"/>
                    </a:lnTo>
                    <a:lnTo>
                      <a:pt x="198" y="10"/>
                    </a:lnTo>
                    <a:lnTo>
                      <a:pt x="195" y="11"/>
                    </a:lnTo>
                    <a:lnTo>
                      <a:pt x="194" y="13"/>
                    </a:lnTo>
                    <a:lnTo>
                      <a:pt x="193" y="13"/>
                    </a:lnTo>
                    <a:lnTo>
                      <a:pt x="191" y="13"/>
                    </a:lnTo>
                    <a:lnTo>
                      <a:pt x="191" y="15"/>
                    </a:lnTo>
                    <a:lnTo>
                      <a:pt x="189" y="18"/>
                    </a:lnTo>
                    <a:lnTo>
                      <a:pt x="184" y="20"/>
                    </a:lnTo>
                    <a:lnTo>
                      <a:pt x="180" y="21"/>
                    </a:lnTo>
                    <a:lnTo>
                      <a:pt x="176" y="24"/>
                    </a:lnTo>
                    <a:lnTo>
                      <a:pt x="173" y="24"/>
                    </a:lnTo>
                    <a:lnTo>
                      <a:pt x="171" y="25"/>
                    </a:lnTo>
                    <a:lnTo>
                      <a:pt x="167" y="28"/>
                    </a:lnTo>
                    <a:lnTo>
                      <a:pt x="162" y="32"/>
                    </a:lnTo>
                    <a:lnTo>
                      <a:pt x="158" y="37"/>
                    </a:lnTo>
                    <a:lnTo>
                      <a:pt x="156" y="43"/>
                    </a:lnTo>
                    <a:lnTo>
                      <a:pt x="154" y="48"/>
                    </a:lnTo>
                    <a:lnTo>
                      <a:pt x="153" y="53"/>
                    </a:lnTo>
                    <a:lnTo>
                      <a:pt x="151" y="55"/>
                    </a:lnTo>
                    <a:lnTo>
                      <a:pt x="151" y="57"/>
                    </a:lnTo>
                    <a:lnTo>
                      <a:pt x="149" y="57"/>
                    </a:lnTo>
                    <a:lnTo>
                      <a:pt x="147" y="57"/>
                    </a:lnTo>
                    <a:lnTo>
                      <a:pt x="145" y="55"/>
                    </a:lnTo>
                    <a:lnTo>
                      <a:pt x="143" y="55"/>
                    </a:lnTo>
                    <a:lnTo>
                      <a:pt x="142" y="54"/>
                    </a:lnTo>
                    <a:lnTo>
                      <a:pt x="140" y="54"/>
                    </a:lnTo>
                    <a:lnTo>
                      <a:pt x="139" y="53"/>
                    </a:lnTo>
                    <a:lnTo>
                      <a:pt x="135" y="50"/>
                    </a:lnTo>
                    <a:lnTo>
                      <a:pt x="132" y="47"/>
                    </a:lnTo>
                    <a:lnTo>
                      <a:pt x="128" y="47"/>
                    </a:lnTo>
                    <a:lnTo>
                      <a:pt x="124" y="48"/>
                    </a:lnTo>
                    <a:lnTo>
                      <a:pt x="121" y="48"/>
                    </a:lnTo>
                    <a:lnTo>
                      <a:pt x="118" y="50"/>
                    </a:lnTo>
                    <a:lnTo>
                      <a:pt x="117" y="51"/>
                    </a:lnTo>
                    <a:lnTo>
                      <a:pt x="116" y="53"/>
                    </a:lnTo>
                    <a:lnTo>
                      <a:pt x="116" y="54"/>
                    </a:lnTo>
                    <a:lnTo>
                      <a:pt x="114" y="57"/>
                    </a:lnTo>
                    <a:lnTo>
                      <a:pt x="113" y="58"/>
                    </a:lnTo>
                    <a:lnTo>
                      <a:pt x="113" y="61"/>
                    </a:lnTo>
                    <a:lnTo>
                      <a:pt x="112" y="64"/>
                    </a:lnTo>
                    <a:lnTo>
                      <a:pt x="110" y="65"/>
                    </a:lnTo>
                    <a:lnTo>
                      <a:pt x="110" y="66"/>
                    </a:lnTo>
                    <a:lnTo>
                      <a:pt x="105" y="72"/>
                    </a:lnTo>
                    <a:lnTo>
                      <a:pt x="98" y="76"/>
                    </a:lnTo>
                    <a:lnTo>
                      <a:pt x="92" y="79"/>
                    </a:lnTo>
                    <a:lnTo>
                      <a:pt x="87" y="81"/>
                    </a:lnTo>
                    <a:lnTo>
                      <a:pt x="83" y="81"/>
                    </a:lnTo>
                    <a:lnTo>
                      <a:pt x="79" y="81"/>
                    </a:lnTo>
                    <a:lnTo>
                      <a:pt x="76" y="81"/>
                    </a:lnTo>
                    <a:lnTo>
                      <a:pt x="74" y="79"/>
                    </a:lnTo>
                    <a:lnTo>
                      <a:pt x="73" y="76"/>
                    </a:lnTo>
                    <a:lnTo>
                      <a:pt x="74" y="73"/>
                    </a:lnTo>
                    <a:lnTo>
                      <a:pt x="74" y="72"/>
                    </a:lnTo>
                    <a:lnTo>
                      <a:pt x="76" y="70"/>
                    </a:lnTo>
                    <a:lnTo>
                      <a:pt x="77" y="69"/>
                    </a:lnTo>
                    <a:lnTo>
                      <a:pt x="79" y="68"/>
                    </a:lnTo>
                    <a:lnTo>
                      <a:pt x="79" y="59"/>
                    </a:lnTo>
                    <a:lnTo>
                      <a:pt x="77" y="54"/>
                    </a:lnTo>
                    <a:lnTo>
                      <a:pt x="76" y="48"/>
                    </a:lnTo>
                    <a:lnTo>
                      <a:pt x="73" y="44"/>
                    </a:lnTo>
                    <a:lnTo>
                      <a:pt x="69" y="42"/>
                    </a:lnTo>
                    <a:lnTo>
                      <a:pt x="66" y="40"/>
                    </a:lnTo>
                    <a:lnTo>
                      <a:pt x="65" y="39"/>
                    </a:lnTo>
                    <a:lnTo>
                      <a:pt x="63" y="39"/>
                    </a:lnTo>
                    <a:lnTo>
                      <a:pt x="63" y="92"/>
                    </a:lnTo>
                    <a:lnTo>
                      <a:pt x="63" y="94"/>
                    </a:lnTo>
                    <a:lnTo>
                      <a:pt x="62" y="95"/>
                    </a:lnTo>
                    <a:lnTo>
                      <a:pt x="61" y="97"/>
                    </a:lnTo>
                    <a:lnTo>
                      <a:pt x="58" y="98"/>
                    </a:lnTo>
                    <a:lnTo>
                      <a:pt x="55" y="98"/>
                    </a:lnTo>
                    <a:lnTo>
                      <a:pt x="51" y="99"/>
                    </a:lnTo>
                    <a:lnTo>
                      <a:pt x="44" y="99"/>
                    </a:lnTo>
                    <a:lnTo>
                      <a:pt x="30" y="98"/>
                    </a:lnTo>
                    <a:lnTo>
                      <a:pt x="29" y="97"/>
                    </a:lnTo>
                    <a:lnTo>
                      <a:pt x="28" y="97"/>
                    </a:lnTo>
                    <a:lnTo>
                      <a:pt x="26" y="95"/>
                    </a:lnTo>
                    <a:lnTo>
                      <a:pt x="26" y="94"/>
                    </a:lnTo>
                    <a:lnTo>
                      <a:pt x="25" y="91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1" y="81"/>
                    </a:lnTo>
                    <a:lnTo>
                      <a:pt x="19" y="81"/>
                    </a:lnTo>
                    <a:lnTo>
                      <a:pt x="18" y="83"/>
                    </a:lnTo>
                    <a:lnTo>
                      <a:pt x="14" y="94"/>
                    </a:lnTo>
                    <a:lnTo>
                      <a:pt x="0" y="98"/>
                    </a:lnTo>
                    <a:lnTo>
                      <a:pt x="8" y="131"/>
                    </a:lnTo>
                    <a:lnTo>
                      <a:pt x="21" y="150"/>
                    </a:lnTo>
                    <a:lnTo>
                      <a:pt x="21" y="190"/>
                    </a:lnTo>
                    <a:lnTo>
                      <a:pt x="22" y="191"/>
                    </a:lnTo>
                    <a:lnTo>
                      <a:pt x="23" y="193"/>
                    </a:lnTo>
                    <a:lnTo>
                      <a:pt x="26" y="195"/>
                    </a:lnTo>
                    <a:lnTo>
                      <a:pt x="30" y="200"/>
                    </a:lnTo>
                    <a:lnTo>
                      <a:pt x="37" y="202"/>
                    </a:lnTo>
                    <a:lnTo>
                      <a:pt x="44" y="205"/>
                    </a:lnTo>
                    <a:lnTo>
                      <a:pt x="54" y="208"/>
                    </a:lnTo>
                    <a:lnTo>
                      <a:pt x="65" y="211"/>
                    </a:lnTo>
                    <a:lnTo>
                      <a:pt x="68" y="209"/>
                    </a:lnTo>
                    <a:lnTo>
                      <a:pt x="72" y="208"/>
                    </a:lnTo>
                    <a:lnTo>
                      <a:pt x="80" y="204"/>
                    </a:lnTo>
                    <a:lnTo>
                      <a:pt x="88" y="201"/>
                    </a:lnTo>
                    <a:lnTo>
                      <a:pt x="96" y="198"/>
                    </a:lnTo>
                    <a:lnTo>
                      <a:pt x="106" y="195"/>
                    </a:lnTo>
                    <a:lnTo>
                      <a:pt x="113" y="194"/>
                    </a:lnTo>
                    <a:lnTo>
                      <a:pt x="118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8" y="194"/>
                    </a:lnTo>
                    <a:lnTo>
                      <a:pt x="135" y="194"/>
                    </a:lnTo>
                    <a:lnTo>
                      <a:pt x="143" y="193"/>
                    </a:lnTo>
                    <a:lnTo>
                      <a:pt x="151" y="190"/>
                    </a:lnTo>
                    <a:lnTo>
                      <a:pt x="160" y="187"/>
                    </a:lnTo>
                    <a:lnTo>
                      <a:pt x="168" y="182"/>
                    </a:lnTo>
                    <a:lnTo>
                      <a:pt x="171" y="180"/>
                    </a:lnTo>
                    <a:lnTo>
                      <a:pt x="172" y="178"/>
                    </a:lnTo>
                    <a:lnTo>
                      <a:pt x="175" y="175"/>
                    </a:lnTo>
                    <a:lnTo>
                      <a:pt x="178" y="172"/>
                    </a:lnTo>
                    <a:lnTo>
                      <a:pt x="180" y="169"/>
                    </a:lnTo>
                    <a:lnTo>
                      <a:pt x="182" y="167"/>
                    </a:lnTo>
                    <a:lnTo>
                      <a:pt x="183" y="165"/>
                    </a:lnTo>
                    <a:lnTo>
                      <a:pt x="184" y="164"/>
                    </a:lnTo>
                    <a:lnTo>
                      <a:pt x="189" y="158"/>
                    </a:lnTo>
                    <a:lnTo>
                      <a:pt x="194" y="152"/>
                    </a:lnTo>
                    <a:lnTo>
                      <a:pt x="201" y="145"/>
                    </a:lnTo>
                    <a:lnTo>
                      <a:pt x="208" y="136"/>
                    </a:lnTo>
                    <a:lnTo>
                      <a:pt x="213" y="130"/>
                    </a:lnTo>
                    <a:lnTo>
                      <a:pt x="217" y="125"/>
                    </a:lnTo>
                    <a:lnTo>
                      <a:pt x="219" y="123"/>
                    </a:lnTo>
                    <a:lnTo>
                      <a:pt x="220" y="123"/>
                    </a:lnTo>
                    <a:lnTo>
                      <a:pt x="222" y="120"/>
                    </a:lnTo>
                    <a:lnTo>
                      <a:pt x="224" y="117"/>
                    </a:lnTo>
                    <a:lnTo>
                      <a:pt x="227" y="113"/>
                    </a:lnTo>
                    <a:lnTo>
                      <a:pt x="230" y="109"/>
                    </a:lnTo>
                    <a:lnTo>
                      <a:pt x="233" y="106"/>
                    </a:lnTo>
                    <a:lnTo>
                      <a:pt x="234" y="105"/>
                    </a:lnTo>
                    <a:lnTo>
                      <a:pt x="235" y="103"/>
                    </a:lnTo>
                    <a:lnTo>
                      <a:pt x="238" y="101"/>
                    </a:lnTo>
                    <a:lnTo>
                      <a:pt x="241" y="99"/>
                    </a:lnTo>
                    <a:lnTo>
                      <a:pt x="245" y="97"/>
                    </a:lnTo>
                    <a:lnTo>
                      <a:pt x="249" y="94"/>
                    </a:lnTo>
                    <a:lnTo>
                      <a:pt x="252" y="90"/>
                    </a:lnTo>
                    <a:lnTo>
                      <a:pt x="255" y="87"/>
                    </a:lnTo>
                    <a:lnTo>
                      <a:pt x="256" y="86"/>
                    </a:lnTo>
                    <a:lnTo>
                      <a:pt x="256" y="84"/>
                    </a:lnTo>
                    <a:lnTo>
                      <a:pt x="257" y="81"/>
                    </a:lnTo>
                    <a:lnTo>
                      <a:pt x="259" y="79"/>
                    </a:lnTo>
                    <a:lnTo>
                      <a:pt x="260" y="75"/>
                    </a:lnTo>
                    <a:lnTo>
                      <a:pt x="263" y="70"/>
                    </a:lnTo>
                    <a:lnTo>
                      <a:pt x="264" y="68"/>
                    </a:lnTo>
                    <a:lnTo>
                      <a:pt x="264" y="64"/>
                    </a:lnTo>
                    <a:lnTo>
                      <a:pt x="266" y="61"/>
                    </a:lnTo>
                    <a:lnTo>
                      <a:pt x="255" y="62"/>
                    </a:lnTo>
                    <a:lnTo>
                      <a:pt x="255" y="61"/>
                    </a:lnTo>
                    <a:lnTo>
                      <a:pt x="255" y="58"/>
                    </a:lnTo>
                    <a:lnTo>
                      <a:pt x="253" y="55"/>
                    </a:lnTo>
                    <a:lnTo>
                      <a:pt x="253" y="50"/>
                    </a:lnTo>
                    <a:lnTo>
                      <a:pt x="252" y="46"/>
                    </a:lnTo>
                    <a:lnTo>
                      <a:pt x="250" y="42"/>
                    </a:lnTo>
                    <a:lnTo>
                      <a:pt x="249" y="39"/>
                    </a:lnTo>
                    <a:lnTo>
                      <a:pt x="246" y="37"/>
                    </a:lnTo>
                    <a:lnTo>
                      <a:pt x="246" y="36"/>
                    </a:lnTo>
                    <a:lnTo>
                      <a:pt x="248" y="33"/>
                    </a:lnTo>
                    <a:lnTo>
                      <a:pt x="248" y="29"/>
                    </a:lnTo>
                    <a:lnTo>
                      <a:pt x="248" y="24"/>
                    </a:lnTo>
                    <a:lnTo>
                      <a:pt x="248" y="18"/>
                    </a:lnTo>
                    <a:lnTo>
                      <a:pt x="246" y="14"/>
                    </a:lnTo>
                    <a:lnTo>
                      <a:pt x="245" y="9"/>
                    </a:lnTo>
                    <a:lnTo>
                      <a:pt x="242" y="6"/>
                    </a:lnTo>
                    <a:lnTo>
                      <a:pt x="239" y="0"/>
                    </a:lnTo>
                    <a:lnTo>
                      <a:pt x="206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2" name="Freeform 1"/>
              <p:cNvSpPr>
                <a:spLocks/>
              </p:cNvSpPr>
              <p:nvPr/>
            </p:nvSpPr>
            <p:spPr bwMode="auto">
              <a:xfrm>
                <a:off x="3197" y="3340"/>
                <a:ext cx="17" cy="31"/>
              </a:xfrm>
              <a:custGeom>
                <a:avLst/>
                <a:gdLst>
                  <a:gd name="T0" fmla="*/ 6 w 17"/>
                  <a:gd name="T1" fmla="*/ 2 h 31"/>
                  <a:gd name="T2" fmla="*/ 6 w 17"/>
                  <a:gd name="T3" fmla="*/ 2 h 31"/>
                  <a:gd name="T4" fmla="*/ 6 w 17"/>
                  <a:gd name="T5" fmla="*/ 0 h 31"/>
                  <a:gd name="T6" fmla="*/ 7 w 17"/>
                  <a:gd name="T7" fmla="*/ 0 h 31"/>
                  <a:gd name="T8" fmla="*/ 7 w 17"/>
                  <a:gd name="T9" fmla="*/ 0 h 31"/>
                  <a:gd name="T10" fmla="*/ 7 w 17"/>
                  <a:gd name="T11" fmla="*/ 0 h 31"/>
                  <a:gd name="T12" fmla="*/ 7 w 17"/>
                  <a:gd name="T13" fmla="*/ 0 h 31"/>
                  <a:gd name="T14" fmla="*/ 8 w 17"/>
                  <a:gd name="T15" fmla="*/ 0 h 31"/>
                  <a:gd name="T16" fmla="*/ 8 w 17"/>
                  <a:gd name="T17" fmla="*/ 0 h 31"/>
                  <a:gd name="T18" fmla="*/ 10 w 17"/>
                  <a:gd name="T19" fmla="*/ 0 h 31"/>
                  <a:gd name="T20" fmla="*/ 10 w 17"/>
                  <a:gd name="T21" fmla="*/ 0 h 31"/>
                  <a:gd name="T22" fmla="*/ 11 w 17"/>
                  <a:gd name="T23" fmla="*/ 2 h 31"/>
                  <a:gd name="T24" fmla="*/ 12 w 17"/>
                  <a:gd name="T25" fmla="*/ 3 h 31"/>
                  <a:gd name="T26" fmla="*/ 14 w 17"/>
                  <a:gd name="T27" fmla="*/ 7 h 31"/>
                  <a:gd name="T28" fmla="*/ 15 w 17"/>
                  <a:gd name="T29" fmla="*/ 11 h 31"/>
                  <a:gd name="T30" fmla="*/ 15 w 17"/>
                  <a:gd name="T31" fmla="*/ 17 h 31"/>
                  <a:gd name="T32" fmla="*/ 17 w 17"/>
                  <a:gd name="T33" fmla="*/ 25 h 31"/>
                  <a:gd name="T34" fmla="*/ 17 w 17"/>
                  <a:gd name="T35" fmla="*/ 25 h 31"/>
                  <a:gd name="T36" fmla="*/ 15 w 17"/>
                  <a:gd name="T37" fmla="*/ 27 h 31"/>
                  <a:gd name="T38" fmla="*/ 14 w 17"/>
                  <a:gd name="T39" fmla="*/ 28 h 31"/>
                  <a:gd name="T40" fmla="*/ 12 w 17"/>
                  <a:gd name="T41" fmla="*/ 29 h 31"/>
                  <a:gd name="T42" fmla="*/ 11 w 17"/>
                  <a:gd name="T43" fmla="*/ 31 h 31"/>
                  <a:gd name="T44" fmla="*/ 10 w 17"/>
                  <a:gd name="T45" fmla="*/ 31 h 31"/>
                  <a:gd name="T46" fmla="*/ 7 w 17"/>
                  <a:gd name="T47" fmla="*/ 31 h 31"/>
                  <a:gd name="T48" fmla="*/ 4 w 17"/>
                  <a:gd name="T49" fmla="*/ 29 h 31"/>
                  <a:gd name="T50" fmla="*/ 4 w 17"/>
                  <a:gd name="T51" fmla="*/ 29 h 31"/>
                  <a:gd name="T52" fmla="*/ 3 w 17"/>
                  <a:gd name="T53" fmla="*/ 27 h 31"/>
                  <a:gd name="T54" fmla="*/ 1 w 17"/>
                  <a:gd name="T55" fmla="*/ 24 h 31"/>
                  <a:gd name="T56" fmla="*/ 1 w 17"/>
                  <a:gd name="T57" fmla="*/ 21 h 31"/>
                  <a:gd name="T58" fmla="*/ 0 w 17"/>
                  <a:gd name="T59" fmla="*/ 17 h 31"/>
                  <a:gd name="T60" fmla="*/ 1 w 17"/>
                  <a:gd name="T61" fmla="*/ 11 h 31"/>
                  <a:gd name="T62" fmla="*/ 3 w 17"/>
                  <a:gd name="T63" fmla="*/ 6 h 31"/>
                  <a:gd name="T64" fmla="*/ 6 w 17"/>
                  <a:gd name="T65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1">
                    <a:moveTo>
                      <a:pt x="6" y="2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2" y="3"/>
                    </a:lnTo>
                    <a:lnTo>
                      <a:pt x="14" y="7"/>
                    </a:lnTo>
                    <a:lnTo>
                      <a:pt x="15" y="11"/>
                    </a:lnTo>
                    <a:lnTo>
                      <a:pt x="15" y="17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4" y="28"/>
                    </a:lnTo>
                    <a:lnTo>
                      <a:pt x="12" y="29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4" y="29"/>
                    </a:lnTo>
                    <a:lnTo>
                      <a:pt x="3" y="27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3" y="6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3" name="Freeform 2"/>
              <p:cNvSpPr>
                <a:spLocks/>
              </p:cNvSpPr>
              <p:nvPr/>
            </p:nvSpPr>
            <p:spPr bwMode="auto">
              <a:xfrm>
                <a:off x="3197" y="3340"/>
                <a:ext cx="17" cy="31"/>
              </a:xfrm>
              <a:custGeom>
                <a:avLst/>
                <a:gdLst>
                  <a:gd name="T0" fmla="*/ 6 w 17"/>
                  <a:gd name="T1" fmla="*/ 2 h 31"/>
                  <a:gd name="T2" fmla="*/ 6 w 17"/>
                  <a:gd name="T3" fmla="*/ 0 h 31"/>
                  <a:gd name="T4" fmla="*/ 7 w 17"/>
                  <a:gd name="T5" fmla="*/ 0 h 31"/>
                  <a:gd name="T6" fmla="*/ 8 w 17"/>
                  <a:gd name="T7" fmla="*/ 0 h 31"/>
                  <a:gd name="T8" fmla="*/ 10 w 17"/>
                  <a:gd name="T9" fmla="*/ 0 h 31"/>
                  <a:gd name="T10" fmla="*/ 11 w 17"/>
                  <a:gd name="T11" fmla="*/ 2 h 31"/>
                  <a:gd name="T12" fmla="*/ 12 w 17"/>
                  <a:gd name="T13" fmla="*/ 3 h 31"/>
                  <a:gd name="T14" fmla="*/ 14 w 17"/>
                  <a:gd name="T15" fmla="*/ 7 h 31"/>
                  <a:gd name="T16" fmla="*/ 15 w 17"/>
                  <a:gd name="T17" fmla="*/ 11 h 31"/>
                  <a:gd name="T18" fmla="*/ 15 w 17"/>
                  <a:gd name="T19" fmla="*/ 17 h 31"/>
                  <a:gd name="T20" fmla="*/ 17 w 17"/>
                  <a:gd name="T21" fmla="*/ 25 h 31"/>
                  <a:gd name="T22" fmla="*/ 15 w 17"/>
                  <a:gd name="T23" fmla="*/ 27 h 31"/>
                  <a:gd name="T24" fmla="*/ 14 w 17"/>
                  <a:gd name="T25" fmla="*/ 28 h 31"/>
                  <a:gd name="T26" fmla="*/ 12 w 17"/>
                  <a:gd name="T27" fmla="*/ 29 h 31"/>
                  <a:gd name="T28" fmla="*/ 11 w 17"/>
                  <a:gd name="T29" fmla="*/ 31 h 31"/>
                  <a:gd name="T30" fmla="*/ 10 w 17"/>
                  <a:gd name="T31" fmla="*/ 31 h 31"/>
                  <a:gd name="T32" fmla="*/ 7 w 17"/>
                  <a:gd name="T33" fmla="*/ 31 h 31"/>
                  <a:gd name="T34" fmla="*/ 4 w 17"/>
                  <a:gd name="T35" fmla="*/ 29 h 31"/>
                  <a:gd name="T36" fmla="*/ 3 w 17"/>
                  <a:gd name="T37" fmla="*/ 27 h 31"/>
                  <a:gd name="T38" fmla="*/ 1 w 17"/>
                  <a:gd name="T39" fmla="*/ 24 h 31"/>
                  <a:gd name="T40" fmla="*/ 1 w 17"/>
                  <a:gd name="T41" fmla="*/ 21 h 31"/>
                  <a:gd name="T42" fmla="*/ 0 w 17"/>
                  <a:gd name="T43" fmla="*/ 17 h 31"/>
                  <a:gd name="T44" fmla="*/ 1 w 17"/>
                  <a:gd name="T45" fmla="*/ 11 h 31"/>
                  <a:gd name="T46" fmla="*/ 3 w 17"/>
                  <a:gd name="T47" fmla="*/ 6 h 31"/>
                  <a:gd name="T48" fmla="*/ 6 w 17"/>
                  <a:gd name="T49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" h="31">
                    <a:moveTo>
                      <a:pt x="6" y="2"/>
                    </a:moveTo>
                    <a:lnTo>
                      <a:pt x="6" y="0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2"/>
                    </a:lnTo>
                    <a:lnTo>
                      <a:pt x="12" y="3"/>
                    </a:lnTo>
                    <a:lnTo>
                      <a:pt x="14" y="7"/>
                    </a:lnTo>
                    <a:lnTo>
                      <a:pt x="15" y="11"/>
                    </a:lnTo>
                    <a:lnTo>
                      <a:pt x="15" y="17"/>
                    </a:lnTo>
                    <a:lnTo>
                      <a:pt x="17" y="25"/>
                    </a:lnTo>
                    <a:lnTo>
                      <a:pt x="15" y="27"/>
                    </a:lnTo>
                    <a:lnTo>
                      <a:pt x="14" y="28"/>
                    </a:lnTo>
                    <a:lnTo>
                      <a:pt x="12" y="29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7" y="31"/>
                    </a:lnTo>
                    <a:lnTo>
                      <a:pt x="4" y="29"/>
                    </a:lnTo>
                    <a:lnTo>
                      <a:pt x="3" y="27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3" y="6"/>
                    </a:lnTo>
                    <a:lnTo>
                      <a:pt x="6" y="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4" name="Freeform 3"/>
              <p:cNvSpPr>
                <a:spLocks/>
              </p:cNvSpPr>
              <p:nvPr/>
            </p:nvSpPr>
            <p:spPr bwMode="auto">
              <a:xfrm>
                <a:off x="3128" y="3394"/>
                <a:ext cx="28" cy="30"/>
              </a:xfrm>
              <a:custGeom>
                <a:avLst/>
                <a:gdLst>
                  <a:gd name="T0" fmla="*/ 0 w 28"/>
                  <a:gd name="T1" fmla="*/ 14 h 30"/>
                  <a:gd name="T2" fmla="*/ 6 w 28"/>
                  <a:gd name="T3" fmla="*/ 8 h 30"/>
                  <a:gd name="T4" fmla="*/ 4 w 28"/>
                  <a:gd name="T5" fmla="*/ 7 h 30"/>
                  <a:gd name="T6" fmla="*/ 4 w 28"/>
                  <a:gd name="T7" fmla="*/ 7 h 30"/>
                  <a:gd name="T8" fmla="*/ 4 w 28"/>
                  <a:gd name="T9" fmla="*/ 6 h 30"/>
                  <a:gd name="T10" fmla="*/ 4 w 28"/>
                  <a:gd name="T11" fmla="*/ 4 h 30"/>
                  <a:gd name="T12" fmla="*/ 6 w 28"/>
                  <a:gd name="T13" fmla="*/ 4 h 30"/>
                  <a:gd name="T14" fmla="*/ 7 w 28"/>
                  <a:gd name="T15" fmla="*/ 3 h 30"/>
                  <a:gd name="T16" fmla="*/ 9 w 28"/>
                  <a:gd name="T17" fmla="*/ 3 h 30"/>
                  <a:gd name="T18" fmla="*/ 11 w 28"/>
                  <a:gd name="T19" fmla="*/ 3 h 30"/>
                  <a:gd name="T20" fmla="*/ 14 w 28"/>
                  <a:gd name="T21" fmla="*/ 0 h 30"/>
                  <a:gd name="T22" fmla="*/ 28 w 28"/>
                  <a:gd name="T23" fmla="*/ 10 h 30"/>
                  <a:gd name="T24" fmla="*/ 20 w 28"/>
                  <a:gd name="T25" fmla="*/ 21 h 30"/>
                  <a:gd name="T26" fmla="*/ 18 w 28"/>
                  <a:gd name="T27" fmla="*/ 22 h 30"/>
                  <a:gd name="T28" fmla="*/ 18 w 28"/>
                  <a:gd name="T29" fmla="*/ 23 h 30"/>
                  <a:gd name="T30" fmla="*/ 18 w 28"/>
                  <a:gd name="T31" fmla="*/ 25 h 30"/>
                  <a:gd name="T32" fmla="*/ 17 w 28"/>
                  <a:gd name="T33" fmla="*/ 26 h 30"/>
                  <a:gd name="T34" fmla="*/ 15 w 28"/>
                  <a:gd name="T35" fmla="*/ 29 h 30"/>
                  <a:gd name="T36" fmla="*/ 14 w 28"/>
                  <a:gd name="T37" fmla="*/ 30 h 30"/>
                  <a:gd name="T38" fmla="*/ 13 w 28"/>
                  <a:gd name="T39" fmla="*/ 30 h 30"/>
                  <a:gd name="T40" fmla="*/ 11 w 28"/>
                  <a:gd name="T41" fmla="*/ 30 h 30"/>
                  <a:gd name="T42" fmla="*/ 0 w 28"/>
                  <a:gd name="T43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8" h="30">
                    <a:moveTo>
                      <a:pt x="0" y="14"/>
                    </a:moveTo>
                    <a:lnTo>
                      <a:pt x="6" y="8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28" y="10"/>
                    </a:lnTo>
                    <a:lnTo>
                      <a:pt x="20" y="21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9"/>
                    </a:lnTo>
                    <a:lnTo>
                      <a:pt x="14" y="30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5" name="Freeform 4"/>
              <p:cNvSpPr>
                <a:spLocks/>
              </p:cNvSpPr>
              <p:nvPr/>
            </p:nvSpPr>
            <p:spPr bwMode="auto">
              <a:xfrm>
                <a:off x="3128" y="3394"/>
                <a:ext cx="28" cy="30"/>
              </a:xfrm>
              <a:custGeom>
                <a:avLst/>
                <a:gdLst>
                  <a:gd name="T0" fmla="*/ 0 w 28"/>
                  <a:gd name="T1" fmla="*/ 14 h 30"/>
                  <a:gd name="T2" fmla="*/ 6 w 28"/>
                  <a:gd name="T3" fmla="*/ 8 h 30"/>
                  <a:gd name="T4" fmla="*/ 4 w 28"/>
                  <a:gd name="T5" fmla="*/ 7 h 30"/>
                  <a:gd name="T6" fmla="*/ 4 w 28"/>
                  <a:gd name="T7" fmla="*/ 6 h 30"/>
                  <a:gd name="T8" fmla="*/ 4 w 28"/>
                  <a:gd name="T9" fmla="*/ 4 h 30"/>
                  <a:gd name="T10" fmla="*/ 6 w 28"/>
                  <a:gd name="T11" fmla="*/ 4 h 30"/>
                  <a:gd name="T12" fmla="*/ 7 w 28"/>
                  <a:gd name="T13" fmla="*/ 3 h 30"/>
                  <a:gd name="T14" fmla="*/ 9 w 28"/>
                  <a:gd name="T15" fmla="*/ 3 h 30"/>
                  <a:gd name="T16" fmla="*/ 11 w 28"/>
                  <a:gd name="T17" fmla="*/ 3 h 30"/>
                  <a:gd name="T18" fmla="*/ 14 w 28"/>
                  <a:gd name="T19" fmla="*/ 0 h 30"/>
                  <a:gd name="T20" fmla="*/ 28 w 28"/>
                  <a:gd name="T21" fmla="*/ 10 h 30"/>
                  <a:gd name="T22" fmla="*/ 20 w 28"/>
                  <a:gd name="T23" fmla="*/ 21 h 30"/>
                  <a:gd name="T24" fmla="*/ 18 w 28"/>
                  <a:gd name="T25" fmla="*/ 22 h 30"/>
                  <a:gd name="T26" fmla="*/ 18 w 28"/>
                  <a:gd name="T27" fmla="*/ 23 h 30"/>
                  <a:gd name="T28" fmla="*/ 18 w 28"/>
                  <a:gd name="T29" fmla="*/ 25 h 30"/>
                  <a:gd name="T30" fmla="*/ 17 w 28"/>
                  <a:gd name="T31" fmla="*/ 26 h 30"/>
                  <a:gd name="T32" fmla="*/ 15 w 28"/>
                  <a:gd name="T33" fmla="*/ 29 h 30"/>
                  <a:gd name="T34" fmla="*/ 14 w 28"/>
                  <a:gd name="T35" fmla="*/ 30 h 30"/>
                  <a:gd name="T36" fmla="*/ 13 w 28"/>
                  <a:gd name="T37" fmla="*/ 30 h 30"/>
                  <a:gd name="T38" fmla="*/ 11 w 28"/>
                  <a:gd name="T39" fmla="*/ 30 h 30"/>
                  <a:gd name="T40" fmla="*/ 0 w 28"/>
                  <a:gd name="T41" fmla="*/ 1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30">
                    <a:moveTo>
                      <a:pt x="0" y="14"/>
                    </a:moveTo>
                    <a:lnTo>
                      <a:pt x="6" y="8"/>
                    </a:lnTo>
                    <a:lnTo>
                      <a:pt x="4" y="7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28" y="10"/>
                    </a:lnTo>
                    <a:lnTo>
                      <a:pt x="20" y="21"/>
                    </a:lnTo>
                    <a:lnTo>
                      <a:pt x="18" y="22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7" y="26"/>
                    </a:lnTo>
                    <a:lnTo>
                      <a:pt x="15" y="29"/>
                    </a:lnTo>
                    <a:lnTo>
                      <a:pt x="14" y="30"/>
                    </a:lnTo>
                    <a:lnTo>
                      <a:pt x="13" y="30"/>
                    </a:lnTo>
                    <a:lnTo>
                      <a:pt x="11" y="30"/>
                    </a:lnTo>
                    <a:lnTo>
                      <a:pt x="0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6" name="Freeform 5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0 h 114"/>
                  <a:gd name="T10" fmla="*/ 105 w 119"/>
                  <a:gd name="T11" fmla="*/ 14 h 114"/>
                  <a:gd name="T12" fmla="*/ 116 w 119"/>
                  <a:gd name="T13" fmla="*/ 39 h 114"/>
                  <a:gd name="T14" fmla="*/ 115 w 119"/>
                  <a:gd name="T15" fmla="*/ 76 h 114"/>
                  <a:gd name="T16" fmla="*/ 92 w 119"/>
                  <a:gd name="T17" fmla="*/ 102 h 114"/>
                  <a:gd name="T18" fmla="*/ 83 w 119"/>
                  <a:gd name="T19" fmla="*/ 114 h 114"/>
                  <a:gd name="T20" fmla="*/ 49 w 119"/>
                  <a:gd name="T21" fmla="*/ 114 h 114"/>
                  <a:gd name="T22" fmla="*/ 49 w 119"/>
                  <a:gd name="T23" fmla="*/ 113 h 114"/>
                  <a:gd name="T24" fmla="*/ 46 w 119"/>
                  <a:gd name="T25" fmla="*/ 109 h 114"/>
                  <a:gd name="T26" fmla="*/ 44 w 119"/>
                  <a:gd name="T27" fmla="*/ 106 h 114"/>
                  <a:gd name="T28" fmla="*/ 41 w 119"/>
                  <a:gd name="T29" fmla="*/ 103 h 114"/>
                  <a:gd name="T30" fmla="*/ 38 w 119"/>
                  <a:gd name="T31" fmla="*/ 103 h 114"/>
                  <a:gd name="T32" fmla="*/ 34 w 119"/>
                  <a:gd name="T33" fmla="*/ 103 h 114"/>
                  <a:gd name="T34" fmla="*/ 31 w 119"/>
                  <a:gd name="T35" fmla="*/ 99 h 114"/>
                  <a:gd name="T36" fmla="*/ 30 w 119"/>
                  <a:gd name="T37" fmla="*/ 90 h 114"/>
                  <a:gd name="T38" fmla="*/ 23 w 119"/>
                  <a:gd name="T39" fmla="*/ 88 h 114"/>
                  <a:gd name="T40" fmla="*/ 23 w 119"/>
                  <a:gd name="T41" fmla="*/ 88 h 114"/>
                  <a:gd name="T42" fmla="*/ 23 w 119"/>
                  <a:gd name="T43" fmla="*/ 87 h 114"/>
                  <a:gd name="T44" fmla="*/ 23 w 119"/>
                  <a:gd name="T45" fmla="*/ 83 h 114"/>
                  <a:gd name="T46" fmla="*/ 20 w 119"/>
                  <a:gd name="T47" fmla="*/ 79 h 114"/>
                  <a:gd name="T48" fmla="*/ 16 w 119"/>
                  <a:gd name="T49" fmla="*/ 73 h 114"/>
                  <a:gd name="T50" fmla="*/ 11 w 119"/>
                  <a:gd name="T51" fmla="*/ 66 h 114"/>
                  <a:gd name="T52" fmla="*/ 6 w 119"/>
                  <a:gd name="T53" fmla="*/ 59 h 114"/>
                  <a:gd name="T54" fmla="*/ 0 w 119"/>
                  <a:gd name="T55" fmla="*/ 32 h 114"/>
                  <a:gd name="T56" fmla="*/ 1 w 119"/>
                  <a:gd name="T57" fmla="*/ 37 h 114"/>
                  <a:gd name="T58" fmla="*/ 4 w 119"/>
                  <a:gd name="T59" fmla="*/ 48 h 114"/>
                  <a:gd name="T60" fmla="*/ 8 w 119"/>
                  <a:gd name="T61" fmla="*/ 61 h 114"/>
                  <a:gd name="T62" fmla="*/ 12 w 119"/>
                  <a:gd name="T63" fmla="*/ 66 h 114"/>
                  <a:gd name="T64" fmla="*/ 15 w 119"/>
                  <a:gd name="T65" fmla="*/ 70 h 114"/>
                  <a:gd name="T66" fmla="*/ 19 w 119"/>
                  <a:gd name="T67" fmla="*/ 77 h 114"/>
                  <a:gd name="T68" fmla="*/ 24 w 119"/>
                  <a:gd name="T69" fmla="*/ 84 h 114"/>
                  <a:gd name="T70" fmla="*/ 23 w 119"/>
                  <a:gd name="T71" fmla="*/ 88 h 114"/>
                  <a:gd name="T72" fmla="*/ 30 w 119"/>
                  <a:gd name="T73" fmla="*/ 95 h 114"/>
                  <a:gd name="T74" fmla="*/ 33 w 119"/>
                  <a:gd name="T75" fmla="*/ 102 h 114"/>
                  <a:gd name="T76" fmla="*/ 37 w 119"/>
                  <a:gd name="T77" fmla="*/ 103 h 114"/>
                  <a:gd name="T78" fmla="*/ 41 w 119"/>
                  <a:gd name="T79" fmla="*/ 103 h 114"/>
                  <a:gd name="T80" fmla="*/ 44 w 119"/>
                  <a:gd name="T81" fmla="*/ 106 h 114"/>
                  <a:gd name="T82" fmla="*/ 46 w 119"/>
                  <a:gd name="T83" fmla="*/ 109 h 114"/>
                  <a:gd name="T84" fmla="*/ 49 w 119"/>
                  <a:gd name="T85" fmla="*/ 113 h 114"/>
                  <a:gd name="T86" fmla="*/ 49 w 119"/>
                  <a:gd name="T87" fmla="*/ 114 h 114"/>
                  <a:gd name="T88" fmla="*/ 0 w 119"/>
                  <a:gd name="T89" fmla="*/ 32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49" y="114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7" name="Freeform 6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10 h 114"/>
                  <a:gd name="T10" fmla="*/ 118 w 119"/>
                  <a:gd name="T11" fmla="*/ 22 h 114"/>
                  <a:gd name="T12" fmla="*/ 119 w 119"/>
                  <a:gd name="T13" fmla="*/ 57 h 114"/>
                  <a:gd name="T14" fmla="*/ 105 w 119"/>
                  <a:gd name="T15" fmla="*/ 90 h 114"/>
                  <a:gd name="T16" fmla="*/ 85 w 119"/>
                  <a:gd name="T17" fmla="*/ 110 h 114"/>
                  <a:gd name="T18" fmla="*/ 49 w 119"/>
                  <a:gd name="T19" fmla="*/ 114 h 114"/>
                  <a:gd name="T20" fmla="*/ 48 w 119"/>
                  <a:gd name="T21" fmla="*/ 112 h 114"/>
                  <a:gd name="T22" fmla="*/ 45 w 119"/>
                  <a:gd name="T23" fmla="*/ 107 h 114"/>
                  <a:gd name="T24" fmla="*/ 41 w 119"/>
                  <a:gd name="T25" fmla="*/ 103 h 114"/>
                  <a:gd name="T26" fmla="*/ 38 w 119"/>
                  <a:gd name="T27" fmla="*/ 103 h 114"/>
                  <a:gd name="T28" fmla="*/ 34 w 119"/>
                  <a:gd name="T29" fmla="*/ 103 h 114"/>
                  <a:gd name="T30" fmla="*/ 31 w 119"/>
                  <a:gd name="T31" fmla="*/ 99 h 114"/>
                  <a:gd name="T32" fmla="*/ 30 w 119"/>
                  <a:gd name="T33" fmla="*/ 90 h 114"/>
                  <a:gd name="T34" fmla="*/ 23 w 119"/>
                  <a:gd name="T35" fmla="*/ 87 h 114"/>
                  <a:gd name="T36" fmla="*/ 23 w 119"/>
                  <a:gd name="T37" fmla="*/ 83 h 114"/>
                  <a:gd name="T38" fmla="*/ 20 w 119"/>
                  <a:gd name="T39" fmla="*/ 79 h 114"/>
                  <a:gd name="T40" fmla="*/ 16 w 119"/>
                  <a:gd name="T41" fmla="*/ 73 h 114"/>
                  <a:gd name="T42" fmla="*/ 11 w 119"/>
                  <a:gd name="T43" fmla="*/ 66 h 114"/>
                  <a:gd name="T44" fmla="*/ 6 w 119"/>
                  <a:gd name="T45" fmla="*/ 59 h 114"/>
                  <a:gd name="T46" fmla="*/ 0 w 119"/>
                  <a:gd name="T47" fmla="*/ 32 h 114"/>
                  <a:gd name="T48" fmla="*/ 1 w 119"/>
                  <a:gd name="T49" fmla="*/ 37 h 114"/>
                  <a:gd name="T50" fmla="*/ 4 w 119"/>
                  <a:gd name="T51" fmla="*/ 48 h 114"/>
                  <a:gd name="T52" fmla="*/ 8 w 119"/>
                  <a:gd name="T53" fmla="*/ 61 h 114"/>
                  <a:gd name="T54" fmla="*/ 12 w 119"/>
                  <a:gd name="T55" fmla="*/ 66 h 114"/>
                  <a:gd name="T56" fmla="*/ 15 w 119"/>
                  <a:gd name="T57" fmla="*/ 70 h 114"/>
                  <a:gd name="T58" fmla="*/ 19 w 119"/>
                  <a:gd name="T59" fmla="*/ 77 h 114"/>
                  <a:gd name="T60" fmla="*/ 24 w 119"/>
                  <a:gd name="T61" fmla="*/ 84 h 114"/>
                  <a:gd name="T62" fmla="*/ 23 w 119"/>
                  <a:gd name="T63" fmla="*/ 88 h 114"/>
                  <a:gd name="T64" fmla="*/ 30 w 119"/>
                  <a:gd name="T65" fmla="*/ 95 h 114"/>
                  <a:gd name="T66" fmla="*/ 33 w 119"/>
                  <a:gd name="T67" fmla="*/ 102 h 114"/>
                  <a:gd name="T68" fmla="*/ 37 w 119"/>
                  <a:gd name="T69" fmla="*/ 103 h 114"/>
                  <a:gd name="T70" fmla="*/ 41 w 119"/>
                  <a:gd name="T71" fmla="*/ 103 h 114"/>
                  <a:gd name="T72" fmla="*/ 45 w 119"/>
                  <a:gd name="T73" fmla="*/ 107 h 114"/>
                  <a:gd name="T74" fmla="*/ 48 w 119"/>
                  <a:gd name="T75" fmla="*/ 112 h 114"/>
                  <a:gd name="T76" fmla="*/ 49 w 119"/>
                  <a:gd name="T7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  <a:lnTo>
                      <a:pt x="0" y="3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8" name="Freeform 7"/>
              <p:cNvSpPr>
                <a:spLocks/>
              </p:cNvSpPr>
              <p:nvPr/>
            </p:nvSpPr>
            <p:spPr bwMode="auto">
              <a:xfrm>
                <a:off x="3115" y="3189"/>
                <a:ext cx="119" cy="114"/>
              </a:xfrm>
              <a:custGeom>
                <a:avLst/>
                <a:gdLst>
                  <a:gd name="T0" fmla="*/ 15 w 119"/>
                  <a:gd name="T1" fmla="*/ 32 h 114"/>
                  <a:gd name="T2" fmla="*/ 33 w 119"/>
                  <a:gd name="T3" fmla="*/ 26 h 114"/>
                  <a:gd name="T4" fmla="*/ 41 w 119"/>
                  <a:gd name="T5" fmla="*/ 19 h 114"/>
                  <a:gd name="T6" fmla="*/ 42 w 119"/>
                  <a:gd name="T7" fmla="*/ 13 h 114"/>
                  <a:gd name="T8" fmla="*/ 93 w 119"/>
                  <a:gd name="T9" fmla="*/ 10 h 114"/>
                  <a:gd name="T10" fmla="*/ 118 w 119"/>
                  <a:gd name="T11" fmla="*/ 22 h 114"/>
                  <a:gd name="T12" fmla="*/ 119 w 119"/>
                  <a:gd name="T13" fmla="*/ 57 h 114"/>
                  <a:gd name="T14" fmla="*/ 105 w 119"/>
                  <a:gd name="T15" fmla="*/ 90 h 114"/>
                  <a:gd name="T16" fmla="*/ 85 w 119"/>
                  <a:gd name="T17" fmla="*/ 110 h 114"/>
                  <a:gd name="T18" fmla="*/ 49 w 119"/>
                  <a:gd name="T19" fmla="*/ 114 h 114"/>
                  <a:gd name="T20" fmla="*/ 48 w 119"/>
                  <a:gd name="T21" fmla="*/ 112 h 114"/>
                  <a:gd name="T22" fmla="*/ 45 w 119"/>
                  <a:gd name="T23" fmla="*/ 107 h 114"/>
                  <a:gd name="T24" fmla="*/ 41 w 119"/>
                  <a:gd name="T25" fmla="*/ 103 h 114"/>
                  <a:gd name="T26" fmla="*/ 38 w 119"/>
                  <a:gd name="T27" fmla="*/ 103 h 114"/>
                  <a:gd name="T28" fmla="*/ 34 w 119"/>
                  <a:gd name="T29" fmla="*/ 103 h 114"/>
                  <a:gd name="T30" fmla="*/ 31 w 119"/>
                  <a:gd name="T31" fmla="*/ 99 h 114"/>
                  <a:gd name="T32" fmla="*/ 30 w 119"/>
                  <a:gd name="T33" fmla="*/ 90 h 114"/>
                  <a:gd name="T34" fmla="*/ 23 w 119"/>
                  <a:gd name="T35" fmla="*/ 87 h 114"/>
                  <a:gd name="T36" fmla="*/ 23 w 119"/>
                  <a:gd name="T37" fmla="*/ 83 h 114"/>
                  <a:gd name="T38" fmla="*/ 20 w 119"/>
                  <a:gd name="T39" fmla="*/ 79 h 114"/>
                  <a:gd name="T40" fmla="*/ 16 w 119"/>
                  <a:gd name="T41" fmla="*/ 73 h 114"/>
                  <a:gd name="T42" fmla="*/ 11 w 119"/>
                  <a:gd name="T43" fmla="*/ 66 h 114"/>
                  <a:gd name="T44" fmla="*/ 6 w 119"/>
                  <a:gd name="T45" fmla="*/ 59 h 114"/>
                  <a:gd name="T46" fmla="*/ 0 w 119"/>
                  <a:gd name="T47" fmla="*/ 32 h 114"/>
                  <a:gd name="T48" fmla="*/ 1 w 119"/>
                  <a:gd name="T49" fmla="*/ 37 h 114"/>
                  <a:gd name="T50" fmla="*/ 4 w 119"/>
                  <a:gd name="T51" fmla="*/ 48 h 114"/>
                  <a:gd name="T52" fmla="*/ 8 w 119"/>
                  <a:gd name="T53" fmla="*/ 61 h 114"/>
                  <a:gd name="T54" fmla="*/ 12 w 119"/>
                  <a:gd name="T55" fmla="*/ 66 h 114"/>
                  <a:gd name="T56" fmla="*/ 15 w 119"/>
                  <a:gd name="T57" fmla="*/ 70 h 114"/>
                  <a:gd name="T58" fmla="*/ 19 w 119"/>
                  <a:gd name="T59" fmla="*/ 77 h 114"/>
                  <a:gd name="T60" fmla="*/ 24 w 119"/>
                  <a:gd name="T61" fmla="*/ 84 h 114"/>
                  <a:gd name="T62" fmla="*/ 23 w 119"/>
                  <a:gd name="T63" fmla="*/ 88 h 114"/>
                  <a:gd name="T64" fmla="*/ 30 w 119"/>
                  <a:gd name="T65" fmla="*/ 95 h 114"/>
                  <a:gd name="T66" fmla="*/ 33 w 119"/>
                  <a:gd name="T67" fmla="*/ 102 h 114"/>
                  <a:gd name="T68" fmla="*/ 37 w 119"/>
                  <a:gd name="T69" fmla="*/ 103 h 114"/>
                  <a:gd name="T70" fmla="*/ 41 w 119"/>
                  <a:gd name="T71" fmla="*/ 103 h 114"/>
                  <a:gd name="T72" fmla="*/ 45 w 119"/>
                  <a:gd name="T73" fmla="*/ 107 h 114"/>
                  <a:gd name="T74" fmla="*/ 48 w 119"/>
                  <a:gd name="T75" fmla="*/ 112 h 114"/>
                  <a:gd name="T76" fmla="*/ 49 w 119"/>
                  <a:gd name="T77" fmla="*/ 1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9" h="114">
                    <a:moveTo>
                      <a:pt x="0" y="32"/>
                    </a:moveTo>
                    <a:lnTo>
                      <a:pt x="15" y="32"/>
                    </a:lnTo>
                    <a:lnTo>
                      <a:pt x="26" y="29"/>
                    </a:lnTo>
                    <a:lnTo>
                      <a:pt x="33" y="26"/>
                    </a:lnTo>
                    <a:lnTo>
                      <a:pt x="38" y="22"/>
                    </a:lnTo>
                    <a:lnTo>
                      <a:pt x="41" y="19"/>
                    </a:lnTo>
                    <a:lnTo>
                      <a:pt x="42" y="15"/>
                    </a:lnTo>
                    <a:lnTo>
                      <a:pt x="42" y="13"/>
                    </a:lnTo>
                    <a:lnTo>
                      <a:pt x="93" y="0"/>
                    </a:lnTo>
                    <a:lnTo>
                      <a:pt x="93" y="10"/>
                    </a:lnTo>
                    <a:lnTo>
                      <a:pt x="105" y="14"/>
                    </a:lnTo>
                    <a:lnTo>
                      <a:pt x="118" y="22"/>
                    </a:lnTo>
                    <a:lnTo>
                      <a:pt x="116" y="39"/>
                    </a:lnTo>
                    <a:lnTo>
                      <a:pt x="119" y="57"/>
                    </a:lnTo>
                    <a:lnTo>
                      <a:pt x="115" y="76"/>
                    </a:lnTo>
                    <a:lnTo>
                      <a:pt x="105" y="90"/>
                    </a:lnTo>
                    <a:lnTo>
                      <a:pt x="92" y="102"/>
                    </a:lnTo>
                    <a:lnTo>
                      <a:pt x="85" y="110"/>
                    </a:lnTo>
                    <a:lnTo>
                      <a:pt x="83" y="114"/>
                    </a:lnTo>
                    <a:lnTo>
                      <a:pt x="49" y="114"/>
                    </a:lnTo>
                    <a:lnTo>
                      <a:pt x="49" y="113"/>
                    </a:lnTo>
                    <a:lnTo>
                      <a:pt x="48" y="112"/>
                    </a:lnTo>
                    <a:lnTo>
                      <a:pt x="46" y="109"/>
                    </a:lnTo>
                    <a:lnTo>
                      <a:pt x="45" y="107"/>
                    </a:lnTo>
                    <a:lnTo>
                      <a:pt x="44" y="106"/>
                    </a:lnTo>
                    <a:lnTo>
                      <a:pt x="41" y="103"/>
                    </a:lnTo>
                    <a:lnTo>
                      <a:pt x="39" y="103"/>
                    </a:lnTo>
                    <a:lnTo>
                      <a:pt x="38" y="103"/>
                    </a:lnTo>
                    <a:lnTo>
                      <a:pt x="35" y="103"/>
                    </a:lnTo>
                    <a:lnTo>
                      <a:pt x="34" y="103"/>
                    </a:lnTo>
                    <a:lnTo>
                      <a:pt x="33" y="101"/>
                    </a:lnTo>
                    <a:lnTo>
                      <a:pt x="31" y="99"/>
                    </a:lnTo>
                    <a:lnTo>
                      <a:pt x="31" y="95"/>
                    </a:lnTo>
                    <a:lnTo>
                      <a:pt x="30" y="90"/>
                    </a:lnTo>
                    <a:lnTo>
                      <a:pt x="23" y="88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1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3" y="70"/>
                    </a:lnTo>
                    <a:lnTo>
                      <a:pt x="11" y="66"/>
                    </a:lnTo>
                    <a:lnTo>
                      <a:pt x="9" y="62"/>
                    </a:lnTo>
                    <a:lnTo>
                      <a:pt x="6" y="59"/>
                    </a:lnTo>
                    <a:lnTo>
                      <a:pt x="5" y="55"/>
                    </a:lnTo>
                    <a:lnTo>
                      <a:pt x="0" y="32"/>
                    </a:lnTo>
                    <a:lnTo>
                      <a:pt x="0" y="33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4" y="48"/>
                    </a:lnTo>
                    <a:lnTo>
                      <a:pt x="5" y="54"/>
                    </a:lnTo>
                    <a:lnTo>
                      <a:pt x="8" y="61"/>
                    </a:lnTo>
                    <a:lnTo>
                      <a:pt x="9" y="65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5" y="70"/>
                    </a:lnTo>
                    <a:lnTo>
                      <a:pt x="16" y="73"/>
                    </a:lnTo>
                    <a:lnTo>
                      <a:pt x="19" y="77"/>
                    </a:lnTo>
                    <a:lnTo>
                      <a:pt x="22" y="81"/>
                    </a:lnTo>
                    <a:lnTo>
                      <a:pt x="24" y="84"/>
                    </a:lnTo>
                    <a:lnTo>
                      <a:pt x="24" y="87"/>
                    </a:lnTo>
                    <a:lnTo>
                      <a:pt x="23" y="88"/>
                    </a:lnTo>
                    <a:lnTo>
                      <a:pt x="30" y="90"/>
                    </a:lnTo>
                    <a:lnTo>
                      <a:pt x="30" y="95"/>
                    </a:lnTo>
                    <a:lnTo>
                      <a:pt x="31" y="99"/>
                    </a:lnTo>
                    <a:lnTo>
                      <a:pt x="33" y="102"/>
                    </a:lnTo>
                    <a:lnTo>
                      <a:pt x="35" y="103"/>
                    </a:lnTo>
                    <a:lnTo>
                      <a:pt x="37" y="103"/>
                    </a:lnTo>
                    <a:lnTo>
                      <a:pt x="39" y="103"/>
                    </a:lnTo>
                    <a:lnTo>
                      <a:pt x="41" y="103"/>
                    </a:lnTo>
                    <a:lnTo>
                      <a:pt x="44" y="106"/>
                    </a:lnTo>
                    <a:lnTo>
                      <a:pt x="45" y="107"/>
                    </a:lnTo>
                    <a:lnTo>
                      <a:pt x="46" y="109"/>
                    </a:lnTo>
                    <a:lnTo>
                      <a:pt x="48" y="112"/>
                    </a:lnTo>
                    <a:lnTo>
                      <a:pt x="49" y="113"/>
                    </a:lnTo>
                    <a:lnTo>
                      <a:pt x="49" y="1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99" name="Freeform 8"/>
              <p:cNvSpPr>
                <a:spLocks/>
              </p:cNvSpPr>
              <p:nvPr/>
            </p:nvSpPr>
            <p:spPr bwMode="auto">
              <a:xfrm>
                <a:off x="2524" y="2524"/>
                <a:ext cx="249" cy="236"/>
              </a:xfrm>
              <a:custGeom>
                <a:avLst/>
                <a:gdLst>
                  <a:gd name="T0" fmla="*/ 88 w 249"/>
                  <a:gd name="T1" fmla="*/ 0 h 236"/>
                  <a:gd name="T2" fmla="*/ 87 w 249"/>
                  <a:gd name="T3" fmla="*/ 0 h 236"/>
                  <a:gd name="T4" fmla="*/ 87 w 249"/>
                  <a:gd name="T5" fmla="*/ 1 h 236"/>
                  <a:gd name="T6" fmla="*/ 93 w 249"/>
                  <a:gd name="T7" fmla="*/ 135 h 236"/>
                  <a:gd name="T8" fmla="*/ 95 w 249"/>
                  <a:gd name="T9" fmla="*/ 140 h 236"/>
                  <a:gd name="T10" fmla="*/ 98 w 249"/>
                  <a:gd name="T11" fmla="*/ 148 h 236"/>
                  <a:gd name="T12" fmla="*/ 29 w 249"/>
                  <a:gd name="T13" fmla="*/ 154 h 236"/>
                  <a:gd name="T14" fmla="*/ 28 w 249"/>
                  <a:gd name="T15" fmla="*/ 155 h 236"/>
                  <a:gd name="T16" fmla="*/ 25 w 249"/>
                  <a:gd name="T17" fmla="*/ 158 h 236"/>
                  <a:gd name="T18" fmla="*/ 20 w 249"/>
                  <a:gd name="T19" fmla="*/ 155 h 236"/>
                  <a:gd name="T20" fmla="*/ 20 w 249"/>
                  <a:gd name="T21" fmla="*/ 155 h 236"/>
                  <a:gd name="T22" fmla="*/ 18 w 249"/>
                  <a:gd name="T23" fmla="*/ 157 h 236"/>
                  <a:gd name="T24" fmla="*/ 16 w 249"/>
                  <a:gd name="T25" fmla="*/ 158 h 236"/>
                  <a:gd name="T26" fmla="*/ 16 w 249"/>
                  <a:gd name="T27" fmla="*/ 162 h 236"/>
                  <a:gd name="T28" fmla="*/ 14 w 249"/>
                  <a:gd name="T29" fmla="*/ 169 h 236"/>
                  <a:gd name="T30" fmla="*/ 11 w 249"/>
                  <a:gd name="T31" fmla="*/ 172 h 236"/>
                  <a:gd name="T32" fmla="*/ 9 w 249"/>
                  <a:gd name="T33" fmla="*/ 176 h 236"/>
                  <a:gd name="T34" fmla="*/ 3 w 249"/>
                  <a:gd name="T35" fmla="*/ 183 h 236"/>
                  <a:gd name="T36" fmla="*/ 0 w 249"/>
                  <a:gd name="T37" fmla="*/ 183 h 236"/>
                  <a:gd name="T38" fmla="*/ 2 w 249"/>
                  <a:gd name="T39" fmla="*/ 194 h 236"/>
                  <a:gd name="T40" fmla="*/ 3 w 249"/>
                  <a:gd name="T41" fmla="*/ 205 h 236"/>
                  <a:gd name="T42" fmla="*/ 3 w 249"/>
                  <a:gd name="T43" fmla="*/ 206 h 236"/>
                  <a:gd name="T44" fmla="*/ 5 w 249"/>
                  <a:gd name="T45" fmla="*/ 209 h 236"/>
                  <a:gd name="T46" fmla="*/ 11 w 249"/>
                  <a:gd name="T47" fmla="*/ 210 h 236"/>
                  <a:gd name="T48" fmla="*/ 14 w 249"/>
                  <a:gd name="T49" fmla="*/ 213 h 236"/>
                  <a:gd name="T50" fmla="*/ 21 w 249"/>
                  <a:gd name="T51" fmla="*/ 216 h 236"/>
                  <a:gd name="T52" fmla="*/ 28 w 249"/>
                  <a:gd name="T53" fmla="*/ 216 h 236"/>
                  <a:gd name="T54" fmla="*/ 33 w 249"/>
                  <a:gd name="T55" fmla="*/ 216 h 236"/>
                  <a:gd name="T56" fmla="*/ 38 w 249"/>
                  <a:gd name="T57" fmla="*/ 212 h 236"/>
                  <a:gd name="T58" fmla="*/ 39 w 249"/>
                  <a:gd name="T59" fmla="*/ 208 h 236"/>
                  <a:gd name="T60" fmla="*/ 44 w 249"/>
                  <a:gd name="T61" fmla="*/ 206 h 236"/>
                  <a:gd name="T62" fmla="*/ 54 w 249"/>
                  <a:gd name="T63" fmla="*/ 212 h 236"/>
                  <a:gd name="T64" fmla="*/ 54 w 249"/>
                  <a:gd name="T65" fmla="*/ 217 h 236"/>
                  <a:gd name="T66" fmla="*/ 58 w 249"/>
                  <a:gd name="T67" fmla="*/ 228 h 236"/>
                  <a:gd name="T68" fmla="*/ 66 w 249"/>
                  <a:gd name="T69" fmla="*/ 235 h 236"/>
                  <a:gd name="T70" fmla="*/ 73 w 249"/>
                  <a:gd name="T71" fmla="*/ 236 h 236"/>
                  <a:gd name="T72" fmla="*/ 86 w 249"/>
                  <a:gd name="T73" fmla="*/ 235 h 236"/>
                  <a:gd name="T74" fmla="*/ 90 w 249"/>
                  <a:gd name="T75" fmla="*/ 232 h 236"/>
                  <a:gd name="T76" fmla="*/ 93 w 249"/>
                  <a:gd name="T77" fmla="*/ 228 h 236"/>
                  <a:gd name="T78" fmla="*/ 97 w 249"/>
                  <a:gd name="T79" fmla="*/ 228 h 236"/>
                  <a:gd name="T80" fmla="*/ 102 w 249"/>
                  <a:gd name="T81" fmla="*/ 232 h 236"/>
                  <a:gd name="T82" fmla="*/ 106 w 249"/>
                  <a:gd name="T83" fmla="*/ 234 h 236"/>
                  <a:gd name="T84" fmla="*/ 109 w 249"/>
                  <a:gd name="T85" fmla="*/ 231 h 236"/>
                  <a:gd name="T86" fmla="*/ 110 w 249"/>
                  <a:gd name="T87" fmla="*/ 221 h 236"/>
                  <a:gd name="T88" fmla="*/ 117 w 249"/>
                  <a:gd name="T89" fmla="*/ 206 h 236"/>
                  <a:gd name="T90" fmla="*/ 123 w 249"/>
                  <a:gd name="T91" fmla="*/ 201 h 236"/>
                  <a:gd name="T92" fmla="*/ 127 w 249"/>
                  <a:gd name="T93" fmla="*/ 197 h 236"/>
                  <a:gd name="T94" fmla="*/ 138 w 249"/>
                  <a:gd name="T95" fmla="*/ 194 h 236"/>
                  <a:gd name="T96" fmla="*/ 153 w 249"/>
                  <a:gd name="T97" fmla="*/ 194 h 236"/>
                  <a:gd name="T98" fmla="*/ 165 w 249"/>
                  <a:gd name="T99" fmla="*/ 190 h 236"/>
                  <a:gd name="T100" fmla="*/ 178 w 249"/>
                  <a:gd name="T101" fmla="*/ 184 h 236"/>
                  <a:gd name="T102" fmla="*/ 185 w 249"/>
                  <a:gd name="T103" fmla="*/ 177 h 236"/>
                  <a:gd name="T104" fmla="*/ 194 w 249"/>
                  <a:gd name="T105" fmla="*/ 177 h 236"/>
                  <a:gd name="T106" fmla="*/ 209 w 249"/>
                  <a:gd name="T107" fmla="*/ 176 h 236"/>
                  <a:gd name="T108" fmla="*/ 216 w 249"/>
                  <a:gd name="T109" fmla="*/ 173 h 236"/>
                  <a:gd name="T110" fmla="*/ 230 w 249"/>
                  <a:gd name="T111" fmla="*/ 161 h 236"/>
                  <a:gd name="T112" fmla="*/ 238 w 249"/>
                  <a:gd name="T113" fmla="*/ 144 h 236"/>
                  <a:gd name="T114" fmla="*/ 244 w 249"/>
                  <a:gd name="T115" fmla="*/ 128 h 236"/>
                  <a:gd name="T116" fmla="*/ 249 w 249"/>
                  <a:gd name="T117" fmla="*/ 98 h 236"/>
                  <a:gd name="T118" fmla="*/ 237 w 249"/>
                  <a:gd name="T119" fmla="*/ 69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9" h="236">
                    <a:moveTo>
                      <a:pt x="112" y="0"/>
                    </a:move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86" y="3"/>
                    </a:lnTo>
                    <a:lnTo>
                      <a:pt x="93" y="135"/>
                    </a:lnTo>
                    <a:lnTo>
                      <a:pt x="93" y="135"/>
                    </a:lnTo>
                    <a:lnTo>
                      <a:pt x="94" y="136"/>
                    </a:lnTo>
                    <a:lnTo>
                      <a:pt x="94" y="139"/>
                    </a:lnTo>
                    <a:lnTo>
                      <a:pt x="95" y="140"/>
                    </a:lnTo>
                    <a:lnTo>
                      <a:pt x="97" y="143"/>
                    </a:lnTo>
                    <a:lnTo>
                      <a:pt x="98" y="146"/>
                    </a:lnTo>
                    <a:lnTo>
                      <a:pt x="98" y="148"/>
                    </a:lnTo>
                    <a:lnTo>
                      <a:pt x="98" y="150"/>
                    </a:lnTo>
                    <a:lnTo>
                      <a:pt x="91" y="159"/>
                    </a:lnTo>
                    <a:lnTo>
                      <a:pt x="29" y="154"/>
                    </a:lnTo>
                    <a:lnTo>
                      <a:pt x="29" y="154"/>
                    </a:lnTo>
                    <a:lnTo>
                      <a:pt x="28" y="154"/>
                    </a:lnTo>
                    <a:lnTo>
                      <a:pt x="28" y="155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5" y="158"/>
                    </a:lnTo>
                    <a:lnTo>
                      <a:pt x="24" y="158"/>
                    </a:lnTo>
                    <a:lnTo>
                      <a:pt x="22" y="158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5"/>
                    </a:lnTo>
                    <a:lnTo>
                      <a:pt x="20" y="157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18" y="157"/>
                    </a:lnTo>
                    <a:lnTo>
                      <a:pt x="17" y="157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6" y="161"/>
                    </a:lnTo>
                    <a:lnTo>
                      <a:pt x="16" y="162"/>
                    </a:lnTo>
                    <a:lnTo>
                      <a:pt x="16" y="165"/>
                    </a:lnTo>
                    <a:lnTo>
                      <a:pt x="16" y="166"/>
                    </a:lnTo>
                    <a:lnTo>
                      <a:pt x="14" y="169"/>
                    </a:lnTo>
                    <a:lnTo>
                      <a:pt x="14" y="170"/>
                    </a:lnTo>
                    <a:lnTo>
                      <a:pt x="13" y="172"/>
                    </a:lnTo>
                    <a:lnTo>
                      <a:pt x="11" y="172"/>
                    </a:lnTo>
                    <a:lnTo>
                      <a:pt x="10" y="172"/>
                    </a:lnTo>
                    <a:lnTo>
                      <a:pt x="10" y="175"/>
                    </a:lnTo>
                    <a:lnTo>
                      <a:pt x="9" y="176"/>
                    </a:lnTo>
                    <a:lnTo>
                      <a:pt x="7" y="179"/>
                    </a:lnTo>
                    <a:lnTo>
                      <a:pt x="5" y="180"/>
                    </a:lnTo>
                    <a:lnTo>
                      <a:pt x="3" y="183"/>
                    </a:lnTo>
                    <a:lnTo>
                      <a:pt x="2" y="183"/>
                    </a:lnTo>
                    <a:lnTo>
                      <a:pt x="0" y="181"/>
                    </a:lnTo>
                    <a:lnTo>
                      <a:pt x="0" y="183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2" y="202"/>
                    </a:lnTo>
                    <a:lnTo>
                      <a:pt x="3" y="205"/>
                    </a:lnTo>
                    <a:lnTo>
                      <a:pt x="3" y="206"/>
                    </a:lnTo>
                    <a:lnTo>
                      <a:pt x="3" y="206"/>
                    </a:lnTo>
                    <a:lnTo>
                      <a:pt x="3" y="206"/>
                    </a:lnTo>
                    <a:lnTo>
                      <a:pt x="3" y="208"/>
                    </a:lnTo>
                    <a:lnTo>
                      <a:pt x="3" y="208"/>
                    </a:lnTo>
                    <a:lnTo>
                      <a:pt x="5" y="209"/>
                    </a:lnTo>
                    <a:lnTo>
                      <a:pt x="6" y="210"/>
                    </a:lnTo>
                    <a:lnTo>
                      <a:pt x="9" y="210"/>
                    </a:lnTo>
                    <a:lnTo>
                      <a:pt x="11" y="210"/>
                    </a:lnTo>
                    <a:lnTo>
                      <a:pt x="11" y="210"/>
                    </a:lnTo>
                    <a:lnTo>
                      <a:pt x="13" y="212"/>
                    </a:lnTo>
                    <a:lnTo>
                      <a:pt x="14" y="213"/>
                    </a:lnTo>
                    <a:lnTo>
                      <a:pt x="16" y="213"/>
                    </a:lnTo>
                    <a:lnTo>
                      <a:pt x="18" y="214"/>
                    </a:lnTo>
                    <a:lnTo>
                      <a:pt x="21" y="216"/>
                    </a:lnTo>
                    <a:lnTo>
                      <a:pt x="24" y="216"/>
                    </a:lnTo>
                    <a:lnTo>
                      <a:pt x="27" y="216"/>
                    </a:lnTo>
                    <a:lnTo>
                      <a:pt x="28" y="216"/>
                    </a:lnTo>
                    <a:lnTo>
                      <a:pt x="29" y="216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5" y="214"/>
                    </a:lnTo>
                    <a:lnTo>
                      <a:pt x="36" y="214"/>
                    </a:lnTo>
                    <a:lnTo>
                      <a:pt x="38" y="212"/>
                    </a:lnTo>
                    <a:lnTo>
                      <a:pt x="38" y="209"/>
                    </a:lnTo>
                    <a:lnTo>
                      <a:pt x="38" y="209"/>
                    </a:lnTo>
                    <a:lnTo>
                      <a:pt x="39" y="208"/>
                    </a:lnTo>
                    <a:lnTo>
                      <a:pt x="40" y="208"/>
                    </a:lnTo>
                    <a:lnTo>
                      <a:pt x="43" y="206"/>
                    </a:lnTo>
                    <a:lnTo>
                      <a:pt x="44" y="206"/>
                    </a:lnTo>
                    <a:lnTo>
                      <a:pt x="47" y="206"/>
                    </a:lnTo>
                    <a:lnTo>
                      <a:pt x="50" y="209"/>
                    </a:lnTo>
                    <a:lnTo>
                      <a:pt x="54" y="212"/>
                    </a:lnTo>
                    <a:lnTo>
                      <a:pt x="54" y="213"/>
                    </a:lnTo>
                    <a:lnTo>
                      <a:pt x="54" y="214"/>
                    </a:lnTo>
                    <a:lnTo>
                      <a:pt x="54" y="217"/>
                    </a:lnTo>
                    <a:lnTo>
                      <a:pt x="54" y="221"/>
                    </a:lnTo>
                    <a:lnTo>
                      <a:pt x="55" y="225"/>
                    </a:lnTo>
                    <a:lnTo>
                      <a:pt x="58" y="228"/>
                    </a:lnTo>
                    <a:lnTo>
                      <a:pt x="62" y="232"/>
                    </a:lnTo>
                    <a:lnTo>
                      <a:pt x="66" y="235"/>
                    </a:lnTo>
                    <a:lnTo>
                      <a:pt x="66" y="235"/>
                    </a:lnTo>
                    <a:lnTo>
                      <a:pt x="69" y="235"/>
                    </a:lnTo>
                    <a:lnTo>
                      <a:pt x="71" y="236"/>
                    </a:lnTo>
                    <a:lnTo>
                      <a:pt x="73" y="236"/>
                    </a:lnTo>
                    <a:lnTo>
                      <a:pt x="77" y="236"/>
                    </a:lnTo>
                    <a:lnTo>
                      <a:pt x="82" y="236"/>
                    </a:lnTo>
                    <a:lnTo>
                      <a:pt x="86" y="235"/>
                    </a:lnTo>
                    <a:lnTo>
                      <a:pt x="88" y="232"/>
                    </a:lnTo>
                    <a:lnTo>
                      <a:pt x="90" y="232"/>
                    </a:lnTo>
                    <a:lnTo>
                      <a:pt x="90" y="232"/>
                    </a:lnTo>
                    <a:lnTo>
                      <a:pt x="90" y="231"/>
                    </a:lnTo>
                    <a:lnTo>
                      <a:pt x="91" y="230"/>
                    </a:lnTo>
                    <a:lnTo>
                      <a:pt x="93" y="228"/>
                    </a:lnTo>
                    <a:lnTo>
                      <a:pt x="94" y="228"/>
                    </a:lnTo>
                    <a:lnTo>
                      <a:pt x="95" y="228"/>
                    </a:lnTo>
                    <a:lnTo>
                      <a:pt x="97" y="228"/>
                    </a:lnTo>
                    <a:lnTo>
                      <a:pt x="101" y="232"/>
                    </a:lnTo>
                    <a:lnTo>
                      <a:pt x="102" y="232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5" y="234"/>
                    </a:lnTo>
                    <a:lnTo>
                      <a:pt x="106" y="234"/>
                    </a:lnTo>
                    <a:lnTo>
                      <a:pt x="106" y="234"/>
                    </a:lnTo>
                    <a:lnTo>
                      <a:pt x="108" y="232"/>
                    </a:lnTo>
                    <a:lnTo>
                      <a:pt x="109" y="231"/>
                    </a:lnTo>
                    <a:lnTo>
                      <a:pt x="109" y="230"/>
                    </a:lnTo>
                    <a:lnTo>
                      <a:pt x="110" y="227"/>
                    </a:lnTo>
                    <a:lnTo>
                      <a:pt x="110" y="221"/>
                    </a:lnTo>
                    <a:lnTo>
                      <a:pt x="113" y="216"/>
                    </a:lnTo>
                    <a:lnTo>
                      <a:pt x="115" y="212"/>
                    </a:lnTo>
                    <a:lnTo>
                      <a:pt x="117" y="206"/>
                    </a:lnTo>
                    <a:lnTo>
                      <a:pt x="119" y="202"/>
                    </a:lnTo>
                    <a:lnTo>
                      <a:pt x="121" y="201"/>
                    </a:lnTo>
                    <a:lnTo>
                      <a:pt x="123" y="201"/>
                    </a:lnTo>
                    <a:lnTo>
                      <a:pt x="123" y="199"/>
                    </a:lnTo>
                    <a:lnTo>
                      <a:pt x="126" y="198"/>
                    </a:lnTo>
                    <a:lnTo>
                      <a:pt x="127" y="197"/>
                    </a:lnTo>
                    <a:lnTo>
                      <a:pt x="131" y="195"/>
                    </a:lnTo>
                    <a:lnTo>
                      <a:pt x="134" y="194"/>
                    </a:lnTo>
                    <a:lnTo>
                      <a:pt x="138" y="194"/>
                    </a:lnTo>
                    <a:lnTo>
                      <a:pt x="143" y="194"/>
                    </a:lnTo>
                    <a:lnTo>
                      <a:pt x="148" y="194"/>
                    </a:lnTo>
                    <a:lnTo>
                      <a:pt x="153" y="194"/>
                    </a:lnTo>
                    <a:lnTo>
                      <a:pt x="157" y="192"/>
                    </a:lnTo>
                    <a:lnTo>
                      <a:pt x="161" y="191"/>
                    </a:lnTo>
                    <a:lnTo>
                      <a:pt x="165" y="190"/>
                    </a:lnTo>
                    <a:lnTo>
                      <a:pt x="170" y="188"/>
                    </a:lnTo>
                    <a:lnTo>
                      <a:pt x="174" y="186"/>
                    </a:lnTo>
                    <a:lnTo>
                      <a:pt x="178" y="184"/>
                    </a:lnTo>
                    <a:lnTo>
                      <a:pt x="182" y="177"/>
                    </a:lnTo>
                    <a:lnTo>
                      <a:pt x="183" y="177"/>
                    </a:lnTo>
                    <a:lnTo>
                      <a:pt x="185" y="177"/>
                    </a:lnTo>
                    <a:lnTo>
                      <a:pt x="187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200" y="177"/>
                    </a:lnTo>
                    <a:lnTo>
                      <a:pt x="204" y="177"/>
                    </a:lnTo>
                    <a:lnTo>
                      <a:pt x="209" y="176"/>
                    </a:lnTo>
                    <a:lnTo>
                      <a:pt x="211" y="176"/>
                    </a:lnTo>
                    <a:lnTo>
                      <a:pt x="212" y="175"/>
                    </a:lnTo>
                    <a:lnTo>
                      <a:pt x="216" y="173"/>
                    </a:lnTo>
                    <a:lnTo>
                      <a:pt x="221" y="170"/>
                    </a:lnTo>
                    <a:lnTo>
                      <a:pt x="225" y="166"/>
                    </a:lnTo>
                    <a:lnTo>
                      <a:pt x="230" y="161"/>
                    </a:lnTo>
                    <a:lnTo>
                      <a:pt x="234" y="154"/>
                    </a:lnTo>
                    <a:lnTo>
                      <a:pt x="238" y="146"/>
                    </a:lnTo>
                    <a:lnTo>
                      <a:pt x="238" y="144"/>
                    </a:lnTo>
                    <a:lnTo>
                      <a:pt x="240" y="140"/>
                    </a:lnTo>
                    <a:lnTo>
                      <a:pt x="241" y="135"/>
                    </a:lnTo>
                    <a:lnTo>
                      <a:pt x="244" y="128"/>
                    </a:lnTo>
                    <a:lnTo>
                      <a:pt x="247" y="118"/>
                    </a:lnTo>
                    <a:lnTo>
                      <a:pt x="248" y="109"/>
                    </a:lnTo>
                    <a:lnTo>
                      <a:pt x="249" y="98"/>
                    </a:lnTo>
                    <a:lnTo>
                      <a:pt x="249" y="85"/>
                    </a:lnTo>
                    <a:lnTo>
                      <a:pt x="240" y="87"/>
                    </a:lnTo>
                    <a:lnTo>
                      <a:pt x="237" y="69"/>
                    </a:lnTo>
                    <a:lnTo>
                      <a:pt x="204" y="69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0" name="Freeform 9"/>
              <p:cNvSpPr>
                <a:spLocks/>
              </p:cNvSpPr>
              <p:nvPr/>
            </p:nvSpPr>
            <p:spPr bwMode="auto">
              <a:xfrm>
                <a:off x="2524" y="2524"/>
                <a:ext cx="249" cy="236"/>
              </a:xfrm>
              <a:custGeom>
                <a:avLst/>
                <a:gdLst>
                  <a:gd name="T0" fmla="*/ 87 w 249"/>
                  <a:gd name="T1" fmla="*/ 0 h 236"/>
                  <a:gd name="T2" fmla="*/ 93 w 249"/>
                  <a:gd name="T3" fmla="*/ 135 h 236"/>
                  <a:gd name="T4" fmla="*/ 95 w 249"/>
                  <a:gd name="T5" fmla="*/ 140 h 236"/>
                  <a:gd name="T6" fmla="*/ 98 w 249"/>
                  <a:gd name="T7" fmla="*/ 148 h 236"/>
                  <a:gd name="T8" fmla="*/ 29 w 249"/>
                  <a:gd name="T9" fmla="*/ 154 h 236"/>
                  <a:gd name="T10" fmla="*/ 27 w 249"/>
                  <a:gd name="T11" fmla="*/ 157 h 236"/>
                  <a:gd name="T12" fmla="*/ 24 w 249"/>
                  <a:gd name="T13" fmla="*/ 158 h 236"/>
                  <a:gd name="T14" fmla="*/ 20 w 249"/>
                  <a:gd name="T15" fmla="*/ 157 h 236"/>
                  <a:gd name="T16" fmla="*/ 16 w 249"/>
                  <a:gd name="T17" fmla="*/ 158 h 236"/>
                  <a:gd name="T18" fmla="*/ 16 w 249"/>
                  <a:gd name="T19" fmla="*/ 162 h 236"/>
                  <a:gd name="T20" fmla="*/ 14 w 249"/>
                  <a:gd name="T21" fmla="*/ 169 h 236"/>
                  <a:gd name="T22" fmla="*/ 11 w 249"/>
                  <a:gd name="T23" fmla="*/ 172 h 236"/>
                  <a:gd name="T24" fmla="*/ 9 w 249"/>
                  <a:gd name="T25" fmla="*/ 176 h 236"/>
                  <a:gd name="T26" fmla="*/ 3 w 249"/>
                  <a:gd name="T27" fmla="*/ 183 h 236"/>
                  <a:gd name="T28" fmla="*/ 0 w 249"/>
                  <a:gd name="T29" fmla="*/ 183 h 236"/>
                  <a:gd name="T30" fmla="*/ 2 w 249"/>
                  <a:gd name="T31" fmla="*/ 194 h 236"/>
                  <a:gd name="T32" fmla="*/ 3 w 249"/>
                  <a:gd name="T33" fmla="*/ 205 h 236"/>
                  <a:gd name="T34" fmla="*/ 5 w 249"/>
                  <a:gd name="T35" fmla="*/ 209 h 236"/>
                  <a:gd name="T36" fmla="*/ 11 w 249"/>
                  <a:gd name="T37" fmla="*/ 210 h 236"/>
                  <a:gd name="T38" fmla="*/ 16 w 249"/>
                  <a:gd name="T39" fmla="*/ 213 h 236"/>
                  <a:gd name="T40" fmla="*/ 24 w 249"/>
                  <a:gd name="T41" fmla="*/ 216 h 236"/>
                  <a:gd name="T42" fmla="*/ 29 w 249"/>
                  <a:gd name="T43" fmla="*/ 216 h 236"/>
                  <a:gd name="T44" fmla="*/ 35 w 249"/>
                  <a:gd name="T45" fmla="*/ 214 h 236"/>
                  <a:gd name="T46" fmla="*/ 38 w 249"/>
                  <a:gd name="T47" fmla="*/ 209 h 236"/>
                  <a:gd name="T48" fmla="*/ 43 w 249"/>
                  <a:gd name="T49" fmla="*/ 206 h 236"/>
                  <a:gd name="T50" fmla="*/ 50 w 249"/>
                  <a:gd name="T51" fmla="*/ 209 h 236"/>
                  <a:gd name="T52" fmla="*/ 54 w 249"/>
                  <a:gd name="T53" fmla="*/ 214 h 236"/>
                  <a:gd name="T54" fmla="*/ 55 w 249"/>
                  <a:gd name="T55" fmla="*/ 225 h 236"/>
                  <a:gd name="T56" fmla="*/ 66 w 249"/>
                  <a:gd name="T57" fmla="*/ 235 h 236"/>
                  <a:gd name="T58" fmla="*/ 73 w 249"/>
                  <a:gd name="T59" fmla="*/ 236 h 236"/>
                  <a:gd name="T60" fmla="*/ 86 w 249"/>
                  <a:gd name="T61" fmla="*/ 235 h 236"/>
                  <a:gd name="T62" fmla="*/ 90 w 249"/>
                  <a:gd name="T63" fmla="*/ 231 h 236"/>
                  <a:gd name="T64" fmla="*/ 94 w 249"/>
                  <a:gd name="T65" fmla="*/ 228 h 236"/>
                  <a:gd name="T66" fmla="*/ 101 w 249"/>
                  <a:gd name="T67" fmla="*/ 232 h 236"/>
                  <a:gd name="T68" fmla="*/ 105 w 249"/>
                  <a:gd name="T69" fmla="*/ 234 h 236"/>
                  <a:gd name="T70" fmla="*/ 109 w 249"/>
                  <a:gd name="T71" fmla="*/ 231 h 236"/>
                  <a:gd name="T72" fmla="*/ 110 w 249"/>
                  <a:gd name="T73" fmla="*/ 221 h 236"/>
                  <a:gd name="T74" fmla="*/ 117 w 249"/>
                  <a:gd name="T75" fmla="*/ 206 h 236"/>
                  <a:gd name="T76" fmla="*/ 123 w 249"/>
                  <a:gd name="T77" fmla="*/ 201 h 236"/>
                  <a:gd name="T78" fmla="*/ 127 w 249"/>
                  <a:gd name="T79" fmla="*/ 197 h 236"/>
                  <a:gd name="T80" fmla="*/ 138 w 249"/>
                  <a:gd name="T81" fmla="*/ 194 h 236"/>
                  <a:gd name="T82" fmla="*/ 153 w 249"/>
                  <a:gd name="T83" fmla="*/ 194 h 236"/>
                  <a:gd name="T84" fmla="*/ 165 w 249"/>
                  <a:gd name="T85" fmla="*/ 190 h 236"/>
                  <a:gd name="T86" fmla="*/ 178 w 249"/>
                  <a:gd name="T87" fmla="*/ 184 h 236"/>
                  <a:gd name="T88" fmla="*/ 185 w 249"/>
                  <a:gd name="T89" fmla="*/ 177 h 236"/>
                  <a:gd name="T90" fmla="*/ 194 w 249"/>
                  <a:gd name="T91" fmla="*/ 177 h 236"/>
                  <a:gd name="T92" fmla="*/ 209 w 249"/>
                  <a:gd name="T93" fmla="*/ 176 h 236"/>
                  <a:gd name="T94" fmla="*/ 216 w 249"/>
                  <a:gd name="T95" fmla="*/ 173 h 236"/>
                  <a:gd name="T96" fmla="*/ 230 w 249"/>
                  <a:gd name="T97" fmla="*/ 161 h 236"/>
                  <a:gd name="T98" fmla="*/ 238 w 249"/>
                  <a:gd name="T99" fmla="*/ 144 h 236"/>
                  <a:gd name="T100" fmla="*/ 244 w 249"/>
                  <a:gd name="T101" fmla="*/ 128 h 236"/>
                  <a:gd name="T102" fmla="*/ 249 w 249"/>
                  <a:gd name="T103" fmla="*/ 98 h 236"/>
                  <a:gd name="T104" fmla="*/ 237 w 249"/>
                  <a:gd name="T105" fmla="*/ 69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9" h="236">
                    <a:moveTo>
                      <a:pt x="112" y="0"/>
                    </a:moveTo>
                    <a:lnTo>
                      <a:pt x="88" y="0"/>
                    </a:lnTo>
                    <a:lnTo>
                      <a:pt x="87" y="0"/>
                    </a:lnTo>
                    <a:lnTo>
                      <a:pt x="87" y="1"/>
                    </a:lnTo>
                    <a:lnTo>
                      <a:pt x="86" y="3"/>
                    </a:lnTo>
                    <a:lnTo>
                      <a:pt x="93" y="135"/>
                    </a:lnTo>
                    <a:lnTo>
                      <a:pt x="94" y="136"/>
                    </a:lnTo>
                    <a:lnTo>
                      <a:pt x="94" y="139"/>
                    </a:lnTo>
                    <a:lnTo>
                      <a:pt x="95" y="140"/>
                    </a:lnTo>
                    <a:lnTo>
                      <a:pt x="97" y="143"/>
                    </a:lnTo>
                    <a:lnTo>
                      <a:pt x="98" y="146"/>
                    </a:lnTo>
                    <a:lnTo>
                      <a:pt x="98" y="148"/>
                    </a:lnTo>
                    <a:lnTo>
                      <a:pt x="98" y="150"/>
                    </a:lnTo>
                    <a:lnTo>
                      <a:pt x="91" y="159"/>
                    </a:lnTo>
                    <a:lnTo>
                      <a:pt x="29" y="154"/>
                    </a:lnTo>
                    <a:lnTo>
                      <a:pt x="28" y="154"/>
                    </a:lnTo>
                    <a:lnTo>
                      <a:pt x="28" y="155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5" y="158"/>
                    </a:lnTo>
                    <a:lnTo>
                      <a:pt x="24" y="158"/>
                    </a:lnTo>
                    <a:lnTo>
                      <a:pt x="22" y="158"/>
                    </a:lnTo>
                    <a:lnTo>
                      <a:pt x="20" y="155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17" y="157"/>
                    </a:lnTo>
                    <a:lnTo>
                      <a:pt x="16" y="158"/>
                    </a:lnTo>
                    <a:lnTo>
                      <a:pt x="16" y="159"/>
                    </a:lnTo>
                    <a:lnTo>
                      <a:pt x="16" y="161"/>
                    </a:lnTo>
                    <a:lnTo>
                      <a:pt x="16" y="162"/>
                    </a:lnTo>
                    <a:lnTo>
                      <a:pt x="16" y="165"/>
                    </a:lnTo>
                    <a:lnTo>
                      <a:pt x="16" y="166"/>
                    </a:lnTo>
                    <a:lnTo>
                      <a:pt x="14" y="169"/>
                    </a:lnTo>
                    <a:lnTo>
                      <a:pt x="14" y="170"/>
                    </a:lnTo>
                    <a:lnTo>
                      <a:pt x="13" y="172"/>
                    </a:lnTo>
                    <a:lnTo>
                      <a:pt x="11" y="172"/>
                    </a:lnTo>
                    <a:lnTo>
                      <a:pt x="10" y="172"/>
                    </a:lnTo>
                    <a:lnTo>
                      <a:pt x="10" y="175"/>
                    </a:lnTo>
                    <a:lnTo>
                      <a:pt x="9" y="176"/>
                    </a:lnTo>
                    <a:lnTo>
                      <a:pt x="7" y="179"/>
                    </a:lnTo>
                    <a:lnTo>
                      <a:pt x="5" y="180"/>
                    </a:lnTo>
                    <a:lnTo>
                      <a:pt x="3" y="183"/>
                    </a:lnTo>
                    <a:lnTo>
                      <a:pt x="2" y="183"/>
                    </a:lnTo>
                    <a:lnTo>
                      <a:pt x="0" y="181"/>
                    </a:lnTo>
                    <a:lnTo>
                      <a:pt x="0" y="183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2" y="194"/>
                    </a:lnTo>
                    <a:lnTo>
                      <a:pt x="2" y="198"/>
                    </a:lnTo>
                    <a:lnTo>
                      <a:pt x="2" y="202"/>
                    </a:lnTo>
                    <a:lnTo>
                      <a:pt x="3" y="205"/>
                    </a:lnTo>
                    <a:lnTo>
                      <a:pt x="3" y="206"/>
                    </a:lnTo>
                    <a:lnTo>
                      <a:pt x="3" y="208"/>
                    </a:lnTo>
                    <a:lnTo>
                      <a:pt x="5" y="209"/>
                    </a:lnTo>
                    <a:lnTo>
                      <a:pt x="6" y="210"/>
                    </a:lnTo>
                    <a:lnTo>
                      <a:pt x="9" y="210"/>
                    </a:lnTo>
                    <a:lnTo>
                      <a:pt x="11" y="210"/>
                    </a:lnTo>
                    <a:lnTo>
                      <a:pt x="13" y="212"/>
                    </a:lnTo>
                    <a:lnTo>
                      <a:pt x="14" y="213"/>
                    </a:lnTo>
                    <a:lnTo>
                      <a:pt x="16" y="213"/>
                    </a:lnTo>
                    <a:lnTo>
                      <a:pt x="18" y="214"/>
                    </a:lnTo>
                    <a:lnTo>
                      <a:pt x="21" y="216"/>
                    </a:lnTo>
                    <a:lnTo>
                      <a:pt x="24" y="216"/>
                    </a:lnTo>
                    <a:lnTo>
                      <a:pt x="27" y="216"/>
                    </a:lnTo>
                    <a:lnTo>
                      <a:pt x="28" y="216"/>
                    </a:lnTo>
                    <a:lnTo>
                      <a:pt x="29" y="216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5" y="214"/>
                    </a:lnTo>
                    <a:lnTo>
                      <a:pt x="36" y="214"/>
                    </a:lnTo>
                    <a:lnTo>
                      <a:pt x="38" y="212"/>
                    </a:lnTo>
                    <a:lnTo>
                      <a:pt x="38" y="209"/>
                    </a:lnTo>
                    <a:lnTo>
                      <a:pt x="39" y="208"/>
                    </a:lnTo>
                    <a:lnTo>
                      <a:pt x="40" y="208"/>
                    </a:lnTo>
                    <a:lnTo>
                      <a:pt x="43" y="206"/>
                    </a:lnTo>
                    <a:lnTo>
                      <a:pt x="44" y="206"/>
                    </a:lnTo>
                    <a:lnTo>
                      <a:pt x="47" y="206"/>
                    </a:lnTo>
                    <a:lnTo>
                      <a:pt x="50" y="209"/>
                    </a:lnTo>
                    <a:lnTo>
                      <a:pt x="54" y="212"/>
                    </a:lnTo>
                    <a:lnTo>
                      <a:pt x="54" y="213"/>
                    </a:lnTo>
                    <a:lnTo>
                      <a:pt x="54" y="214"/>
                    </a:lnTo>
                    <a:lnTo>
                      <a:pt x="54" y="217"/>
                    </a:lnTo>
                    <a:lnTo>
                      <a:pt x="54" y="221"/>
                    </a:lnTo>
                    <a:lnTo>
                      <a:pt x="55" y="225"/>
                    </a:lnTo>
                    <a:lnTo>
                      <a:pt x="58" y="228"/>
                    </a:lnTo>
                    <a:lnTo>
                      <a:pt x="62" y="232"/>
                    </a:lnTo>
                    <a:lnTo>
                      <a:pt x="66" y="235"/>
                    </a:lnTo>
                    <a:lnTo>
                      <a:pt x="69" y="235"/>
                    </a:lnTo>
                    <a:lnTo>
                      <a:pt x="71" y="236"/>
                    </a:lnTo>
                    <a:lnTo>
                      <a:pt x="73" y="236"/>
                    </a:lnTo>
                    <a:lnTo>
                      <a:pt x="77" y="236"/>
                    </a:lnTo>
                    <a:lnTo>
                      <a:pt x="82" y="236"/>
                    </a:lnTo>
                    <a:lnTo>
                      <a:pt x="86" y="235"/>
                    </a:lnTo>
                    <a:lnTo>
                      <a:pt x="88" y="232"/>
                    </a:lnTo>
                    <a:lnTo>
                      <a:pt x="90" y="232"/>
                    </a:lnTo>
                    <a:lnTo>
                      <a:pt x="90" y="231"/>
                    </a:lnTo>
                    <a:lnTo>
                      <a:pt x="91" y="230"/>
                    </a:lnTo>
                    <a:lnTo>
                      <a:pt x="93" y="228"/>
                    </a:lnTo>
                    <a:lnTo>
                      <a:pt x="94" y="228"/>
                    </a:lnTo>
                    <a:lnTo>
                      <a:pt x="95" y="228"/>
                    </a:lnTo>
                    <a:lnTo>
                      <a:pt x="97" y="228"/>
                    </a:lnTo>
                    <a:lnTo>
                      <a:pt x="101" y="232"/>
                    </a:lnTo>
                    <a:lnTo>
                      <a:pt x="102" y="232"/>
                    </a:lnTo>
                    <a:lnTo>
                      <a:pt x="104" y="234"/>
                    </a:lnTo>
                    <a:lnTo>
                      <a:pt x="105" y="234"/>
                    </a:lnTo>
                    <a:lnTo>
                      <a:pt x="106" y="234"/>
                    </a:lnTo>
                    <a:lnTo>
                      <a:pt x="108" y="232"/>
                    </a:lnTo>
                    <a:lnTo>
                      <a:pt x="109" y="231"/>
                    </a:lnTo>
                    <a:lnTo>
                      <a:pt x="109" y="230"/>
                    </a:lnTo>
                    <a:lnTo>
                      <a:pt x="110" y="227"/>
                    </a:lnTo>
                    <a:lnTo>
                      <a:pt x="110" y="221"/>
                    </a:lnTo>
                    <a:lnTo>
                      <a:pt x="113" y="216"/>
                    </a:lnTo>
                    <a:lnTo>
                      <a:pt x="115" y="212"/>
                    </a:lnTo>
                    <a:lnTo>
                      <a:pt x="117" y="206"/>
                    </a:lnTo>
                    <a:lnTo>
                      <a:pt x="119" y="202"/>
                    </a:lnTo>
                    <a:lnTo>
                      <a:pt x="121" y="201"/>
                    </a:lnTo>
                    <a:lnTo>
                      <a:pt x="123" y="201"/>
                    </a:lnTo>
                    <a:lnTo>
                      <a:pt x="123" y="199"/>
                    </a:lnTo>
                    <a:lnTo>
                      <a:pt x="126" y="198"/>
                    </a:lnTo>
                    <a:lnTo>
                      <a:pt x="127" y="197"/>
                    </a:lnTo>
                    <a:lnTo>
                      <a:pt x="131" y="195"/>
                    </a:lnTo>
                    <a:lnTo>
                      <a:pt x="134" y="194"/>
                    </a:lnTo>
                    <a:lnTo>
                      <a:pt x="138" y="194"/>
                    </a:lnTo>
                    <a:lnTo>
                      <a:pt x="143" y="194"/>
                    </a:lnTo>
                    <a:lnTo>
                      <a:pt x="148" y="194"/>
                    </a:lnTo>
                    <a:lnTo>
                      <a:pt x="153" y="194"/>
                    </a:lnTo>
                    <a:lnTo>
                      <a:pt x="157" y="192"/>
                    </a:lnTo>
                    <a:lnTo>
                      <a:pt x="161" y="191"/>
                    </a:lnTo>
                    <a:lnTo>
                      <a:pt x="165" y="190"/>
                    </a:lnTo>
                    <a:lnTo>
                      <a:pt x="170" y="188"/>
                    </a:lnTo>
                    <a:lnTo>
                      <a:pt x="174" y="186"/>
                    </a:lnTo>
                    <a:lnTo>
                      <a:pt x="178" y="184"/>
                    </a:lnTo>
                    <a:lnTo>
                      <a:pt x="182" y="177"/>
                    </a:lnTo>
                    <a:lnTo>
                      <a:pt x="183" y="177"/>
                    </a:lnTo>
                    <a:lnTo>
                      <a:pt x="185" y="177"/>
                    </a:lnTo>
                    <a:lnTo>
                      <a:pt x="187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200" y="177"/>
                    </a:lnTo>
                    <a:lnTo>
                      <a:pt x="204" y="177"/>
                    </a:lnTo>
                    <a:lnTo>
                      <a:pt x="209" y="176"/>
                    </a:lnTo>
                    <a:lnTo>
                      <a:pt x="211" y="176"/>
                    </a:lnTo>
                    <a:lnTo>
                      <a:pt x="212" y="175"/>
                    </a:lnTo>
                    <a:lnTo>
                      <a:pt x="216" y="173"/>
                    </a:lnTo>
                    <a:lnTo>
                      <a:pt x="221" y="170"/>
                    </a:lnTo>
                    <a:lnTo>
                      <a:pt x="225" y="166"/>
                    </a:lnTo>
                    <a:lnTo>
                      <a:pt x="230" y="161"/>
                    </a:lnTo>
                    <a:lnTo>
                      <a:pt x="234" y="154"/>
                    </a:lnTo>
                    <a:lnTo>
                      <a:pt x="238" y="146"/>
                    </a:lnTo>
                    <a:lnTo>
                      <a:pt x="238" y="144"/>
                    </a:lnTo>
                    <a:lnTo>
                      <a:pt x="240" y="140"/>
                    </a:lnTo>
                    <a:lnTo>
                      <a:pt x="241" y="135"/>
                    </a:lnTo>
                    <a:lnTo>
                      <a:pt x="244" y="128"/>
                    </a:lnTo>
                    <a:lnTo>
                      <a:pt x="247" y="118"/>
                    </a:lnTo>
                    <a:lnTo>
                      <a:pt x="248" y="109"/>
                    </a:lnTo>
                    <a:lnTo>
                      <a:pt x="249" y="98"/>
                    </a:lnTo>
                    <a:lnTo>
                      <a:pt x="249" y="85"/>
                    </a:lnTo>
                    <a:lnTo>
                      <a:pt x="240" y="87"/>
                    </a:lnTo>
                    <a:lnTo>
                      <a:pt x="237" y="69"/>
                    </a:lnTo>
                    <a:lnTo>
                      <a:pt x="204" y="69"/>
                    </a:lnTo>
                    <a:lnTo>
                      <a:pt x="1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1" name="Freeform 10"/>
              <p:cNvSpPr>
                <a:spLocks/>
              </p:cNvSpPr>
              <p:nvPr/>
            </p:nvSpPr>
            <p:spPr bwMode="auto">
              <a:xfrm>
                <a:off x="3105" y="2429"/>
                <a:ext cx="165" cy="179"/>
              </a:xfrm>
              <a:custGeom>
                <a:avLst/>
                <a:gdLst>
                  <a:gd name="T0" fmla="*/ 0 w 165"/>
                  <a:gd name="T1" fmla="*/ 179 h 179"/>
                  <a:gd name="T2" fmla="*/ 0 w 165"/>
                  <a:gd name="T3" fmla="*/ 0 h 179"/>
                  <a:gd name="T4" fmla="*/ 1 w 165"/>
                  <a:gd name="T5" fmla="*/ 0 h 179"/>
                  <a:gd name="T6" fmla="*/ 4 w 165"/>
                  <a:gd name="T7" fmla="*/ 0 h 179"/>
                  <a:gd name="T8" fmla="*/ 8 w 165"/>
                  <a:gd name="T9" fmla="*/ 0 h 179"/>
                  <a:gd name="T10" fmla="*/ 14 w 165"/>
                  <a:gd name="T11" fmla="*/ 0 h 179"/>
                  <a:gd name="T12" fmla="*/ 19 w 165"/>
                  <a:gd name="T13" fmla="*/ 2 h 179"/>
                  <a:gd name="T14" fmla="*/ 23 w 165"/>
                  <a:gd name="T15" fmla="*/ 2 h 179"/>
                  <a:gd name="T16" fmla="*/ 29 w 165"/>
                  <a:gd name="T17" fmla="*/ 3 h 179"/>
                  <a:gd name="T18" fmla="*/ 32 w 165"/>
                  <a:gd name="T19" fmla="*/ 3 h 179"/>
                  <a:gd name="T20" fmla="*/ 32 w 165"/>
                  <a:gd name="T21" fmla="*/ 3 h 179"/>
                  <a:gd name="T22" fmla="*/ 33 w 165"/>
                  <a:gd name="T23" fmla="*/ 4 h 179"/>
                  <a:gd name="T24" fmla="*/ 36 w 165"/>
                  <a:gd name="T25" fmla="*/ 6 h 179"/>
                  <a:gd name="T26" fmla="*/ 38 w 165"/>
                  <a:gd name="T27" fmla="*/ 7 h 179"/>
                  <a:gd name="T28" fmla="*/ 41 w 165"/>
                  <a:gd name="T29" fmla="*/ 8 h 179"/>
                  <a:gd name="T30" fmla="*/ 44 w 165"/>
                  <a:gd name="T31" fmla="*/ 10 h 179"/>
                  <a:gd name="T32" fmla="*/ 48 w 165"/>
                  <a:gd name="T33" fmla="*/ 11 h 179"/>
                  <a:gd name="T34" fmla="*/ 52 w 165"/>
                  <a:gd name="T35" fmla="*/ 13 h 179"/>
                  <a:gd name="T36" fmla="*/ 81 w 165"/>
                  <a:gd name="T37" fmla="*/ 4 h 179"/>
                  <a:gd name="T38" fmla="*/ 81 w 165"/>
                  <a:gd name="T39" fmla="*/ 4 h 179"/>
                  <a:gd name="T40" fmla="*/ 82 w 165"/>
                  <a:gd name="T41" fmla="*/ 3 h 179"/>
                  <a:gd name="T42" fmla="*/ 84 w 165"/>
                  <a:gd name="T43" fmla="*/ 3 h 179"/>
                  <a:gd name="T44" fmla="*/ 85 w 165"/>
                  <a:gd name="T45" fmla="*/ 3 h 179"/>
                  <a:gd name="T46" fmla="*/ 89 w 165"/>
                  <a:gd name="T47" fmla="*/ 3 h 179"/>
                  <a:gd name="T48" fmla="*/ 92 w 165"/>
                  <a:gd name="T49" fmla="*/ 3 h 179"/>
                  <a:gd name="T50" fmla="*/ 96 w 165"/>
                  <a:gd name="T51" fmla="*/ 4 h 179"/>
                  <a:gd name="T52" fmla="*/ 102 w 165"/>
                  <a:gd name="T53" fmla="*/ 6 h 179"/>
                  <a:gd name="T54" fmla="*/ 102 w 165"/>
                  <a:gd name="T55" fmla="*/ 6 h 179"/>
                  <a:gd name="T56" fmla="*/ 102 w 165"/>
                  <a:gd name="T57" fmla="*/ 7 h 179"/>
                  <a:gd name="T58" fmla="*/ 102 w 165"/>
                  <a:gd name="T59" fmla="*/ 10 h 179"/>
                  <a:gd name="T60" fmla="*/ 102 w 165"/>
                  <a:gd name="T61" fmla="*/ 13 h 179"/>
                  <a:gd name="T62" fmla="*/ 102 w 165"/>
                  <a:gd name="T63" fmla="*/ 17 h 179"/>
                  <a:gd name="T64" fmla="*/ 103 w 165"/>
                  <a:gd name="T65" fmla="*/ 21 h 179"/>
                  <a:gd name="T66" fmla="*/ 106 w 165"/>
                  <a:gd name="T67" fmla="*/ 25 h 179"/>
                  <a:gd name="T68" fmla="*/ 109 w 165"/>
                  <a:gd name="T69" fmla="*/ 29 h 179"/>
                  <a:gd name="T70" fmla="*/ 111 w 165"/>
                  <a:gd name="T71" fmla="*/ 35 h 179"/>
                  <a:gd name="T72" fmla="*/ 117 w 165"/>
                  <a:gd name="T73" fmla="*/ 47 h 179"/>
                  <a:gd name="T74" fmla="*/ 126 w 165"/>
                  <a:gd name="T75" fmla="*/ 65 h 179"/>
                  <a:gd name="T76" fmla="*/ 136 w 165"/>
                  <a:gd name="T77" fmla="*/ 87 h 179"/>
                  <a:gd name="T78" fmla="*/ 146 w 165"/>
                  <a:gd name="T79" fmla="*/ 109 h 179"/>
                  <a:gd name="T80" fmla="*/ 155 w 165"/>
                  <a:gd name="T81" fmla="*/ 128 h 179"/>
                  <a:gd name="T82" fmla="*/ 162 w 165"/>
                  <a:gd name="T83" fmla="*/ 143 h 179"/>
                  <a:gd name="T84" fmla="*/ 165 w 165"/>
                  <a:gd name="T85" fmla="*/ 153 h 179"/>
                  <a:gd name="T86" fmla="*/ 165 w 165"/>
                  <a:gd name="T87" fmla="*/ 153 h 179"/>
                  <a:gd name="T88" fmla="*/ 164 w 165"/>
                  <a:gd name="T89" fmla="*/ 155 h 179"/>
                  <a:gd name="T90" fmla="*/ 161 w 165"/>
                  <a:gd name="T91" fmla="*/ 158 h 179"/>
                  <a:gd name="T92" fmla="*/ 157 w 165"/>
                  <a:gd name="T93" fmla="*/ 162 h 179"/>
                  <a:gd name="T94" fmla="*/ 153 w 165"/>
                  <a:gd name="T95" fmla="*/ 166 h 179"/>
                  <a:gd name="T96" fmla="*/ 147 w 165"/>
                  <a:gd name="T97" fmla="*/ 171 h 179"/>
                  <a:gd name="T98" fmla="*/ 140 w 165"/>
                  <a:gd name="T99" fmla="*/ 175 h 179"/>
                  <a:gd name="T100" fmla="*/ 132 w 165"/>
                  <a:gd name="T101" fmla="*/ 177 h 179"/>
                  <a:gd name="T102" fmla="*/ 0 w 165"/>
                  <a:gd name="T103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5" h="179">
                    <a:moveTo>
                      <a:pt x="0" y="179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9" y="2"/>
                    </a:lnTo>
                    <a:lnTo>
                      <a:pt x="23" y="2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6" y="6"/>
                    </a:lnTo>
                    <a:lnTo>
                      <a:pt x="38" y="7"/>
                    </a:lnTo>
                    <a:lnTo>
                      <a:pt x="41" y="8"/>
                    </a:lnTo>
                    <a:lnTo>
                      <a:pt x="44" y="10"/>
                    </a:lnTo>
                    <a:lnTo>
                      <a:pt x="48" y="11"/>
                    </a:lnTo>
                    <a:lnTo>
                      <a:pt x="52" y="13"/>
                    </a:lnTo>
                    <a:lnTo>
                      <a:pt x="81" y="4"/>
                    </a:lnTo>
                    <a:lnTo>
                      <a:pt x="81" y="4"/>
                    </a:lnTo>
                    <a:lnTo>
                      <a:pt x="82" y="3"/>
                    </a:lnTo>
                    <a:lnTo>
                      <a:pt x="84" y="3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2" y="3"/>
                    </a:lnTo>
                    <a:lnTo>
                      <a:pt x="96" y="4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7"/>
                    </a:lnTo>
                    <a:lnTo>
                      <a:pt x="102" y="10"/>
                    </a:lnTo>
                    <a:lnTo>
                      <a:pt x="102" y="13"/>
                    </a:lnTo>
                    <a:lnTo>
                      <a:pt x="102" y="17"/>
                    </a:lnTo>
                    <a:lnTo>
                      <a:pt x="103" y="21"/>
                    </a:lnTo>
                    <a:lnTo>
                      <a:pt x="106" y="25"/>
                    </a:lnTo>
                    <a:lnTo>
                      <a:pt x="109" y="29"/>
                    </a:lnTo>
                    <a:lnTo>
                      <a:pt x="111" y="35"/>
                    </a:lnTo>
                    <a:lnTo>
                      <a:pt x="117" y="47"/>
                    </a:lnTo>
                    <a:lnTo>
                      <a:pt x="126" y="65"/>
                    </a:lnTo>
                    <a:lnTo>
                      <a:pt x="136" y="87"/>
                    </a:lnTo>
                    <a:lnTo>
                      <a:pt x="146" y="109"/>
                    </a:lnTo>
                    <a:lnTo>
                      <a:pt x="155" y="128"/>
                    </a:lnTo>
                    <a:lnTo>
                      <a:pt x="162" y="143"/>
                    </a:lnTo>
                    <a:lnTo>
                      <a:pt x="165" y="153"/>
                    </a:lnTo>
                    <a:lnTo>
                      <a:pt x="165" y="153"/>
                    </a:lnTo>
                    <a:lnTo>
                      <a:pt x="164" y="155"/>
                    </a:lnTo>
                    <a:lnTo>
                      <a:pt x="161" y="158"/>
                    </a:lnTo>
                    <a:lnTo>
                      <a:pt x="157" y="162"/>
                    </a:lnTo>
                    <a:lnTo>
                      <a:pt x="153" y="166"/>
                    </a:lnTo>
                    <a:lnTo>
                      <a:pt x="147" y="171"/>
                    </a:lnTo>
                    <a:lnTo>
                      <a:pt x="140" y="175"/>
                    </a:lnTo>
                    <a:lnTo>
                      <a:pt x="132" y="177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2" name="Freeform 11"/>
              <p:cNvSpPr>
                <a:spLocks/>
              </p:cNvSpPr>
              <p:nvPr/>
            </p:nvSpPr>
            <p:spPr bwMode="auto">
              <a:xfrm>
                <a:off x="3105" y="2429"/>
                <a:ext cx="165" cy="179"/>
              </a:xfrm>
              <a:custGeom>
                <a:avLst/>
                <a:gdLst>
                  <a:gd name="T0" fmla="*/ 0 w 165"/>
                  <a:gd name="T1" fmla="*/ 179 h 179"/>
                  <a:gd name="T2" fmla="*/ 0 w 165"/>
                  <a:gd name="T3" fmla="*/ 0 h 179"/>
                  <a:gd name="T4" fmla="*/ 1 w 165"/>
                  <a:gd name="T5" fmla="*/ 0 h 179"/>
                  <a:gd name="T6" fmla="*/ 4 w 165"/>
                  <a:gd name="T7" fmla="*/ 0 h 179"/>
                  <a:gd name="T8" fmla="*/ 8 w 165"/>
                  <a:gd name="T9" fmla="*/ 0 h 179"/>
                  <a:gd name="T10" fmla="*/ 14 w 165"/>
                  <a:gd name="T11" fmla="*/ 0 h 179"/>
                  <a:gd name="T12" fmla="*/ 19 w 165"/>
                  <a:gd name="T13" fmla="*/ 2 h 179"/>
                  <a:gd name="T14" fmla="*/ 23 w 165"/>
                  <a:gd name="T15" fmla="*/ 2 h 179"/>
                  <a:gd name="T16" fmla="*/ 29 w 165"/>
                  <a:gd name="T17" fmla="*/ 3 h 179"/>
                  <a:gd name="T18" fmla="*/ 32 w 165"/>
                  <a:gd name="T19" fmla="*/ 3 h 179"/>
                  <a:gd name="T20" fmla="*/ 33 w 165"/>
                  <a:gd name="T21" fmla="*/ 4 h 179"/>
                  <a:gd name="T22" fmla="*/ 36 w 165"/>
                  <a:gd name="T23" fmla="*/ 6 h 179"/>
                  <a:gd name="T24" fmla="*/ 38 w 165"/>
                  <a:gd name="T25" fmla="*/ 7 h 179"/>
                  <a:gd name="T26" fmla="*/ 41 w 165"/>
                  <a:gd name="T27" fmla="*/ 8 h 179"/>
                  <a:gd name="T28" fmla="*/ 44 w 165"/>
                  <a:gd name="T29" fmla="*/ 10 h 179"/>
                  <a:gd name="T30" fmla="*/ 48 w 165"/>
                  <a:gd name="T31" fmla="*/ 11 h 179"/>
                  <a:gd name="T32" fmla="*/ 52 w 165"/>
                  <a:gd name="T33" fmla="*/ 13 h 179"/>
                  <a:gd name="T34" fmla="*/ 81 w 165"/>
                  <a:gd name="T35" fmla="*/ 4 h 179"/>
                  <a:gd name="T36" fmla="*/ 82 w 165"/>
                  <a:gd name="T37" fmla="*/ 3 h 179"/>
                  <a:gd name="T38" fmla="*/ 84 w 165"/>
                  <a:gd name="T39" fmla="*/ 3 h 179"/>
                  <a:gd name="T40" fmla="*/ 85 w 165"/>
                  <a:gd name="T41" fmla="*/ 3 h 179"/>
                  <a:gd name="T42" fmla="*/ 89 w 165"/>
                  <a:gd name="T43" fmla="*/ 3 h 179"/>
                  <a:gd name="T44" fmla="*/ 92 w 165"/>
                  <a:gd name="T45" fmla="*/ 3 h 179"/>
                  <a:gd name="T46" fmla="*/ 96 w 165"/>
                  <a:gd name="T47" fmla="*/ 4 h 179"/>
                  <a:gd name="T48" fmla="*/ 102 w 165"/>
                  <a:gd name="T49" fmla="*/ 6 h 179"/>
                  <a:gd name="T50" fmla="*/ 102 w 165"/>
                  <a:gd name="T51" fmla="*/ 7 h 179"/>
                  <a:gd name="T52" fmla="*/ 102 w 165"/>
                  <a:gd name="T53" fmla="*/ 10 h 179"/>
                  <a:gd name="T54" fmla="*/ 102 w 165"/>
                  <a:gd name="T55" fmla="*/ 13 h 179"/>
                  <a:gd name="T56" fmla="*/ 102 w 165"/>
                  <a:gd name="T57" fmla="*/ 17 h 179"/>
                  <a:gd name="T58" fmla="*/ 103 w 165"/>
                  <a:gd name="T59" fmla="*/ 21 h 179"/>
                  <a:gd name="T60" fmla="*/ 106 w 165"/>
                  <a:gd name="T61" fmla="*/ 25 h 179"/>
                  <a:gd name="T62" fmla="*/ 109 w 165"/>
                  <a:gd name="T63" fmla="*/ 29 h 179"/>
                  <a:gd name="T64" fmla="*/ 111 w 165"/>
                  <a:gd name="T65" fmla="*/ 35 h 179"/>
                  <a:gd name="T66" fmla="*/ 117 w 165"/>
                  <a:gd name="T67" fmla="*/ 47 h 179"/>
                  <a:gd name="T68" fmla="*/ 126 w 165"/>
                  <a:gd name="T69" fmla="*/ 65 h 179"/>
                  <a:gd name="T70" fmla="*/ 136 w 165"/>
                  <a:gd name="T71" fmla="*/ 87 h 179"/>
                  <a:gd name="T72" fmla="*/ 146 w 165"/>
                  <a:gd name="T73" fmla="*/ 109 h 179"/>
                  <a:gd name="T74" fmla="*/ 155 w 165"/>
                  <a:gd name="T75" fmla="*/ 128 h 179"/>
                  <a:gd name="T76" fmla="*/ 162 w 165"/>
                  <a:gd name="T77" fmla="*/ 143 h 179"/>
                  <a:gd name="T78" fmla="*/ 165 w 165"/>
                  <a:gd name="T79" fmla="*/ 153 h 179"/>
                  <a:gd name="T80" fmla="*/ 164 w 165"/>
                  <a:gd name="T81" fmla="*/ 155 h 179"/>
                  <a:gd name="T82" fmla="*/ 161 w 165"/>
                  <a:gd name="T83" fmla="*/ 158 h 179"/>
                  <a:gd name="T84" fmla="*/ 157 w 165"/>
                  <a:gd name="T85" fmla="*/ 162 h 179"/>
                  <a:gd name="T86" fmla="*/ 153 w 165"/>
                  <a:gd name="T87" fmla="*/ 166 h 179"/>
                  <a:gd name="T88" fmla="*/ 147 w 165"/>
                  <a:gd name="T89" fmla="*/ 171 h 179"/>
                  <a:gd name="T90" fmla="*/ 140 w 165"/>
                  <a:gd name="T91" fmla="*/ 175 h 179"/>
                  <a:gd name="T92" fmla="*/ 132 w 165"/>
                  <a:gd name="T93" fmla="*/ 177 h 179"/>
                  <a:gd name="T94" fmla="*/ 0 w 165"/>
                  <a:gd name="T95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5" h="179">
                    <a:moveTo>
                      <a:pt x="0" y="179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9" y="2"/>
                    </a:lnTo>
                    <a:lnTo>
                      <a:pt x="23" y="2"/>
                    </a:lnTo>
                    <a:lnTo>
                      <a:pt x="29" y="3"/>
                    </a:lnTo>
                    <a:lnTo>
                      <a:pt x="32" y="3"/>
                    </a:lnTo>
                    <a:lnTo>
                      <a:pt x="33" y="4"/>
                    </a:lnTo>
                    <a:lnTo>
                      <a:pt x="36" y="6"/>
                    </a:lnTo>
                    <a:lnTo>
                      <a:pt x="38" y="7"/>
                    </a:lnTo>
                    <a:lnTo>
                      <a:pt x="41" y="8"/>
                    </a:lnTo>
                    <a:lnTo>
                      <a:pt x="44" y="10"/>
                    </a:lnTo>
                    <a:lnTo>
                      <a:pt x="48" y="11"/>
                    </a:lnTo>
                    <a:lnTo>
                      <a:pt x="52" y="13"/>
                    </a:lnTo>
                    <a:lnTo>
                      <a:pt x="81" y="4"/>
                    </a:lnTo>
                    <a:lnTo>
                      <a:pt x="82" y="3"/>
                    </a:lnTo>
                    <a:lnTo>
                      <a:pt x="84" y="3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2" y="3"/>
                    </a:lnTo>
                    <a:lnTo>
                      <a:pt x="96" y="4"/>
                    </a:lnTo>
                    <a:lnTo>
                      <a:pt x="102" y="6"/>
                    </a:lnTo>
                    <a:lnTo>
                      <a:pt x="102" y="7"/>
                    </a:lnTo>
                    <a:lnTo>
                      <a:pt x="102" y="10"/>
                    </a:lnTo>
                    <a:lnTo>
                      <a:pt x="102" y="13"/>
                    </a:lnTo>
                    <a:lnTo>
                      <a:pt x="102" y="17"/>
                    </a:lnTo>
                    <a:lnTo>
                      <a:pt x="103" y="21"/>
                    </a:lnTo>
                    <a:lnTo>
                      <a:pt x="106" y="25"/>
                    </a:lnTo>
                    <a:lnTo>
                      <a:pt x="109" y="29"/>
                    </a:lnTo>
                    <a:lnTo>
                      <a:pt x="111" y="35"/>
                    </a:lnTo>
                    <a:lnTo>
                      <a:pt x="117" y="47"/>
                    </a:lnTo>
                    <a:lnTo>
                      <a:pt x="126" y="65"/>
                    </a:lnTo>
                    <a:lnTo>
                      <a:pt x="136" y="87"/>
                    </a:lnTo>
                    <a:lnTo>
                      <a:pt x="146" y="109"/>
                    </a:lnTo>
                    <a:lnTo>
                      <a:pt x="155" y="128"/>
                    </a:lnTo>
                    <a:lnTo>
                      <a:pt x="162" y="143"/>
                    </a:lnTo>
                    <a:lnTo>
                      <a:pt x="165" y="153"/>
                    </a:lnTo>
                    <a:lnTo>
                      <a:pt x="164" y="155"/>
                    </a:lnTo>
                    <a:lnTo>
                      <a:pt x="161" y="158"/>
                    </a:lnTo>
                    <a:lnTo>
                      <a:pt x="157" y="162"/>
                    </a:lnTo>
                    <a:lnTo>
                      <a:pt x="153" y="166"/>
                    </a:lnTo>
                    <a:lnTo>
                      <a:pt x="147" y="171"/>
                    </a:lnTo>
                    <a:lnTo>
                      <a:pt x="140" y="175"/>
                    </a:lnTo>
                    <a:lnTo>
                      <a:pt x="132" y="177"/>
                    </a:lnTo>
                    <a:lnTo>
                      <a:pt x="0" y="17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3" name="Freeform 12"/>
              <p:cNvSpPr>
                <a:spLocks/>
              </p:cNvSpPr>
              <p:nvPr/>
            </p:nvSpPr>
            <p:spPr bwMode="auto">
              <a:xfrm>
                <a:off x="3207" y="2433"/>
                <a:ext cx="48" cy="59"/>
              </a:xfrm>
              <a:custGeom>
                <a:avLst/>
                <a:gdLst>
                  <a:gd name="T0" fmla="*/ 0 w 48"/>
                  <a:gd name="T1" fmla="*/ 0 h 59"/>
                  <a:gd name="T2" fmla="*/ 0 w 48"/>
                  <a:gd name="T3" fmla="*/ 10 h 59"/>
                  <a:gd name="T4" fmla="*/ 1 w 48"/>
                  <a:gd name="T5" fmla="*/ 11 h 59"/>
                  <a:gd name="T6" fmla="*/ 1 w 48"/>
                  <a:gd name="T7" fmla="*/ 14 h 59"/>
                  <a:gd name="T8" fmla="*/ 2 w 48"/>
                  <a:gd name="T9" fmla="*/ 17 h 59"/>
                  <a:gd name="T10" fmla="*/ 5 w 48"/>
                  <a:gd name="T11" fmla="*/ 21 h 59"/>
                  <a:gd name="T12" fmla="*/ 7 w 48"/>
                  <a:gd name="T13" fmla="*/ 26 h 59"/>
                  <a:gd name="T14" fmla="*/ 8 w 48"/>
                  <a:gd name="T15" fmla="*/ 31 h 59"/>
                  <a:gd name="T16" fmla="*/ 11 w 48"/>
                  <a:gd name="T17" fmla="*/ 33 h 59"/>
                  <a:gd name="T18" fmla="*/ 12 w 48"/>
                  <a:gd name="T19" fmla="*/ 35 h 59"/>
                  <a:gd name="T20" fmla="*/ 18 w 48"/>
                  <a:gd name="T21" fmla="*/ 40 h 59"/>
                  <a:gd name="T22" fmla="*/ 20 w 48"/>
                  <a:gd name="T23" fmla="*/ 46 h 59"/>
                  <a:gd name="T24" fmla="*/ 26 w 48"/>
                  <a:gd name="T25" fmla="*/ 48 h 59"/>
                  <a:gd name="T26" fmla="*/ 30 w 48"/>
                  <a:gd name="T27" fmla="*/ 53 h 59"/>
                  <a:gd name="T28" fmla="*/ 35 w 48"/>
                  <a:gd name="T29" fmla="*/ 55 h 59"/>
                  <a:gd name="T30" fmla="*/ 38 w 48"/>
                  <a:gd name="T31" fmla="*/ 59 h 59"/>
                  <a:gd name="T32" fmla="*/ 38 w 48"/>
                  <a:gd name="T33" fmla="*/ 59 h 59"/>
                  <a:gd name="T34" fmla="*/ 40 w 48"/>
                  <a:gd name="T35" fmla="*/ 59 h 59"/>
                  <a:gd name="T36" fmla="*/ 40 w 48"/>
                  <a:gd name="T37" fmla="*/ 59 h 59"/>
                  <a:gd name="T38" fmla="*/ 41 w 48"/>
                  <a:gd name="T39" fmla="*/ 59 h 59"/>
                  <a:gd name="T40" fmla="*/ 42 w 48"/>
                  <a:gd name="T41" fmla="*/ 58 h 59"/>
                  <a:gd name="T42" fmla="*/ 42 w 48"/>
                  <a:gd name="T43" fmla="*/ 58 h 59"/>
                  <a:gd name="T44" fmla="*/ 44 w 48"/>
                  <a:gd name="T45" fmla="*/ 55 h 59"/>
                  <a:gd name="T46" fmla="*/ 45 w 48"/>
                  <a:gd name="T47" fmla="*/ 53 h 59"/>
                  <a:gd name="T48" fmla="*/ 48 w 48"/>
                  <a:gd name="T49" fmla="*/ 37 h 59"/>
                  <a:gd name="T50" fmla="*/ 46 w 48"/>
                  <a:gd name="T51" fmla="*/ 36 h 59"/>
                  <a:gd name="T52" fmla="*/ 45 w 48"/>
                  <a:gd name="T53" fmla="*/ 33 h 59"/>
                  <a:gd name="T54" fmla="*/ 41 w 48"/>
                  <a:gd name="T55" fmla="*/ 28 h 59"/>
                  <a:gd name="T56" fmla="*/ 38 w 48"/>
                  <a:gd name="T57" fmla="*/ 21 h 59"/>
                  <a:gd name="T58" fmla="*/ 34 w 48"/>
                  <a:gd name="T59" fmla="*/ 15 h 59"/>
                  <a:gd name="T60" fmla="*/ 31 w 48"/>
                  <a:gd name="T61" fmla="*/ 9 h 59"/>
                  <a:gd name="T62" fmla="*/ 29 w 48"/>
                  <a:gd name="T63" fmla="*/ 3 h 59"/>
                  <a:gd name="T64" fmla="*/ 27 w 48"/>
                  <a:gd name="T65" fmla="*/ 0 h 59"/>
                  <a:gd name="T66" fmla="*/ 27 w 48"/>
                  <a:gd name="T67" fmla="*/ 0 h 59"/>
                  <a:gd name="T68" fmla="*/ 24 w 48"/>
                  <a:gd name="T69" fmla="*/ 0 h 59"/>
                  <a:gd name="T70" fmla="*/ 20 w 48"/>
                  <a:gd name="T71" fmla="*/ 0 h 59"/>
                  <a:gd name="T72" fmla="*/ 16 w 48"/>
                  <a:gd name="T73" fmla="*/ 0 h 59"/>
                  <a:gd name="T74" fmla="*/ 11 w 48"/>
                  <a:gd name="T75" fmla="*/ 0 h 59"/>
                  <a:gd name="T76" fmla="*/ 7 w 48"/>
                  <a:gd name="T77" fmla="*/ 0 h 59"/>
                  <a:gd name="T78" fmla="*/ 2 w 48"/>
                  <a:gd name="T79" fmla="*/ 0 h 59"/>
                  <a:gd name="T80" fmla="*/ 0 w 48"/>
                  <a:gd name="T81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8" h="59">
                    <a:moveTo>
                      <a:pt x="0" y="0"/>
                    </a:moveTo>
                    <a:lnTo>
                      <a:pt x="0" y="10"/>
                    </a:lnTo>
                    <a:lnTo>
                      <a:pt x="1" y="11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7" y="26"/>
                    </a:lnTo>
                    <a:lnTo>
                      <a:pt x="8" y="31"/>
                    </a:lnTo>
                    <a:lnTo>
                      <a:pt x="11" y="33"/>
                    </a:lnTo>
                    <a:lnTo>
                      <a:pt x="12" y="35"/>
                    </a:lnTo>
                    <a:lnTo>
                      <a:pt x="18" y="40"/>
                    </a:lnTo>
                    <a:lnTo>
                      <a:pt x="20" y="46"/>
                    </a:lnTo>
                    <a:lnTo>
                      <a:pt x="26" y="48"/>
                    </a:lnTo>
                    <a:lnTo>
                      <a:pt x="30" y="53"/>
                    </a:lnTo>
                    <a:lnTo>
                      <a:pt x="35" y="55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5"/>
                    </a:lnTo>
                    <a:lnTo>
                      <a:pt x="45" y="53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5" y="33"/>
                    </a:lnTo>
                    <a:lnTo>
                      <a:pt x="41" y="28"/>
                    </a:lnTo>
                    <a:lnTo>
                      <a:pt x="38" y="21"/>
                    </a:lnTo>
                    <a:lnTo>
                      <a:pt x="34" y="15"/>
                    </a:lnTo>
                    <a:lnTo>
                      <a:pt x="31" y="9"/>
                    </a:lnTo>
                    <a:lnTo>
                      <a:pt x="29" y="3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4" name="Freeform 13"/>
              <p:cNvSpPr>
                <a:spLocks/>
              </p:cNvSpPr>
              <p:nvPr/>
            </p:nvSpPr>
            <p:spPr bwMode="auto">
              <a:xfrm>
                <a:off x="3207" y="2433"/>
                <a:ext cx="48" cy="59"/>
              </a:xfrm>
              <a:custGeom>
                <a:avLst/>
                <a:gdLst>
                  <a:gd name="T0" fmla="*/ 0 w 48"/>
                  <a:gd name="T1" fmla="*/ 0 h 59"/>
                  <a:gd name="T2" fmla="*/ 0 w 48"/>
                  <a:gd name="T3" fmla="*/ 10 h 59"/>
                  <a:gd name="T4" fmla="*/ 1 w 48"/>
                  <a:gd name="T5" fmla="*/ 11 h 59"/>
                  <a:gd name="T6" fmla="*/ 1 w 48"/>
                  <a:gd name="T7" fmla="*/ 14 h 59"/>
                  <a:gd name="T8" fmla="*/ 2 w 48"/>
                  <a:gd name="T9" fmla="*/ 17 h 59"/>
                  <a:gd name="T10" fmla="*/ 5 w 48"/>
                  <a:gd name="T11" fmla="*/ 21 h 59"/>
                  <a:gd name="T12" fmla="*/ 7 w 48"/>
                  <a:gd name="T13" fmla="*/ 26 h 59"/>
                  <a:gd name="T14" fmla="*/ 8 w 48"/>
                  <a:gd name="T15" fmla="*/ 31 h 59"/>
                  <a:gd name="T16" fmla="*/ 11 w 48"/>
                  <a:gd name="T17" fmla="*/ 33 h 59"/>
                  <a:gd name="T18" fmla="*/ 12 w 48"/>
                  <a:gd name="T19" fmla="*/ 35 h 59"/>
                  <a:gd name="T20" fmla="*/ 18 w 48"/>
                  <a:gd name="T21" fmla="*/ 40 h 59"/>
                  <a:gd name="T22" fmla="*/ 20 w 48"/>
                  <a:gd name="T23" fmla="*/ 46 h 59"/>
                  <a:gd name="T24" fmla="*/ 26 w 48"/>
                  <a:gd name="T25" fmla="*/ 48 h 59"/>
                  <a:gd name="T26" fmla="*/ 30 w 48"/>
                  <a:gd name="T27" fmla="*/ 53 h 59"/>
                  <a:gd name="T28" fmla="*/ 35 w 48"/>
                  <a:gd name="T29" fmla="*/ 55 h 59"/>
                  <a:gd name="T30" fmla="*/ 38 w 48"/>
                  <a:gd name="T31" fmla="*/ 59 h 59"/>
                  <a:gd name="T32" fmla="*/ 40 w 48"/>
                  <a:gd name="T33" fmla="*/ 59 h 59"/>
                  <a:gd name="T34" fmla="*/ 41 w 48"/>
                  <a:gd name="T35" fmla="*/ 59 h 59"/>
                  <a:gd name="T36" fmla="*/ 42 w 48"/>
                  <a:gd name="T37" fmla="*/ 58 h 59"/>
                  <a:gd name="T38" fmla="*/ 44 w 48"/>
                  <a:gd name="T39" fmla="*/ 55 h 59"/>
                  <a:gd name="T40" fmla="*/ 45 w 48"/>
                  <a:gd name="T41" fmla="*/ 53 h 59"/>
                  <a:gd name="T42" fmla="*/ 48 w 48"/>
                  <a:gd name="T43" fmla="*/ 37 h 59"/>
                  <a:gd name="T44" fmla="*/ 46 w 48"/>
                  <a:gd name="T45" fmla="*/ 36 h 59"/>
                  <a:gd name="T46" fmla="*/ 45 w 48"/>
                  <a:gd name="T47" fmla="*/ 33 h 59"/>
                  <a:gd name="T48" fmla="*/ 41 w 48"/>
                  <a:gd name="T49" fmla="*/ 28 h 59"/>
                  <a:gd name="T50" fmla="*/ 38 w 48"/>
                  <a:gd name="T51" fmla="*/ 21 h 59"/>
                  <a:gd name="T52" fmla="*/ 34 w 48"/>
                  <a:gd name="T53" fmla="*/ 15 h 59"/>
                  <a:gd name="T54" fmla="*/ 31 w 48"/>
                  <a:gd name="T55" fmla="*/ 9 h 59"/>
                  <a:gd name="T56" fmla="*/ 29 w 48"/>
                  <a:gd name="T57" fmla="*/ 3 h 59"/>
                  <a:gd name="T58" fmla="*/ 27 w 48"/>
                  <a:gd name="T59" fmla="*/ 0 h 59"/>
                  <a:gd name="T60" fmla="*/ 24 w 48"/>
                  <a:gd name="T61" fmla="*/ 0 h 59"/>
                  <a:gd name="T62" fmla="*/ 20 w 48"/>
                  <a:gd name="T63" fmla="*/ 0 h 59"/>
                  <a:gd name="T64" fmla="*/ 16 w 48"/>
                  <a:gd name="T65" fmla="*/ 0 h 59"/>
                  <a:gd name="T66" fmla="*/ 11 w 48"/>
                  <a:gd name="T67" fmla="*/ 0 h 59"/>
                  <a:gd name="T68" fmla="*/ 7 w 48"/>
                  <a:gd name="T69" fmla="*/ 0 h 59"/>
                  <a:gd name="T70" fmla="*/ 2 w 48"/>
                  <a:gd name="T71" fmla="*/ 0 h 59"/>
                  <a:gd name="T72" fmla="*/ 0 w 48"/>
                  <a:gd name="T73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8" h="59">
                    <a:moveTo>
                      <a:pt x="0" y="0"/>
                    </a:moveTo>
                    <a:lnTo>
                      <a:pt x="0" y="10"/>
                    </a:lnTo>
                    <a:lnTo>
                      <a:pt x="1" y="11"/>
                    </a:lnTo>
                    <a:lnTo>
                      <a:pt x="1" y="14"/>
                    </a:lnTo>
                    <a:lnTo>
                      <a:pt x="2" y="17"/>
                    </a:lnTo>
                    <a:lnTo>
                      <a:pt x="5" y="21"/>
                    </a:lnTo>
                    <a:lnTo>
                      <a:pt x="7" y="26"/>
                    </a:lnTo>
                    <a:lnTo>
                      <a:pt x="8" y="31"/>
                    </a:lnTo>
                    <a:lnTo>
                      <a:pt x="11" y="33"/>
                    </a:lnTo>
                    <a:lnTo>
                      <a:pt x="12" y="35"/>
                    </a:lnTo>
                    <a:lnTo>
                      <a:pt x="18" y="40"/>
                    </a:lnTo>
                    <a:lnTo>
                      <a:pt x="20" y="46"/>
                    </a:lnTo>
                    <a:lnTo>
                      <a:pt x="26" y="48"/>
                    </a:lnTo>
                    <a:lnTo>
                      <a:pt x="30" y="53"/>
                    </a:lnTo>
                    <a:lnTo>
                      <a:pt x="35" y="55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1" y="59"/>
                    </a:lnTo>
                    <a:lnTo>
                      <a:pt x="42" y="58"/>
                    </a:lnTo>
                    <a:lnTo>
                      <a:pt x="44" y="55"/>
                    </a:lnTo>
                    <a:lnTo>
                      <a:pt x="45" y="53"/>
                    </a:lnTo>
                    <a:lnTo>
                      <a:pt x="48" y="37"/>
                    </a:lnTo>
                    <a:lnTo>
                      <a:pt x="46" y="36"/>
                    </a:lnTo>
                    <a:lnTo>
                      <a:pt x="45" y="33"/>
                    </a:lnTo>
                    <a:lnTo>
                      <a:pt x="41" y="28"/>
                    </a:lnTo>
                    <a:lnTo>
                      <a:pt x="38" y="21"/>
                    </a:lnTo>
                    <a:lnTo>
                      <a:pt x="34" y="15"/>
                    </a:lnTo>
                    <a:lnTo>
                      <a:pt x="31" y="9"/>
                    </a:lnTo>
                    <a:lnTo>
                      <a:pt x="29" y="3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5" name="Freeform 14"/>
              <p:cNvSpPr>
                <a:spLocks/>
              </p:cNvSpPr>
              <p:nvPr/>
            </p:nvSpPr>
            <p:spPr bwMode="auto">
              <a:xfrm>
                <a:off x="3370" y="3115"/>
                <a:ext cx="104" cy="217"/>
              </a:xfrm>
              <a:custGeom>
                <a:avLst/>
                <a:gdLst>
                  <a:gd name="T0" fmla="*/ 95 w 104"/>
                  <a:gd name="T1" fmla="*/ 0 h 217"/>
                  <a:gd name="T2" fmla="*/ 91 w 104"/>
                  <a:gd name="T3" fmla="*/ 3 h 217"/>
                  <a:gd name="T4" fmla="*/ 84 w 104"/>
                  <a:gd name="T5" fmla="*/ 7 h 217"/>
                  <a:gd name="T6" fmla="*/ 77 w 104"/>
                  <a:gd name="T7" fmla="*/ 17 h 217"/>
                  <a:gd name="T8" fmla="*/ 73 w 104"/>
                  <a:gd name="T9" fmla="*/ 25 h 217"/>
                  <a:gd name="T10" fmla="*/ 69 w 104"/>
                  <a:gd name="T11" fmla="*/ 29 h 217"/>
                  <a:gd name="T12" fmla="*/ 61 w 104"/>
                  <a:gd name="T13" fmla="*/ 36 h 217"/>
                  <a:gd name="T14" fmla="*/ 54 w 104"/>
                  <a:gd name="T15" fmla="*/ 44 h 217"/>
                  <a:gd name="T16" fmla="*/ 47 w 104"/>
                  <a:gd name="T17" fmla="*/ 55 h 217"/>
                  <a:gd name="T18" fmla="*/ 42 w 104"/>
                  <a:gd name="T19" fmla="*/ 60 h 217"/>
                  <a:gd name="T20" fmla="*/ 35 w 104"/>
                  <a:gd name="T21" fmla="*/ 63 h 217"/>
                  <a:gd name="T22" fmla="*/ 32 w 104"/>
                  <a:gd name="T23" fmla="*/ 65 h 217"/>
                  <a:gd name="T24" fmla="*/ 31 w 104"/>
                  <a:gd name="T25" fmla="*/ 65 h 217"/>
                  <a:gd name="T26" fmla="*/ 24 w 104"/>
                  <a:gd name="T27" fmla="*/ 65 h 217"/>
                  <a:gd name="T28" fmla="*/ 16 w 104"/>
                  <a:gd name="T29" fmla="*/ 70 h 217"/>
                  <a:gd name="T30" fmla="*/ 9 w 104"/>
                  <a:gd name="T31" fmla="*/ 81 h 217"/>
                  <a:gd name="T32" fmla="*/ 7 w 104"/>
                  <a:gd name="T33" fmla="*/ 99 h 217"/>
                  <a:gd name="T34" fmla="*/ 7 w 104"/>
                  <a:gd name="T35" fmla="*/ 107 h 217"/>
                  <a:gd name="T36" fmla="*/ 9 w 104"/>
                  <a:gd name="T37" fmla="*/ 109 h 217"/>
                  <a:gd name="T38" fmla="*/ 11 w 104"/>
                  <a:gd name="T39" fmla="*/ 111 h 217"/>
                  <a:gd name="T40" fmla="*/ 17 w 104"/>
                  <a:gd name="T41" fmla="*/ 118 h 217"/>
                  <a:gd name="T42" fmla="*/ 18 w 104"/>
                  <a:gd name="T43" fmla="*/ 125 h 217"/>
                  <a:gd name="T44" fmla="*/ 14 w 104"/>
                  <a:gd name="T45" fmla="*/ 129 h 217"/>
                  <a:gd name="T46" fmla="*/ 10 w 104"/>
                  <a:gd name="T47" fmla="*/ 135 h 217"/>
                  <a:gd name="T48" fmla="*/ 6 w 104"/>
                  <a:gd name="T49" fmla="*/ 143 h 217"/>
                  <a:gd name="T50" fmla="*/ 2 w 104"/>
                  <a:gd name="T51" fmla="*/ 157 h 217"/>
                  <a:gd name="T52" fmla="*/ 0 w 104"/>
                  <a:gd name="T53" fmla="*/ 175 h 217"/>
                  <a:gd name="T54" fmla="*/ 5 w 104"/>
                  <a:gd name="T55" fmla="*/ 195 h 217"/>
                  <a:gd name="T56" fmla="*/ 10 w 104"/>
                  <a:gd name="T57" fmla="*/ 205 h 217"/>
                  <a:gd name="T58" fmla="*/ 10 w 104"/>
                  <a:gd name="T59" fmla="*/ 205 h 217"/>
                  <a:gd name="T60" fmla="*/ 13 w 104"/>
                  <a:gd name="T61" fmla="*/ 205 h 217"/>
                  <a:gd name="T62" fmla="*/ 18 w 104"/>
                  <a:gd name="T63" fmla="*/ 205 h 217"/>
                  <a:gd name="T64" fmla="*/ 25 w 104"/>
                  <a:gd name="T65" fmla="*/ 205 h 217"/>
                  <a:gd name="T66" fmla="*/ 28 w 104"/>
                  <a:gd name="T67" fmla="*/ 205 h 217"/>
                  <a:gd name="T68" fmla="*/ 27 w 104"/>
                  <a:gd name="T69" fmla="*/ 206 h 217"/>
                  <a:gd name="T70" fmla="*/ 27 w 104"/>
                  <a:gd name="T71" fmla="*/ 209 h 217"/>
                  <a:gd name="T72" fmla="*/ 32 w 104"/>
                  <a:gd name="T73" fmla="*/ 214 h 217"/>
                  <a:gd name="T74" fmla="*/ 39 w 104"/>
                  <a:gd name="T75" fmla="*/ 217 h 217"/>
                  <a:gd name="T76" fmla="*/ 49 w 104"/>
                  <a:gd name="T77" fmla="*/ 216 h 217"/>
                  <a:gd name="T78" fmla="*/ 57 w 104"/>
                  <a:gd name="T79" fmla="*/ 205 h 217"/>
                  <a:gd name="T80" fmla="*/ 66 w 104"/>
                  <a:gd name="T81" fmla="*/ 184 h 217"/>
                  <a:gd name="T82" fmla="*/ 71 w 104"/>
                  <a:gd name="T83" fmla="*/ 166 h 217"/>
                  <a:gd name="T84" fmla="*/ 72 w 104"/>
                  <a:gd name="T85" fmla="*/ 155 h 217"/>
                  <a:gd name="T86" fmla="*/ 72 w 104"/>
                  <a:gd name="T87" fmla="*/ 150 h 217"/>
                  <a:gd name="T88" fmla="*/ 72 w 104"/>
                  <a:gd name="T89" fmla="*/ 148 h 217"/>
                  <a:gd name="T90" fmla="*/ 72 w 104"/>
                  <a:gd name="T91" fmla="*/ 146 h 217"/>
                  <a:gd name="T92" fmla="*/ 73 w 104"/>
                  <a:gd name="T93" fmla="*/ 139 h 217"/>
                  <a:gd name="T94" fmla="*/ 76 w 104"/>
                  <a:gd name="T95" fmla="*/ 132 h 217"/>
                  <a:gd name="T96" fmla="*/ 82 w 104"/>
                  <a:gd name="T97" fmla="*/ 124 h 217"/>
                  <a:gd name="T98" fmla="*/ 86 w 104"/>
                  <a:gd name="T99" fmla="*/ 107 h 217"/>
                  <a:gd name="T100" fmla="*/ 90 w 104"/>
                  <a:gd name="T101" fmla="*/ 88 h 217"/>
                  <a:gd name="T102" fmla="*/ 93 w 104"/>
                  <a:gd name="T103" fmla="*/ 70 h 217"/>
                  <a:gd name="T104" fmla="*/ 94 w 104"/>
                  <a:gd name="T105" fmla="*/ 63 h 217"/>
                  <a:gd name="T106" fmla="*/ 95 w 104"/>
                  <a:gd name="T107" fmla="*/ 58 h 217"/>
                  <a:gd name="T108" fmla="*/ 98 w 104"/>
                  <a:gd name="T109" fmla="*/ 48 h 217"/>
                  <a:gd name="T110" fmla="*/ 99 w 104"/>
                  <a:gd name="T111" fmla="*/ 38 h 217"/>
                  <a:gd name="T112" fmla="*/ 101 w 104"/>
                  <a:gd name="T113" fmla="*/ 29 h 217"/>
                  <a:gd name="T114" fmla="*/ 104 w 104"/>
                  <a:gd name="T115" fmla="*/ 19 h 217"/>
                  <a:gd name="T116" fmla="*/ 104 w 104"/>
                  <a:gd name="T117" fmla="*/ 10 h 217"/>
                  <a:gd name="T118" fmla="*/ 101 w 104"/>
                  <a:gd name="T119" fmla="*/ 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4" h="217">
                    <a:moveTo>
                      <a:pt x="95" y="0"/>
                    </a:moveTo>
                    <a:lnTo>
                      <a:pt x="95" y="0"/>
                    </a:lnTo>
                    <a:lnTo>
                      <a:pt x="93" y="1"/>
                    </a:lnTo>
                    <a:lnTo>
                      <a:pt x="91" y="3"/>
                    </a:lnTo>
                    <a:lnTo>
                      <a:pt x="87" y="4"/>
                    </a:lnTo>
                    <a:lnTo>
                      <a:pt x="84" y="7"/>
                    </a:lnTo>
                    <a:lnTo>
                      <a:pt x="80" y="11"/>
                    </a:lnTo>
                    <a:lnTo>
                      <a:pt x="77" y="17"/>
                    </a:lnTo>
                    <a:lnTo>
                      <a:pt x="75" y="23"/>
                    </a:lnTo>
                    <a:lnTo>
                      <a:pt x="73" y="25"/>
                    </a:lnTo>
                    <a:lnTo>
                      <a:pt x="72" y="26"/>
                    </a:lnTo>
                    <a:lnTo>
                      <a:pt x="69" y="29"/>
                    </a:lnTo>
                    <a:lnTo>
                      <a:pt x="65" y="32"/>
                    </a:lnTo>
                    <a:lnTo>
                      <a:pt x="61" y="36"/>
                    </a:lnTo>
                    <a:lnTo>
                      <a:pt x="57" y="40"/>
                    </a:lnTo>
                    <a:lnTo>
                      <a:pt x="54" y="44"/>
                    </a:lnTo>
                    <a:lnTo>
                      <a:pt x="50" y="49"/>
                    </a:lnTo>
                    <a:lnTo>
                      <a:pt x="47" y="55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2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2" y="65"/>
                    </a:lnTo>
                    <a:lnTo>
                      <a:pt x="31" y="65"/>
                    </a:lnTo>
                    <a:lnTo>
                      <a:pt x="31" y="65"/>
                    </a:lnTo>
                    <a:lnTo>
                      <a:pt x="28" y="65"/>
                    </a:lnTo>
                    <a:lnTo>
                      <a:pt x="24" y="65"/>
                    </a:lnTo>
                    <a:lnTo>
                      <a:pt x="20" y="66"/>
                    </a:lnTo>
                    <a:lnTo>
                      <a:pt x="16" y="70"/>
                    </a:lnTo>
                    <a:lnTo>
                      <a:pt x="11" y="74"/>
                    </a:lnTo>
                    <a:lnTo>
                      <a:pt x="9" y="81"/>
                    </a:lnTo>
                    <a:lnTo>
                      <a:pt x="7" y="91"/>
                    </a:lnTo>
                    <a:lnTo>
                      <a:pt x="7" y="99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9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4" y="114"/>
                    </a:lnTo>
                    <a:lnTo>
                      <a:pt x="17" y="118"/>
                    </a:lnTo>
                    <a:lnTo>
                      <a:pt x="18" y="121"/>
                    </a:lnTo>
                    <a:lnTo>
                      <a:pt x="18" y="125"/>
                    </a:lnTo>
                    <a:lnTo>
                      <a:pt x="17" y="126"/>
                    </a:lnTo>
                    <a:lnTo>
                      <a:pt x="14" y="129"/>
                    </a:lnTo>
                    <a:lnTo>
                      <a:pt x="13" y="132"/>
                    </a:lnTo>
                    <a:lnTo>
                      <a:pt x="10" y="135"/>
                    </a:lnTo>
                    <a:lnTo>
                      <a:pt x="7" y="137"/>
                    </a:lnTo>
                    <a:lnTo>
                      <a:pt x="6" y="143"/>
                    </a:lnTo>
                    <a:lnTo>
                      <a:pt x="3" y="148"/>
                    </a:lnTo>
                    <a:lnTo>
                      <a:pt x="2" y="157"/>
                    </a:lnTo>
                    <a:lnTo>
                      <a:pt x="0" y="165"/>
                    </a:lnTo>
                    <a:lnTo>
                      <a:pt x="0" y="175"/>
                    </a:lnTo>
                    <a:lnTo>
                      <a:pt x="2" y="184"/>
                    </a:lnTo>
                    <a:lnTo>
                      <a:pt x="5" y="19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0" y="205"/>
                    </a:lnTo>
                    <a:lnTo>
                      <a:pt x="11" y="205"/>
                    </a:lnTo>
                    <a:lnTo>
                      <a:pt x="13" y="205"/>
                    </a:lnTo>
                    <a:lnTo>
                      <a:pt x="14" y="205"/>
                    </a:lnTo>
                    <a:lnTo>
                      <a:pt x="18" y="205"/>
                    </a:lnTo>
                    <a:lnTo>
                      <a:pt x="21" y="205"/>
                    </a:lnTo>
                    <a:lnTo>
                      <a:pt x="25" y="205"/>
                    </a:lnTo>
                    <a:lnTo>
                      <a:pt x="27" y="205"/>
                    </a:lnTo>
                    <a:lnTo>
                      <a:pt x="28" y="205"/>
                    </a:lnTo>
                    <a:lnTo>
                      <a:pt x="27" y="205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9"/>
                    </a:lnTo>
                    <a:lnTo>
                      <a:pt x="29" y="212"/>
                    </a:lnTo>
                    <a:lnTo>
                      <a:pt x="32" y="214"/>
                    </a:lnTo>
                    <a:lnTo>
                      <a:pt x="35" y="217"/>
                    </a:lnTo>
                    <a:lnTo>
                      <a:pt x="39" y="217"/>
                    </a:lnTo>
                    <a:lnTo>
                      <a:pt x="43" y="217"/>
                    </a:lnTo>
                    <a:lnTo>
                      <a:pt x="49" y="216"/>
                    </a:lnTo>
                    <a:lnTo>
                      <a:pt x="53" y="212"/>
                    </a:lnTo>
                    <a:lnTo>
                      <a:pt x="57" y="205"/>
                    </a:lnTo>
                    <a:lnTo>
                      <a:pt x="62" y="195"/>
                    </a:lnTo>
                    <a:lnTo>
                      <a:pt x="66" y="184"/>
                    </a:lnTo>
                    <a:lnTo>
                      <a:pt x="69" y="175"/>
                    </a:lnTo>
                    <a:lnTo>
                      <a:pt x="71" y="166"/>
                    </a:lnTo>
                    <a:lnTo>
                      <a:pt x="72" y="161"/>
                    </a:lnTo>
                    <a:lnTo>
                      <a:pt x="72" y="155"/>
                    </a:lnTo>
                    <a:lnTo>
                      <a:pt x="72" y="153"/>
                    </a:lnTo>
                    <a:lnTo>
                      <a:pt x="72" y="150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7"/>
                    </a:lnTo>
                    <a:lnTo>
                      <a:pt x="72" y="146"/>
                    </a:lnTo>
                    <a:lnTo>
                      <a:pt x="72" y="143"/>
                    </a:lnTo>
                    <a:lnTo>
                      <a:pt x="73" y="139"/>
                    </a:lnTo>
                    <a:lnTo>
                      <a:pt x="75" y="136"/>
                    </a:lnTo>
                    <a:lnTo>
                      <a:pt x="76" y="132"/>
                    </a:lnTo>
                    <a:lnTo>
                      <a:pt x="79" y="128"/>
                    </a:lnTo>
                    <a:lnTo>
                      <a:pt x="82" y="124"/>
                    </a:lnTo>
                    <a:lnTo>
                      <a:pt x="84" y="117"/>
                    </a:lnTo>
                    <a:lnTo>
                      <a:pt x="86" y="107"/>
                    </a:lnTo>
                    <a:lnTo>
                      <a:pt x="88" y="98"/>
                    </a:lnTo>
                    <a:lnTo>
                      <a:pt x="90" y="88"/>
                    </a:lnTo>
                    <a:lnTo>
                      <a:pt x="91" y="78"/>
                    </a:lnTo>
                    <a:lnTo>
                      <a:pt x="93" y="70"/>
                    </a:lnTo>
                    <a:lnTo>
                      <a:pt x="94" y="65"/>
                    </a:lnTo>
                    <a:lnTo>
                      <a:pt x="94" y="63"/>
                    </a:lnTo>
                    <a:lnTo>
                      <a:pt x="94" y="60"/>
                    </a:lnTo>
                    <a:lnTo>
                      <a:pt x="95" y="58"/>
                    </a:lnTo>
                    <a:lnTo>
                      <a:pt x="97" y="54"/>
                    </a:lnTo>
                    <a:lnTo>
                      <a:pt x="98" y="48"/>
                    </a:lnTo>
                    <a:lnTo>
                      <a:pt x="99" y="43"/>
                    </a:lnTo>
                    <a:lnTo>
                      <a:pt x="99" y="38"/>
                    </a:lnTo>
                    <a:lnTo>
                      <a:pt x="101" y="33"/>
                    </a:lnTo>
                    <a:lnTo>
                      <a:pt x="101" y="29"/>
                    </a:lnTo>
                    <a:lnTo>
                      <a:pt x="102" y="23"/>
                    </a:lnTo>
                    <a:lnTo>
                      <a:pt x="104" y="19"/>
                    </a:lnTo>
                    <a:lnTo>
                      <a:pt x="104" y="14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1" y="3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6" name="Freeform 15"/>
              <p:cNvSpPr>
                <a:spLocks/>
              </p:cNvSpPr>
              <p:nvPr/>
            </p:nvSpPr>
            <p:spPr bwMode="auto">
              <a:xfrm>
                <a:off x="3370" y="3115"/>
                <a:ext cx="104" cy="217"/>
              </a:xfrm>
              <a:custGeom>
                <a:avLst/>
                <a:gdLst>
                  <a:gd name="T0" fmla="*/ 93 w 104"/>
                  <a:gd name="T1" fmla="*/ 1 h 217"/>
                  <a:gd name="T2" fmla="*/ 87 w 104"/>
                  <a:gd name="T3" fmla="*/ 4 h 217"/>
                  <a:gd name="T4" fmla="*/ 80 w 104"/>
                  <a:gd name="T5" fmla="*/ 11 h 217"/>
                  <a:gd name="T6" fmla="*/ 75 w 104"/>
                  <a:gd name="T7" fmla="*/ 23 h 217"/>
                  <a:gd name="T8" fmla="*/ 72 w 104"/>
                  <a:gd name="T9" fmla="*/ 26 h 217"/>
                  <a:gd name="T10" fmla="*/ 65 w 104"/>
                  <a:gd name="T11" fmla="*/ 32 h 217"/>
                  <a:gd name="T12" fmla="*/ 57 w 104"/>
                  <a:gd name="T13" fmla="*/ 40 h 217"/>
                  <a:gd name="T14" fmla="*/ 50 w 104"/>
                  <a:gd name="T15" fmla="*/ 49 h 217"/>
                  <a:gd name="T16" fmla="*/ 44 w 104"/>
                  <a:gd name="T17" fmla="*/ 58 h 217"/>
                  <a:gd name="T18" fmla="*/ 38 w 104"/>
                  <a:gd name="T19" fmla="*/ 62 h 217"/>
                  <a:gd name="T20" fmla="*/ 33 w 104"/>
                  <a:gd name="T21" fmla="*/ 63 h 217"/>
                  <a:gd name="T22" fmla="*/ 31 w 104"/>
                  <a:gd name="T23" fmla="*/ 65 h 217"/>
                  <a:gd name="T24" fmla="*/ 24 w 104"/>
                  <a:gd name="T25" fmla="*/ 65 h 217"/>
                  <a:gd name="T26" fmla="*/ 16 w 104"/>
                  <a:gd name="T27" fmla="*/ 70 h 217"/>
                  <a:gd name="T28" fmla="*/ 9 w 104"/>
                  <a:gd name="T29" fmla="*/ 81 h 217"/>
                  <a:gd name="T30" fmla="*/ 7 w 104"/>
                  <a:gd name="T31" fmla="*/ 99 h 217"/>
                  <a:gd name="T32" fmla="*/ 7 w 104"/>
                  <a:gd name="T33" fmla="*/ 107 h 217"/>
                  <a:gd name="T34" fmla="*/ 9 w 104"/>
                  <a:gd name="T35" fmla="*/ 109 h 217"/>
                  <a:gd name="T36" fmla="*/ 11 w 104"/>
                  <a:gd name="T37" fmla="*/ 111 h 217"/>
                  <a:gd name="T38" fmla="*/ 17 w 104"/>
                  <a:gd name="T39" fmla="*/ 118 h 217"/>
                  <a:gd name="T40" fmla="*/ 18 w 104"/>
                  <a:gd name="T41" fmla="*/ 125 h 217"/>
                  <a:gd name="T42" fmla="*/ 14 w 104"/>
                  <a:gd name="T43" fmla="*/ 129 h 217"/>
                  <a:gd name="T44" fmla="*/ 10 w 104"/>
                  <a:gd name="T45" fmla="*/ 135 h 217"/>
                  <a:gd name="T46" fmla="*/ 6 w 104"/>
                  <a:gd name="T47" fmla="*/ 143 h 217"/>
                  <a:gd name="T48" fmla="*/ 2 w 104"/>
                  <a:gd name="T49" fmla="*/ 157 h 217"/>
                  <a:gd name="T50" fmla="*/ 0 w 104"/>
                  <a:gd name="T51" fmla="*/ 175 h 217"/>
                  <a:gd name="T52" fmla="*/ 5 w 104"/>
                  <a:gd name="T53" fmla="*/ 195 h 217"/>
                  <a:gd name="T54" fmla="*/ 11 w 104"/>
                  <a:gd name="T55" fmla="*/ 205 h 217"/>
                  <a:gd name="T56" fmla="*/ 14 w 104"/>
                  <a:gd name="T57" fmla="*/ 205 h 217"/>
                  <a:gd name="T58" fmla="*/ 21 w 104"/>
                  <a:gd name="T59" fmla="*/ 205 h 217"/>
                  <a:gd name="T60" fmla="*/ 27 w 104"/>
                  <a:gd name="T61" fmla="*/ 205 h 217"/>
                  <a:gd name="T62" fmla="*/ 27 w 104"/>
                  <a:gd name="T63" fmla="*/ 205 h 217"/>
                  <a:gd name="T64" fmla="*/ 27 w 104"/>
                  <a:gd name="T65" fmla="*/ 208 h 217"/>
                  <a:gd name="T66" fmla="*/ 29 w 104"/>
                  <a:gd name="T67" fmla="*/ 212 h 217"/>
                  <a:gd name="T68" fmla="*/ 35 w 104"/>
                  <a:gd name="T69" fmla="*/ 217 h 217"/>
                  <a:gd name="T70" fmla="*/ 43 w 104"/>
                  <a:gd name="T71" fmla="*/ 217 h 217"/>
                  <a:gd name="T72" fmla="*/ 53 w 104"/>
                  <a:gd name="T73" fmla="*/ 212 h 217"/>
                  <a:gd name="T74" fmla="*/ 62 w 104"/>
                  <a:gd name="T75" fmla="*/ 195 h 217"/>
                  <a:gd name="T76" fmla="*/ 69 w 104"/>
                  <a:gd name="T77" fmla="*/ 175 h 217"/>
                  <a:gd name="T78" fmla="*/ 72 w 104"/>
                  <a:gd name="T79" fmla="*/ 161 h 217"/>
                  <a:gd name="T80" fmla="*/ 72 w 104"/>
                  <a:gd name="T81" fmla="*/ 153 h 217"/>
                  <a:gd name="T82" fmla="*/ 72 w 104"/>
                  <a:gd name="T83" fmla="*/ 148 h 217"/>
                  <a:gd name="T84" fmla="*/ 72 w 104"/>
                  <a:gd name="T85" fmla="*/ 146 h 217"/>
                  <a:gd name="T86" fmla="*/ 73 w 104"/>
                  <a:gd name="T87" fmla="*/ 139 h 217"/>
                  <a:gd name="T88" fmla="*/ 76 w 104"/>
                  <a:gd name="T89" fmla="*/ 132 h 217"/>
                  <a:gd name="T90" fmla="*/ 82 w 104"/>
                  <a:gd name="T91" fmla="*/ 124 h 217"/>
                  <a:gd name="T92" fmla="*/ 86 w 104"/>
                  <a:gd name="T93" fmla="*/ 107 h 217"/>
                  <a:gd name="T94" fmla="*/ 90 w 104"/>
                  <a:gd name="T95" fmla="*/ 88 h 217"/>
                  <a:gd name="T96" fmla="*/ 93 w 104"/>
                  <a:gd name="T97" fmla="*/ 70 h 217"/>
                  <a:gd name="T98" fmla="*/ 94 w 104"/>
                  <a:gd name="T99" fmla="*/ 63 h 217"/>
                  <a:gd name="T100" fmla="*/ 95 w 104"/>
                  <a:gd name="T101" fmla="*/ 58 h 217"/>
                  <a:gd name="T102" fmla="*/ 98 w 104"/>
                  <a:gd name="T103" fmla="*/ 48 h 217"/>
                  <a:gd name="T104" fmla="*/ 99 w 104"/>
                  <a:gd name="T105" fmla="*/ 38 h 217"/>
                  <a:gd name="T106" fmla="*/ 101 w 104"/>
                  <a:gd name="T107" fmla="*/ 29 h 217"/>
                  <a:gd name="T108" fmla="*/ 104 w 104"/>
                  <a:gd name="T109" fmla="*/ 19 h 217"/>
                  <a:gd name="T110" fmla="*/ 104 w 104"/>
                  <a:gd name="T111" fmla="*/ 10 h 217"/>
                  <a:gd name="T112" fmla="*/ 101 w 104"/>
                  <a:gd name="T113" fmla="*/ 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4" h="217">
                    <a:moveTo>
                      <a:pt x="95" y="0"/>
                    </a:moveTo>
                    <a:lnTo>
                      <a:pt x="93" y="1"/>
                    </a:lnTo>
                    <a:lnTo>
                      <a:pt x="91" y="3"/>
                    </a:lnTo>
                    <a:lnTo>
                      <a:pt x="87" y="4"/>
                    </a:lnTo>
                    <a:lnTo>
                      <a:pt x="84" y="7"/>
                    </a:lnTo>
                    <a:lnTo>
                      <a:pt x="80" y="11"/>
                    </a:lnTo>
                    <a:lnTo>
                      <a:pt x="77" y="17"/>
                    </a:lnTo>
                    <a:lnTo>
                      <a:pt x="75" y="23"/>
                    </a:lnTo>
                    <a:lnTo>
                      <a:pt x="73" y="25"/>
                    </a:lnTo>
                    <a:lnTo>
                      <a:pt x="72" y="26"/>
                    </a:lnTo>
                    <a:lnTo>
                      <a:pt x="69" y="29"/>
                    </a:lnTo>
                    <a:lnTo>
                      <a:pt x="65" y="32"/>
                    </a:lnTo>
                    <a:lnTo>
                      <a:pt x="61" y="36"/>
                    </a:lnTo>
                    <a:lnTo>
                      <a:pt x="57" y="40"/>
                    </a:lnTo>
                    <a:lnTo>
                      <a:pt x="54" y="44"/>
                    </a:lnTo>
                    <a:lnTo>
                      <a:pt x="50" y="49"/>
                    </a:lnTo>
                    <a:lnTo>
                      <a:pt x="47" y="55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2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2" y="65"/>
                    </a:lnTo>
                    <a:lnTo>
                      <a:pt x="31" y="65"/>
                    </a:lnTo>
                    <a:lnTo>
                      <a:pt x="28" y="65"/>
                    </a:lnTo>
                    <a:lnTo>
                      <a:pt x="24" y="65"/>
                    </a:lnTo>
                    <a:lnTo>
                      <a:pt x="20" y="66"/>
                    </a:lnTo>
                    <a:lnTo>
                      <a:pt x="16" y="70"/>
                    </a:lnTo>
                    <a:lnTo>
                      <a:pt x="11" y="74"/>
                    </a:lnTo>
                    <a:lnTo>
                      <a:pt x="9" y="81"/>
                    </a:lnTo>
                    <a:lnTo>
                      <a:pt x="7" y="91"/>
                    </a:lnTo>
                    <a:lnTo>
                      <a:pt x="7" y="99"/>
                    </a:lnTo>
                    <a:lnTo>
                      <a:pt x="7" y="104"/>
                    </a:lnTo>
                    <a:lnTo>
                      <a:pt x="7" y="107"/>
                    </a:lnTo>
                    <a:lnTo>
                      <a:pt x="7" y="109"/>
                    </a:lnTo>
                    <a:lnTo>
                      <a:pt x="9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4" y="114"/>
                    </a:lnTo>
                    <a:lnTo>
                      <a:pt x="17" y="118"/>
                    </a:lnTo>
                    <a:lnTo>
                      <a:pt x="18" y="121"/>
                    </a:lnTo>
                    <a:lnTo>
                      <a:pt x="18" y="125"/>
                    </a:lnTo>
                    <a:lnTo>
                      <a:pt x="17" y="126"/>
                    </a:lnTo>
                    <a:lnTo>
                      <a:pt x="14" y="129"/>
                    </a:lnTo>
                    <a:lnTo>
                      <a:pt x="13" y="132"/>
                    </a:lnTo>
                    <a:lnTo>
                      <a:pt x="10" y="135"/>
                    </a:lnTo>
                    <a:lnTo>
                      <a:pt x="7" y="137"/>
                    </a:lnTo>
                    <a:lnTo>
                      <a:pt x="6" y="143"/>
                    </a:lnTo>
                    <a:lnTo>
                      <a:pt x="3" y="148"/>
                    </a:lnTo>
                    <a:lnTo>
                      <a:pt x="2" y="157"/>
                    </a:lnTo>
                    <a:lnTo>
                      <a:pt x="0" y="165"/>
                    </a:lnTo>
                    <a:lnTo>
                      <a:pt x="0" y="175"/>
                    </a:lnTo>
                    <a:lnTo>
                      <a:pt x="2" y="184"/>
                    </a:lnTo>
                    <a:lnTo>
                      <a:pt x="5" y="195"/>
                    </a:lnTo>
                    <a:lnTo>
                      <a:pt x="10" y="205"/>
                    </a:lnTo>
                    <a:lnTo>
                      <a:pt x="11" y="205"/>
                    </a:lnTo>
                    <a:lnTo>
                      <a:pt x="13" y="205"/>
                    </a:lnTo>
                    <a:lnTo>
                      <a:pt x="14" y="205"/>
                    </a:lnTo>
                    <a:lnTo>
                      <a:pt x="18" y="205"/>
                    </a:lnTo>
                    <a:lnTo>
                      <a:pt x="21" y="205"/>
                    </a:lnTo>
                    <a:lnTo>
                      <a:pt x="25" y="205"/>
                    </a:lnTo>
                    <a:lnTo>
                      <a:pt x="27" y="205"/>
                    </a:lnTo>
                    <a:lnTo>
                      <a:pt x="28" y="205"/>
                    </a:lnTo>
                    <a:lnTo>
                      <a:pt x="27" y="205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9"/>
                    </a:lnTo>
                    <a:lnTo>
                      <a:pt x="29" y="212"/>
                    </a:lnTo>
                    <a:lnTo>
                      <a:pt x="32" y="214"/>
                    </a:lnTo>
                    <a:lnTo>
                      <a:pt x="35" y="217"/>
                    </a:lnTo>
                    <a:lnTo>
                      <a:pt x="39" y="217"/>
                    </a:lnTo>
                    <a:lnTo>
                      <a:pt x="43" y="217"/>
                    </a:lnTo>
                    <a:lnTo>
                      <a:pt x="49" y="216"/>
                    </a:lnTo>
                    <a:lnTo>
                      <a:pt x="53" y="212"/>
                    </a:lnTo>
                    <a:lnTo>
                      <a:pt x="57" y="205"/>
                    </a:lnTo>
                    <a:lnTo>
                      <a:pt x="62" y="195"/>
                    </a:lnTo>
                    <a:lnTo>
                      <a:pt x="66" y="184"/>
                    </a:lnTo>
                    <a:lnTo>
                      <a:pt x="69" y="175"/>
                    </a:lnTo>
                    <a:lnTo>
                      <a:pt x="71" y="166"/>
                    </a:lnTo>
                    <a:lnTo>
                      <a:pt x="72" y="161"/>
                    </a:lnTo>
                    <a:lnTo>
                      <a:pt x="72" y="155"/>
                    </a:lnTo>
                    <a:lnTo>
                      <a:pt x="72" y="153"/>
                    </a:lnTo>
                    <a:lnTo>
                      <a:pt x="72" y="150"/>
                    </a:lnTo>
                    <a:lnTo>
                      <a:pt x="72" y="148"/>
                    </a:lnTo>
                    <a:lnTo>
                      <a:pt x="72" y="147"/>
                    </a:lnTo>
                    <a:lnTo>
                      <a:pt x="72" y="146"/>
                    </a:lnTo>
                    <a:lnTo>
                      <a:pt x="72" y="143"/>
                    </a:lnTo>
                    <a:lnTo>
                      <a:pt x="73" y="139"/>
                    </a:lnTo>
                    <a:lnTo>
                      <a:pt x="75" y="136"/>
                    </a:lnTo>
                    <a:lnTo>
                      <a:pt x="76" y="132"/>
                    </a:lnTo>
                    <a:lnTo>
                      <a:pt x="79" y="128"/>
                    </a:lnTo>
                    <a:lnTo>
                      <a:pt x="82" y="124"/>
                    </a:lnTo>
                    <a:lnTo>
                      <a:pt x="84" y="117"/>
                    </a:lnTo>
                    <a:lnTo>
                      <a:pt x="86" y="107"/>
                    </a:lnTo>
                    <a:lnTo>
                      <a:pt x="88" y="98"/>
                    </a:lnTo>
                    <a:lnTo>
                      <a:pt x="90" y="88"/>
                    </a:lnTo>
                    <a:lnTo>
                      <a:pt x="91" y="78"/>
                    </a:lnTo>
                    <a:lnTo>
                      <a:pt x="93" y="70"/>
                    </a:lnTo>
                    <a:lnTo>
                      <a:pt x="94" y="65"/>
                    </a:lnTo>
                    <a:lnTo>
                      <a:pt x="94" y="63"/>
                    </a:lnTo>
                    <a:lnTo>
                      <a:pt x="94" y="60"/>
                    </a:lnTo>
                    <a:lnTo>
                      <a:pt x="95" y="58"/>
                    </a:lnTo>
                    <a:lnTo>
                      <a:pt x="97" y="54"/>
                    </a:lnTo>
                    <a:lnTo>
                      <a:pt x="98" y="48"/>
                    </a:lnTo>
                    <a:lnTo>
                      <a:pt x="99" y="43"/>
                    </a:lnTo>
                    <a:lnTo>
                      <a:pt x="99" y="38"/>
                    </a:lnTo>
                    <a:lnTo>
                      <a:pt x="101" y="33"/>
                    </a:lnTo>
                    <a:lnTo>
                      <a:pt x="101" y="29"/>
                    </a:lnTo>
                    <a:lnTo>
                      <a:pt x="102" y="23"/>
                    </a:lnTo>
                    <a:lnTo>
                      <a:pt x="104" y="19"/>
                    </a:lnTo>
                    <a:lnTo>
                      <a:pt x="104" y="14"/>
                    </a:lnTo>
                    <a:lnTo>
                      <a:pt x="104" y="10"/>
                    </a:lnTo>
                    <a:lnTo>
                      <a:pt x="104" y="6"/>
                    </a:lnTo>
                    <a:lnTo>
                      <a:pt x="101" y="3"/>
                    </a:lnTo>
                    <a:lnTo>
                      <a:pt x="95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7" name="Freeform 16"/>
              <p:cNvSpPr>
                <a:spLocks/>
              </p:cNvSpPr>
              <p:nvPr/>
            </p:nvSpPr>
            <p:spPr bwMode="auto">
              <a:xfrm>
                <a:off x="4899" y="3661"/>
                <a:ext cx="68" cy="67"/>
              </a:xfrm>
              <a:custGeom>
                <a:avLst/>
                <a:gdLst>
                  <a:gd name="T0" fmla="*/ 12 w 68"/>
                  <a:gd name="T1" fmla="*/ 4 h 67"/>
                  <a:gd name="T2" fmla="*/ 11 w 68"/>
                  <a:gd name="T3" fmla="*/ 4 h 67"/>
                  <a:gd name="T4" fmla="*/ 9 w 68"/>
                  <a:gd name="T5" fmla="*/ 4 h 67"/>
                  <a:gd name="T6" fmla="*/ 8 w 68"/>
                  <a:gd name="T7" fmla="*/ 4 h 67"/>
                  <a:gd name="T8" fmla="*/ 5 w 68"/>
                  <a:gd name="T9" fmla="*/ 5 h 67"/>
                  <a:gd name="T10" fmla="*/ 2 w 68"/>
                  <a:gd name="T11" fmla="*/ 7 h 67"/>
                  <a:gd name="T12" fmla="*/ 1 w 68"/>
                  <a:gd name="T13" fmla="*/ 9 h 67"/>
                  <a:gd name="T14" fmla="*/ 0 w 68"/>
                  <a:gd name="T15" fmla="*/ 12 h 67"/>
                  <a:gd name="T16" fmla="*/ 0 w 68"/>
                  <a:gd name="T17" fmla="*/ 18 h 67"/>
                  <a:gd name="T18" fmla="*/ 7 w 68"/>
                  <a:gd name="T19" fmla="*/ 37 h 67"/>
                  <a:gd name="T20" fmla="*/ 7 w 68"/>
                  <a:gd name="T21" fmla="*/ 37 h 67"/>
                  <a:gd name="T22" fmla="*/ 8 w 68"/>
                  <a:gd name="T23" fmla="*/ 38 h 67"/>
                  <a:gd name="T24" fmla="*/ 9 w 68"/>
                  <a:gd name="T25" fmla="*/ 40 h 67"/>
                  <a:gd name="T26" fmla="*/ 11 w 68"/>
                  <a:gd name="T27" fmla="*/ 42 h 67"/>
                  <a:gd name="T28" fmla="*/ 13 w 68"/>
                  <a:gd name="T29" fmla="*/ 45 h 67"/>
                  <a:gd name="T30" fmla="*/ 15 w 68"/>
                  <a:gd name="T31" fmla="*/ 48 h 67"/>
                  <a:gd name="T32" fmla="*/ 16 w 68"/>
                  <a:gd name="T33" fmla="*/ 51 h 67"/>
                  <a:gd name="T34" fmla="*/ 18 w 68"/>
                  <a:gd name="T35" fmla="*/ 53 h 67"/>
                  <a:gd name="T36" fmla="*/ 19 w 68"/>
                  <a:gd name="T37" fmla="*/ 56 h 67"/>
                  <a:gd name="T38" fmla="*/ 23 w 68"/>
                  <a:gd name="T39" fmla="*/ 59 h 67"/>
                  <a:gd name="T40" fmla="*/ 27 w 68"/>
                  <a:gd name="T41" fmla="*/ 62 h 67"/>
                  <a:gd name="T42" fmla="*/ 31 w 68"/>
                  <a:gd name="T43" fmla="*/ 63 h 67"/>
                  <a:gd name="T44" fmla="*/ 35 w 68"/>
                  <a:gd name="T45" fmla="*/ 66 h 67"/>
                  <a:gd name="T46" fmla="*/ 40 w 68"/>
                  <a:gd name="T47" fmla="*/ 67 h 67"/>
                  <a:gd name="T48" fmla="*/ 44 w 68"/>
                  <a:gd name="T49" fmla="*/ 67 h 67"/>
                  <a:gd name="T50" fmla="*/ 46 w 68"/>
                  <a:gd name="T51" fmla="*/ 67 h 67"/>
                  <a:gd name="T52" fmla="*/ 49 w 68"/>
                  <a:gd name="T53" fmla="*/ 64 h 67"/>
                  <a:gd name="T54" fmla="*/ 53 w 68"/>
                  <a:gd name="T55" fmla="*/ 63 h 67"/>
                  <a:gd name="T56" fmla="*/ 56 w 68"/>
                  <a:gd name="T57" fmla="*/ 59 h 67"/>
                  <a:gd name="T58" fmla="*/ 60 w 68"/>
                  <a:gd name="T59" fmla="*/ 55 h 67"/>
                  <a:gd name="T60" fmla="*/ 63 w 68"/>
                  <a:gd name="T61" fmla="*/ 51 h 67"/>
                  <a:gd name="T62" fmla="*/ 66 w 68"/>
                  <a:gd name="T63" fmla="*/ 45 h 67"/>
                  <a:gd name="T64" fmla="*/ 67 w 68"/>
                  <a:gd name="T65" fmla="*/ 41 h 67"/>
                  <a:gd name="T66" fmla="*/ 68 w 68"/>
                  <a:gd name="T67" fmla="*/ 37 h 67"/>
                  <a:gd name="T68" fmla="*/ 67 w 68"/>
                  <a:gd name="T69" fmla="*/ 33 h 67"/>
                  <a:gd name="T70" fmla="*/ 67 w 68"/>
                  <a:gd name="T71" fmla="*/ 27 h 67"/>
                  <a:gd name="T72" fmla="*/ 67 w 68"/>
                  <a:gd name="T73" fmla="*/ 23 h 67"/>
                  <a:gd name="T74" fmla="*/ 66 w 68"/>
                  <a:gd name="T75" fmla="*/ 19 h 67"/>
                  <a:gd name="T76" fmla="*/ 66 w 68"/>
                  <a:gd name="T77" fmla="*/ 15 h 67"/>
                  <a:gd name="T78" fmla="*/ 66 w 68"/>
                  <a:gd name="T79" fmla="*/ 11 h 67"/>
                  <a:gd name="T80" fmla="*/ 66 w 68"/>
                  <a:gd name="T81" fmla="*/ 9 h 67"/>
                  <a:gd name="T82" fmla="*/ 66 w 68"/>
                  <a:gd name="T83" fmla="*/ 8 h 67"/>
                  <a:gd name="T84" fmla="*/ 66 w 68"/>
                  <a:gd name="T85" fmla="*/ 8 h 67"/>
                  <a:gd name="T86" fmla="*/ 64 w 68"/>
                  <a:gd name="T87" fmla="*/ 7 h 67"/>
                  <a:gd name="T88" fmla="*/ 62 w 68"/>
                  <a:gd name="T89" fmla="*/ 5 h 67"/>
                  <a:gd name="T90" fmla="*/ 59 w 68"/>
                  <a:gd name="T91" fmla="*/ 4 h 67"/>
                  <a:gd name="T92" fmla="*/ 56 w 68"/>
                  <a:gd name="T93" fmla="*/ 1 h 67"/>
                  <a:gd name="T94" fmla="*/ 53 w 68"/>
                  <a:gd name="T95" fmla="*/ 1 h 67"/>
                  <a:gd name="T96" fmla="*/ 51 w 68"/>
                  <a:gd name="T97" fmla="*/ 0 h 67"/>
                  <a:gd name="T98" fmla="*/ 48 w 68"/>
                  <a:gd name="T99" fmla="*/ 1 h 67"/>
                  <a:gd name="T100" fmla="*/ 46 w 68"/>
                  <a:gd name="T101" fmla="*/ 2 h 67"/>
                  <a:gd name="T102" fmla="*/ 45 w 68"/>
                  <a:gd name="T103" fmla="*/ 4 h 67"/>
                  <a:gd name="T104" fmla="*/ 42 w 68"/>
                  <a:gd name="T105" fmla="*/ 7 h 67"/>
                  <a:gd name="T106" fmla="*/ 41 w 68"/>
                  <a:gd name="T107" fmla="*/ 9 h 67"/>
                  <a:gd name="T108" fmla="*/ 40 w 68"/>
                  <a:gd name="T109" fmla="*/ 11 h 67"/>
                  <a:gd name="T110" fmla="*/ 40 w 68"/>
                  <a:gd name="T111" fmla="*/ 12 h 67"/>
                  <a:gd name="T112" fmla="*/ 38 w 68"/>
                  <a:gd name="T113" fmla="*/ 13 h 67"/>
                  <a:gd name="T114" fmla="*/ 38 w 68"/>
                  <a:gd name="T115" fmla="*/ 13 h 67"/>
                  <a:gd name="T116" fmla="*/ 19 w 68"/>
                  <a:gd name="T117" fmla="*/ 4 h 67"/>
                  <a:gd name="T118" fmla="*/ 12 w 68"/>
                  <a:gd name="T119" fmla="*/ 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67">
                    <a:moveTo>
                      <a:pt x="12" y="4"/>
                    </a:moveTo>
                    <a:lnTo>
                      <a:pt x="11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8" y="38"/>
                    </a:lnTo>
                    <a:lnTo>
                      <a:pt x="9" y="40"/>
                    </a:lnTo>
                    <a:lnTo>
                      <a:pt x="11" y="42"/>
                    </a:lnTo>
                    <a:lnTo>
                      <a:pt x="13" y="45"/>
                    </a:lnTo>
                    <a:lnTo>
                      <a:pt x="15" y="48"/>
                    </a:lnTo>
                    <a:lnTo>
                      <a:pt x="16" y="51"/>
                    </a:lnTo>
                    <a:lnTo>
                      <a:pt x="18" y="53"/>
                    </a:lnTo>
                    <a:lnTo>
                      <a:pt x="19" y="56"/>
                    </a:lnTo>
                    <a:lnTo>
                      <a:pt x="23" y="59"/>
                    </a:lnTo>
                    <a:lnTo>
                      <a:pt x="27" y="62"/>
                    </a:lnTo>
                    <a:lnTo>
                      <a:pt x="31" y="63"/>
                    </a:lnTo>
                    <a:lnTo>
                      <a:pt x="35" y="66"/>
                    </a:lnTo>
                    <a:lnTo>
                      <a:pt x="40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9" y="64"/>
                    </a:lnTo>
                    <a:lnTo>
                      <a:pt x="53" y="63"/>
                    </a:lnTo>
                    <a:lnTo>
                      <a:pt x="56" y="59"/>
                    </a:lnTo>
                    <a:lnTo>
                      <a:pt x="60" y="55"/>
                    </a:lnTo>
                    <a:lnTo>
                      <a:pt x="63" y="51"/>
                    </a:lnTo>
                    <a:lnTo>
                      <a:pt x="66" y="45"/>
                    </a:lnTo>
                    <a:lnTo>
                      <a:pt x="67" y="41"/>
                    </a:lnTo>
                    <a:lnTo>
                      <a:pt x="68" y="37"/>
                    </a:lnTo>
                    <a:lnTo>
                      <a:pt x="67" y="33"/>
                    </a:lnTo>
                    <a:lnTo>
                      <a:pt x="67" y="27"/>
                    </a:lnTo>
                    <a:lnTo>
                      <a:pt x="67" y="23"/>
                    </a:lnTo>
                    <a:lnTo>
                      <a:pt x="66" y="19"/>
                    </a:lnTo>
                    <a:lnTo>
                      <a:pt x="66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59" y="4"/>
                    </a:lnTo>
                    <a:lnTo>
                      <a:pt x="56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8" y="1"/>
                    </a:lnTo>
                    <a:lnTo>
                      <a:pt x="46" y="2"/>
                    </a:lnTo>
                    <a:lnTo>
                      <a:pt x="45" y="4"/>
                    </a:lnTo>
                    <a:lnTo>
                      <a:pt x="42" y="7"/>
                    </a:lnTo>
                    <a:lnTo>
                      <a:pt x="41" y="9"/>
                    </a:lnTo>
                    <a:lnTo>
                      <a:pt x="40" y="11"/>
                    </a:lnTo>
                    <a:lnTo>
                      <a:pt x="40" y="12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19" y="4"/>
                    </a:lnTo>
                    <a:lnTo>
                      <a:pt x="12" y="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8" name="Freeform 17"/>
              <p:cNvSpPr>
                <a:spLocks/>
              </p:cNvSpPr>
              <p:nvPr/>
            </p:nvSpPr>
            <p:spPr bwMode="auto">
              <a:xfrm>
                <a:off x="4899" y="3661"/>
                <a:ext cx="68" cy="67"/>
              </a:xfrm>
              <a:custGeom>
                <a:avLst/>
                <a:gdLst>
                  <a:gd name="T0" fmla="*/ 12 w 68"/>
                  <a:gd name="T1" fmla="*/ 4 h 67"/>
                  <a:gd name="T2" fmla="*/ 11 w 68"/>
                  <a:gd name="T3" fmla="*/ 4 h 67"/>
                  <a:gd name="T4" fmla="*/ 9 w 68"/>
                  <a:gd name="T5" fmla="*/ 4 h 67"/>
                  <a:gd name="T6" fmla="*/ 8 w 68"/>
                  <a:gd name="T7" fmla="*/ 4 h 67"/>
                  <a:gd name="T8" fmla="*/ 5 w 68"/>
                  <a:gd name="T9" fmla="*/ 5 h 67"/>
                  <a:gd name="T10" fmla="*/ 2 w 68"/>
                  <a:gd name="T11" fmla="*/ 7 h 67"/>
                  <a:gd name="T12" fmla="*/ 1 w 68"/>
                  <a:gd name="T13" fmla="*/ 9 h 67"/>
                  <a:gd name="T14" fmla="*/ 0 w 68"/>
                  <a:gd name="T15" fmla="*/ 12 h 67"/>
                  <a:gd name="T16" fmla="*/ 0 w 68"/>
                  <a:gd name="T17" fmla="*/ 18 h 67"/>
                  <a:gd name="T18" fmla="*/ 7 w 68"/>
                  <a:gd name="T19" fmla="*/ 37 h 67"/>
                  <a:gd name="T20" fmla="*/ 8 w 68"/>
                  <a:gd name="T21" fmla="*/ 38 h 67"/>
                  <a:gd name="T22" fmla="*/ 9 w 68"/>
                  <a:gd name="T23" fmla="*/ 40 h 67"/>
                  <a:gd name="T24" fmla="*/ 11 w 68"/>
                  <a:gd name="T25" fmla="*/ 42 h 67"/>
                  <a:gd name="T26" fmla="*/ 13 w 68"/>
                  <a:gd name="T27" fmla="*/ 45 h 67"/>
                  <a:gd name="T28" fmla="*/ 15 w 68"/>
                  <a:gd name="T29" fmla="*/ 48 h 67"/>
                  <a:gd name="T30" fmla="*/ 16 w 68"/>
                  <a:gd name="T31" fmla="*/ 51 h 67"/>
                  <a:gd name="T32" fmla="*/ 18 w 68"/>
                  <a:gd name="T33" fmla="*/ 53 h 67"/>
                  <a:gd name="T34" fmla="*/ 19 w 68"/>
                  <a:gd name="T35" fmla="*/ 56 h 67"/>
                  <a:gd name="T36" fmla="*/ 23 w 68"/>
                  <a:gd name="T37" fmla="*/ 59 h 67"/>
                  <a:gd name="T38" fmla="*/ 27 w 68"/>
                  <a:gd name="T39" fmla="*/ 62 h 67"/>
                  <a:gd name="T40" fmla="*/ 31 w 68"/>
                  <a:gd name="T41" fmla="*/ 63 h 67"/>
                  <a:gd name="T42" fmla="*/ 35 w 68"/>
                  <a:gd name="T43" fmla="*/ 66 h 67"/>
                  <a:gd name="T44" fmla="*/ 40 w 68"/>
                  <a:gd name="T45" fmla="*/ 67 h 67"/>
                  <a:gd name="T46" fmla="*/ 44 w 68"/>
                  <a:gd name="T47" fmla="*/ 67 h 67"/>
                  <a:gd name="T48" fmla="*/ 46 w 68"/>
                  <a:gd name="T49" fmla="*/ 67 h 67"/>
                  <a:gd name="T50" fmla="*/ 49 w 68"/>
                  <a:gd name="T51" fmla="*/ 64 h 67"/>
                  <a:gd name="T52" fmla="*/ 53 w 68"/>
                  <a:gd name="T53" fmla="*/ 63 h 67"/>
                  <a:gd name="T54" fmla="*/ 56 w 68"/>
                  <a:gd name="T55" fmla="*/ 59 h 67"/>
                  <a:gd name="T56" fmla="*/ 60 w 68"/>
                  <a:gd name="T57" fmla="*/ 55 h 67"/>
                  <a:gd name="T58" fmla="*/ 63 w 68"/>
                  <a:gd name="T59" fmla="*/ 51 h 67"/>
                  <a:gd name="T60" fmla="*/ 66 w 68"/>
                  <a:gd name="T61" fmla="*/ 45 h 67"/>
                  <a:gd name="T62" fmla="*/ 67 w 68"/>
                  <a:gd name="T63" fmla="*/ 41 h 67"/>
                  <a:gd name="T64" fmla="*/ 68 w 68"/>
                  <a:gd name="T65" fmla="*/ 37 h 67"/>
                  <a:gd name="T66" fmla="*/ 67 w 68"/>
                  <a:gd name="T67" fmla="*/ 33 h 67"/>
                  <a:gd name="T68" fmla="*/ 67 w 68"/>
                  <a:gd name="T69" fmla="*/ 27 h 67"/>
                  <a:gd name="T70" fmla="*/ 67 w 68"/>
                  <a:gd name="T71" fmla="*/ 23 h 67"/>
                  <a:gd name="T72" fmla="*/ 66 w 68"/>
                  <a:gd name="T73" fmla="*/ 19 h 67"/>
                  <a:gd name="T74" fmla="*/ 66 w 68"/>
                  <a:gd name="T75" fmla="*/ 15 h 67"/>
                  <a:gd name="T76" fmla="*/ 66 w 68"/>
                  <a:gd name="T77" fmla="*/ 11 h 67"/>
                  <a:gd name="T78" fmla="*/ 66 w 68"/>
                  <a:gd name="T79" fmla="*/ 9 h 67"/>
                  <a:gd name="T80" fmla="*/ 66 w 68"/>
                  <a:gd name="T81" fmla="*/ 8 h 67"/>
                  <a:gd name="T82" fmla="*/ 64 w 68"/>
                  <a:gd name="T83" fmla="*/ 7 h 67"/>
                  <a:gd name="T84" fmla="*/ 62 w 68"/>
                  <a:gd name="T85" fmla="*/ 5 h 67"/>
                  <a:gd name="T86" fmla="*/ 59 w 68"/>
                  <a:gd name="T87" fmla="*/ 4 h 67"/>
                  <a:gd name="T88" fmla="*/ 56 w 68"/>
                  <a:gd name="T89" fmla="*/ 1 h 67"/>
                  <a:gd name="T90" fmla="*/ 53 w 68"/>
                  <a:gd name="T91" fmla="*/ 1 h 67"/>
                  <a:gd name="T92" fmla="*/ 51 w 68"/>
                  <a:gd name="T93" fmla="*/ 0 h 67"/>
                  <a:gd name="T94" fmla="*/ 48 w 68"/>
                  <a:gd name="T95" fmla="*/ 1 h 67"/>
                  <a:gd name="T96" fmla="*/ 46 w 68"/>
                  <a:gd name="T97" fmla="*/ 2 h 67"/>
                  <a:gd name="T98" fmla="*/ 45 w 68"/>
                  <a:gd name="T99" fmla="*/ 4 h 67"/>
                  <a:gd name="T100" fmla="*/ 42 w 68"/>
                  <a:gd name="T101" fmla="*/ 7 h 67"/>
                  <a:gd name="T102" fmla="*/ 41 w 68"/>
                  <a:gd name="T103" fmla="*/ 9 h 67"/>
                  <a:gd name="T104" fmla="*/ 40 w 68"/>
                  <a:gd name="T105" fmla="*/ 11 h 67"/>
                  <a:gd name="T106" fmla="*/ 40 w 68"/>
                  <a:gd name="T107" fmla="*/ 12 h 67"/>
                  <a:gd name="T108" fmla="*/ 38 w 68"/>
                  <a:gd name="T109" fmla="*/ 13 h 67"/>
                  <a:gd name="T110" fmla="*/ 19 w 68"/>
                  <a:gd name="T111" fmla="*/ 4 h 67"/>
                  <a:gd name="T112" fmla="*/ 12 w 68"/>
                  <a:gd name="T113" fmla="*/ 4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8" h="67">
                    <a:moveTo>
                      <a:pt x="12" y="4"/>
                    </a:moveTo>
                    <a:lnTo>
                      <a:pt x="11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8"/>
                    </a:lnTo>
                    <a:lnTo>
                      <a:pt x="7" y="37"/>
                    </a:lnTo>
                    <a:lnTo>
                      <a:pt x="8" y="38"/>
                    </a:lnTo>
                    <a:lnTo>
                      <a:pt x="9" y="40"/>
                    </a:lnTo>
                    <a:lnTo>
                      <a:pt x="11" y="42"/>
                    </a:lnTo>
                    <a:lnTo>
                      <a:pt x="13" y="45"/>
                    </a:lnTo>
                    <a:lnTo>
                      <a:pt x="15" y="48"/>
                    </a:lnTo>
                    <a:lnTo>
                      <a:pt x="16" y="51"/>
                    </a:lnTo>
                    <a:lnTo>
                      <a:pt x="18" y="53"/>
                    </a:lnTo>
                    <a:lnTo>
                      <a:pt x="19" y="56"/>
                    </a:lnTo>
                    <a:lnTo>
                      <a:pt x="23" y="59"/>
                    </a:lnTo>
                    <a:lnTo>
                      <a:pt x="27" y="62"/>
                    </a:lnTo>
                    <a:lnTo>
                      <a:pt x="31" y="63"/>
                    </a:lnTo>
                    <a:lnTo>
                      <a:pt x="35" y="66"/>
                    </a:lnTo>
                    <a:lnTo>
                      <a:pt x="40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9" y="64"/>
                    </a:lnTo>
                    <a:lnTo>
                      <a:pt x="53" y="63"/>
                    </a:lnTo>
                    <a:lnTo>
                      <a:pt x="56" y="59"/>
                    </a:lnTo>
                    <a:lnTo>
                      <a:pt x="60" y="55"/>
                    </a:lnTo>
                    <a:lnTo>
                      <a:pt x="63" y="51"/>
                    </a:lnTo>
                    <a:lnTo>
                      <a:pt x="66" y="45"/>
                    </a:lnTo>
                    <a:lnTo>
                      <a:pt x="67" y="41"/>
                    </a:lnTo>
                    <a:lnTo>
                      <a:pt x="68" y="37"/>
                    </a:lnTo>
                    <a:lnTo>
                      <a:pt x="67" y="33"/>
                    </a:lnTo>
                    <a:lnTo>
                      <a:pt x="67" y="27"/>
                    </a:lnTo>
                    <a:lnTo>
                      <a:pt x="67" y="23"/>
                    </a:lnTo>
                    <a:lnTo>
                      <a:pt x="66" y="19"/>
                    </a:lnTo>
                    <a:lnTo>
                      <a:pt x="66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4" y="7"/>
                    </a:lnTo>
                    <a:lnTo>
                      <a:pt x="62" y="5"/>
                    </a:lnTo>
                    <a:lnTo>
                      <a:pt x="59" y="4"/>
                    </a:lnTo>
                    <a:lnTo>
                      <a:pt x="56" y="1"/>
                    </a:lnTo>
                    <a:lnTo>
                      <a:pt x="53" y="1"/>
                    </a:lnTo>
                    <a:lnTo>
                      <a:pt x="51" y="0"/>
                    </a:lnTo>
                    <a:lnTo>
                      <a:pt x="48" y="1"/>
                    </a:lnTo>
                    <a:lnTo>
                      <a:pt x="46" y="2"/>
                    </a:lnTo>
                    <a:lnTo>
                      <a:pt x="45" y="4"/>
                    </a:lnTo>
                    <a:lnTo>
                      <a:pt x="42" y="7"/>
                    </a:lnTo>
                    <a:lnTo>
                      <a:pt x="41" y="9"/>
                    </a:lnTo>
                    <a:lnTo>
                      <a:pt x="40" y="11"/>
                    </a:lnTo>
                    <a:lnTo>
                      <a:pt x="40" y="12"/>
                    </a:lnTo>
                    <a:lnTo>
                      <a:pt x="38" y="13"/>
                    </a:lnTo>
                    <a:lnTo>
                      <a:pt x="19" y="4"/>
                    </a:lnTo>
                    <a:lnTo>
                      <a:pt x="12" y="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09" name="Freeform 18"/>
              <p:cNvSpPr>
                <a:spLocks/>
              </p:cNvSpPr>
              <p:nvPr/>
            </p:nvSpPr>
            <p:spPr bwMode="auto">
              <a:xfrm>
                <a:off x="4963" y="2964"/>
                <a:ext cx="83" cy="63"/>
              </a:xfrm>
              <a:custGeom>
                <a:avLst/>
                <a:gdLst>
                  <a:gd name="T0" fmla="*/ 3 w 83"/>
                  <a:gd name="T1" fmla="*/ 52 h 63"/>
                  <a:gd name="T2" fmla="*/ 40 w 83"/>
                  <a:gd name="T3" fmla="*/ 34 h 63"/>
                  <a:gd name="T4" fmla="*/ 42 w 83"/>
                  <a:gd name="T5" fmla="*/ 33 h 63"/>
                  <a:gd name="T6" fmla="*/ 44 w 83"/>
                  <a:gd name="T7" fmla="*/ 30 h 63"/>
                  <a:gd name="T8" fmla="*/ 48 w 83"/>
                  <a:gd name="T9" fmla="*/ 26 h 63"/>
                  <a:gd name="T10" fmla="*/ 53 w 83"/>
                  <a:gd name="T11" fmla="*/ 20 h 63"/>
                  <a:gd name="T12" fmla="*/ 58 w 83"/>
                  <a:gd name="T13" fmla="*/ 15 h 63"/>
                  <a:gd name="T14" fmla="*/ 62 w 83"/>
                  <a:gd name="T15" fmla="*/ 9 h 63"/>
                  <a:gd name="T16" fmla="*/ 65 w 83"/>
                  <a:gd name="T17" fmla="*/ 4 h 63"/>
                  <a:gd name="T18" fmla="*/ 65 w 83"/>
                  <a:gd name="T19" fmla="*/ 0 h 63"/>
                  <a:gd name="T20" fmla="*/ 76 w 83"/>
                  <a:gd name="T21" fmla="*/ 0 h 63"/>
                  <a:gd name="T22" fmla="*/ 83 w 83"/>
                  <a:gd name="T23" fmla="*/ 8 h 63"/>
                  <a:gd name="T24" fmla="*/ 83 w 83"/>
                  <a:gd name="T25" fmla="*/ 9 h 63"/>
                  <a:gd name="T26" fmla="*/ 82 w 83"/>
                  <a:gd name="T27" fmla="*/ 14 h 63"/>
                  <a:gd name="T28" fmla="*/ 79 w 83"/>
                  <a:gd name="T29" fmla="*/ 18 h 63"/>
                  <a:gd name="T30" fmla="*/ 76 w 83"/>
                  <a:gd name="T31" fmla="*/ 25 h 63"/>
                  <a:gd name="T32" fmla="*/ 72 w 83"/>
                  <a:gd name="T33" fmla="*/ 31 h 63"/>
                  <a:gd name="T34" fmla="*/ 68 w 83"/>
                  <a:gd name="T35" fmla="*/ 38 h 63"/>
                  <a:gd name="T36" fmla="*/ 61 w 83"/>
                  <a:gd name="T37" fmla="*/ 44 h 63"/>
                  <a:gd name="T38" fmla="*/ 54 w 83"/>
                  <a:gd name="T39" fmla="*/ 51 h 63"/>
                  <a:gd name="T40" fmla="*/ 46 w 83"/>
                  <a:gd name="T41" fmla="*/ 55 h 63"/>
                  <a:gd name="T42" fmla="*/ 39 w 83"/>
                  <a:gd name="T43" fmla="*/ 58 h 63"/>
                  <a:gd name="T44" fmla="*/ 32 w 83"/>
                  <a:gd name="T45" fmla="*/ 60 h 63"/>
                  <a:gd name="T46" fmla="*/ 25 w 83"/>
                  <a:gd name="T47" fmla="*/ 62 h 63"/>
                  <a:gd name="T48" fmla="*/ 20 w 83"/>
                  <a:gd name="T49" fmla="*/ 62 h 63"/>
                  <a:gd name="T50" fmla="*/ 15 w 83"/>
                  <a:gd name="T51" fmla="*/ 63 h 63"/>
                  <a:gd name="T52" fmla="*/ 13 w 83"/>
                  <a:gd name="T53" fmla="*/ 63 h 63"/>
                  <a:gd name="T54" fmla="*/ 13 w 83"/>
                  <a:gd name="T55" fmla="*/ 63 h 63"/>
                  <a:gd name="T56" fmla="*/ 11 w 83"/>
                  <a:gd name="T57" fmla="*/ 63 h 63"/>
                  <a:gd name="T58" fmla="*/ 10 w 83"/>
                  <a:gd name="T59" fmla="*/ 63 h 63"/>
                  <a:gd name="T60" fmla="*/ 7 w 83"/>
                  <a:gd name="T61" fmla="*/ 63 h 63"/>
                  <a:gd name="T62" fmla="*/ 4 w 83"/>
                  <a:gd name="T63" fmla="*/ 62 h 63"/>
                  <a:gd name="T64" fmla="*/ 2 w 83"/>
                  <a:gd name="T65" fmla="*/ 60 h 63"/>
                  <a:gd name="T66" fmla="*/ 0 w 83"/>
                  <a:gd name="T67" fmla="*/ 59 h 63"/>
                  <a:gd name="T68" fmla="*/ 0 w 83"/>
                  <a:gd name="T69" fmla="*/ 56 h 63"/>
                  <a:gd name="T70" fmla="*/ 3 w 83"/>
                  <a:gd name="T71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3" h="63">
                    <a:moveTo>
                      <a:pt x="3" y="52"/>
                    </a:moveTo>
                    <a:lnTo>
                      <a:pt x="40" y="34"/>
                    </a:lnTo>
                    <a:lnTo>
                      <a:pt x="42" y="33"/>
                    </a:lnTo>
                    <a:lnTo>
                      <a:pt x="44" y="30"/>
                    </a:lnTo>
                    <a:lnTo>
                      <a:pt x="48" y="26"/>
                    </a:lnTo>
                    <a:lnTo>
                      <a:pt x="53" y="20"/>
                    </a:lnTo>
                    <a:lnTo>
                      <a:pt x="58" y="15"/>
                    </a:lnTo>
                    <a:lnTo>
                      <a:pt x="62" y="9"/>
                    </a:lnTo>
                    <a:lnTo>
                      <a:pt x="65" y="4"/>
                    </a:lnTo>
                    <a:lnTo>
                      <a:pt x="65" y="0"/>
                    </a:lnTo>
                    <a:lnTo>
                      <a:pt x="76" y="0"/>
                    </a:lnTo>
                    <a:lnTo>
                      <a:pt x="83" y="8"/>
                    </a:lnTo>
                    <a:lnTo>
                      <a:pt x="83" y="9"/>
                    </a:lnTo>
                    <a:lnTo>
                      <a:pt x="82" y="14"/>
                    </a:lnTo>
                    <a:lnTo>
                      <a:pt x="79" y="18"/>
                    </a:lnTo>
                    <a:lnTo>
                      <a:pt x="76" y="25"/>
                    </a:lnTo>
                    <a:lnTo>
                      <a:pt x="72" y="31"/>
                    </a:lnTo>
                    <a:lnTo>
                      <a:pt x="68" y="38"/>
                    </a:lnTo>
                    <a:lnTo>
                      <a:pt x="61" y="44"/>
                    </a:lnTo>
                    <a:lnTo>
                      <a:pt x="54" y="51"/>
                    </a:lnTo>
                    <a:lnTo>
                      <a:pt x="46" y="55"/>
                    </a:lnTo>
                    <a:lnTo>
                      <a:pt x="39" y="58"/>
                    </a:lnTo>
                    <a:lnTo>
                      <a:pt x="32" y="60"/>
                    </a:lnTo>
                    <a:lnTo>
                      <a:pt x="25" y="62"/>
                    </a:lnTo>
                    <a:lnTo>
                      <a:pt x="20" y="62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0" y="63"/>
                    </a:lnTo>
                    <a:lnTo>
                      <a:pt x="7" y="63"/>
                    </a:lnTo>
                    <a:lnTo>
                      <a:pt x="4" y="62"/>
                    </a:lnTo>
                    <a:lnTo>
                      <a:pt x="2" y="60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3" y="5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0" name="Freeform 19"/>
              <p:cNvSpPr>
                <a:spLocks/>
              </p:cNvSpPr>
              <p:nvPr/>
            </p:nvSpPr>
            <p:spPr bwMode="auto">
              <a:xfrm>
                <a:off x="4963" y="2964"/>
                <a:ext cx="83" cy="63"/>
              </a:xfrm>
              <a:custGeom>
                <a:avLst/>
                <a:gdLst>
                  <a:gd name="T0" fmla="*/ 3 w 83"/>
                  <a:gd name="T1" fmla="*/ 52 h 63"/>
                  <a:gd name="T2" fmla="*/ 40 w 83"/>
                  <a:gd name="T3" fmla="*/ 34 h 63"/>
                  <a:gd name="T4" fmla="*/ 42 w 83"/>
                  <a:gd name="T5" fmla="*/ 33 h 63"/>
                  <a:gd name="T6" fmla="*/ 44 w 83"/>
                  <a:gd name="T7" fmla="*/ 30 h 63"/>
                  <a:gd name="T8" fmla="*/ 48 w 83"/>
                  <a:gd name="T9" fmla="*/ 26 h 63"/>
                  <a:gd name="T10" fmla="*/ 53 w 83"/>
                  <a:gd name="T11" fmla="*/ 20 h 63"/>
                  <a:gd name="T12" fmla="*/ 58 w 83"/>
                  <a:gd name="T13" fmla="*/ 15 h 63"/>
                  <a:gd name="T14" fmla="*/ 62 w 83"/>
                  <a:gd name="T15" fmla="*/ 9 h 63"/>
                  <a:gd name="T16" fmla="*/ 65 w 83"/>
                  <a:gd name="T17" fmla="*/ 4 h 63"/>
                  <a:gd name="T18" fmla="*/ 65 w 83"/>
                  <a:gd name="T19" fmla="*/ 0 h 63"/>
                  <a:gd name="T20" fmla="*/ 76 w 83"/>
                  <a:gd name="T21" fmla="*/ 0 h 63"/>
                  <a:gd name="T22" fmla="*/ 83 w 83"/>
                  <a:gd name="T23" fmla="*/ 8 h 63"/>
                  <a:gd name="T24" fmla="*/ 83 w 83"/>
                  <a:gd name="T25" fmla="*/ 9 h 63"/>
                  <a:gd name="T26" fmla="*/ 82 w 83"/>
                  <a:gd name="T27" fmla="*/ 14 h 63"/>
                  <a:gd name="T28" fmla="*/ 79 w 83"/>
                  <a:gd name="T29" fmla="*/ 18 h 63"/>
                  <a:gd name="T30" fmla="*/ 76 w 83"/>
                  <a:gd name="T31" fmla="*/ 25 h 63"/>
                  <a:gd name="T32" fmla="*/ 72 w 83"/>
                  <a:gd name="T33" fmla="*/ 31 h 63"/>
                  <a:gd name="T34" fmla="*/ 68 w 83"/>
                  <a:gd name="T35" fmla="*/ 38 h 63"/>
                  <a:gd name="T36" fmla="*/ 61 w 83"/>
                  <a:gd name="T37" fmla="*/ 44 h 63"/>
                  <a:gd name="T38" fmla="*/ 54 w 83"/>
                  <a:gd name="T39" fmla="*/ 51 h 63"/>
                  <a:gd name="T40" fmla="*/ 46 w 83"/>
                  <a:gd name="T41" fmla="*/ 55 h 63"/>
                  <a:gd name="T42" fmla="*/ 39 w 83"/>
                  <a:gd name="T43" fmla="*/ 58 h 63"/>
                  <a:gd name="T44" fmla="*/ 32 w 83"/>
                  <a:gd name="T45" fmla="*/ 60 h 63"/>
                  <a:gd name="T46" fmla="*/ 25 w 83"/>
                  <a:gd name="T47" fmla="*/ 62 h 63"/>
                  <a:gd name="T48" fmla="*/ 20 w 83"/>
                  <a:gd name="T49" fmla="*/ 62 h 63"/>
                  <a:gd name="T50" fmla="*/ 15 w 83"/>
                  <a:gd name="T51" fmla="*/ 63 h 63"/>
                  <a:gd name="T52" fmla="*/ 13 w 83"/>
                  <a:gd name="T53" fmla="*/ 63 h 63"/>
                  <a:gd name="T54" fmla="*/ 11 w 83"/>
                  <a:gd name="T55" fmla="*/ 63 h 63"/>
                  <a:gd name="T56" fmla="*/ 10 w 83"/>
                  <a:gd name="T57" fmla="*/ 63 h 63"/>
                  <a:gd name="T58" fmla="*/ 7 w 83"/>
                  <a:gd name="T59" fmla="*/ 63 h 63"/>
                  <a:gd name="T60" fmla="*/ 4 w 83"/>
                  <a:gd name="T61" fmla="*/ 62 h 63"/>
                  <a:gd name="T62" fmla="*/ 2 w 83"/>
                  <a:gd name="T63" fmla="*/ 60 h 63"/>
                  <a:gd name="T64" fmla="*/ 0 w 83"/>
                  <a:gd name="T65" fmla="*/ 59 h 63"/>
                  <a:gd name="T66" fmla="*/ 0 w 83"/>
                  <a:gd name="T67" fmla="*/ 56 h 63"/>
                  <a:gd name="T68" fmla="*/ 3 w 83"/>
                  <a:gd name="T69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83" h="63">
                    <a:moveTo>
                      <a:pt x="3" y="52"/>
                    </a:moveTo>
                    <a:lnTo>
                      <a:pt x="40" y="34"/>
                    </a:lnTo>
                    <a:lnTo>
                      <a:pt x="42" y="33"/>
                    </a:lnTo>
                    <a:lnTo>
                      <a:pt x="44" y="30"/>
                    </a:lnTo>
                    <a:lnTo>
                      <a:pt x="48" y="26"/>
                    </a:lnTo>
                    <a:lnTo>
                      <a:pt x="53" y="20"/>
                    </a:lnTo>
                    <a:lnTo>
                      <a:pt x="58" y="15"/>
                    </a:lnTo>
                    <a:lnTo>
                      <a:pt x="62" y="9"/>
                    </a:lnTo>
                    <a:lnTo>
                      <a:pt x="65" y="4"/>
                    </a:lnTo>
                    <a:lnTo>
                      <a:pt x="65" y="0"/>
                    </a:lnTo>
                    <a:lnTo>
                      <a:pt x="76" y="0"/>
                    </a:lnTo>
                    <a:lnTo>
                      <a:pt x="83" y="8"/>
                    </a:lnTo>
                    <a:lnTo>
                      <a:pt x="83" y="9"/>
                    </a:lnTo>
                    <a:lnTo>
                      <a:pt x="82" y="14"/>
                    </a:lnTo>
                    <a:lnTo>
                      <a:pt x="79" y="18"/>
                    </a:lnTo>
                    <a:lnTo>
                      <a:pt x="76" y="25"/>
                    </a:lnTo>
                    <a:lnTo>
                      <a:pt x="72" y="31"/>
                    </a:lnTo>
                    <a:lnTo>
                      <a:pt x="68" y="38"/>
                    </a:lnTo>
                    <a:lnTo>
                      <a:pt x="61" y="44"/>
                    </a:lnTo>
                    <a:lnTo>
                      <a:pt x="54" y="51"/>
                    </a:lnTo>
                    <a:lnTo>
                      <a:pt x="46" y="55"/>
                    </a:lnTo>
                    <a:lnTo>
                      <a:pt x="39" y="58"/>
                    </a:lnTo>
                    <a:lnTo>
                      <a:pt x="32" y="60"/>
                    </a:lnTo>
                    <a:lnTo>
                      <a:pt x="25" y="62"/>
                    </a:lnTo>
                    <a:lnTo>
                      <a:pt x="20" y="62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0" y="63"/>
                    </a:lnTo>
                    <a:lnTo>
                      <a:pt x="7" y="63"/>
                    </a:lnTo>
                    <a:lnTo>
                      <a:pt x="4" y="62"/>
                    </a:lnTo>
                    <a:lnTo>
                      <a:pt x="2" y="60"/>
                    </a:lnTo>
                    <a:lnTo>
                      <a:pt x="0" y="59"/>
                    </a:lnTo>
                    <a:lnTo>
                      <a:pt x="0" y="56"/>
                    </a:lnTo>
                    <a:lnTo>
                      <a:pt x="3" y="5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1" name="Freeform 20"/>
              <p:cNvSpPr>
                <a:spLocks/>
              </p:cNvSpPr>
              <p:nvPr/>
            </p:nvSpPr>
            <p:spPr bwMode="auto">
              <a:xfrm>
                <a:off x="5122" y="3099"/>
                <a:ext cx="23" cy="13"/>
              </a:xfrm>
              <a:custGeom>
                <a:avLst/>
                <a:gdLst>
                  <a:gd name="T0" fmla="*/ 12 w 23"/>
                  <a:gd name="T1" fmla="*/ 0 h 13"/>
                  <a:gd name="T2" fmla="*/ 13 w 23"/>
                  <a:gd name="T3" fmla="*/ 0 h 13"/>
                  <a:gd name="T4" fmla="*/ 16 w 23"/>
                  <a:gd name="T5" fmla="*/ 1 h 13"/>
                  <a:gd name="T6" fmla="*/ 17 w 23"/>
                  <a:gd name="T7" fmla="*/ 1 h 13"/>
                  <a:gd name="T8" fmla="*/ 20 w 23"/>
                  <a:gd name="T9" fmla="*/ 2 h 13"/>
                  <a:gd name="T10" fmla="*/ 22 w 23"/>
                  <a:gd name="T11" fmla="*/ 2 h 13"/>
                  <a:gd name="T12" fmla="*/ 22 w 23"/>
                  <a:gd name="T13" fmla="*/ 4 h 13"/>
                  <a:gd name="T14" fmla="*/ 23 w 23"/>
                  <a:gd name="T15" fmla="*/ 5 h 13"/>
                  <a:gd name="T16" fmla="*/ 23 w 23"/>
                  <a:gd name="T17" fmla="*/ 6 h 13"/>
                  <a:gd name="T18" fmla="*/ 23 w 23"/>
                  <a:gd name="T19" fmla="*/ 8 h 13"/>
                  <a:gd name="T20" fmla="*/ 22 w 23"/>
                  <a:gd name="T21" fmla="*/ 9 h 13"/>
                  <a:gd name="T22" fmla="*/ 22 w 23"/>
                  <a:gd name="T23" fmla="*/ 11 h 13"/>
                  <a:gd name="T24" fmla="*/ 20 w 23"/>
                  <a:gd name="T25" fmla="*/ 11 h 13"/>
                  <a:gd name="T26" fmla="*/ 17 w 23"/>
                  <a:gd name="T27" fmla="*/ 12 h 13"/>
                  <a:gd name="T28" fmla="*/ 16 w 23"/>
                  <a:gd name="T29" fmla="*/ 12 h 13"/>
                  <a:gd name="T30" fmla="*/ 13 w 23"/>
                  <a:gd name="T31" fmla="*/ 13 h 13"/>
                  <a:gd name="T32" fmla="*/ 12 w 23"/>
                  <a:gd name="T33" fmla="*/ 13 h 13"/>
                  <a:gd name="T34" fmla="*/ 9 w 23"/>
                  <a:gd name="T35" fmla="*/ 13 h 13"/>
                  <a:gd name="T36" fmla="*/ 6 w 23"/>
                  <a:gd name="T37" fmla="*/ 12 h 13"/>
                  <a:gd name="T38" fmla="*/ 5 w 23"/>
                  <a:gd name="T39" fmla="*/ 12 h 13"/>
                  <a:gd name="T40" fmla="*/ 4 w 23"/>
                  <a:gd name="T41" fmla="*/ 11 h 13"/>
                  <a:gd name="T42" fmla="*/ 2 w 23"/>
                  <a:gd name="T43" fmla="*/ 11 h 13"/>
                  <a:gd name="T44" fmla="*/ 1 w 23"/>
                  <a:gd name="T45" fmla="*/ 9 h 13"/>
                  <a:gd name="T46" fmla="*/ 0 w 23"/>
                  <a:gd name="T47" fmla="*/ 8 h 13"/>
                  <a:gd name="T48" fmla="*/ 0 w 23"/>
                  <a:gd name="T49" fmla="*/ 6 h 13"/>
                  <a:gd name="T50" fmla="*/ 0 w 23"/>
                  <a:gd name="T51" fmla="*/ 5 h 13"/>
                  <a:gd name="T52" fmla="*/ 1 w 23"/>
                  <a:gd name="T53" fmla="*/ 4 h 13"/>
                  <a:gd name="T54" fmla="*/ 2 w 23"/>
                  <a:gd name="T55" fmla="*/ 2 h 13"/>
                  <a:gd name="T56" fmla="*/ 4 w 23"/>
                  <a:gd name="T57" fmla="*/ 2 h 13"/>
                  <a:gd name="T58" fmla="*/ 5 w 23"/>
                  <a:gd name="T59" fmla="*/ 1 h 13"/>
                  <a:gd name="T60" fmla="*/ 6 w 23"/>
                  <a:gd name="T61" fmla="*/ 1 h 13"/>
                  <a:gd name="T62" fmla="*/ 9 w 23"/>
                  <a:gd name="T63" fmla="*/ 0 h 13"/>
                  <a:gd name="T64" fmla="*/ 12 w 23"/>
                  <a:gd name="T6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3">
                    <a:moveTo>
                      <a:pt x="12" y="0"/>
                    </a:moveTo>
                    <a:lnTo>
                      <a:pt x="13" y="0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17" y="12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9" y="13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2" name="Freeform 21"/>
              <p:cNvSpPr>
                <a:spLocks/>
              </p:cNvSpPr>
              <p:nvPr/>
            </p:nvSpPr>
            <p:spPr bwMode="auto">
              <a:xfrm>
                <a:off x="5122" y="3099"/>
                <a:ext cx="23" cy="13"/>
              </a:xfrm>
              <a:custGeom>
                <a:avLst/>
                <a:gdLst>
                  <a:gd name="T0" fmla="*/ 12 w 23"/>
                  <a:gd name="T1" fmla="*/ 0 h 13"/>
                  <a:gd name="T2" fmla="*/ 13 w 23"/>
                  <a:gd name="T3" fmla="*/ 0 h 13"/>
                  <a:gd name="T4" fmla="*/ 16 w 23"/>
                  <a:gd name="T5" fmla="*/ 1 h 13"/>
                  <a:gd name="T6" fmla="*/ 17 w 23"/>
                  <a:gd name="T7" fmla="*/ 1 h 13"/>
                  <a:gd name="T8" fmla="*/ 20 w 23"/>
                  <a:gd name="T9" fmla="*/ 2 h 13"/>
                  <a:gd name="T10" fmla="*/ 22 w 23"/>
                  <a:gd name="T11" fmla="*/ 2 h 13"/>
                  <a:gd name="T12" fmla="*/ 22 w 23"/>
                  <a:gd name="T13" fmla="*/ 4 h 13"/>
                  <a:gd name="T14" fmla="*/ 23 w 23"/>
                  <a:gd name="T15" fmla="*/ 5 h 13"/>
                  <a:gd name="T16" fmla="*/ 23 w 23"/>
                  <a:gd name="T17" fmla="*/ 6 h 13"/>
                  <a:gd name="T18" fmla="*/ 23 w 23"/>
                  <a:gd name="T19" fmla="*/ 8 h 13"/>
                  <a:gd name="T20" fmla="*/ 22 w 23"/>
                  <a:gd name="T21" fmla="*/ 9 h 13"/>
                  <a:gd name="T22" fmla="*/ 22 w 23"/>
                  <a:gd name="T23" fmla="*/ 11 h 13"/>
                  <a:gd name="T24" fmla="*/ 20 w 23"/>
                  <a:gd name="T25" fmla="*/ 11 h 13"/>
                  <a:gd name="T26" fmla="*/ 17 w 23"/>
                  <a:gd name="T27" fmla="*/ 12 h 13"/>
                  <a:gd name="T28" fmla="*/ 16 w 23"/>
                  <a:gd name="T29" fmla="*/ 12 h 13"/>
                  <a:gd name="T30" fmla="*/ 13 w 23"/>
                  <a:gd name="T31" fmla="*/ 13 h 13"/>
                  <a:gd name="T32" fmla="*/ 12 w 23"/>
                  <a:gd name="T33" fmla="*/ 13 h 13"/>
                  <a:gd name="T34" fmla="*/ 9 w 23"/>
                  <a:gd name="T35" fmla="*/ 13 h 13"/>
                  <a:gd name="T36" fmla="*/ 6 w 23"/>
                  <a:gd name="T37" fmla="*/ 12 h 13"/>
                  <a:gd name="T38" fmla="*/ 5 w 23"/>
                  <a:gd name="T39" fmla="*/ 12 h 13"/>
                  <a:gd name="T40" fmla="*/ 4 w 23"/>
                  <a:gd name="T41" fmla="*/ 11 h 13"/>
                  <a:gd name="T42" fmla="*/ 2 w 23"/>
                  <a:gd name="T43" fmla="*/ 11 h 13"/>
                  <a:gd name="T44" fmla="*/ 1 w 23"/>
                  <a:gd name="T45" fmla="*/ 9 h 13"/>
                  <a:gd name="T46" fmla="*/ 0 w 23"/>
                  <a:gd name="T47" fmla="*/ 8 h 13"/>
                  <a:gd name="T48" fmla="*/ 0 w 23"/>
                  <a:gd name="T49" fmla="*/ 6 h 13"/>
                  <a:gd name="T50" fmla="*/ 0 w 23"/>
                  <a:gd name="T51" fmla="*/ 5 h 13"/>
                  <a:gd name="T52" fmla="*/ 1 w 23"/>
                  <a:gd name="T53" fmla="*/ 4 h 13"/>
                  <a:gd name="T54" fmla="*/ 2 w 23"/>
                  <a:gd name="T55" fmla="*/ 2 h 13"/>
                  <a:gd name="T56" fmla="*/ 4 w 23"/>
                  <a:gd name="T57" fmla="*/ 2 h 13"/>
                  <a:gd name="T58" fmla="*/ 5 w 23"/>
                  <a:gd name="T59" fmla="*/ 1 h 13"/>
                  <a:gd name="T60" fmla="*/ 6 w 23"/>
                  <a:gd name="T61" fmla="*/ 1 h 13"/>
                  <a:gd name="T62" fmla="*/ 9 w 23"/>
                  <a:gd name="T63" fmla="*/ 0 h 13"/>
                  <a:gd name="T64" fmla="*/ 12 w 23"/>
                  <a:gd name="T65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3">
                    <a:moveTo>
                      <a:pt x="12" y="0"/>
                    </a:moveTo>
                    <a:lnTo>
                      <a:pt x="13" y="0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20" y="2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23" y="5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17" y="12"/>
                    </a:lnTo>
                    <a:lnTo>
                      <a:pt x="16" y="12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9" y="13"/>
                    </a:lnTo>
                    <a:lnTo>
                      <a:pt x="6" y="12"/>
                    </a:lnTo>
                    <a:lnTo>
                      <a:pt x="5" y="12"/>
                    </a:lnTo>
                    <a:lnTo>
                      <a:pt x="4" y="11"/>
                    </a:lnTo>
                    <a:lnTo>
                      <a:pt x="2" y="11"/>
                    </a:lnTo>
                    <a:lnTo>
                      <a:pt x="1" y="9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3" name="Freeform 22"/>
              <p:cNvSpPr>
                <a:spLocks/>
              </p:cNvSpPr>
              <p:nvPr/>
            </p:nvSpPr>
            <p:spPr bwMode="auto">
              <a:xfrm>
                <a:off x="5050" y="3006"/>
                <a:ext cx="17" cy="33"/>
              </a:xfrm>
              <a:custGeom>
                <a:avLst/>
                <a:gdLst>
                  <a:gd name="T0" fmla="*/ 8 w 17"/>
                  <a:gd name="T1" fmla="*/ 33 h 33"/>
                  <a:gd name="T2" fmla="*/ 11 w 17"/>
                  <a:gd name="T3" fmla="*/ 33 h 33"/>
                  <a:gd name="T4" fmla="*/ 12 w 17"/>
                  <a:gd name="T5" fmla="*/ 32 h 33"/>
                  <a:gd name="T6" fmla="*/ 14 w 17"/>
                  <a:gd name="T7" fmla="*/ 31 h 33"/>
                  <a:gd name="T8" fmla="*/ 15 w 17"/>
                  <a:gd name="T9" fmla="*/ 29 h 33"/>
                  <a:gd name="T10" fmla="*/ 15 w 17"/>
                  <a:gd name="T11" fmla="*/ 27 h 33"/>
                  <a:gd name="T12" fmla="*/ 17 w 17"/>
                  <a:gd name="T13" fmla="*/ 24 h 33"/>
                  <a:gd name="T14" fmla="*/ 17 w 17"/>
                  <a:gd name="T15" fmla="*/ 21 h 33"/>
                  <a:gd name="T16" fmla="*/ 17 w 17"/>
                  <a:gd name="T17" fmla="*/ 17 h 33"/>
                  <a:gd name="T18" fmla="*/ 17 w 17"/>
                  <a:gd name="T19" fmla="*/ 14 h 33"/>
                  <a:gd name="T20" fmla="*/ 17 w 17"/>
                  <a:gd name="T21" fmla="*/ 11 h 33"/>
                  <a:gd name="T22" fmla="*/ 15 w 17"/>
                  <a:gd name="T23" fmla="*/ 7 h 33"/>
                  <a:gd name="T24" fmla="*/ 15 w 17"/>
                  <a:gd name="T25" fmla="*/ 6 h 33"/>
                  <a:gd name="T26" fmla="*/ 14 w 17"/>
                  <a:gd name="T27" fmla="*/ 3 h 33"/>
                  <a:gd name="T28" fmla="*/ 12 w 17"/>
                  <a:gd name="T29" fmla="*/ 2 h 33"/>
                  <a:gd name="T30" fmla="*/ 11 w 17"/>
                  <a:gd name="T31" fmla="*/ 0 h 33"/>
                  <a:gd name="T32" fmla="*/ 8 w 17"/>
                  <a:gd name="T33" fmla="*/ 0 h 33"/>
                  <a:gd name="T34" fmla="*/ 7 w 17"/>
                  <a:gd name="T35" fmla="*/ 0 h 33"/>
                  <a:gd name="T36" fmla="*/ 6 w 17"/>
                  <a:gd name="T37" fmla="*/ 2 h 33"/>
                  <a:gd name="T38" fmla="*/ 4 w 17"/>
                  <a:gd name="T39" fmla="*/ 3 h 33"/>
                  <a:gd name="T40" fmla="*/ 3 w 17"/>
                  <a:gd name="T41" fmla="*/ 6 h 33"/>
                  <a:gd name="T42" fmla="*/ 1 w 17"/>
                  <a:gd name="T43" fmla="*/ 7 h 33"/>
                  <a:gd name="T44" fmla="*/ 0 w 17"/>
                  <a:gd name="T45" fmla="*/ 11 h 33"/>
                  <a:gd name="T46" fmla="*/ 0 w 17"/>
                  <a:gd name="T47" fmla="*/ 14 h 33"/>
                  <a:gd name="T48" fmla="*/ 0 w 17"/>
                  <a:gd name="T49" fmla="*/ 17 h 33"/>
                  <a:gd name="T50" fmla="*/ 0 w 17"/>
                  <a:gd name="T51" fmla="*/ 21 h 33"/>
                  <a:gd name="T52" fmla="*/ 0 w 17"/>
                  <a:gd name="T53" fmla="*/ 24 h 33"/>
                  <a:gd name="T54" fmla="*/ 1 w 17"/>
                  <a:gd name="T55" fmla="*/ 27 h 33"/>
                  <a:gd name="T56" fmla="*/ 3 w 17"/>
                  <a:gd name="T57" fmla="*/ 29 h 33"/>
                  <a:gd name="T58" fmla="*/ 4 w 17"/>
                  <a:gd name="T59" fmla="*/ 31 h 33"/>
                  <a:gd name="T60" fmla="*/ 6 w 17"/>
                  <a:gd name="T61" fmla="*/ 32 h 33"/>
                  <a:gd name="T62" fmla="*/ 7 w 17"/>
                  <a:gd name="T63" fmla="*/ 33 h 33"/>
                  <a:gd name="T64" fmla="*/ 8 w 17"/>
                  <a:gd name="T6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3">
                    <a:moveTo>
                      <a:pt x="8" y="33"/>
                    </a:moveTo>
                    <a:lnTo>
                      <a:pt x="11" y="33"/>
                    </a:lnTo>
                    <a:lnTo>
                      <a:pt x="12" y="32"/>
                    </a:lnTo>
                    <a:lnTo>
                      <a:pt x="14" y="31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7" y="21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1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3" y="6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4" y="31"/>
                    </a:lnTo>
                    <a:lnTo>
                      <a:pt x="6" y="32"/>
                    </a:lnTo>
                    <a:lnTo>
                      <a:pt x="7" y="33"/>
                    </a:lnTo>
                    <a:lnTo>
                      <a:pt x="8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4" name="Freeform 23"/>
              <p:cNvSpPr>
                <a:spLocks/>
              </p:cNvSpPr>
              <p:nvPr/>
            </p:nvSpPr>
            <p:spPr bwMode="auto">
              <a:xfrm>
                <a:off x="5050" y="3006"/>
                <a:ext cx="17" cy="33"/>
              </a:xfrm>
              <a:custGeom>
                <a:avLst/>
                <a:gdLst>
                  <a:gd name="T0" fmla="*/ 8 w 17"/>
                  <a:gd name="T1" fmla="*/ 33 h 33"/>
                  <a:gd name="T2" fmla="*/ 11 w 17"/>
                  <a:gd name="T3" fmla="*/ 33 h 33"/>
                  <a:gd name="T4" fmla="*/ 12 w 17"/>
                  <a:gd name="T5" fmla="*/ 32 h 33"/>
                  <a:gd name="T6" fmla="*/ 14 w 17"/>
                  <a:gd name="T7" fmla="*/ 31 h 33"/>
                  <a:gd name="T8" fmla="*/ 15 w 17"/>
                  <a:gd name="T9" fmla="*/ 29 h 33"/>
                  <a:gd name="T10" fmla="*/ 15 w 17"/>
                  <a:gd name="T11" fmla="*/ 27 h 33"/>
                  <a:gd name="T12" fmla="*/ 17 w 17"/>
                  <a:gd name="T13" fmla="*/ 24 h 33"/>
                  <a:gd name="T14" fmla="*/ 17 w 17"/>
                  <a:gd name="T15" fmla="*/ 21 h 33"/>
                  <a:gd name="T16" fmla="*/ 17 w 17"/>
                  <a:gd name="T17" fmla="*/ 17 h 33"/>
                  <a:gd name="T18" fmla="*/ 17 w 17"/>
                  <a:gd name="T19" fmla="*/ 14 h 33"/>
                  <a:gd name="T20" fmla="*/ 17 w 17"/>
                  <a:gd name="T21" fmla="*/ 11 h 33"/>
                  <a:gd name="T22" fmla="*/ 15 w 17"/>
                  <a:gd name="T23" fmla="*/ 7 h 33"/>
                  <a:gd name="T24" fmla="*/ 15 w 17"/>
                  <a:gd name="T25" fmla="*/ 6 h 33"/>
                  <a:gd name="T26" fmla="*/ 14 w 17"/>
                  <a:gd name="T27" fmla="*/ 3 h 33"/>
                  <a:gd name="T28" fmla="*/ 12 w 17"/>
                  <a:gd name="T29" fmla="*/ 2 h 33"/>
                  <a:gd name="T30" fmla="*/ 11 w 17"/>
                  <a:gd name="T31" fmla="*/ 0 h 33"/>
                  <a:gd name="T32" fmla="*/ 8 w 17"/>
                  <a:gd name="T33" fmla="*/ 0 h 33"/>
                  <a:gd name="T34" fmla="*/ 7 w 17"/>
                  <a:gd name="T35" fmla="*/ 0 h 33"/>
                  <a:gd name="T36" fmla="*/ 6 w 17"/>
                  <a:gd name="T37" fmla="*/ 2 h 33"/>
                  <a:gd name="T38" fmla="*/ 4 w 17"/>
                  <a:gd name="T39" fmla="*/ 3 h 33"/>
                  <a:gd name="T40" fmla="*/ 3 w 17"/>
                  <a:gd name="T41" fmla="*/ 6 h 33"/>
                  <a:gd name="T42" fmla="*/ 1 w 17"/>
                  <a:gd name="T43" fmla="*/ 7 h 33"/>
                  <a:gd name="T44" fmla="*/ 0 w 17"/>
                  <a:gd name="T45" fmla="*/ 11 h 33"/>
                  <a:gd name="T46" fmla="*/ 0 w 17"/>
                  <a:gd name="T47" fmla="*/ 14 h 33"/>
                  <a:gd name="T48" fmla="*/ 0 w 17"/>
                  <a:gd name="T49" fmla="*/ 17 h 33"/>
                  <a:gd name="T50" fmla="*/ 0 w 17"/>
                  <a:gd name="T51" fmla="*/ 21 h 33"/>
                  <a:gd name="T52" fmla="*/ 0 w 17"/>
                  <a:gd name="T53" fmla="*/ 24 h 33"/>
                  <a:gd name="T54" fmla="*/ 1 w 17"/>
                  <a:gd name="T55" fmla="*/ 27 h 33"/>
                  <a:gd name="T56" fmla="*/ 3 w 17"/>
                  <a:gd name="T57" fmla="*/ 29 h 33"/>
                  <a:gd name="T58" fmla="*/ 4 w 17"/>
                  <a:gd name="T59" fmla="*/ 31 h 33"/>
                  <a:gd name="T60" fmla="*/ 6 w 17"/>
                  <a:gd name="T61" fmla="*/ 32 h 33"/>
                  <a:gd name="T62" fmla="*/ 7 w 17"/>
                  <a:gd name="T63" fmla="*/ 33 h 33"/>
                  <a:gd name="T64" fmla="*/ 8 w 17"/>
                  <a:gd name="T6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3">
                    <a:moveTo>
                      <a:pt x="8" y="33"/>
                    </a:moveTo>
                    <a:lnTo>
                      <a:pt x="11" y="33"/>
                    </a:lnTo>
                    <a:lnTo>
                      <a:pt x="12" y="32"/>
                    </a:lnTo>
                    <a:lnTo>
                      <a:pt x="14" y="31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7" y="24"/>
                    </a:lnTo>
                    <a:lnTo>
                      <a:pt x="17" y="21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1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3" y="6"/>
                    </a:lnTo>
                    <a:lnTo>
                      <a:pt x="1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4" y="31"/>
                    </a:lnTo>
                    <a:lnTo>
                      <a:pt x="6" y="32"/>
                    </a:lnTo>
                    <a:lnTo>
                      <a:pt x="7" y="33"/>
                    </a:lnTo>
                    <a:lnTo>
                      <a:pt x="8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5" name="Freeform 24"/>
              <p:cNvSpPr>
                <a:spLocks/>
              </p:cNvSpPr>
              <p:nvPr/>
            </p:nvSpPr>
            <p:spPr bwMode="auto">
              <a:xfrm>
                <a:off x="5045" y="3063"/>
                <a:ext cx="27" cy="19"/>
              </a:xfrm>
              <a:custGeom>
                <a:avLst/>
                <a:gdLst>
                  <a:gd name="T0" fmla="*/ 13 w 27"/>
                  <a:gd name="T1" fmla="*/ 0 h 19"/>
                  <a:gd name="T2" fmla="*/ 16 w 27"/>
                  <a:gd name="T3" fmla="*/ 1 h 19"/>
                  <a:gd name="T4" fmla="*/ 19 w 27"/>
                  <a:gd name="T5" fmla="*/ 1 h 19"/>
                  <a:gd name="T6" fmla="*/ 22 w 27"/>
                  <a:gd name="T7" fmla="*/ 3 h 19"/>
                  <a:gd name="T8" fmla="*/ 23 w 27"/>
                  <a:gd name="T9" fmla="*/ 3 h 19"/>
                  <a:gd name="T10" fmla="*/ 24 w 27"/>
                  <a:gd name="T11" fmla="*/ 4 h 19"/>
                  <a:gd name="T12" fmla="*/ 26 w 27"/>
                  <a:gd name="T13" fmla="*/ 7 h 19"/>
                  <a:gd name="T14" fmla="*/ 27 w 27"/>
                  <a:gd name="T15" fmla="*/ 8 h 19"/>
                  <a:gd name="T16" fmla="*/ 27 w 27"/>
                  <a:gd name="T17" fmla="*/ 9 h 19"/>
                  <a:gd name="T18" fmla="*/ 27 w 27"/>
                  <a:gd name="T19" fmla="*/ 12 h 19"/>
                  <a:gd name="T20" fmla="*/ 26 w 27"/>
                  <a:gd name="T21" fmla="*/ 14 h 19"/>
                  <a:gd name="T22" fmla="*/ 24 w 27"/>
                  <a:gd name="T23" fmla="*/ 15 h 19"/>
                  <a:gd name="T24" fmla="*/ 23 w 27"/>
                  <a:gd name="T25" fmla="*/ 16 h 19"/>
                  <a:gd name="T26" fmla="*/ 22 w 27"/>
                  <a:gd name="T27" fmla="*/ 18 h 19"/>
                  <a:gd name="T28" fmla="*/ 19 w 27"/>
                  <a:gd name="T29" fmla="*/ 18 h 19"/>
                  <a:gd name="T30" fmla="*/ 16 w 27"/>
                  <a:gd name="T31" fmla="*/ 19 h 19"/>
                  <a:gd name="T32" fmla="*/ 13 w 27"/>
                  <a:gd name="T33" fmla="*/ 19 h 19"/>
                  <a:gd name="T34" fmla="*/ 11 w 27"/>
                  <a:gd name="T35" fmla="*/ 19 h 19"/>
                  <a:gd name="T36" fmla="*/ 8 w 27"/>
                  <a:gd name="T37" fmla="*/ 18 h 19"/>
                  <a:gd name="T38" fmla="*/ 6 w 27"/>
                  <a:gd name="T39" fmla="*/ 18 h 19"/>
                  <a:gd name="T40" fmla="*/ 4 w 27"/>
                  <a:gd name="T41" fmla="*/ 16 h 19"/>
                  <a:gd name="T42" fmla="*/ 2 w 27"/>
                  <a:gd name="T43" fmla="*/ 15 h 19"/>
                  <a:gd name="T44" fmla="*/ 1 w 27"/>
                  <a:gd name="T45" fmla="*/ 14 h 19"/>
                  <a:gd name="T46" fmla="*/ 1 w 27"/>
                  <a:gd name="T47" fmla="*/ 12 h 19"/>
                  <a:gd name="T48" fmla="*/ 0 w 27"/>
                  <a:gd name="T49" fmla="*/ 9 h 19"/>
                  <a:gd name="T50" fmla="*/ 1 w 27"/>
                  <a:gd name="T51" fmla="*/ 8 h 19"/>
                  <a:gd name="T52" fmla="*/ 1 w 27"/>
                  <a:gd name="T53" fmla="*/ 7 h 19"/>
                  <a:gd name="T54" fmla="*/ 2 w 27"/>
                  <a:gd name="T55" fmla="*/ 4 h 19"/>
                  <a:gd name="T56" fmla="*/ 4 w 27"/>
                  <a:gd name="T57" fmla="*/ 3 h 19"/>
                  <a:gd name="T58" fmla="*/ 6 w 27"/>
                  <a:gd name="T59" fmla="*/ 3 h 19"/>
                  <a:gd name="T60" fmla="*/ 8 w 27"/>
                  <a:gd name="T61" fmla="*/ 1 h 19"/>
                  <a:gd name="T62" fmla="*/ 11 w 27"/>
                  <a:gd name="T63" fmla="*/ 1 h 19"/>
                  <a:gd name="T64" fmla="*/ 13 w 27"/>
                  <a:gd name="T6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19">
                    <a:moveTo>
                      <a:pt x="13" y="0"/>
                    </a:moveTo>
                    <a:lnTo>
                      <a:pt x="16" y="1"/>
                    </a:lnTo>
                    <a:lnTo>
                      <a:pt x="19" y="1"/>
                    </a:lnTo>
                    <a:lnTo>
                      <a:pt x="22" y="3"/>
                    </a:lnTo>
                    <a:lnTo>
                      <a:pt x="23" y="3"/>
                    </a:lnTo>
                    <a:lnTo>
                      <a:pt x="24" y="4"/>
                    </a:lnTo>
                    <a:lnTo>
                      <a:pt x="26" y="7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12"/>
                    </a:lnTo>
                    <a:lnTo>
                      <a:pt x="26" y="14"/>
                    </a:lnTo>
                    <a:lnTo>
                      <a:pt x="24" y="15"/>
                    </a:lnTo>
                    <a:lnTo>
                      <a:pt x="23" y="16"/>
                    </a:lnTo>
                    <a:lnTo>
                      <a:pt x="22" y="18"/>
                    </a:lnTo>
                    <a:lnTo>
                      <a:pt x="19" y="18"/>
                    </a:lnTo>
                    <a:lnTo>
                      <a:pt x="16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6" name="Freeform 25"/>
              <p:cNvSpPr>
                <a:spLocks/>
              </p:cNvSpPr>
              <p:nvPr/>
            </p:nvSpPr>
            <p:spPr bwMode="auto">
              <a:xfrm>
                <a:off x="5045" y="3063"/>
                <a:ext cx="27" cy="19"/>
              </a:xfrm>
              <a:custGeom>
                <a:avLst/>
                <a:gdLst>
                  <a:gd name="T0" fmla="*/ 13 w 27"/>
                  <a:gd name="T1" fmla="*/ 0 h 19"/>
                  <a:gd name="T2" fmla="*/ 16 w 27"/>
                  <a:gd name="T3" fmla="*/ 1 h 19"/>
                  <a:gd name="T4" fmla="*/ 19 w 27"/>
                  <a:gd name="T5" fmla="*/ 1 h 19"/>
                  <a:gd name="T6" fmla="*/ 22 w 27"/>
                  <a:gd name="T7" fmla="*/ 3 h 19"/>
                  <a:gd name="T8" fmla="*/ 23 w 27"/>
                  <a:gd name="T9" fmla="*/ 3 h 19"/>
                  <a:gd name="T10" fmla="*/ 24 w 27"/>
                  <a:gd name="T11" fmla="*/ 4 h 19"/>
                  <a:gd name="T12" fmla="*/ 26 w 27"/>
                  <a:gd name="T13" fmla="*/ 7 h 19"/>
                  <a:gd name="T14" fmla="*/ 27 w 27"/>
                  <a:gd name="T15" fmla="*/ 8 h 19"/>
                  <a:gd name="T16" fmla="*/ 27 w 27"/>
                  <a:gd name="T17" fmla="*/ 9 h 19"/>
                  <a:gd name="T18" fmla="*/ 27 w 27"/>
                  <a:gd name="T19" fmla="*/ 12 h 19"/>
                  <a:gd name="T20" fmla="*/ 26 w 27"/>
                  <a:gd name="T21" fmla="*/ 14 h 19"/>
                  <a:gd name="T22" fmla="*/ 24 w 27"/>
                  <a:gd name="T23" fmla="*/ 15 h 19"/>
                  <a:gd name="T24" fmla="*/ 23 w 27"/>
                  <a:gd name="T25" fmla="*/ 16 h 19"/>
                  <a:gd name="T26" fmla="*/ 22 w 27"/>
                  <a:gd name="T27" fmla="*/ 18 h 19"/>
                  <a:gd name="T28" fmla="*/ 19 w 27"/>
                  <a:gd name="T29" fmla="*/ 18 h 19"/>
                  <a:gd name="T30" fmla="*/ 16 w 27"/>
                  <a:gd name="T31" fmla="*/ 19 h 19"/>
                  <a:gd name="T32" fmla="*/ 13 w 27"/>
                  <a:gd name="T33" fmla="*/ 19 h 19"/>
                  <a:gd name="T34" fmla="*/ 11 w 27"/>
                  <a:gd name="T35" fmla="*/ 19 h 19"/>
                  <a:gd name="T36" fmla="*/ 8 w 27"/>
                  <a:gd name="T37" fmla="*/ 18 h 19"/>
                  <a:gd name="T38" fmla="*/ 6 w 27"/>
                  <a:gd name="T39" fmla="*/ 18 h 19"/>
                  <a:gd name="T40" fmla="*/ 4 w 27"/>
                  <a:gd name="T41" fmla="*/ 16 h 19"/>
                  <a:gd name="T42" fmla="*/ 2 w 27"/>
                  <a:gd name="T43" fmla="*/ 15 h 19"/>
                  <a:gd name="T44" fmla="*/ 1 w 27"/>
                  <a:gd name="T45" fmla="*/ 14 h 19"/>
                  <a:gd name="T46" fmla="*/ 1 w 27"/>
                  <a:gd name="T47" fmla="*/ 12 h 19"/>
                  <a:gd name="T48" fmla="*/ 0 w 27"/>
                  <a:gd name="T49" fmla="*/ 9 h 19"/>
                  <a:gd name="T50" fmla="*/ 1 w 27"/>
                  <a:gd name="T51" fmla="*/ 8 h 19"/>
                  <a:gd name="T52" fmla="*/ 1 w 27"/>
                  <a:gd name="T53" fmla="*/ 7 h 19"/>
                  <a:gd name="T54" fmla="*/ 2 w 27"/>
                  <a:gd name="T55" fmla="*/ 4 h 19"/>
                  <a:gd name="T56" fmla="*/ 4 w 27"/>
                  <a:gd name="T57" fmla="*/ 3 h 19"/>
                  <a:gd name="T58" fmla="*/ 6 w 27"/>
                  <a:gd name="T59" fmla="*/ 3 h 19"/>
                  <a:gd name="T60" fmla="*/ 8 w 27"/>
                  <a:gd name="T61" fmla="*/ 1 h 19"/>
                  <a:gd name="T62" fmla="*/ 11 w 27"/>
                  <a:gd name="T63" fmla="*/ 1 h 19"/>
                  <a:gd name="T64" fmla="*/ 13 w 27"/>
                  <a:gd name="T6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" h="19">
                    <a:moveTo>
                      <a:pt x="13" y="0"/>
                    </a:moveTo>
                    <a:lnTo>
                      <a:pt x="16" y="1"/>
                    </a:lnTo>
                    <a:lnTo>
                      <a:pt x="19" y="1"/>
                    </a:lnTo>
                    <a:lnTo>
                      <a:pt x="22" y="3"/>
                    </a:lnTo>
                    <a:lnTo>
                      <a:pt x="23" y="3"/>
                    </a:lnTo>
                    <a:lnTo>
                      <a:pt x="24" y="4"/>
                    </a:lnTo>
                    <a:lnTo>
                      <a:pt x="26" y="7"/>
                    </a:lnTo>
                    <a:lnTo>
                      <a:pt x="27" y="8"/>
                    </a:lnTo>
                    <a:lnTo>
                      <a:pt x="27" y="9"/>
                    </a:lnTo>
                    <a:lnTo>
                      <a:pt x="27" y="12"/>
                    </a:lnTo>
                    <a:lnTo>
                      <a:pt x="26" y="14"/>
                    </a:lnTo>
                    <a:lnTo>
                      <a:pt x="24" y="15"/>
                    </a:lnTo>
                    <a:lnTo>
                      <a:pt x="23" y="16"/>
                    </a:lnTo>
                    <a:lnTo>
                      <a:pt x="22" y="18"/>
                    </a:lnTo>
                    <a:lnTo>
                      <a:pt x="19" y="18"/>
                    </a:lnTo>
                    <a:lnTo>
                      <a:pt x="16" y="19"/>
                    </a:lnTo>
                    <a:lnTo>
                      <a:pt x="13" y="19"/>
                    </a:lnTo>
                    <a:lnTo>
                      <a:pt x="11" y="19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5"/>
                    </a:lnTo>
                    <a:lnTo>
                      <a:pt x="1" y="14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1" y="7"/>
                    </a:lnTo>
                    <a:lnTo>
                      <a:pt x="2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8" y="1"/>
                    </a:lnTo>
                    <a:lnTo>
                      <a:pt x="11" y="1"/>
                    </a:lnTo>
                    <a:lnTo>
                      <a:pt x="1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7" name="Freeform 26"/>
              <p:cNvSpPr>
                <a:spLocks/>
              </p:cNvSpPr>
              <p:nvPr/>
            </p:nvSpPr>
            <p:spPr bwMode="auto">
              <a:xfrm>
                <a:off x="5133" y="3015"/>
                <a:ext cx="19" cy="15"/>
              </a:xfrm>
              <a:custGeom>
                <a:avLst/>
                <a:gdLst>
                  <a:gd name="T0" fmla="*/ 9 w 19"/>
                  <a:gd name="T1" fmla="*/ 0 h 15"/>
                  <a:gd name="T2" fmla="*/ 11 w 19"/>
                  <a:gd name="T3" fmla="*/ 0 h 15"/>
                  <a:gd name="T4" fmla="*/ 12 w 19"/>
                  <a:gd name="T5" fmla="*/ 0 h 15"/>
                  <a:gd name="T6" fmla="*/ 15 w 19"/>
                  <a:gd name="T7" fmla="*/ 0 h 15"/>
                  <a:gd name="T8" fmla="*/ 16 w 19"/>
                  <a:gd name="T9" fmla="*/ 1 h 15"/>
                  <a:gd name="T10" fmla="*/ 17 w 19"/>
                  <a:gd name="T11" fmla="*/ 2 h 15"/>
                  <a:gd name="T12" fmla="*/ 17 w 19"/>
                  <a:gd name="T13" fmla="*/ 4 h 15"/>
                  <a:gd name="T14" fmla="*/ 19 w 19"/>
                  <a:gd name="T15" fmla="*/ 5 h 15"/>
                  <a:gd name="T16" fmla="*/ 19 w 19"/>
                  <a:gd name="T17" fmla="*/ 7 h 15"/>
                  <a:gd name="T18" fmla="*/ 19 w 19"/>
                  <a:gd name="T19" fmla="*/ 9 h 15"/>
                  <a:gd name="T20" fmla="*/ 17 w 19"/>
                  <a:gd name="T21" fmla="*/ 11 h 15"/>
                  <a:gd name="T22" fmla="*/ 17 w 19"/>
                  <a:gd name="T23" fmla="*/ 12 h 15"/>
                  <a:gd name="T24" fmla="*/ 16 w 19"/>
                  <a:gd name="T25" fmla="*/ 13 h 15"/>
                  <a:gd name="T26" fmla="*/ 15 w 19"/>
                  <a:gd name="T27" fmla="*/ 15 h 15"/>
                  <a:gd name="T28" fmla="*/ 12 w 19"/>
                  <a:gd name="T29" fmla="*/ 15 h 15"/>
                  <a:gd name="T30" fmla="*/ 11 w 19"/>
                  <a:gd name="T31" fmla="*/ 15 h 15"/>
                  <a:gd name="T32" fmla="*/ 9 w 19"/>
                  <a:gd name="T33" fmla="*/ 15 h 15"/>
                  <a:gd name="T34" fmla="*/ 6 w 19"/>
                  <a:gd name="T35" fmla="*/ 15 h 15"/>
                  <a:gd name="T36" fmla="*/ 5 w 19"/>
                  <a:gd name="T37" fmla="*/ 15 h 15"/>
                  <a:gd name="T38" fmla="*/ 4 w 19"/>
                  <a:gd name="T39" fmla="*/ 15 h 15"/>
                  <a:gd name="T40" fmla="*/ 2 w 19"/>
                  <a:gd name="T41" fmla="*/ 13 h 15"/>
                  <a:gd name="T42" fmla="*/ 1 w 19"/>
                  <a:gd name="T43" fmla="*/ 12 h 15"/>
                  <a:gd name="T44" fmla="*/ 0 w 19"/>
                  <a:gd name="T45" fmla="*/ 11 h 15"/>
                  <a:gd name="T46" fmla="*/ 0 w 19"/>
                  <a:gd name="T47" fmla="*/ 9 h 15"/>
                  <a:gd name="T48" fmla="*/ 0 w 19"/>
                  <a:gd name="T49" fmla="*/ 7 h 15"/>
                  <a:gd name="T50" fmla="*/ 0 w 19"/>
                  <a:gd name="T51" fmla="*/ 5 h 15"/>
                  <a:gd name="T52" fmla="*/ 0 w 19"/>
                  <a:gd name="T53" fmla="*/ 4 h 15"/>
                  <a:gd name="T54" fmla="*/ 1 w 19"/>
                  <a:gd name="T55" fmla="*/ 2 h 15"/>
                  <a:gd name="T56" fmla="*/ 2 w 19"/>
                  <a:gd name="T57" fmla="*/ 1 h 15"/>
                  <a:gd name="T58" fmla="*/ 4 w 19"/>
                  <a:gd name="T59" fmla="*/ 0 h 15"/>
                  <a:gd name="T60" fmla="*/ 5 w 19"/>
                  <a:gd name="T61" fmla="*/ 0 h 15"/>
                  <a:gd name="T62" fmla="*/ 6 w 19"/>
                  <a:gd name="T63" fmla="*/ 0 h 15"/>
                  <a:gd name="T64" fmla="*/ 9 w 19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" h="15">
                    <a:moveTo>
                      <a:pt x="9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5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2" y="15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8" name="Freeform 27"/>
              <p:cNvSpPr>
                <a:spLocks/>
              </p:cNvSpPr>
              <p:nvPr/>
            </p:nvSpPr>
            <p:spPr bwMode="auto">
              <a:xfrm>
                <a:off x="5133" y="3015"/>
                <a:ext cx="19" cy="15"/>
              </a:xfrm>
              <a:custGeom>
                <a:avLst/>
                <a:gdLst>
                  <a:gd name="T0" fmla="*/ 9 w 19"/>
                  <a:gd name="T1" fmla="*/ 0 h 15"/>
                  <a:gd name="T2" fmla="*/ 11 w 19"/>
                  <a:gd name="T3" fmla="*/ 0 h 15"/>
                  <a:gd name="T4" fmla="*/ 12 w 19"/>
                  <a:gd name="T5" fmla="*/ 0 h 15"/>
                  <a:gd name="T6" fmla="*/ 15 w 19"/>
                  <a:gd name="T7" fmla="*/ 0 h 15"/>
                  <a:gd name="T8" fmla="*/ 16 w 19"/>
                  <a:gd name="T9" fmla="*/ 1 h 15"/>
                  <a:gd name="T10" fmla="*/ 17 w 19"/>
                  <a:gd name="T11" fmla="*/ 2 h 15"/>
                  <a:gd name="T12" fmla="*/ 17 w 19"/>
                  <a:gd name="T13" fmla="*/ 4 h 15"/>
                  <a:gd name="T14" fmla="*/ 19 w 19"/>
                  <a:gd name="T15" fmla="*/ 5 h 15"/>
                  <a:gd name="T16" fmla="*/ 19 w 19"/>
                  <a:gd name="T17" fmla="*/ 7 h 15"/>
                  <a:gd name="T18" fmla="*/ 19 w 19"/>
                  <a:gd name="T19" fmla="*/ 9 h 15"/>
                  <a:gd name="T20" fmla="*/ 17 w 19"/>
                  <a:gd name="T21" fmla="*/ 11 h 15"/>
                  <a:gd name="T22" fmla="*/ 17 w 19"/>
                  <a:gd name="T23" fmla="*/ 12 h 15"/>
                  <a:gd name="T24" fmla="*/ 16 w 19"/>
                  <a:gd name="T25" fmla="*/ 13 h 15"/>
                  <a:gd name="T26" fmla="*/ 15 w 19"/>
                  <a:gd name="T27" fmla="*/ 15 h 15"/>
                  <a:gd name="T28" fmla="*/ 12 w 19"/>
                  <a:gd name="T29" fmla="*/ 15 h 15"/>
                  <a:gd name="T30" fmla="*/ 11 w 19"/>
                  <a:gd name="T31" fmla="*/ 15 h 15"/>
                  <a:gd name="T32" fmla="*/ 9 w 19"/>
                  <a:gd name="T33" fmla="*/ 15 h 15"/>
                  <a:gd name="T34" fmla="*/ 6 w 19"/>
                  <a:gd name="T35" fmla="*/ 15 h 15"/>
                  <a:gd name="T36" fmla="*/ 5 w 19"/>
                  <a:gd name="T37" fmla="*/ 15 h 15"/>
                  <a:gd name="T38" fmla="*/ 4 w 19"/>
                  <a:gd name="T39" fmla="*/ 15 h 15"/>
                  <a:gd name="T40" fmla="*/ 2 w 19"/>
                  <a:gd name="T41" fmla="*/ 13 h 15"/>
                  <a:gd name="T42" fmla="*/ 1 w 19"/>
                  <a:gd name="T43" fmla="*/ 12 h 15"/>
                  <a:gd name="T44" fmla="*/ 0 w 19"/>
                  <a:gd name="T45" fmla="*/ 11 h 15"/>
                  <a:gd name="T46" fmla="*/ 0 w 19"/>
                  <a:gd name="T47" fmla="*/ 9 h 15"/>
                  <a:gd name="T48" fmla="*/ 0 w 19"/>
                  <a:gd name="T49" fmla="*/ 7 h 15"/>
                  <a:gd name="T50" fmla="*/ 0 w 19"/>
                  <a:gd name="T51" fmla="*/ 5 h 15"/>
                  <a:gd name="T52" fmla="*/ 0 w 19"/>
                  <a:gd name="T53" fmla="*/ 4 h 15"/>
                  <a:gd name="T54" fmla="*/ 1 w 19"/>
                  <a:gd name="T55" fmla="*/ 2 h 15"/>
                  <a:gd name="T56" fmla="*/ 2 w 19"/>
                  <a:gd name="T57" fmla="*/ 1 h 15"/>
                  <a:gd name="T58" fmla="*/ 4 w 19"/>
                  <a:gd name="T59" fmla="*/ 0 h 15"/>
                  <a:gd name="T60" fmla="*/ 5 w 19"/>
                  <a:gd name="T61" fmla="*/ 0 h 15"/>
                  <a:gd name="T62" fmla="*/ 6 w 19"/>
                  <a:gd name="T63" fmla="*/ 0 h 15"/>
                  <a:gd name="T64" fmla="*/ 9 w 19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" h="15">
                    <a:moveTo>
                      <a:pt x="9" y="0"/>
                    </a:moveTo>
                    <a:lnTo>
                      <a:pt x="11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6" y="1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9" y="5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17" y="11"/>
                    </a:lnTo>
                    <a:lnTo>
                      <a:pt x="17" y="12"/>
                    </a:lnTo>
                    <a:lnTo>
                      <a:pt x="16" y="13"/>
                    </a:lnTo>
                    <a:lnTo>
                      <a:pt x="15" y="15"/>
                    </a:lnTo>
                    <a:lnTo>
                      <a:pt x="12" y="15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1" y="2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19" name="Freeform 28"/>
              <p:cNvSpPr>
                <a:spLocks/>
              </p:cNvSpPr>
              <p:nvPr/>
            </p:nvSpPr>
            <p:spPr bwMode="auto">
              <a:xfrm>
                <a:off x="5221" y="3070"/>
                <a:ext cx="20" cy="41"/>
              </a:xfrm>
              <a:custGeom>
                <a:avLst/>
                <a:gdLst>
                  <a:gd name="T0" fmla="*/ 9 w 20"/>
                  <a:gd name="T1" fmla="*/ 0 h 41"/>
                  <a:gd name="T2" fmla="*/ 12 w 20"/>
                  <a:gd name="T3" fmla="*/ 1 h 41"/>
                  <a:gd name="T4" fmla="*/ 13 w 20"/>
                  <a:gd name="T5" fmla="*/ 2 h 41"/>
                  <a:gd name="T6" fmla="*/ 16 w 20"/>
                  <a:gd name="T7" fmla="*/ 4 h 41"/>
                  <a:gd name="T8" fmla="*/ 17 w 20"/>
                  <a:gd name="T9" fmla="*/ 7 h 41"/>
                  <a:gd name="T10" fmla="*/ 19 w 20"/>
                  <a:gd name="T11" fmla="*/ 9 h 41"/>
                  <a:gd name="T12" fmla="*/ 19 w 20"/>
                  <a:gd name="T13" fmla="*/ 12 h 41"/>
                  <a:gd name="T14" fmla="*/ 20 w 20"/>
                  <a:gd name="T15" fmla="*/ 16 h 41"/>
                  <a:gd name="T16" fmla="*/ 20 w 20"/>
                  <a:gd name="T17" fmla="*/ 20 h 41"/>
                  <a:gd name="T18" fmla="*/ 20 w 20"/>
                  <a:gd name="T19" fmla="*/ 24 h 41"/>
                  <a:gd name="T20" fmla="*/ 19 w 20"/>
                  <a:gd name="T21" fmla="*/ 29 h 41"/>
                  <a:gd name="T22" fmla="*/ 19 w 20"/>
                  <a:gd name="T23" fmla="*/ 31 h 41"/>
                  <a:gd name="T24" fmla="*/ 17 w 20"/>
                  <a:gd name="T25" fmla="*/ 34 h 41"/>
                  <a:gd name="T26" fmla="*/ 16 w 20"/>
                  <a:gd name="T27" fmla="*/ 37 h 41"/>
                  <a:gd name="T28" fmla="*/ 13 w 20"/>
                  <a:gd name="T29" fmla="*/ 40 h 41"/>
                  <a:gd name="T30" fmla="*/ 12 w 20"/>
                  <a:gd name="T31" fmla="*/ 40 h 41"/>
                  <a:gd name="T32" fmla="*/ 9 w 20"/>
                  <a:gd name="T33" fmla="*/ 41 h 41"/>
                  <a:gd name="T34" fmla="*/ 8 w 20"/>
                  <a:gd name="T35" fmla="*/ 40 h 41"/>
                  <a:gd name="T36" fmla="*/ 6 w 20"/>
                  <a:gd name="T37" fmla="*/ 40 h 41"/>
                  <a:gd name="T38" fmla="*/ 4 w 20"/>
                  <a:gd name="T39" fmla="*/ 37 h 41"/>
                  <a:gd name="T40" fmla="*/ 2 w 20"/>
                  <a:gd name="T41" fmla="*/ 34 h 41"/>
                  <a:gd name="T42" fmla="*/ 2 w 20"/>
                  <a:gd name="T43" fmla="*/ 31 h 41"/>
                  <a:gd name="T44" fmla="*/ 1 w 20"/>
                  <a:gd name="T45" fmla="*/ 29 h 41"/>
                  <a:gd name="T46" fmla="*/ 1 w 20"/>
                  <a:gd name="T47" fmla="*/ 24 h 41"/>
                  <a:gd name="T48" fmla="*/ 0 w 20"/>
                  <a:gd name="T49" fmla="*/ 20 h 41"/>
                  <a:gd name="T50" fmla="*/ 1 w 20"/>
                  <a:gd name="T51" fmla="*/ 16 h 41"/>
                  <a:gd name="T52" fmla="*/ 1 w 20"/>
                  <a:gd name="T53" fmla="*/ 12 h 41"/>
                  <a:gd name="T54" fmla="*/ 2 w 20"/>
                  <a:gd name="T55" fmla="*/ 9 h 41"/>
                  <a:gd name="T56" fmla="*/ 2 w 20"/>
                  <a:gd name="T57" fmla="*/ 7 h 41"/>
                  <a:gd name="T58" fmla="*/ 4 w 20"/>
                  <a:gd name="T59" fmla="*/ 4 h 41"/>
                  <a:gd name="T60" fmla="*/ 6 w 20"/>
                  <a:gd name="T61" fmla="*/ 2 h 41"/>
                  <a:gd name="T62" fmla="*/ 8 w 20"/>
                  <a:gd name="T63" fmla="*/ 1 h 41"/>
                  <a:gd name="T64" fmla="*/ 9 w 20"/>
                  <a:gd name="T6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1">
                    <a:moveTo>
                      <a:pt x="9" y="0"/>
                    </a:moveTo>
                    <a:lnTo>
                      <a:pt x="12" y="1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4"/>
                    </a:lnTo>
                    <a:lnTo>
                      <a:pt x="16" y="37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37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1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0" name="Freeform 29"/>
              <p:cNvSpPr>
                <a:spLocks/>
              </p:cNvSpPr>
              <p:nvPr/>
            </p:nvSpPr>
            <p:spPr bwMode="auto">
              <a:xfrm>
                <a:off x="5221" y="3070"/>
                <a:ext cx="20" cy="41"/>
              </a:xfrm>
              <a:custGeom>
                <a:avLst/>
                <a:gdLst>
                  <a:gd name="T0" fmla="*/ 9 w 20"/>
                  <a:gd name="T1" fmla="*/ 0 h 41"/>
                  <a:gd name="T2" fmla="*/ 12 w 20"/>
                  <a:gd name="T3" fmla="*/ 1 h 41"/>
                  <a:gd name="T4" fmla="*/ 13 w 20"/>
                  <a:gd name="T5" fmla="*/ 2 h 41"/>
                  <a:gd name="T6" fmla="*/ 16 w 20"/>
                  <a:gd name="T7" fmla="*/ 4 h 41"/>
                  <a:gd name="T8" fmla="*/ 17 w 20"/>
                  <a:gd name="T9" fmla="*/ 7 h 41"/>
                  <a:gd name="T10" fmla="*/ 19 w 20"/>
                  <a:gd name="T11" fmla="*/ 9 h 41"/>
                  <a:gd name="T12" fmla="*/ 19 w 20"/>
                  <a:gd name="T13" fmla="*/ 12 h 41"/>
                  <a:gd name="T14" fmla="*/ 20 w 20"/>
                  <a:gd name="T15" fmla="*/ 16 h 41"/>
                  <a:gd name="T16" fmla="*/ 20 w 20"/>
                  <a:gd name="T17" fmla="*/ 20 h 41"/>
                  <a:gd name="T18" fmla="*/ 20 w 20"/>
                  <a:gd name="T19" fmla="*/ 24 h 41"/>
                  <a:gd name="T20" fmla="*/ 19 w 20"/>
                  <a:gd name="T21" fmla="*/ 29 h 41"/>
                  <a:gd name="T22" fmla="*/ 19 w 20"/>
                  <a:gd name="T23" fmla="*/ 31 h 41"/>
                  <a:gd name="T24" fmla="*/ 17 w 20"/>
                  <a:gd name="T25" fmla="*/ 34 h 41"/>
                  <a:gd name="T26" fmla="*/ 16 w 20"/>
                  <a:gd name="T27" fmla="*/ 37 h 41"/>
                  <a:gd name="T28" fmla="*/ 13 w 20"/>
                  <a:gd name="T29" fmla="*/ 40 h 41"/>
                  <a:gd name="T30" fmla="*/ 12 w 20"/>
                  <a:gd name="T31" fmla="*/ 40 h 41"/>
                  <a:gd name="T32" fmla="*/ 9 w 20"/>
                  <a:gd name="T33" fmla="*/ 41 h 41"/>
                  <a:gd name="T34" fmla="*/ 8 w 20"/>
                  <a:gd name="T35" fmla="*/ 40 h 41"/>
                  <a:gd name="T36" fmla="*/ 6 w 20"/>
                  <a:gd name="T37" fmla="*/ 40 h 41"/>
                  <a:gd name="T38" fmla="*/ 4 w 20"/>
                  <a:gd name="T39" fmla="*/ 37 h 41"/>
                  <a:gd name="T40" fmla="*/ 2 w 20"/>
                  <a:gd name="T41" fmla="*/ 34 h 41"/>
                  <a:gd name="T42" fmla="*/ 2 w 20"/>
                  <a:gd name="T43" fmla="*/ 31 h 41"/>
                  <a:gd name="T44" fmla="*/ 1 w 20"/>
                  <a:gd name="T45" fmla="*/ 29 h 41"/>
                  <a:gd name="T46" fmla="*/ 1 w 20"/>
                  <a:gd name="T47" fmla="*/ 24 h 41"/>
                  <a:gd name="T48" fmla="*/ 0 w 20"/>
                  <a:gd name="T49" fmla="*/ 20 h 41"/>
                  <a:gd name="T50" fmla="*/ 1 w 20"/>
                  <a:gd name="T51" fmla="*/ 16 h 41"/>
                  <a:gd name="T52" fmla="*/ 1 w 20"/>
                  <a:gd name="T53" fmla="*/ 12 h 41"/>
                  <a:gd name="T54" fmla="*/ 2 w 20"/>
                  <a:gd name="T55" fmla="*/ 9 h 41"/>
                  <a:gd name="T56" fmla="*/ 2 w 20"/>
                  <a:gd name="T57" fmla="*/ 7 h 41"/>
                  <a:gd name="T58" fmla="*/ 4 w 20"/>
                  <a:gd name="T59" fmla="*/ 4 h 41"/>
                  <a:gd name="T60" fmla="*/ 6 w 20"/>
                  <a:gd name="T61" fmla="*/ 2 h 41"/>
                  <a:gd name="T62" fmla="*/ 8 w 20"/>
                  <a:gd name="T63" fmla="*/ 1 h 41"/>
                  <a:gd name="T64" fmla="*/ 9 w 20"/>
                  <a:gd name="T65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41">
                    <a:moveTo>
                      <a:pt x="9" y="0"/>
                    </a:moveTo>
                    <a:lnTo>
                      <a:pt x="12" y="1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17" y="7"/>
                    </a:lnTo>
                    <a:lnTo>
                      <a:pt x="19" y="9"/>
                    </a:lnTo>
                    <a:lnTo>
                      <a:pt x="19" y="12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4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4"/>
                    </a:lnTo>
                    <a:lnTo>
                      <a:pt x="16" y="37"/>
                    </a:lnTo>
                    <a:lnTo>
                      <a:pt x="13" y="40"/>
                    </a:lnTo>
                    <a:lnTo>
                      <a:pt x="12" y="40"/>
                    </a:lnTo>
                    <a:lnTo>
                      <a:pt x="9" y="41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37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1" y="29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1" y="16"/>
                    </a:lnTo>
                    <a:lnTo>
                      <a:pt x="1" y="12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1"/>
                    </a:lnTo>
                    <a:lnTo>
                      <a:pt x="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1" name="Freeform 30"/>
              <p:cNvSpPr>
                <a:spLocks/>
              </p:cNvSpPr>
              <p:nvPr/>
            </p:nvSpPr>
            <p:spPr bwMode="auto">
              <a:xfrm>
                <a:off x="5133" y="3055"/>
                <a:ext cx="17" cy="30"/>
              </a:xfrm>
              <a:custGeom>
                <a:avLst/>
                <a:gdLst>
                  <a:gd name="T0" fmla="*/ 8 w 17"/>
                  <a:gd name="T1" fmla="*/ 0 h 30"/>
                  <a:gd name="T2" fmla="*/ 11 w 17"/>
                  <a:gd name="T3" fmla="*/ 0 h 30"/>
                  <a:gd name="T4" fmla="*/ 12 w 17"/>
                  <a:gd name="T5" fmla="*/ 1 h 30"/>
                  <a:gd name="T6" fmla="*/ 13 w 17"/>
                  <a:gd name="T7" fmla="*/ 2 h 30"/>
                  <a:gd name="T8" fmla="*/ 15 w 17"/>
                  <a:gd name="T9" fmla="*/ 4 h 30"/>
                  <a:gd name="T10" fmla="*/ 16 w 17"/>
                  <a:gd name="T11" fmla="*/ 6 h 30"/>
                  <a:gd name="T12" fmla="*/ 17 w 17"/>
                  <a:gd name="T13" fmla="*/ 9 h 30"/>
                  <a:gd name="T14" fmla="*/ 17 w 17"/>
                  <a:gd name="T15" fmla="*/ 12 h 30"/>
                  <a:gd name="T16" fmla="*/ 17 w 17"/>
                  <a:gd name="T17" fmla="*/ 15 h 30"/>
                  <a:gd name="T18" fmla="*/ 17 w 17"/>
                  <a:gd name="T19" fmla="*/ 19 h 30"/>
                  <a:gd name="T20" fmla="*/ 17 w 17"/>
                  <a:gd name="T21" fmla="*/ 22 h 30"/>
                  <a:gd name="T22" fmla="*/ 16 w 17"/>
                  <a:gd name="T23" fmla="*/ 23 h 30"/>
                  <a:gd name="T24" fmla="*/ 15 w 17"/>
                  <a:gd name="T25" fmla="*/ 26 h 30"/>
                  <a:gd name="T26" fmla="*/ 13 w 17"/>
                  <a:gd name="T27" fmla="*/ 27 h 30"/>
                  <a:gd name="T28" fmla="*/ 12 w 17"/>
                  <a:gd name="T29" fmla="*/ 28 h 30"/>
                  <a:gd name="T30" fmla="*/ 11 w 17"/>
                  <a:gd name="T31" fmla="*/ 30 h 30"/>
                  <a:gd name="T32" fmla="*/ 8 w 17"/>
                  <a:gd name="T33" fmla="*/ 30 h 30"/>
                  <a:gd name="T34" fmla="*/ 6 w 17"/>
                  <a:gd name="T35" fmla="*/ 30 h 30"/>
                  <a:gd name="T36" fmla="*/ 5 w 17"/>
                  <a:gd name="T37" fmla="*/ 28 h 30"/>
                  <a:gd name="T38" fmla="*/ 4 w 17"/>
                  <a:gd name="T39" fmla="*/ 27 h 30"/>
                  <a:gd name="T40" fmla="*/ 2 w 17"/>
                  <a:gd name="T41" fmla="*/ 26 h 30"/>
                  <a:gd name="T42" fmla="*/ 1 w 17"/>
                  <a:gd name="T43" fmla="*/ 23 h 30"/>
                  <a:gd name="T44" fmla="*/ 0 w 17"/>
                  <a:gd name="T45" fmla="*/ 22 h 30"/>
                  <a:gd name="T46" fmla="*/ 0 w 17"/>
                  <a:gd name="T47" fmla="*/ 19 h 30"/>
                  <a:gd name="T48" fmla="*/ 0 w 17"/>
                  <a:gd name="T49" fmla="*/ 15 h 30"/>
                  <a:gd name="T50" fmla="*/ 0 w 17"/>
                  <a:gd name="T51" fmla="*/ 12 h 30"/>
                  <a:gd name="T52" fmla="*/ 0 w 17"/>
                  <a:gd name="T53" fmla="*/ 9 h 30"/>
                  <a:gd name="T54" fmla="*/ 1 w 17"/>
                  <a:gd name="T55" fmla="*/ 6 h 30"/>
                  <a:gd name="T56" fmla="*/ 2 w 17"/>
                  <a:gd name="T57" fmla="*/ 4 h 30"/>
                  <a:gd name="T58" fmla="*/ 4 w 17"/>
                  <a:gd name="T59" fmla="*/ 2 h 30"/>
                  <a:gd name="T60" fmla="*/ 5 w 17"/>
                  <a:gd name="T61" fmla="*/ 1 h 30"/>
                  <a:gd name="T62" fmla="*/ 6 w 17"/>
                  <a:gd name="T63" fmla="*/ 0 h 30"/>
                  <a:gd name="T64" fmla="*/ 8 w 17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0">
                    <a:moveTo>
                      <a:pt x="8" y="0"/>
                    </a:moveTo>
                    <a:lnTo>
                      <a:pt x="11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5" y="4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6" y="23"/>
                    </a:lnTo>
                    <a:lnTo>
                      <a:pt x="15" y="26"/>
                    </a:lnTo>
                    <a:lnTo>
                      <a:pt x="13" y="27"/>
                    </a:lnTo>
                    <a:lnTo>
                      <a:pt x="12" y="28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5" y="28"/>
                    </a:lnTo>
                    <a:lnTo>
                      <a:pt x="4" y="27"/>
                    </a:lnTo>
                    <a:lnTo>
                      <a:pt x="2" y="26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2" name="Freeform 31"/>
              <p:cNvSpPr>
                <a:spLocks/>
              </p:cNvSpPr>
              <p:nvPr/>
            </p:nvSpPr>
            <p:spPr bwMode="auto">
              <a:xfrm>
                <a:off x="5133" y="3055"/>
                <a:ext cx="17" cy="30"/>
              </a:xfrm>
              <a:custGeom>
                <a:avLst/>
                <a:gdLst>
                  <a:gd name="T0" fmla="*/ 8 w 17"/>
                  <a:gd name="T1" fmla="*/ 0 h 30"/>
                  <a:gd name="T2" fmla="*/ 11 w 17"/>
                  <a:gd name="T3" fmla="*/ 0 h 30"/>
                  <a:gd name="T4" fmla="*/ 12 w 17"/>
                  <a:gd name="T5" fmla="*/ 1 h 30"/>
                  <a:gd name="T6" fmla="*/ 13 w 17"/>
                  <a:gd name="T7" fmla="*/ 2 h 30"/>
                  <a:gd name="T8" fmla="*/ 15 w 17"/>
                  <a:gd name="T9" fmla="*/ 4 h 30"/>
                  <a:gd name="T10" fmla="*/ 16 w 17"/>
                  <a:gd name="T11" fmla="*/ 6 h 30"/>
                  <a:gd name="T12" fmla="*/ 17 w 17"/>
                  <a:gd name="T13" fmla="*/ 9 h 30"/>
                  <a:gd name="T14" fmla="*/ 17 w 17"/>
                  <a:gd name="T15" fmla="*/ 12 h 30"/>
                  <a:gd name="T16" fmla="*/ 17 w 17"/>
                  <a:gd name="T17" fmla="*/ 15 h 30"/>
                  <a:gd name="T18" fmla="*/ 17 w 17"/>
                  <a:gd name="T19" fmla="*/ 19 h 30"/>
                  <a:gd name="T20" fmla="*/ 17 w 17"/>
                  <a:gd name="T21" fmla="*/ 22 h 30"/>
                  <a:gd name="T22" fmla="*/ 16 w 17"/>
                  <a:gd name="T23" fmla="*/ 23 h 30"/>
                  <a:gd name="T24" fmla="*/ 15 w 17"/>
                  <a:gd name="T25" fmla="*/ 26 h 30"/>
                  <a:gd name="T26" fmla="*/ 13 w 17"/>
                  <a:gd name="T27" fmla="*/ 27 h 30"/>
                  <a:gd name="T28" fmla="*/ 12 w 17"/>
                  <a:gd name="T29" fmla="*/ 28 h 30"/>
                  <a:gd name="T30" fmla="*/ 11 w 17"/>
                  <a:gd name="T31" fmla="*/ 30 h 30"/>
                  <a:gd name="T32" fmla="*/ 8 w 17"/>
                  <a:gd name="T33" fmla="*/ 30 h 30"/>
                  <a:gd name="T34" fmla="*/ 6 w 17"/>
                  <a:gd name="T35" fmla="*/ 30 h 30"/>
                  <a:gd name="T36" fmla="*/ 5 w 17"/>
                  <a:gd name="T37" fmla="*/ 28 h 30"/>
                  <a:gd name="T38" fmla="*/ 4 w 17"/>
                  <a:gd name="T39" fmla="*/ 27 h 30"/>
                  <a:gd name="T40" fmla="*/ 2 w 17"/>
                  <a:gd name="T41" fmla="*/ 26 h 30"/>
                  <a:gd name="T42" fmla="*/ 1 w 17"/>
                  <a:gd name="T43" fmla="*/ 23 h 30"/>
                  <a:gd name="T44" fmla="*/ 0 w 17"/>
                  <a:gd name="T45" fmla="*/ 22 h 30"/>
                  <a:gd name="T46" fmla="*/ 0 w 17"/>
                  <a:gd name="T47" fmla="*/ 19 h 30"/>
                  <a:gd name="T48" fmla="*/ 0 w 17"/>
                  <a:gd name="T49" fmla="*/ 15 h 30"/>
                  <a:gd name="T50" fmla="*/ 0 w 17"/>
                  <a:gd name="T51" fmla="*/ 12 h 30"/>
                  <a:gd name="T52" fmla="*/ 0 w 17"/>
                  <a:gd name="T53" fmla="*/ 9 h 30"/>
                  <a:gd name="T54" fmla="*/ 1 w 17"/>
                  <a:gd name="T55" fmla="*/ 6 h 30"/>
                  <a:gd name="T56" fmla="*/ 2 w 17"/>
                  <a:gd name="T57" fmla="*/ 4 h 30"/>
                  <a:gd name="T58" fmla="*/ 4 w 17"/>
                  <a:gd name="T59" fmla="*/ 2 h 30"/>
                  <a:gd name="T60" fmla="*/ 5 w 17"/>
                  <a:gd name="T61" fmla="*/ 1 h 30"/>
                  <a:gd name="T62" fmla="*/ 6 w 17"/>
                  <a:gd name="T63" fmla="*/ 0 h 30"/>
                  <a:gd name="T64" fmla="*/ 8 w 17"/>
                  <a:gd name="T6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30">
                    <a:moveTo>
                      <a:pt x="8" y="0"/>
                    </a:moveTo>
                    <a:lnTo>
                      <a:pt x="11" y="0"/>
                    </a:lnTo>
                    <a:lnTo>
                      <a:pt x="12" y="1"/>
                    </a:lnTo>
                    <a:lnTo>
                      <a:pt x="13" y="2"/>
                    </a:lnTo>
                    <a:lnTo>
                      <a:pt x="15" y="4"/>
                    </a:lnTo>
                    <a:lnTo>
                      <a:pt x="16" y="6"/>
                    </a:lnTo>
                    <a:lnTo>
                      <a:pt x="17" y="9"/>
                    </a:lnTo>
                    <a:lnTo>
                      <a:pt x="17" y="12"/>
                    </a:lnTo>
                    <a:lnTo>
                      <a:pt x="17" y="15"/>
                    </a:lnTo>
                    <a:lnTo>
                      <a:pt x="17" y="19"/>
                    </a:lnTo>
                    <a:lnTo>
                      <a:pt x="17" y="22"/>
                    </a:lnTo>
                    <a:lnTo>
                      <a:pt x="16" y="23"/>
                    </a:lnTo>
                    <a:lnTo>
                      <a:pt x="15" y="26"/>
                    </a:lnTo>
                    <a:lnTo>
                      <a:pt x="13" y="27"/>
                    </a:lnTo>
                    <a:lnTo>
                      <a:pt x="12" y="28"/>
                    </a:lnTo>
                    <a:lnTo>
                      <a:pt x="11" y="30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5" y="28"/>
                    </a:lnTo>
                    <a:lnTo>
                      <a:pt x="4" y="27"/>
                    </a:lnTo>
                    <a:lnTo>
                      <a:pt x="2" y="26"/>
                    </a:lnTo>
                    <a:lnTo>
                      <a:pt x="1" y="23"/>
                    </a:lnTo>
                    <a:lnTo>
                      <a:pt x="0" y="22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6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6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3" name="Freeform 32"/>
              <p:cNvSpPr>
                <a:spLocks/>
              </p:cNvSpPr>
              <p:nvPr/>
            </p:nvSpPr>
            <p:spPr bwMode="auto">
              <a:xfrm>
                <a:off x="4860" y="2793"/>
                <a:ext cx="29" cy="16"/>
              </a:xfrm>
              <a:custGeom>
                <a:avLst/>
                <a:gdLst>
                  <a:gd name="T0" fmla="*/ 15 w 29"/>
                  <a:gd name="T1" fmla="*/ 16 h 16"/>
                  <a:gd name="T2" fmla="*/ 18 w 29"/>
                  <a:gd name="T3" fmla="*/ 14 h 16"/>
                  <a:gd name="T4" fmla="*/ 21 w 29"/>
                  <a:gd name="T5" fmla="*/ 14 h 16"/>
                  <a:gd name="T6" fmla="*/ 22 w 29"/>
                  <a:gd name="T7" fmla="*/ 14 h 16"/>
                  <a:gd name="T8" fmla="*/ 25 w 29"/>
                  <a:gd name="T9" fmla="*/ 13 h 16"/>
                  <a:gd name="T10" fmla="*/ 26 w 29"/>
                  <a:gd name="T11" fmla="*/ 11 h 16"/>
                  <a:gd name="T12" fmla="*/ 28 w 29"/>
                  <a:gd name="T13" fmla="*/ 10 h 16"/>
                  <a:gd name="T14" fmla="*/ 29 w 29"/>
                  <a:gd name="T15" fmla="*/ 9 h 16"/>
                  <a:gd name="T16" fmla="*/ 29 w 29"/>
                  <a:gd name="T17" fmla="*/ 7 h 16"/>
                  <a:gd name="T18" fmla="*/ 29 w 29"/>
                  <a:gd name="T19" fmla="*/ 6 h 16"/>
                  <a:gd name="T20" fmla="*/ 28 w 29"/>
                  <a:gd name="T21" fmla="*/ 5 h 16"/>
                  <a:gd name="T22" fmla="*/ 26 w 29"/>
                  <a:gd name="T23" fmla="*/ 3 h 16"/>
                  <a:gd name="T24" fmla="*/ 25 w 29"/>
                  <a:gd name="T25" fmla="*/ 2 h 16"/>
                  <a:gd name="T26" fmla="*/ 22 w 29"/>
                  <a:gd name="T27" fmla="*/ 2 h 16"/>
                  <a:gd name="T28" fmla="*/ 21 w 29"/>
                  <a:gd name="T29" fmla="*/ 0 h 16"/>
                  <a:gd name="T30" fmla="*/ 18 w 29"/>
                  <a:gd name="T31" fmla="*/ 0 h 16"/>
                  <a:gd name="T32" fmla="*/ 15 w 29"/>
                  <a:gd name="T33" fmla="*/ 0 h 16"/>
                  <a:gd name="T34" fmla="*/ 13 w 29"/>
                  <a:gd name="T35" fmla="*/ 0 h 16"/>
                  <a:gd name="T36" fmla="*/ 10 w 29"/>
                  <a:gd name="T37" fmla="*/ 0 h 16"/>
                  <a:gd name="T38" fmla="*/ 7 w 29"/>
                  <a:gd name="T39" fmla="*/ 2 h 16"/>
                  <a:gd name="T40" fmla="*/ 4 w 29"/>
                  <a:gd name="T41" fmla="*/ 2 h 16"/>
                  <a:gd name="T42" fmla="*/ 3 w 29"/>
                  <a:gd name="T43" fmla="*/ 3 h 16"/>
                  <a:gd name="T44" fmla="*/ 2 w 29"/>
                  <a:gd name="T45" fmla="*/ 5 h 16"/>
                  <a:gd name="T46" fmla="*/ 2 w 29"/>
                  <a:gd name="T47" fmla="*/ 6 h 16"/>
                  <a:gd name="T48" fmla="*/ 0 w 29"/>
                  <a:gd name="T49" fmla="*/ 7 h 16"/>
                  <a:gd name="T50" fmla="*/ 2 w 29"/>
                  <a:gd name="T51" fmla="*/ 9 h 16"/>
                  <a:gd name="T52" fmla="*/ 2 w 29"/>
                  <a:gd name="T53" fmla="*/ 10 h 16"/>
                  <a:gd name="T54" fmla="*/ 3 w 29"/>
                  <a:gd name="T55" fmla="*/ 11 h 16"/>
                  <a:gd name="T56" fmla="*/ 4 w 29"/>
                  <a:gd name="T57" fmla="*/ 13 h 16"/>
                  <a:gd name="T58" fmla="*/ 7 w 29"/>
                  <a:gd name="T59" fmla="*/ 14 h 16"/>
                  <a:gd name="T60" fmla="*/ 10 w 29"/>
                  <a:gd name="T61" fmla="*/ 14 h 16"/>
                  <a:gd name="T62" fmla="*/ 13 w 29"/>
                  <a:gd name="T63" fmla="*/ 14 h 16"/>
                  <a:gd name="T64" fmla="*/ 15 w 29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" h="16">
                    <a:moveTo>
                      <a:pt x="15" y="16"/>
                    </a:moveTo>
                    <a:lnTo>
                      <a:pt x="18" y="14"/>
                    </a:lnTo>
                    <a:lnTo>
                      <a:pt x="21" y="14"/>
                    </a:lnTo>
                    <a:lnTo>
                      <a:pt x="22" y="14"/>
                    </a:lnTo>
                    <a:lnTo>
                      <a:pt x="25" y="13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3"/>
                    </a:lnTo>
                    <a:lnTo>
                      <a:pt x="7" y="14"/>
                    </a:lnTo>
                    <a:lnTo>
                      <a:pt x="10" y="14"/>
                    </a:lnTo>
                    <a:lnTo>
                      <a:pt x="13" y="14"/>
                    </a:lnTo>
                    <a:lnTo>
                      <a:pt x="15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4" name="Freeform 33"/>
              <p:cNvSpPr>
                <a:spLocks/>
              </p:cNvSpPr>
              <p:nvPr/>
            </p:nvSpPr>
            <p:spPr bwMode="auto">
              <a:xfrm>
                <a:off x="4860" y="2793"/>
                <a:ext cx="29" cy="16"/>
              </a:xfrm>
              <a:custGeom>
                <a:avLst/>
                <a:gdLst>
                  <a:gd name="T0" fmla="*/ 15 w 29"/>
                  <a:gd name="T1" fmla="*/ 16 h 16"/>
                  <a:gd name="T2" fmla="*/ 18 w 29"/>
                  <a:gd name="T3" fmla="*/ 14 h 16"/>
                  <a:gd name="T4" fmla="*/ 21 w 29"/>
                  <a:gd name="T5" fmla="*/ 14 h 16"/>
                  <a:gd name="T6" fmla="*/ 22 w 29"/>
                  <a:gd name="T7" fmla="*/ 14 h 16"/>
                  <a:gd name="T8" fmla="*/ 25 w 29"/>
                  <a:gd name="T9" fmla="*/ 13 h 16"/>
                  <a:gd name="T10" fmla="*/ 26 w 29"/>
                  <a:gd name="T11" fmla="*/ 11 h 16"/>
                  <a:gd name="T12" fmla="*/ 28 w 29"/>
                  <a:gd name="T13" fmla="*/ 10 h 16"/>
                  <a:gd name="T14" fmla="*/ 29 w 29"/>
                  <a:gd name="T15" fmla="*/ 9 h 16"/>
                  <a:gd name="T16" fmla="*/ 29 w 29"/>
                  <a:gd name="T17" fmla="*/ 7 h 16"/>
                  <a:gd name="T18" fmla="*/ 29 w 29"/>
                  <a:gd name="T19" fmla="*/ 6 h 16"/>
                  <a:gd name="T20" fmla="*/ 28 w 29"/>
                  <a:gd name="T21" fmla="*/ 5 h 16"/>
                  <a:gd name="T22" fmla="*/ 26 w 29"/>
                  <a:gd name="T23" fmla="*/ 3 h 16"/>
                  <a:gd name="T24" fmla="*/ 25 w 29"/>
                  <a:gd name="T25" fmla="*/ 2 h 16"/>
                  <a:gd name="T26" fmla="*/ 22 w 29"/>
                  <a:gd name="T27" fmla="*/ 2 h 16"/>
                  <a:gd name="T28" fmla="*/ 21 w 29"/>
                  <a:gd name="T29" fmla="*/ 0 h 16"/>
                  <a:gd name="T30" fmla="*/ 18 w 29"/>
                  <a:gd name="T31" fmla="*/ 0 h 16"/>
                  <a:gd name="T32" fmla="*/ 15 w 29"/>
                  <a:gd name="T33" fmla="*/ 0 h 16"/>
                  <a:gd name="T34" fmla="*/ 13 w 29"/>
                  <a:gd name="T35" fmla="*/ 0 h 16"/>
                  <a:gd name="T36" fmla="*/ 10 w 29"/>
                  <a:gd name="T37" fmla="*/ 0 h 16"/>
                  <a:gd name="T38" fmla="*/ 7 w 29"/>
                  <a:gd name="T39" fmla="*/ 2 h 16"/>
                  <a:gd name="T40" fmla="*/ 4 w 29"/>
                  <a:gd name="T41" fmla="*/ 2 h 16"/>
                  <a:gd name="T42" fmla="*/ 3 w 29"/>
                  <a:gd name="T43" fmla="*/ 3 h 16"/>
                  <a:gd name="T44" fmla="*/ 2 w 29"/>
                  <a:gd name="T45" fmla="*/ 5 h 16"/>
                  <a:gd name="T46" fmla="*/ 2 w 29"/>
                  <a:gd name="T47" fmla="*/ 6 h 16"/>
                  <a:gd name="T48" fmla="*/ 0 w 29"/>
                  <a:gd name="T49" fmla="*/ 7 h 16"/>
                  <a:gd name="T50" fmla="*/ 2 w 29"/>
                  <a:gd name="T51" fmla="*/ 9 h 16"/>
                  <a:gd name="T52" fmla="*/ 2 w 29"/>
                  <a:gd name="T53" fmla="*/ 10 h 16"/>
                  <a:gd name="T54" fmla="*/ 3 w 29"/>
                  <a:gd name="T55" fmla="*/ 11 h 16"/>
                  <a:gd name="T56" fmla="*/ 4 w 29"/>
                  <a:gd name="T57" fmla="*/ 13 h 16"/>
                  <a:gd name="T58" fmla="*/ 7 w 29"/>
                  <a:gd name="T59" fmla="*/ 14 h 16"/>
                  <a:gd name="T60" fmla="*/ 10 w 29"/>
                  <a:gd name="T61" fmla="*/ 14 h 16"/>
                  <a:gd name="T62" fmla="*/ 13 w 29"/>
                  <a:gd name="T63" fmla="*/ 14 h 16"/>
                  <a:gd name="T64" fmla="*/ 15 w 29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9" h="16">
                    <a:moveTo>
                      <a:pt x="15" y="16"/>
                    </a:moveTo>
                    <a:lnTo>
                      <a:pt x="18" y="14"/>
                    </a:lnTo>
                    <a:lnTo>
                      <a:pt x="21" y="14"/>
                    </a:lnTo>
                    <a:lnTo>
                      <a:pt x="22" y="14"/>
                    </a:lnTo>
                    <a:lnTo>
                      <a:pt x="25" y="13"/>
                    </a:lnTo>
                    <a:lnTo>
                      <a:pt x="26" y="11"/>
                    </a:lnTo>
                    <a:lnTo>
                      <a:pt x="28" y="10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6" y="3"/>
                    </a:lnTo>
                    <a:lnTo>
                      <a:pt x="25" y="2"/>
                    </a:lnTo>
                    <a:lnTo>
                      <a:pt x="22" y="2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2" y="6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3"/>
                    </a:lnTo>
                    <a:lnTo>
                      <a:pt x="7" y="14"/>
                    </a:lnTo>
                    <a:lnTo>
                      <a:pt x="10" y="14"/>
                    </a:lnTo>
                    <a:lnTo>
                      <a:pt x="13" y="14"/>
                    </a:lnTo>
                    <a:lnTo>
                      <a:pt x="15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5" name="Freeform 34"/>
              <p:cNvSpPr>
                <a:spLocks/>
              </p:cNvSpPr>
              <p:nvPr/>
            </p:nvSpPr>
            <p:spPr bwMode="auto">
              <a:xfrm>
                <a:off x="5232" y="2773"/>
                <a:ext cx="20" cy="9"/>
              </a:xfrm>
              <a:custGeom>
                <a:avLst/>
                <a:gdLst>
                  <a:gd name="T0" fmla="*/ 9 w 20"/>
                  <a:gd name="T1" fmla="*/ 9 h 9"/>
                  <a:gd name="T2" fmla="*/ 12 w 20"/>
                  <a:gd name="T3" fmla="*/ 9 h 9"/>
                  <a:gd name="T4" fmla="*/ 13 w 20"/>
                  <a:gd name="T5" fmla="*/ 9 h 9"/>
                  <a:gd name="T6" fmla="*/ 15 w 20"/>
                  <a:gd name="T7" fmla="*/ 9 h 9"/>
                  <a:gd name="T8" fmla="*/ 17 w 20"/>
                  <a:gd name="T9" fmla="*/ 8 h 9"/>
                  <a:gd name="T10" fmla="*/ 17 w 20"/>
                  <a:gd name="T11" fmla="*/ 7 h 9"/>
                  <a:gd name="T12" fmla="*/ 19 w 20"/>
                  <a:gd name="T13" fmla="*/ 7 h 9"/>
                  <a:gd name="T14" fmla="*/ 20 w 20"/>
                  <a:gd name="T15" fmla="*/ 5 h 9"/>
                  <a:gd name="T16" fmla="*/ 20 w 20"/>
                  <a:gd name="T17" fmla="*/ 4 h 9"/>
                  <a:gd name="T18" fmla="*/ 20 w 20"/>
                  <a:gd name="T19" fmla="*/ 3 h 9"/>
                  <a:gd name="T20" fmla="*/ 19 w 20"/>
                  <a:gd name="T21" fmla="*/ 3 h 9"/>
                  <a:gd name="T22" fmla="*/ 17 w 20"/>
                  <a:gd name="T23" fmla="*/ 1 h 9"/>
                  <a:gd name="T24" fmla="*/ 17 w 20"/>
                  <a:gd name="T25" fmla="*/ 1 h 9"/>
                  <a:gd name="T26" fmla="*/ 15 w 20"/>
                  <a:gd name="T27" fmla="*/ 0 h 9"/>
                  <a:gd name="T28" fmla="*/ 13 w 20"/>
                  <a:gd name="T29" fmla="*/ 0 h 9"/>
                  <a:gd name="T30" fmla="*/ 12 w 20"/>
                  <a:gd name="T31" fmla="*/ 0 h 9"/>
                  <a:gd name="T32" fmla="*/ 9 w 20"/>
                  <a:gd name="T33" fmla="*/ 0 h 9"/>
                  <a:gd name="T34" fmla="*/ 8 w 20"/>
                  <a:gd name="T35" fmla="*/ 0 h 9"/>
                  <a:gd name="T36" fmla="*/ 5 w 20"/>
                  <a:gd name="T37" fmla="*/ 0 h 9"/>
                  <a:gd name="T38" fmla="*/ 4 w 20"/>
                  <a:gd name="T39" fmla="*/ 0 h 9"/>
                  <a:gd name="T40" fmla="*/ 2 w 20"/>
                  <a:gd name="T41" fmla="*/ 1 h 9"/>
                  <a:gd name="T42" fmla="*/ 1 w 20"/>
                  <a:gd name="T43" fmla="*/ 1 h 9"/>
                  <a:gd name="T44" fmla="*/ 0 w 20"/>
                  <a:gd name="T45" fmla="*/ 3 h 9"/>
                  <a:gd name="T46" fmla="*/ 0 w 20"/>
                  <a:gd name="T47" fmla="*/ 3 h 9"/>
                  <a:gd name="T48" fmla="*/ 0 w 20"/>
                  <a:gd name="T49" fmla="*/ 4 h 9"/>
                  <a:gd name="T50" fmla="*/ 0 w 20"/>
                  <a:gd name="T51" fmla="*/ 5 h 9"/>
                  <a:gd name="T52" fmla="*/ 0 w 20"/>
                  <a:gd name="T53" fmla="*/ 7 h 9"/>
                  <a:gd name="T54" fmla="*/ 1 w 20"/>
                  <a:gd name="T55" fmla="*/ 7 h 9"/>
                  <a:gd name="T56" fmla="*/ 2 w 20"/>
                  <a:gd name="T57" fmla="*/ 8 h 9"/>
                  <a:gd name="T58" fmla="*/ 4 w 20"/>
                  <a:gd name="T59" fmla="*/ 9 h 9"/>
                  <a:gd name="T60" fmla="*/ 5 w 20"/>
                  <a:gd name="T61" fmla="*/ 9 h 9"/>
                  <a:gd name="T62" fmla="*/ 8 w 20"/>
                  <a:gd name="T63" fmla="*/ 9 h 9"/>
                  <a:gd name="T64" fmla="*/ 9 w 20"/>
                  <a:gd name="T6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" h="9">
                    <a:moveTo>
                      <a:pt x="9" y="9"/>
                    </a:moveTo>
                    <a:lnTo>
                      <a:pt x="12" y="9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3"/>
                    </a:lnTo>
                    <a:lnTo>
                      <a:pt x="19" y="3"/>
                    </a:lnTo>
                    <a:lnTo>
                      <a:pt x="17" y="1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6" name="Freeform 35"/>
              <p:cNvSpPr>
                <a:spLocks/>
              </p:cNvSpPr>
              <p:nvPr/>
            </p:nvSpPr>
            <p:spPr bwMode="auto">
              <a:xfrm>
                <a:off x="5232" y="2773"/>
                <a:ext cx="20" cy="9"/>
              </a:xfrm>
              <a:custGeom>
                <a:avLst/>
                <a:gdLst>
                  <a:gd name="T0" fmla="*/ 9 w 20"/>
                  <a:gd name="T1" fmla="*/ 9 h 9"/>
                  <a:gd name="T2" fmla="*/ 12 w 20"/>
                  <a:gd name="T3" fmla="*/ 9 h 9"/>
                  <a:gd name="T4" fmla="*/ 13 w 20"/>
                  <a:gd name="T5" fmla="*/ 9 h 9"/>
                  <a:gd name="T6" fmla="*/ 15 w 20"/>
                  <a:gd name="T7" fmla="*/ 9 h 9"/>
                  <a:gd name="T8" fmla="*/ 17 w 20"/>
                  <a:gd name="T9" fmla="*/ 8 h 9"/>
                  <a:gd name="T10" fmla="*/ 17 w 20"/>
                  <a:gd name="T11" fmla="*/ 7 h 9"/>
                  <a:gd name="T12" fmla="*/ 19 w 20"/>
                  <a:gd name="T13" fmla="*/ 7 h 9"/>
                  <a:gd name="T14" fmla="*/ 20 w 20"/>
                  <a:gd name="T15" fmla="*/ 5 h 9"/>
                  <a:gd name="T16" fmla="*/ 20 w 20"/>
                  <a:gd name="T17" fmla="*/ 4 h 9"/>
                  <a:gd name="T18" fmla="*/ 20 w 20"/>
                  <a:gd name="T19" fmla="*/ 3 h 9"/>
                  <a:gd name="T20" fmla="*/ 19 w 20"/>
                  <a:gd name="T21" fmla="*/ 3 h 9"/>
                  <a:gd name="T22" fmla="*/ 17 w 20"/>
                  <a:gd name="T23" fmla="*/ 1 h 9"/>
                  <a:gd name="T24" fmla="*/ 15 w 20"/>
                  <a:gd name="T25" fmla="*/ 0 h 9"/>
                  <a:gd name="T26" fmla="*/ 13 w 20"/>
                  <a:gd name="T27" fmla="*/ 0 h 9"/>
                  <a:gd name="T28" fmla="*/ 12 w 20"/>
                  <a:gd name="T29" fmla="*/ 0 h 9"/>
                  <a:gd name="T30" fmla="*/ 9 w 20"/>
                  <a:gd name="T31" fmla="*/ 0 h 9"/>
                  <a:gd name="T32" fmla="*/ 8 w 20"/>
                  <a:gd name="T33" fmla="*/ 0 h 9"/>
                  <a:gd name="T34" fmla="*/ 5 w 20"/>
                  <a:gd name="T35" fmla="*/ 0 h 9"/>
                  <a:gd name="T36" fmla="*/ 4 w 20"/>
                  <a:gd name="T37" fmla="*/ 0 h 9"/>
                  <a:gd name="T38" fmla="*/ 2 w 20"/>
                  <a:gd name="T39" fmla="*/ 1 h 9"/>
                  <a:gd name="T40" fmla="*/ 1 w 20"/>
                  <a:gd name="T41" fmla="*/ 1 h 9"/>
                  <a:gd name="T42" fmla="*/ 0 w 20"/>
                  <a:gd name="T43" fmla="*/ 3 h 9"/>
                  <a:gd name="T44" fmla="*/ 0 w 20"/>
                  <a:gd name="T45" fmla="*/ 4 h 9"/>
                  <a:gd name="T46" fmla="*/ 0 w 20"/>
                  <a:gd name="T47" fmla="*/ 5 h 9"/>
                  <a:gd name="T48" fmla="*/ 0 w 20"/>
                  <a:gd name="T49" fmla="*/ 7 h 9"/>
                  <a:gd name="T50" fmla="*/ 1 w 20"/>
                  <a:gd name="T51" fmla="*/ 7 h 9"/>
                  <a:gd name="T52" fmla="*/ 2 w 20"/>
                  <a:gd name="T53" fmla="*/ 8 h 9"/>
                  <a:gd name="T54" fmla="*/ 4 w 20"/>
                  <a:gd name="T55" fmla="*/ 9 h 9"/>
                  <a:gd name="T56" fmla="*/ 5 w 20"/>
                  <a:gd name="T57" fmla="*/ 9 h 9"/>
                  <a:gd name="T58" fmla="*/ 8 w 20"/>
                  <a:gd name="T59" fmla="*/ 9 h 9"/>
                  <a:gd name="T60" fmla="*/ 9 w 20"/>
                  <a:gd name="T61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0" h="9">
                    <a:moveTo>
                      <a:pt x="9" y="9"/>
                    </a:moveTo>
                    <a:lnTo>
                      <a:pt x="12" y="9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3"/>
                    </a:lnTo>
                    <a:lnTo>
                      <a:pt x="19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2" y="8"/>
                    </a:lnTo>
                    <a:lnTo>
                      <a:pt x="4" y="9"/>
                    </a:lnTo>
                    <a:lnTo>
                      <a:pt x="5" y="9"/>
                    </a:lnTo>
                    <a:lnTo>
                      <a:pt x="8" y="9"/>
                    </a:lnTo>
                    <a:lnTo>
                      <a:pt x="9" y="9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7" name="Freeform 36"/>
              <p:cNvSpPr>
                <a:spLocks/>
              </p:cNvSpPr>
              <p:nvPr/>
            </p:nvSpPr>
            <p:spPr bwMode="auto">
              <a:xfrm>
                <a:off x="5259" y="2798"/>
                <a:ext cx="15" cy="11"/>
              </a:xfrm>
              <a:custGeom>
                <a:avLst/>
                <a:gdLst>
                  <a:gd name="T0" fmla="*/ 8 w 15"/>
                  <a:gd name="T1" fmla="*/ 11 h 11"/>
                  <a:gd name="T2" fmla="*/ 10 w 15"/>
                  <a:gd name="T3" fmla="*/ 9 h 11"/>
                  <a:gd name="T4" fmla="*/ 11 w 15"/>
                  <a:gd name="T5" fmla="*/ 9 h 11"/>
                  <a:gd name="T6" fmla="*/ 12 w 15"/>
                  <a:gd name="T7" fmla="*/ 9 h 11"/>
                  <a:gd name="T8" fmla="*/ 14 w 15"/>
                  <a:gd name="T9" fmla="*/ 8 h 11"/>
                  <a:gd name="T10" fmla="*/ 14 w 15"/>
                  <a:gd name="T11" fmla="*/ 8 h 11"/>
                  <a:gd name="T12" fmla="*/ 15 w 15"/>
                  <a:gd name="T13" fmla="*/ 6 h 11"/>
                  <a:gd name="T14" fmla="*/ 15 w 15"/>
                  <a:gd name="T15" fmla="*/ 5 h 11"/>
                  <a:gd name="T16" fmla="*/ 15 w 15"/>
                  <a:gd name="T17" fmla="*/ 5 h 11"/>
                  <a:gd name="T18" fmla="*/ 15 w 15"/>
                  <a:gd name="T19" fmla="*/ 4 h 11"/>
                  <a:gd name="T20" fmla="*/ 15 w 15"/>
                  <a:gd name="T21" fmla="*/ 2 h 11"/>
                  <a:gd name="T22" fmla="*/ 14 w 15"/>
                  <a:gd name="T23" fmla="*/ 2 h 11"/>
                  <a:gd name="T24" fmla="*/ 14 w 15"/>
                  <a:gd name="T25" fmla="*/ 1 h 11"/>
                  <a:gd name="T26" fmla="*/ 12 w 15"/>
                  <a:gd name="T27" fmla="*/ 1 h 11"/>
                  <a:gd name="T28" fmla="*/ 11 w 15"/>
                  <a:gd name="T29" fmla="*/ 0 h 11"/>
                  <a:gd name="T30" fmla="*/ 10 w 15"/>
                  <a:gd name="T31" fmla="*/ 0 h 11"/>
                  <a:gd name="T32" fmla="*/ 8 w 15"/>
                  <a:gd name="T33" fmla="*/ 0 h 11"/>
                  <a:gd name="T34" fmla="*/ 7 w 15"/>
                  <a:gd name="T35" fmla="*/ 0 h 11"/>
                  <a:gd name="T36" fmla="*/ 6 w 15"/>
                  <a:gd name="T37" fmla="*/ 0 h 11"/>
                  <a:gd name="T38" fmla="*/ 4 w 15"/>
                  <a:gd name="T39" fmla="*/ 1 h 11"/>
                  <a:gd name="T40" fmla="*/ 3 w 15"/>
                  <a:gd name="T41" fmla="*/ 1 h 11"/>
                  <a:gd name="T42" fmla="*/ 1 w 15"/>
                  <a:gd name="T43" fmla="*/ 2 h 11"/>
                  <a:gd name="T44" fmla="*/ 1 w 15"/>
                  <a:gd name="T45" fmla="*/ 2 h 11"/>
                  <a:gd name="T46" fmla="*/ 0 w 15"/>
                  <a:gd name="T47" fmla="*/ 4 h 11"/>
                  <a:gd name="T48" fmla="*/ 0 w 15"/>
                  <a:gd name="T49" fmla="*/ 5 h 11"/>
                  <a:gd name="T50" fmla="*/ 0 w 15"/>
                  <a:gd name="T51" fmla="*/ 5 h 11"/>
                  <a:gd name="T52" fmla="*/ 1 w 15"/>
                  <a:gd name="T53" fmla="*/ 6 h 11"/>
                  <a:gd name="T54" fmla="*/ 1 w 15"/>
                  <a:gd name="T55" fmla="*/ 8 h 11"/>
                  <a:gd name="T56" fmla="*/ 3 w 15"/>
                  <a:gd name="T57" fmla="*/ 8 h 11"/>
                  <a:gd name="T58" fmla="*/ 4 w 15"/>
                  <a:gd name="T59" fmla="*/ 9 h 11"/>
                  <a:gd name="T60" fmla="*/ 6 w 15"/>
                  <a:gd name="T61" fmla="*/ 9 h 11"/>
                  <a:gd name="T62" fmla="*/ 7 w 15"/>
                  <a:gd name="T63" fmla="*/ 9 h 11"/>
                  <a:gd name="T64" fmla="*/ 8 w 15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1">
                    <a:moveTo>
                      <a:pt x="8" y="11"/>
                    </a:moveTo>
                    <a:lnTo>
                      <a:pt x="10" y="9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8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8" name="Freeform 37"/>
              <p:cNvSpPr>
                <a:spLocks/>
              </p:cNvSpPr>
              <p:nvPr/>
            </p:nvSpPr>
            <p:spPr bwMode="auto">
              <a:xfrm>
                <a:off x="5259" y="2798"/>
                <a:ext cx="15" cy="11"/>
              </a:xfrm>
              <a:custGeom>
                <a:avLst/>
                <a:gdLst>
                  <a:gd name="T0" fmla="*/ 8 w 15"/>
                  <a:gd name="T1" fmla="*/ 11 h 11"/>
                  <a:gd name="T2" fmla="*/ 10 w 15"/>
                  <a:gd name="T3" fmla="*/ 9 h 11"/>
                  <a:gd name="T4" fmla="*/ 11 w 15"/>
                  <a:gd name="T5" fmla="*/ 9 h 11"/>
                  <a:gd name="T6" fmla="*/ 12 w 15"/>
                  <a:gd name="T7" fmla="*/ 9 h 11"/>
                  <a:gd name="T8" fmla="*/ 14 w 15"/>
                  <a:gd name="T9" fmla="*/ 8 h 11"/>
                  <a:gd name="T10" fmla="*/ 15 w 15"/>
                  <a:gd name="T11" fmla="*/ 6 h 11"/>
                  <a:gd name="T12" fmla="*/ 15 w 15"/>
                  <a:gd name="T13" fmla="*/ 5 h 11"/>
                  <a:gd name="T14" fmla="*/ 15 w 15"/>
                  <a:gd name="T15" fmla="*/ 4 h 11"/>
                  <a:gd name="T16" fmla="*/ 15 w 15"/>
                  <a:gd name="T17" fmla="*/ 2 h 11"/>
                  <a:gd name="T18" fmla="*/ 14 w 15"/>
                  <a:gd name="T19" fmla="*/ 2 h 11"/>
                  <a:gd name="T20" fmla="*/ 14 w 15"/>
                  <a:gd name="T21" fmla="*/ 1 h 11"/>
                  <a:gd name="T22" fmla="*/ 12 w 15"/>
                  <a:gd name="T23" fmla="*/ 1 h 11"/>
                  <a:gd name="T24" fmla="*/ 11 w 15"/>
                  <a:gd name="T25" fmla="*/ 0 h 11"/>
                  <a:gd name="T26" fmla="*/ 10 w 15"/>
                  <a:gd name="T27" fmla="*/ 0 h 11"/>
                  <a:gd name="T28" fmla="*/ 8 w 15"/>
                  <a:gd name="T29" fmla="*/ 0 h 11"/>
                  <a:gd name="T30" fmla="*/ 7 w 15"/>
                  <a:gd name="T31" fmla="*/ 0 h 11"/>
                  <a:gd name="T32" fmla="*/ 6 w 15"/>
                  <a:gd name="T33" fmla="*/ 0 h 11"/>
                  <a:gd name="T34" fmla="*/ 4 w 15"/>
                  <a:gd name="T35" fmla="*/ 1 h 11"/>
                  <a:gd name="T36" fmla="*/ 3 w 15"/>
                  <a:gd name="T37" fmla="*/ 1 h 11"/>
                  <a:gd name="T38" fmla="*/ 1 w 15"/>
                  <a:gd name="T39" fmla="*/ 2 h 11"/>
                  <a:gd name="T40" fmla="*/ 0 w 15"/>
                  <a:gd name="T41" fmla="*/ 4 h 11"/>
                  <a:gd name="T42" fmla="*/ 0 w 15"/>
                  <a:gd name="T43" fmla="*/ 5 h 11"/>
                  <a:gd name="T44" fmla="*/ 1 w 15"/>
                  <a:gd name="T45" fmla="*/ 6 h 11"/>
                  <a:gd name="T46" fmla="*/ 1 w 15"/>
                  <a:gd name="T47" fmla="*/ 8 h 11"/>
                  <a:gd name="T48" fmla="*/ 3 w 15"/>
                  <a:gd name="T49" fmla="*/ 8 h 11"/>
                  <a:gd name="T50" fmla="*/ 4 w 15"/>
                  <a:gd name="T51" fmla="*/ 9 h 11"/>
                  <a:gd name="T52" fmla="*/ 6 w 15"/>
                  <a:gd name="T53" fmla="*/ 9 h 11"/>
                  <a:gd name="T54" fmla="*/ 7 w 15"/>
                  <a:gd name="T55" fmla="*/ 9 h 11"/>
                  <a:gd name="T56" fmla="*/ 8 w 15"/>
                  <a:gd name="T5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" h="11">
                    <a:moveTo>
                      <a:pt x="8" y="11"/>
                    </a:moveTo>
                    <a:lnTo>
                      <a:pt x="10" y="9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4" y="8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4" y="1"/>
                    </a:lnTo>
                    <a:lnTo>
                      <a:pt x="12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1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1" y="6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6" y="9"/>
                    </a:lnTo>
                    <a:lnTo>
                      <a:pt x="7" y="9"/>
                    </a:lnTo>
                    <a:lnTo>
                      <a:pt x="8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29" name="Freeform 38"/>
              <p:cNvSpPr>
                <a:spLocks/>
              </p:cNvSpPr>
              <p:nvPr/>
            </p:nvSpPr>
            <p:spPr bwMode="auto">
              <a:xfrm>
                <a:off x="5287" y="2814"/>
                <a:ext cx="15" cy="11"/>
              </a:xfrm>
              <a:custGeom>
                <a:avLst/>
                <a:gdLst>
                  <a:gd name="T0" fmla="*/ 6 w 15"/>
                  <a:gd name="T1" fmla="*/ 11 h 11"/>
                  <a:gd name="T2" fmla="*/ 8 w 15"/>
                  <a:gd name="T3" fmla="*/ 10 h 11"/>
                  <a:gd name="T4" fmla="*/ 9 w 15"/>
                  <a:gd name="T5" fmla="*/ 10 h 11"/>
                  <a:gd name="T6" fmla="*/ 11 w 15"/>
                  <a:gd name="T7" fmla="*/ 10 h 11"/>
                  <a:gd name="T8" fmla="*/ 12 w 15"/>
                  <a:gd name="T9" fmla="*/ 10 h 11"/>
                  <a:gd name="T10" fmla="*/ 13 w 15"/>
                  <a:gd name="T11" fmla="*/ 8 h 11"/>
                  <a:gd name="T12" fmla="*/ 13 w 15"/>
                  <a:gd name="T13" fmla="*/ 7 h 11"/>
                  <a:gd name="T14" fmla="*/ 15 w 15"/>
                  <a:gd name="T15" fmla="*/ 7 h 11"/>
                  <a:gd name="T16" fmla="*/ 15 w 15"/>
                  <a:gd name="T17" fmla="*/ 5 h 11"/>
                  <a:gd name="T18" fmla="*/ 15 w 15"/>
                  <a:gd name="T19" fmla="*/ 4 h 11"/>
                  <a:gd name="T20" fmla="*/ 13 w 15"/>
                  <a:gd name="T21" fmla="*/ 4 h 11"/>
                  <a:gd name="T22" fmla="*/ 13 w 15"/>
                  <a:gd name="T23" fmla="*/ 3 h 11"/>
                  <a:gd name="T24" fmla="*/ 12 w 15"/>
                  <a:gd name="T25" fmla="*/ 1 h 11"/>
                  <a:gd name="T26" fmla="*/ 11 w 15"/>
                  <a:gd name="T27" fmla="*/ 1 h 11"/>
                  <a:gd name="T28" fmla="*/ 9 w 15"/>
                  <a:gd name="T29" fmla="*/ 0 h 11"/>
                  <a:gd name="T30" fmla="*/ 8 w 15"/>
                  <a:gd name="T31" fmla="*/ 0 h 11"/>
                  <a:gd name="T32" fmla="*/ 6 w 15"/>
                  <a:gd name="T33" fmla="*/ 0 h 11"/>
                  <a:gd name="T34" fmla="*/ 5 w 15"/>
                  <a:gd name="T35" fmla="*/ 0 h 11"/>
                  <a:gd name="T36" fmla="*/ 4 w 15"/>
                  <a:gd name="T37" fmla="*/ 0 h 11"/>
                  <a:gd name="T38" fmla="*/ 2 w 15"/>
                  <a:gd name="T39" fmla="*/ 1 h 11"/>
                  <a:gd name="T40" fmla="*/ 1 w 15"/>
                  <a:gd name="T41" fmla="*/ 1 h 11"/>
                  <a:gd name="T42" fmla="*/ 1 w 15"/>
                  <a:gd name="T43" fmla="*/ 3 h 11"/>
                  <a:gd name="T44" fmla="*/ 0 w 15"/>
                  <a:gd name="T45" fmla="*/ 4 h 11"/>
                  <a:gd name="T46" fmla="*/ 0 w 15"/>
                  <a:gd name="T47" fmla="*/ 4 h 11"/>
                  <a:gd name="T48" fmla="*/ 0 w 15"/>
                  <a:gd name="T49" fmla="*/ 5 h 11"/>
                  <a:gd name="T50" fmla="*/ 0 w 15"/>
                  <a:gd name="T51" fmla="*/ 7 h 11"/>
                  <a:gd name="T52" fmla="*/ 0 w 15"/>
                  <a:gd name="T53" fmla="*/ 7 h 11"/>
                  <a:gd name="T54" fmla="*/ 1 w 15"/>
                  <a:gd name="T55" fmla="*/ 8 h 11"/>
                  <a:gd name="T56" fmla="*/ 1 w 15"/>
                  <a:gd name="T57" fmla="*/ 10 h 11"/>
                  <a:gd name="T58" fmla="*/ 2 w 15"/>
                  <a:gd name="T59" fmla="*/ 10 h 11"/>
                  <a:gd name="T60" fmla="*/ 4 w 15"/>
                  <a:gd name="T61" fmla="*/ 10 h 11"/>
                  <a:gd name="T62" fmla="*/ 5 w 15"/>
                  <a:gd name="T63" fmla="*/ 10 h 11"/>
                  <a:gd name="T64" fmla="*/ 6 w 15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1">
                    <a:moveTo>
                      <a:pt x="6" y="11"/>
                    </a:move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2" y="10"/>
                    </a:lnTo>
                    <a:lnTo>
                      <a:pt x="13" y="8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0" name="Freeform 39"/>
              <p:cNvSpPr>
                <a:spLocks/>
              </p:cNvSpPr>
              <p:nvPr/>
            </p:nvSpPr>
            <p:spPr bwMode="auto">
              <a:xfrm>
                <a:off x="5287" y="2814"/>
                <a:ext cx="15" cy="11"/>
              </a:xfrm>
              <a:custGeom>
                <a:avLst/>
                <a:gdLst>
                  <a:gd name="T0" fmla="*/ 6 w 15"/>
                  <a:gd name="T1" fmla="*/ 11 h 11"/>
                  <a:gd name="T2" fmla="*/ 8 w 15"/>
                  <a:gd name="T3" fmla="*/ 10 h 11"/>
                  <a:gd name="T4" fmla="*/ 9 w 15"/>
                  <a:gd name="T5" fmla="*/ 10 h 11"/>
                  <a:gd name="T6" fmla="*/ 11 w 15"/>
                  <a:gd name="T7" fmla="*/ 10 h 11"/>
                  <a:gd name="T8" fmla="*/ 12 w 15"/>
                  <a:gd name="T9" fmla="*/ 10 h 11"/>
                  <a:gd name="T10" fmla="*/ 13 w 15"/>
                  <a:gd name="T11" fmla="*/ 8 h 11"/>
                  <a:gd name="T12" fmla="*/ 13 w 15"/>
                  <a:gd name="T13" fmla="*/ 7 h 11"/>
                  <a:gd name="T14" fmla="*/ 15 w 15"/>
                  <a:gd name="T15" fmla="*/ 7 h 11"/>
                  <a:gd name="T16" fmla="*/ 15 w 15"/>
                  <a:gd name="T17" fmla="*/ 5 h 11"/>
                  <a:gd name="T18" fmla="*/ 15 w 15"/>
                  <a:gd name="T19" fmla="*/ 4 h 11"/>
                  <a:gd name="T20" fmla="*/ 13 w 15"/>
                  <a:gd name="T21" fmla="*/ 4 h 11"/>
                  <a:gd name="T22" fmla="*/ 13 w 15"/>
                  <a:gd name="T23" fmla="*/ 3 h 11"/>
                  <a:gd name="T24" fmla="*/ 12 w 15"/>
                  <a:gd name="T25" fmla="*/ 1 h 11"/>
                  <a:gd name="T26" fmla="*/ 11 w 15"/>
                  <a:gd name="T27" fmla="*/ 1 h 11"/>
                  <a:gd name="T28" fmla="*/ 9 w 15"/>
                  <a:gd name="T29" fmla="*/ 0 h 11"/>
                  <a:gd name="T30" fmla="*/ 8 w 15"/>
                  <a:gd name="T31" fmla="*/ 0 h 11"/>
                  <a:gd name="T32" fmla="*/ 6 w 15"/>
                  <a:gd name="T33" fmla="*/ 0 h 11"/>
                  <a:gd name="T34" fmla="*/ 5 w 15"/>
                  <a:gd name="T35" fmla="*/ 0 h 11"/>
                  <a:gd name="T36" fmla="*/ 4 w 15"/>
                  <a:gd name="T37" fmla="*/ 0 h 11"/>
                  <a:gd name="T38" fmla="*/ 2 w 15"/>
                  <a:gd name="T39" fmla="*/ 1 h 11"/>
                  <a:gd name="T40" fmla="*/ 1 w 15"/>
                  <a:gd name="T41" fmla="*/ 1 h 11"/>
                  <a:gd name="T42" fmla="*/ 1 w 15"/>
                  <a:gd name="T43" fmla="*/ 3 h 11"/>
                  <a:gd name="T44" fmla="*/ 0 w 15"/>
                  <a:gd name="T45" fmla="*/ 4 h 11"/>
                  <a:gd name="T46" fmla="*/ 0 w 15"/>
                  <a:gd name="T47" fmla="*/ 5 h 11"/>
                  <a:gd name="T48" fmla="*/ 0 w 15"/>
                  <a:gd name="T49" fmla="*/ 7 h 11"/>
                  <a:gd name="T50" fmla="*/ 1 w 15"/>
                  <a:gd name="T51" fmla="*/ 8 h 11"/>
                  <a:gd name="T52" fmla="*/ 1 w 15"/>
                  <a:gd name="T53" fmla="*/ 10 h 11"/>
                  <a:gd name="T54" fmla="*/ 2 w 15"/>
                  <a:gd name="T55" fmla="*/ 10 h 11"/>
                  <a:gd name="T56" fmla="*/ 4 w 15"/>
                  <a:gd name="T57" fmla="*/ 10 h 11"/>
                  <a:gd name="T58" fmla="*/ 5 w 15"/>
                  <a:gd name="T59" fmla="*/ 10 h 11"/>
                  <a:gd name="T60" fmla="*/ 6 w 15"/>
                  <a:gd name="T6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5" h="11">
                    <a:moveTo>
                      <a:pt x="6" y="11"/>
                    </a:move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2" y="10"/>
                    </a:lnTo>
                    <a:lnTo>
                      <a:pt x="13" y="8"/>
                    </a:lnTo>
                    <a:lnTo>
                      <a:pt x="13" y="7"/>
                    </a:lnTo>
                    <a:lnTo>
                      <a:pt x="15" y="7"/>
                    </a:lnTo>
                    <a:lnTo>
                      <a:pt x="15" y="5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3"/>
                    </a:lnTo>
                    <a:lnTo>
                      <a:pt x="12" y="1"/>
                    </a:lnTo>
                    <a:lnTo>
                      <a:pt x="11" y="1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0"/>
                    </a:lnTo>
                    <a:lnTo>
                      <a:pt x="6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1" name="Freeform 40"/>
              <p:cNvSpPr>
                <a:spLocks/>
              </p:cNvSpPr>
              <p:nvPr/>
            </p:nvSpPr>
            <p:spPr bwMode="auto">
              <a:xfrm>
                <a:off x="5303" y="2825"/>
                <a:ext cx="11" cy="5"/>
              </a:xfrm>
              <a:custGeom>
                <a:avLst/>
                <a:gdLst>
                  <a:gd name="T0" fmla="*/ 6 w 11"/>
                  <a:gd name="T1" fmla="*/ 5 h 5"/>
                  <a:gd name="T2" fmla="*/ 6 w 11"/>
                  <a:gd name="T3" fmla="*/ 5 h 5"/>
                  <a:gd name="T4" fmla="*/ 7 w 11"/>
                  <a:gd name="T5" fmla="*/ 5 h 5"/>
                  <a:gd name="T6" fmla="*/ 8 w 11"/>
                  <a:gd name="T7" fmla="*/ 5 h 5"/>
                  <a:gd name="T8" fmla="*/ 8 w 11"/>
                  <a:gd name="T9" fmla="*/ 5 h 5"/>
                  <a:gd name="T10" fmla="*/ 10 w 11"/>
                  <a:gd name="T11" fmla="*/ 4 h 5"/>
                  <a:gd name="T12" fmla="*/ 10 w 11"/>
                  <a:gd name="T13" fmla="*/ 4 h 5"/>
                  <a:gd name="T14" fmla="*/ 11 w 11"/>
                  <a:gd name="T15" fmla="*/ 4 h 5"/>
                  <a:gd name="T16" fmla="*/ 11 w 11"/>
                  <a:gd name="T17" fmla="*/ 3 h 5"/>
                  <a:gd name="T18" fmla="*/ 11 w 11"/>
                  <a:gd name="T19" fmla="*/ 1 h 5"/>
                  <a:gd name="T20" fmla="*/ 10 w 11"/>
                  <a:gd name="T21" fmla="*/ 1 h 5"/>
                  <a:gd name="T22" fmla="*/ 10 w 11"/>
                  <a:gd name="T23" fmla="*/ 1 h 5"/>
                  <a:gd name="T24" fmla="*/ 8 w 11"/>
                  <a:gd name="T25" fmla="*/ 0 h 5"/>
                  <a:gd name="T26" fmla="*/ 8 w 11"/>
                  <a:gd name="T27" fmla="*/ 0 h 5"/>
                  <a:gd name="T28" fmla="*/ 7 w 11"/>
                  <a:gd name="T29" fmla="*/ 0 h 5"/>
                  <a:gd name="T30" fmla="*/ 6 w 11"/>
                  <a:gd name="T31" fmla="*/ 0 h 5"/>
                  <a:gd name="T32" fmla="*/ 6 w 11"/>
                  <a:gd name="T33" fmla="*/ 0 h 5"/>
                  <a:gd name="T34" fmla="*/ 4 w 11"/>
                  <a:gd name="T35" fmla="*/ 0 h 5"/>
                  <a:gd name="T36" fmla="*/ 3 w 11"/>
                  <a:gd name="T37" fmla="*/ 0 h 5"/>
                  <a:gd name="T38" fmla="*/ 3 w 11"/>
                  <a:gd name="T39" fmla="*/ 0 h 5"/>
                  <a:gd name="T40" fmla="*/ 1 w 11"/>
                  <a:gd name="T41" fmla="*/ 0 h 5"/>
                  <a:gd name="T42" fmla="*/ 1 w 11"/>
                  <a:gd name="T43" fmla="*/ 1 h 5"/>
                  <a:gd name="T44" fmla="*/ 0 w 11"/>
                  <a:gd name="T45" fmla="*/ 1 h 5"/>
                  <a:gd name="T46" fmla="*/ 0 w 11"/>
                  <a:gd name="T47" fmla="*/ 1 h 5"/>
                  <a:gd name="T48" fmla="*/ 0 w 11"/>
                  <a:gd name="T49" fmla="*/ 3 h 5"/>
                  <a:gd name="T50" fmla="*/ 0 w 11"/>
                  <a:gd name="T51" fmla="*/ 4 h 5"/>
                  <a:gd name="T52" fmla="*/ 0 w 11"/>
                  <a:gd name="T53" fmla="*/ 4 h 5"/>
                  <a:gd name="T54" fmla="*/ 1 w 11"/>
                  <a:gd name="T55" fmla="*/ 4 h 5"/>
                  <a:gd name="T56" fmla="*/ 1 w 11"/>
                  <a:gd name="T57" fmla="*/ 5 h 5"/>
                  <a:gd name="T58" fmla="*/ 3 w 11"/>
                  <a:gd name="T59" fmla="*/ 5 h 5"/>
                  <a:gd name="T60" fmla="*/ 3 w 11"/>
                  <a:gd name="T61" fmla="*/ 5 h 5"/>
                  <a:gd name="T62" fmla="*/ 4 w 11"/>
                  <a:gd name="T63" fmla="*/ 5 h 5"/>
                  <a:gd name="T64" fmla="*/ 6 w 11"/>
                  <a:gd name="T6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" h="5">
                    <a:moveTo>
                      <a:pt x="6" y="5"/>
                    </a:moveTo>
                    <a:lnTo>
                      <a:pt x="6" y="5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2" name="Freeform 41"/>
              <p:cNvSpPr>
                <a:spLocks/>
              </p:cNvSpPr>
              <p:nvPr/>
            </p:nvSpPr>
            <p:spPr bwMode="auto">
              <a:xfrm>
                <a:off x="5303" y="2825"/>
                <a:ext cx="11" cy="5"/>
              </a:xfrm>
              <a:custGeom>
                <a:avLst/>
                <a:gdLst>
                  <a:gd name="T0" fmla="*/ 6 w 11"/>
                  <a:gd name="T1" fmla="*/ 5 h 5"/>
                  <a:gd name="T2" fmla="*/ 7 w 11"/>
                  <a:gd name="T3" fmla="*/ 5 h 5"/>
                  <a:gd name="T4" fmla="*/ 8 w 11"/>
                  <a:gd name="T5" fmla="*/ 5 h 5"/>
                  <a:gd name="T6" fmla="*/ 10 w 11"/>
                  <a:gd name="T7" fmla="*/ 4 h 5"/>
                  <a:gd name="T8" fmla="*/ 11 w 11"/>
                  <a:gd name="T9" fmla="*/ 4 h 5"/>
                  <a:gd name="T10" fmla="*/ 11 w 11"/>
                  <a:gd name="T11" fmla="*/ 3 h 5"/>
                  <a:gd name="T12" fmla="*/ 11 w 11"/>
                  <a:gd name="T13" fmla="*/ 1 h 5"/>
                  <a:gd name="T14" fmla="*/ 10 w 11"/>
                  <a:gd name="T15" fmla="*/ 1 h 5"/>
                  <a:gd name="T16" fmla="*/ 8 w 11"/>
                  <a:gd name="T17" fmla="*/ 0 h 5"/>
                  <a:gd name="T18" fmla="*/ 7 w 11"/>
                  <a:gd name="T19" fmla="*/ 0 h 5"/>
                  <a:gd name="T20" fmla="*/ 6 w 11"/>
                  <a:gd name="T21" fmla="*/ 0 h 5"/>
                  <a:gd name="T22" fmla="*/ 4 w 11"/>
                  <a:gd name="T23" fmla="*/ 0 h 5"/>
                  <a:gd name="T24" fmla="*/ 3 w 11"/>
                  <a:gd name="T25" fmla="*/ 0 h 5"/>
                  <a:gd name="T26" fmla="*/ 1 w 11"/>
                  <a:gd name="T27" fmla="*/ 0 h 5"/>
                  <a:gd name="T28" fmla="*/ 1 w 11"/>
                  <a:gd name="T29" fmla="*/ 1 h 5"/>
                  <a:gd name="T30" fmla="*/ 0 w 11"/>
                  <a:gd name="T31" fmla="*/ 1 h 5"/>
                  <a:gd name="T32" fmla="*/ 0 w 11"/>
                  <a:gd name="T33" fmla="*/ 3 h 5"/>
                  <a:gd name="T34" fmla="*/ 0 w 11"/>
                  <a:gd name="T35" fmla="*/ 4 h 5"/>
                  <a:gd name="T36" fmla="*/ 1 w 11"/>
                  <a:gd name="T37" fmla="*/ 4 h 5"/>
                  <a:gd name="T38" fmla="*/ 1 w 11"/>
                  <a:gd name="T39" fmla="*/ 5 h 5"/>
                  <a:gd name="T40" fmla="*/ 3 w 11"/>
                  <a:gd name="T41" fmla="*/ 5 h 5"/>
                  <a:gd name="T42" fmla="*/ 4 w 11"/>
                  <a:gd name="T43" fmla="*/ 5 h 5"/>
                  <a:gd name="T44" fmla="*/ 6 w 11"/>
                  <a:gd name="T4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" h="5">
                    <a:moveTo>
                      <a:pt x="6" y="5"/>
                    </a:moveTo>
                    <a:lnTo>
                      <a:pt x="7" y="5"/>
                    </a:lnTo>
                    <a:lnTo>
                      <a:pt x="8" y="5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1"/>
                    </a:lnTo>
                    <a:lnTo>
                      <a:pt x="10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6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3" name="Freeform 42"/>
              <p:cNvSpPr>
                <a:spLocks/>
              </p:cNvSpPr>
              <p:nvPr/>
            </p:nvSpPr>
            <p:spPr bwMode="auto">
              <a:xfrm>
                <a:off x="5318" y="284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4 w 7"/>
                  <a:gd name="T3" fmla="*/ 7 h 7"/>
                  <a:gd name="T4" fmla="*/ 4 w 7"/>
                  <a:gd name="T5" fmla="*/ 7 h 7"/>
                  <a:gd name="T6" fmla="*/ 6 w 7"/>
                  <a:gd name="T7" fmla="*/ 7 h 7"/>
                  <a:gd name="T8" fmla="*/ 6 w 7"/>
                  <a:gd name="T9" fmla="*/ 7 h 7"/>
                  <a:gd name="T10" fmla="*/ 6 w 7"/>
                  <a:gd name="T11" fmla="*/ 6 h 7"/>
                  <a:gd name="T12" fmla="*/ 6 w 7"/>
                  <a:gd name="T13" fmla="*/ 6 h 7"/>
                  <a:gd name="T14" fmla="*/ 7 w 7"/>
                  <a:gd name="T15" fmla="*/ 4 h 7"/>
                  <a:gd name="T16" fmla="*/ 7 w 7"/>
                  <a:gd name="T17" fmla="*/ 4 h 7"/>
                  <a:gd name="T18" fmla="*/ 7 w 7"/>
                  <a:gd name="T19" fmla="*/ 3 h 7"/>
                  <a:gd name="T20" fmla="*/ 6 w 7"/>
                  <a:gd name="T21" fmla="*/ 3 h 7"/>
                  <a:gd name="T22" fmla="*/ 6 w 7"/>
                  <a:gd name="T23" fmla="*/ 3 h 7"/>
                  <a:gd name="T24" fmla="*/ 6 w 7"/>
                  <a:gd name="T25" fmla="*/ 1 h 7"/>
                  <a:gd name="T26" fmla="*/ 6 w 7"/>
                  <a:gd name="T27" fmla="*/ 1 h 7"/>
                  <a:gd name="T28" fmla="*/ 4 w 7"/>
                  <a:gd name="T29" fmla="*/ 1 h 7"/>
                  <a:gd name="T30" fmla="*/ 4 w 7"/>
                  <a:gd name="T31" fmla="*/ 1 h 7"/>
                  <a:gd name="T32" fmla="*/ 3 w 7"/>
                  <a:gd name="T33" fmla="*/ 0 h 7"/>
                  <a:gd name="T34" fmla="*/ 3 w 7"/>
                  <a:gd name="T35" fmla="*/ 1 h 7"/>
                  <a:gd name="T36" fmla="*/ 2 w 7"/>
                  <a:gd name="T37" fmla="*/ 1 h 7"/>
                  <a:gd name="T38" fmla="*/ 2 w 7"/>
                  <a:gd name="T39" fmla="*/ 1 h 7"/>
                  <a:gd name="T40" fmla="*/ 2 w 7"/>
                  <a:gd name="T41" fmla="*/ 1 h 7"/>
                  <a:gd name="T42" fmla="*/ 0 w 7"/>
                  <a:gd name="T43" fmla="*/ 3 h 7"/>
                  <a:gd name="T44" fmla="*/ 0 w 7"/>
                  <a:gd name="T45" fmla="*/ 3 h 7"/>
                  <a:gd name="T46" fmla="*/ 0 w 7"/>
                  <a:gd name="T47" fmla="*/ 3 h 7"/>
                  <a:gd name="T48" fmla="*/ 0 w 7"/>
                  <a:gd name="T49" fmla="*/ 4 h 7"/>
                  <a:gd name="T50" fmla="*/ 0 w 7"/>
                  <a:gd name="T51" fmla="*/ 4 h 7"/>
                  <a:gd name="T52" fmla="*/ 0 w 7"/>
                  <a:gd name="T53" fmla="*/ 6 h 7"/>
                  <a:gd name="T54" fmla="*/ 0 w 7"/>
                  <a:gd name="T55" fmla="*/ 6 h 7"/>
                  <a:gd name="T56" fmla="*/ 2 w 7"/>
                  <a:gd name="T57" fmla="*/ 7 h 7"/>
                  <a:gd name="T58" fmla="*/ 2 w 7"/>
                  <a:gd name="T59" fmla="*/ 7 h 7"/>
                  <a:gd name="T60" fmla="*/ 2 w 7"/>
                  <a:gd name="T61" fmla="*/ 7 h 7"/>
                  <a:gd name="T62" fmla="*/ 3 w 7"/>
                  <a:gd name="T63" fmla="*/ 7 h 7"/>
                  <a:gd name="T64" fmla="*/ 3 w 7"/>
                  <a:gd name="T6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4" y="7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4" name="Freeform 43"/>
              <p:cNvSpPr>
                <a:spLocks/>
              </p:cNvSpPr>
              <p:nvPr/>
            </p:nvSpPr>
            <p:spPr bwMode="auto">
              <a:xfrm>
                <a:off x="5318" y="2840"/>
                <a:ext cx="7" cy="7"/>
              </a:xfrm>
              <a:custGeom>
                <a:avLst/>
                <a:gdLst>
                  <a:gd name="T0" fmla="*/ 3 w 7"/>
                  <a:gd name="T1" fmla="*/ 7 h 7"/>
                  <a:gd name="T2" fmla="*/ 4 w 7"/>
                  <a:gd name="T3" fmla="*/ 7 h 7"/>
                  <a:gd name="T4" fmla="*/ 6 w 7"/>
                  <a:gd name="T5" fmla="*/ 7 h 7"/>
                  <a:gd name="T6" fmla="*/ 6 w 7"/>
                  <a:gd name="T7" fmla="*/ 6 h 7"/>
                  <a:gd name="T8" fmla="*/ 7 w 7"/>
                  <a:gd name="T9" fmla="*/ 4 h 7"/>
                  <a:gd name="T10" fmla="*/ 7 w 7"/>
                  <a:gd name="T11" fmla="*/ 3 h 7"/>
                  <a:gd name="T12" fmla="*/ 6 w 7"/>
                  <a:gd name="T13" fmla="*/ 3 h 7"/>
                  <a:gd name="T14" fmla="*/ 6 w 7"/>
                  <a:gd name="T15" fmla="*/ 1 h 7"/>
                  <a:gd name="T16" fmla="*/ 4 w 7"/>
                  <a:gd name="T17" fmla="*/ 1 h 7"/>
                  <a:gd name="T18" fmla="*/ 3 w 7"/>
                  <a:gd name="T19" fmla="*/ 0 h 7"/>
                  <a:gd name="T20" fmla="*/ 3 w 7"/>
                  <a:gd name="T21" fmla="*/ 1 h 7"/>
                  <a:gd name="T22" fmla="*/ 2 w 7"/>
                  <a:gd name="T23" fmla="*/ 1 h 7"/>
                  <a:gd name="T24" fmla="*/ 0 w 7"/>
                  <a:gd name="T25" fmla="*/ 3 h 7"/>
                  <a:gd name="T26" fmla="*/ 0 w 7"/>
                  <a:gd name="T27" fmla="*/ 4 h 7"/>
                  <a:gd name="T28" fmla="*/ 0 w 7"/>
                  <a:gd name="T29" fmla="*/ 6 h 7"/>
                  <a:gd name="T30" fmla="*/ 2 w 7"/>
                  <a:gd name="T31" fmla="*/ 7 h 7"/>
                  <a:gd name="T32" fmla="*/ 3 w 7"/>
                  <a:gd name="T3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" h="7">
                    <a:moveTo>
                      <a:pt x="3" y="7"/>
                    </a:moveTo>
                    <a:lnTo>
                      <a:pt x="4" y="7"/>
                    </a:lnTo>
                    <a:lnTo>
                      <a:pt x="6" y="7"/>
                    </a:lnTo>
                    <a:lnTo>
                      <a:pt x="6" y="6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3" y="7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5" name="Freeform 44"/>
              <p:cNvSpPr>
                <a:spLocks/>
              </p:cNvSpPr>
              <p:nvPr/>
            </p:nvSpPr>
            <p:spPr bwMode="auto">
              <a:xfrm>
                <a:off x="5328" y="2850"/>
                <a:ext cx="8" cy="8"/>
              </a:xfrm>
              <a:custGeom>
                <a:avLst/>
                <a:gdLst>
                  <a:gd name="T0" fmla="*/ 4 w 8"/>
                  <a:gd name="T1" fmla="*/ 8 h 8"/>
                  <a:gd name="T2" fmla="*/ 4 w 8"/>
                  <a:gd name="T3" fmla="*/ 8 h 8"/>
                  <a:gd name="T4" fmla="*/ 5 w 8"/>
                  <a:gd name="T5" fmla="*/ 8 h 8"/>
                  <a:gd name="T6" fmla="*/ 5 w 8"/>
                  <a:gd name="T7" fmla="*/ 8 h 8"/>
                  <a:gd name="T8" fmla="*/ 7 w 8"/>
                  <a:gd name="T9" fmla="*/ 7 h 8"/>
                  <a:gd name="T10" fmla="*/ 7 w 8"/>
                  <a:gd name="T11" fmla="*/ 7 h 8"/>
                  <a:gd name="T12" fmla="*/ 7 w 8"/>
                  <a:gd name="T13" fmla="*/ 7 h 8"/>
                  <a:gd name="T14" fmla="*/ 8 w 8"/>
                  <a:gd name="T15" fmla="*/ 5 h 8"/>
                  <a:gd name="T16" fmla="*/ 8 w 8"/>
                  <a:gd name="T17" fmla="*/ 4 h 8"/>
                  <a:gd name="T18" fmla="*/ 8 w 8"/>
                  <a:gd name="T19" fmla="*/ 4 h 8"/>
                  <a:gd name="T20" fmla="*/ 7 w 8"/>
                  <a:gd name="T21" fmla="*/ 2 h 8"/>
                  <a:gd name="T22" fmla="*/ 7 w 8"/>
                  <a:gd name="T23" fmla="*/ 2 h 8"/>
                  <a:gd name="T24" fmla="*/ 7 w 8"/>
                  <a:gd name="T25" fmla="*/ 1 h 8"/>
                  <a:gd name="T26" fmla="*/ 5 w 8"/>
                  <a:gd name="T27" fmla="*/ 1 h 8"/>
                  <a:gd name="T28" fmla="*/ 5 w 8"/>
                  <a:gd name="T29" fmla="*/ 1 h 8"/>
                  <a:gd name="T30" fmla="*/ 4 w 8"/>
                  <a:gd name="T31" fmla="*/ 0 h 8"/>
                  <a:gd name="T32" fmla="*/ 4 w 8"/>
                  <a:gd name="T33" fmla="*/ 0 h 8"/>
                  <a:gd name="T34" fmla="*/ 3 w 8"/>
                  <a:gd name="T35" fmla="*/ 0 h 8"/>
                  <a:gd name="T36" fmla="*/ 1 w 8"/>
                  <a:gd name="T37" fmla="*/ 1 h 8"/>
                  <a:gd name="T38" fmla="*/ 1 w 8"/>
                  <a:gd name="T39" fmla="*/ 1 h 8"/>
                  <a:gd name="T40" fmla="*/ 1 w 8"/>
                  <a:gd name="T41" fmla="*/ 1 h 8"/>
                  <a:gd name="T42" fmla="*/ 0 w 8"/>
                  <a:gd name="T43" fmla="*/ 2 h 8"/>
                  <a:gd name="T44" fmla="*/ 0 w 8"/>
                  <a:gd name="T45" fmla="*/ 2 h 8"/>
                  <a:gd name="T46" fmla="*/ 0 w 8"/>
                  <a:gd name="T47" fmla="*/ 4 h 8"/>
                  <a:gd name="T48" fmla="*/ 0 w 8"/>
                  <a:gd name="T49" fmla="*/ 4 h 8"/>
                  <a:gd name="T50" fmla="*/ 0 w 8"/>
                  <a:gd name="T51" fmla="*/ 5 h 8"/>
                  <a:gd name="T52" fmla="*/ 0 w 8"/>
                  <a:gd name="T53" fmla="*/ 7 h 8"/>
                  <a:gd name="T54" fmla="*/ 0 w 8"/>
                  <a:gd name="T55" fmla="*/ 7 h 8"/>
                  <a:gd name="T56" fmla="*/ 1 w 8"/>
                  <a:gd name="T57" fmla="*/ 7 h 8"/>
                  <a:gd name="T58" fmla="*/ 1 w 8"/>
                  <a:gd name="T59" fmla="*/ 8 h 8"/>
                  <a:gd name="T60" fmla="*/ 1 w 8"/>
                  <a:gd name="T61" fmla="*/ 8 h 8"/>
                  <a:gd name="T62" fmla="*/ 3 w 8"/>
                  <a:gd name="T63" fmla="*/ 8 h 8"/>
                  <a:gd name="T64" fmla="*/ 4 w 8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8"/>
                    </a:lnTo>
                    <a:lnTo>
                      <a:pt x="5" y="8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6" name="Freeform 45"/>
              <p:cNvSpPr>
                <a:spLocks/>
              </p:cNvSpPr>
              <p:nvPr/>
            </p:nvSpPr>
            <p:spPr bwMode="auto">
              <a:xfrm>
                <a:off x="5328" y="2850"/>
                <a:ext cx="8" cy="8"/>
              </a:xfrm>
              <a:custGeom>
                <a:avLst/>
                <a:gdLst>
                  <a:gd name="T0" fmla="*/ 4 w 8"/>
                  <a:gd name="T1" fmla="*/ 8 h 8"/>
                  <a:gd name="T2" fmla="*/ 5 w 8"/>
                  <a:gd name="T3" fmla="*/ 8 h 8"/>
                  <a:gd name="T4" fmla="*/ 7 w 8"/>
                  <a:gd name="T5" fmla="*/ 7 h 8"/>
                  <a:gd name="T6" fmla="*/ 8 w 8"/>
                  <a:gd name="T7" fmla="*/ 5 h 8"/>
                  <a:gd name="T8" fmla="*/ 8 w 8"/>
                  <a:gd name="T9" fmla="*/ 4 h 8"/>
                  <a:gd name="T10" fmla="*/ 7 w 8"/>
                  <a:gd name="T11" fmla="*/ 2 h 8"/>
                  <a:gd name="T12" fmla="*/ 7 w 8"/>
                  <a:gd name="T13" fmla="*/ 1 h 8"/>
                  <a:gd name="T14" fmla="*/ 5 w 8"/>
                  <a:gd name="T15" fmla="*/ 1 h 8"/>
                  <a:gd name="T16" fmla="*/ 4 w 8"/>
                  <a:gd name="T17" fmla="*/ 0 h 8"/>
                  <a:gd name="T18" fmla="*/ 3 w 8"/>
                  <a:gd name="T19" fmla="*/ 0 h 8"/>
                  <a:gd name="T20" fmla="*/ 1 w 8"/>
                  <a:gd name="T21" fmla="*/ 1 h 8"/>
                  <a:gd name="T22" fmla="*/ 0 w 8"/>
                  <a:gd name="T23" fmla="*/ 2 h 8"/>
                  <a:gd name="T24" fmla="*/ 0 w 8"/>
                  <a:gd name="T25" fmla="*/ 4 h 8"/>
                  <a:gd name="T26" fmla="*/ 0 w 8"/>
                  <a:gd name="T27" fmla="*/ 5 h 8"/>
                  <a:gd name="T28" fmla="*/ 0 w 8"/>
                  <a:gd name="T29" fmla="*/ 7 h 8"/>
                  <a:gd name="T30" fmla="*/ 1 w 8"/>
                  <a:gd name="T31" fmla="*/ 7 h 8"/>
                  <a:gd name="T32" fmla="*/ 1 w 8"/>
                  <a:gd name="T33" fmla="*/ 8 h 8"/>
                  <a:gd name="T34" fmla="*/ 3 w 8"/>
                  <a:gd name="T35" fmla="*/ 8 h 8"/>
                  <a:gd name="T36" fmla="*/ 4 w 8"/>
                  <a:gd name="T3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5" y="8"/>
                    </a:lnTo>
                    <a:lnTo>
                      <a:pt x="7" y="7"/>
                    </a:lnTo>
                    <a:lnTo>
                      <a:pt x="8" y="5"/>
                    </a:lnTo>
                    <a:lnTo>
                      <a:pt x="8" y="4"/>
                    </a:lnTo>
                    <a:lnTo>
                      <a:pt x="7" y="2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7" name="Freeform 46"/>
              <p:cNvSpPr>
                <a:spLocks/>
              </p:cNvSpPr>
              <p:nvPr/>
            </p:nvSpPr>
            <p:spPr bwMode="auto">
              <a:xfrm>
                <a:off x="5372" y="3199"/>
                <a:ext cx="25" cy="15"/>
              </a:xfrm>
              <a:custGeom>
                <a:avLst/>
                <a:gdLst>
                  <a:gd name="T0" fmla="*/ 12 w 25"/>
                  <a:gd name="T1" fmla="*/ 0 h 15"/>
                  <a:gd name="T2" fmla="*/ 15 w 25"/>
                  <a:gd name="T3" fmla="*/ 0 h 15"/>
                  <a:gd name="T4" fmla="*/ 16 w 25"/>
                  <a:gd name="T5" fmla="*/ 0 h 15"/>
                  <a:gd name="T6" fmla="*/ 19 w 25"/>
                  <a:gd name="T7" fmla="*/ 0 h 15"/>
                  <a:gd name="T8" fmla="*/ 21 w 25"/>
                  <a:gd name="T9" fmla="*/ 1 h 15"/>
                  <a:gd name="T10" fmla="*/ 22 w 25"/>
                  <a:gd name="T11" fmla="*/ 3 h 15"/>
                  <a:gd name="T12" fmla="*/ 23 w 25"/>
                  <a:gd name="T13" fmla="*/ 4 h 15"/>
                  <a:gd name="T14" fmla="*/ 25 w 25"/>
                  <a:gd name="T15" fmla="*/ 5 h 15"/>
                  <a:gd name="T16" fmla="*/ 25 w 25"/>
                  <a:gd name="T17" fmla="*/ 7 h 15"/>
                  <a:gd name="T18" fmla="*/ 25 w 25"/>
                  <a:gd name="T19" fmla="*/ 8 h 15"/>
                  <a:gd name="T20" fmla="*/ 23 w 25"/>
                  <a:gd name="T21" fmla="*/ 9 h 15"/>
                  <a:gd name="T22" fmla="*/ 22 w 25"/>
                  <a:gd name="T23" fmla="*/ 11 h 15"/>
                  <a:gd name="T24" fmla="*/ 21 w 25"/>
                  <a:gd name="T25" fmla="*/ 12 h 15"/>
                  <a:gd name="T26" fmla="*/ 19 w 25"/>
                  <a:gd name="T27" fmla="*/ 14 h 15"/>
                  <a:gd name="T28" fmla="*/ 16 w 25"/>
                  <a:gd name="T29" fmla="*/ 14 h 15"/>
                  <a:gd name="T30" fmla="*/ 15 w 25"/>
                  <a:gd name="T31" fmla="*/ 14 h 15"/>
                  <a:gd name="T32" fmla="*/ 12 w 25"/>
                  <a:gd name="T33" fmla="*/ 15 h 15"/>
                  <a:gd name="T34" fmla="*/ 10 w 25"/>
                  <a:gd name="T35" fmla="*/ 14 h 15"/>
                  <a:gd name="T36" fmla="*/ 8 w 25"/>
                  <a:gd name="T37" fmla="*/ 14 h 15"/>
                  <a:gd name="T38" fmla="*/ 5 w 25"/>
                  <a:gd name="T39" fmla="*/ 14 h 15"/>
                  <a:gd name="T40" fmla="*/ 4 w 25"/>
                  <a:gd name="T41" fmla="*/ 12 h 15"/>
                  <a:gd name="T42" fmla="*/ 3 w 25"/>
                  <a:gd name="T43" fmla="*/ 11 h 15"/>
                  <a:gd name="T44" fmla="*/ 1 w 25"/>
                  <a:gd name="T45" fmla="*/ 9 h 15"/>
                  <a:gd name="T46" fmla="*/ 1 w 25"/>
                  <a:gd name="T47" fmla="*/ 8 h 15"/>
                  <a:gd name="T48" fmla="*/ 0 w 25"/>
                  <a:gd name="T49" fmla="*/ 7 h 15"/>
                  <a:gd name="T50" fmla="*/ 1 w 25"/>
                  <a:gd name="T51" fmla="*/ 5 h 15"/>
                  <a:gd name="T52" fmla="*/ 1 w 25"/>
                  <a:gd name="T53" fmla="*/ 4 h 15"/>
                  <a:gd name="T54" fmla="*/ 3 w 25"/>
                  <a:gd name="T55" fmla="*/ 3 h 15"/>
                  <a:gd name="T56" fmla="*/ 4 w 25"/>
                  <a:gd name="T57" fmla="*/ 1 h 15"/>
                  <a:gd name="T58" fmla="*/ 5 w 25"/>
                  <a:gd name="T59" fmla="*/ 0 h 15"/>
                  <a:gd name="T60" fmla="*/ 8 w 25"/>
                  <a:gd name="T61" fmla="*/ 0 h 15"/>
                  <a:gd name="T62" fmla="*/ 10 w 25"/>
                  <a:gd name="T63" fmla="*/ 0 h 15"/>
                  <a:gd name="T64" fmla="*/ 12 w 25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15">
                    <a:moveTo>
                      <a:pt x="12" y="0"/>
                    </a:moveTo>
                    <a:lnTo>
                      <a:pt x="15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5" y="7"/>
                    </a:lnTo>
                    <a:lnTo>
                      <a:pt x="25" y="8"/>
                    </a:lnTo>
                    <a:lnTo>
                      <a:pt x="23" y="9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5" y="14"/>
                    </a:lnTo>
                    <a:lnTo>
                      <a:pt x="12" y="15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8" name="Freeform 47"/>
              <p:cNvSpPr>
                <a:spLocks/>
              </p:cNvSpPr>
              <p:nvPr/>
            </p:nvSpPr>
            <p:spPr bwMode="auto">
              <a:xfrm>
                <a:off x="5372" y="3199"/>
                <a:ext cx="25" cy="15"/>
              </a:xfrm>
              <a:custGeom>
                <a:avLst/>
                <a:gdLst>
                  <a:gd name="T0" fmla="*/ 12 w 25"/>
                  <a:gd name="T1" fmla="*/ 0 h 15"/>
                  <a:gd name="T2" fmla="*/ 15 w 25"/>
                  <a:gd name="T3" fmla="*/ 0 h 15"/>
                  <a:gd name="T4" fmla="*/ 16 w 25"/>
                  <a:gd name="T5" fmla="*/ 0 h 15"/>
                  <a:gd name="T6" fmla="*/ 19 w 25"/>
                  <a:gd name="T7" fmla="*/ 0 h 15"/>
                  <a:gd name="T8" fmla="*/ 21 w 25"/>
                  <a:gd name="T9" fmla="*/ 1 h 15"/>
                  <a:gd name="T10" fmla="*/ 22 w 25"/>
                  <a:gd name="T11" fmla="*/ 3 h 15"/>
                  <a:gd name="T12" fmla="*/ 23 w 25"/>
                  <a:gd name="T13" fmla="*/ 4 h 15"/>
                  <a:gd name="T14" fmla="*/ 25 w 25"/>
                  <a:gd name="T15" fmla="*/ 5 h 15"/>
                  <a:gd name="T16" fmla="*/ 25 w 25"/>
                  <a:gd name="T17" fmla="*/ 7 h 15"/>
                  <a:gd name="T18" fmla="*/ 25 w 25"/>
                  <a:gd name="T19" fmla="*/ 8 h 15"/>
                  <a:gd name="T20" fmla="*/ 23 w 25"/>
                  <a:gd name="T21" fmla="*/ 9 h 15"/>
                  <a:gd name="T22" fmla="*/ 22 w 25"/>
                  <a:gd name="T23" fmla="*/ 11 h 15"/>
                  <a:gd name="T24" fmla="*/ 21 w 25"/>
                  <a:gd name="T25" fmla="*/ 12 h 15"/>
                  <a:gd name="T26" fmla="*/ 19 w 25"/>
                  <a:gd name="T27" fmla="*/ 14 h 15"/>
                  <a:gd name="T28" fmla="*/ 16 w 25"/>
                  <a:gd name="T29" fmla="*/ 14 h 15"/>
                  <a:gd name="T30" fmla="*/ 15 w 25"/>
                  <a:gd name="T31" fmla="*/ 14 h 15"/>
                  <a:gd name="T32" fmla="*/ 12 w 25"/>
                  <a:gd name="T33" fmla="*/ 15 h 15"/>
                  <a:gd name="T34" fmla="*/ 10 w 25"/>
                  <a:gd name="T35" fmla="*/ 14 h 15"/>
                  <a:gd name="T36" fmla="*/ 8 w 25"/>
                  <a:gd name="T37" fmla="*/ 14 h 15"/>
                  <a:gd name="T38" fmla="*/ 5 w 25"/>
                  <a:gd name="T39" fmla="*/ 14 h 15"/>
                  <a:gd name="T40" fmla="*/ 4 w 25"/>
                  <a:gd name="T41" fmla="*/ 12 h 15"/>
                  <a:gd name="T42" fmla="*/ 3 w 25"/>
                  <a:gd name="T43" fmla="*/ 11 h 15"/>
                  <a:gd name="T44" fmla="*/ 1 w 25"/>
                  <a:gd name="T45" fmla="*/ 9 h 15"/>
                  <a:gd name="T46" fmla="*/ 1 w 25"/>
                  <a:gd name="T47" fmla="*/ 8 h 15"/>
                  <a:gd name="T48" fmla="*/ 0 w 25"/>
                  <a:gd name="T49" fmla="*/ 7 h 15"/>
                  <a:gd name="T50" fmla="*/ 1 w 25"/>
                  <a:gd name="T51" fmla="*/ 5 h 15"/>
                  <a:gd name="T52" fmla="*/ 1 w 25"/>
                  <a:gd name="T53" fmla="*/ 4 h 15"/>
                  <a:gd name="T54" fmla="*/ 3 w 25"/>
                  <a:gd name="T55" fmla="*/ 3 h 15"/>
                  <a:gd name="T56" fmla="*/ 4 w 25"/>
                  <a:gd name="T57" fmla="*/ 1 h 15"/>
                  <a:gd name="T58" fmla="*/ 5 w 25"/>
                  <a:gd name="T59" fmla="*/ 0 h 15"/>
                  <a:gd name="T60" fmla="*/ 8 w 25"/>
                  <a:gd name="T61" fmla="*/ 0 h 15"/>
                  <a:gd name="T62" fmla="*/ 10 w 25"/>
                  <a:gd name="T63" fmla="*/ 0 h 15"/>
                  <a:gd name="T64" fmla="*/ 12 w 25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5" h="15">
                    <a:moveTo>
                      <a:pt x="12" y="0"/>
                    </a:moveTo>
                    <a:lnTo>
                      <a:pt x="15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5" y="7"/>
                    </a:lnTo>
                    <a:lnTo>
                      <a:pt x="25" y="8"/>
                    </a:lnTo>
                    <a:lnTo>
                      <a:pt x="23" y="9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9" y="14"/>
                    </a:lnTo>
                    <a:lnTo>
                      <a:pt x="16" y="14"/>
                    </a:lnTo>
                    <a:lnTo>
                      <a:pt x="15" y="14"/>
                    </a:lnTo>
                    <a:lnTo>
                      <a:pt x="12" y="15"/>
                    </a:lnTo>
                    <a:lnTo>
                      <a:pt x="10" y="14"/>
                    </a:lnTo>
                    <a:lnTo>
                      <a:pt x="8" y="14"/>
                    </a:lnTo>
                    <a:lnTo>
                      <a:pt x="5" y="14"/>
                    </a:lnTo>
                    <a:lnTo>
                      <a:pt x="4" y="12"/>
                    </a:lnTo>
                    <a:lnTo>
                      <a:pt x="3" y="11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0" y="7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39" name="Freeform 48"/>
              <p:cNvSpPr>
                <a:spLocks/>
              </p:cNvSpPr>
              <p:nvPr/>
            </p:nvSpPr>
            <p:spPr bwMode="auto">
              <a:xfrm>
                <a:off x="5401" y="3200"/>
                <a:ext cx="23" cy="18"/>
              </a:xfrm>
              <a:custGeom>
                <a:avLst/>
                <a:gdLst>
                  <a:gd name="T0" fmla="*/ 12 w 23"/>
                  <a:gd name="T1" fmla="*/ 0 h 18"/>
                  <a:gd name="T2" fmla="*/ 15 w 23"/>
                  <a:gd name="T3" fmla="*/ 0 h 18"/>
                  <a:gd name="T4" fmla="*/ 16 w 23"/>
                  <a:gd name="T5" fmla="*/ 2 h 18"/>
                  <a:gd name="T6" fmla="*/ 19 w 23"/>
                  <a:gd name="T7" fmla="*/ 2 h 18"/>
                  <a:gd name="T8" fmla="*/ 20 w 23"/>
                  <a:gd name="T9" fmla="*/ 3 h 18"/>
                  <a:gd name="T10" fmla="*/ 22 w 23"/>
                  <a:gd name="T11" fmla="*/ 4 h 18"/>
                  <a:gd name="T12" fmla="*/ 23 w 23"/>
                  <a:gd name="T13" fmla="*/ 6 h 18"/>
                  <a:gd name="T14" fmla="*/ 23 w 23"/>
                  <a:gd name="T15" fmla="*/ 8 h 18"/>
                  <a:gd name="T16" fmla="*/ 23 w 23"/>
                  <a:gd name="T17" fmla="*/ 10 h 18"/>
                  <a:gd name="T18" fmla="*/ 23 w 23"/>
                  <a:gd name="T19" fmla="*/ 11 h 18"/>
                  <a:gd name="T20" fmla="*/ 23 w 23"/>
                  <a:gd name="T21" fmla="*/ 13 h 18"/>
                  <a:gd name="T22" fmla="*/ 22 w 23"/>
                  <a:gd name="T23" fmla="*/ 15 h 18"/>
                  <a:gd name="T24" fmla="*/ 20 w 23"/>
                  <a:gd name="T25" fmla="*/ 17 h 18"/>
                  <a:gd name="T26" fmla="*/ 19 w 23"/>
                  <a:gd name="T27" fmla="*/ 17 h 18"/>
                  <a:gd name="T28" fmla="*/ 16 w 23"/>
                  <a:gd name="T29" fmla="*/ 18 h 18"/>
                  <a:gd name="T30" fmla="*/ 15 w 23"/>
                  <a:gd name="T31" fmla="*/ 18 h 18"/>
                  <a:gd name="T32" fmla="*/ 12 w 23"/>
                  <a:gd name="T33" fmla="*/ 18 h 18"/>
                  <a:gd name="T34" fmla="*/ 9 w 23"/>
                  <a:gd name="T35" fmla="*/ 18 h 18"/>
                  <a:gd name="T36" fmla="*/ 8 w 23"/>
                  <a:gd name="T37" fmla="*/ 18 h 18"/>
                  <a:gd name="T38" fmla="*/ 5 w 23"/>
                  <a:gd name="T39" fmla="*/ 17 h 18"/>
                  <a:gd name="T40" fmla="*/ 4 w 23"/>
                  <a:gd name="T41" fmla="*/ 17 h 18"/>
                  <a:gd name="T42" fmla="*/ 3 w 23"/>
                  <a:gd name="T43" fmla="*/ 15 h 18"/>
                  <a:gd name="T44" fmla="*/ 1 w 23"/>
                  <a:gd name="T45" fmla="*/ 13 h 18"/>
                  <a:gd name="T46" fmla="*/ 1 w 23"/>
                  <a:gd name="T47" fmla="*/ 11 h 18"/>
                  <a:gd name="T48" fmla="*/ 0 w 23"/>
                  <a:gd name="T49" fmla="*/ 10 h 18"/>
                  <a:gd name="T50" fmla="*/ 1 w 23"/>
                  <a:gd name="T51" fmla="*/ 8 h 18"/>
                  <a:gd name="T52" fmla="*/ 1 w 23"/>
                  <a:gd name="T53" fmla="*/ 6 h 18"/>
                  <a:gd name="T54" fmla="*/ 3 w 23"/>
                  <a:gd name="T55" fmla="*/ 4 h 18"/>
                  <a:gd name="T56" fmla="*/ 4 w 23"/>
                  <a:gd name="T57" fmla="*/ 3 h 18"/>
                  <a:gd name="T58" fmla="*/ 5 w 23"/>
                  <a:gd name="T59" fmla="*/ 2 h 18"/>
                  <a:gd name="T60" fmla="*/ 8 w 23"/>
                  <a:gd name="T61" fmla="*/ 2 h 18"/>
                  <a:gd name="T62" fmla="*/ 9 w 23"/>
                  <a:gd name="T63" fmla="*/ 0 h 18"/>
                  <a:gd name="T64" fmla="*/ 12 w 23"/>
                  <a:gd name="T6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8">
                    <a:moveTo>
                      <a:pt x="12" y="0"/>
                    </a:moveTo>
                    <a:lnTo>
                      <a:pt x="15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20" y="3"/>
                    </a:lnTo>
                    <a:lnTo>
                      <a:pt x="22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3" y="13"/>
                    </a:lnTo>
                    <a:lnTo>
                      <a:pt x="22" y="15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6" y="18"/>
                    </a:lnTo>
                    <a:lnTo>
                      <a:pt x="15" y="18"/>
                    </a:lnTo>
                    <a:lnTo>
                      <a:pt x="12" y="18"/>
                    </a:lnTo>
                    <a:lnTo>
                      <a:pt x="9" y="18"/>
                    </a:lnTo>
                    <a:lnTo>
                      <a:pt x="8" y="18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0" name="Freeform 49"/>
              <p:cNvSpPr>
                <a:spLocks/>
              </p:cNvSpPr>
              <p:nvPr/>
            </p:nvSpPr>
            <p:spPr bwMode="auto">
              <a:xfrm>
                <a:off x="5401" y="3200"/>
                <a:ext cx="23" cy="18"/>
              </a:xfrm>
              <a:custGeom>
                <a:avLst/>
                <a:gdLst>
                  <a:gd name="T0" fmla="*/ 12 w 23"/>
                  <a:gd name="T1" fmla="*/ 0 h 18"/>
                  <a:gd name="T2" fmla="*/ 15 w 23"/>
                  <a:gd name="T3" fmla="*/ 0 h 18"/>
                  <a:gd name="T4" fmla="*/ 16 w 23"/>
                  <a:gd name="T5" fmla="*/ 2 h 18"/>
                  <a:gd name="T6" fmla="*/ 19 w 23"/>
                  <a:gd name="T7" fmla="*/ 2 h 18"/>
                  <a:gd name="T8" fmla="*/ 20 w 23"/>
                  <a:gd name="T9" fmla="*/ 3 h 18"/>
                  <a:gd name="T10" fmla="*/ 22 w 23"/>
                  <a:gd name="T11" fmla="*/ 4 h 18"/>
                  <a:gd name="T12" fmla="*/ 23 w 23"/>
                  <a:gd name="T13" fmla="*/ 6 h 18"/>
                  <a:gd name="T14" fmla="*/ 23 w 23"/>
                  <a:gd name="T15" fmla="*/ 8 h 18"/>
                  <a:gd name="T16" fmla="*/ 23 w 23"/>
                  <a:gd name="T17" fmla="*/ 10 h 18"/>
                  <a:gd name="T18" fmla="*/ 23 w 23"/>
                  <a:gd name="T19" fmla="*/ 11 h 18"/>
                  <a:gd name="T20" fmla="*/ 23 w 23"/>
                  <a:gd name="T21" fmla="*/ 13 h 18"/>
                  <a:gd name="T22" fmla="*/ 22 w 23"/>
                  <a:gd name="T23" fmla="*/ 15 h 18"/>
                  <a:gd name="T24" fmla="*/ 20 w 23"/>
                  <a:gd name="T25" fmla="*/ 17 h 18"/>
                  <a:gd name="T26" fmla="*/ 19 w 23"/>
                  <a:gd name="T27" fmla="*/ 17 h 18"/>
                  <a:gd name="T28" fmla="*/ 16 w 23"/>
                  <a:gd name="T29" fmla="*/ 18 h 18"/>
                  <a:gd name="T30" fmla="*/ 15 w 23"/>
                  <a:gd name="T31" fmla="*/ 18 h 18"/>
                  <a:gd name="T32" fmla="*/ 12 w 23"/>
                  <a:gd name="T33" fmla="*/ 18 h 18"/>
                  <a:gd name="T34" fmla="*/ 9 w 23"/>
                  <a:gd name="T35" fmla="*/ 18 h 18"/>
                  <a:gd name="T36" fmla="*/ 8 w 23"/>
                  <a:gd name="T37" fmla="*/ 18 h 18"/>
                  <a:gd name="T38" fmla="*/ 5 w 23"/>
                  <a:gd name="T39" fmla="*/ 17 h 18"/>
                  <a:gd name="T40" fmla="*/ 4 w 23"/>
                  <a:gd name="T41" fmla="*/ 17 h 18"/>
                  <a:gd name="T42" fmla="*/ 3 w 23"/>
                  <a:gd name="T43" fmla="*/ 15 h 18"/>
                  <a:gd name="T44" fmla="*/ 1 w 23"/>
                  <a:gd name="T45" fmla="*/ 13 h 18"/>
                  <a:gd name="T46" fmla="*/ 1 w 23"/>
                  <a:gd name="T47" fmla="*/ 11 h 18"/>
                  <a:gd name="T48" fmla="*/ 0 w 23"/>
                  <a:gd name="T49" fmla="*/ 10 h 18"/>
                  <a:gd name="T50" fmla="*/ 1 w 23"/>
                  <a:gd name="T51" fmla="*/ 8 h 18"/>
                  <a:gd name="T52" fmla="*/ 1 w 23"/>
                  <a:gd name="T53" fmla="*/ 6 h 18"/>
                  <a:gd name="T54" fmla="*/ 3 w 23"/>
                  <a:gd name="T55" fmla="*/ 4 h 18"/>
                  <a:gd name="T56" fmla="*/ 4 w 23"/>
                  <a:gd name="T57" fmla="*/ 3 h 18"/>
                  <a:gd name="T58" fmla="*/ 5 w 23"/>
                  <a:gd name="T59" fmla="*/ 2 h 18"/>
                  <a:gd name="T60" fmla="*/ 8 w 23"/>
                  <a:gd name="T61" fmla="*/ 2 h 18"/>
                  <a:gd name="T62" fmla="*/ 9 w 23"/>
                  <a:gd name="T63" fmla="*/ 0 h 18"/>
                  <a:gd name="T64" fmla="*/ 12 w 23"/>
                  <a:gd name="T6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8">
                    <a:moveTo>
                      <a:pt x="12" y="0"/>
                    </a:moveTo>
                    <a:lnTo>
                      <a:pt x="15" y="0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20" y="3"/>
                    </a:lnTo>
                    <a:lnTo>
                      <a:pt x="22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1"/>
                    </a:lnTo>
                    <a:lnTo>
                      <a:pt x="23" y="13"/>
                    </a:lnTo>
                    <a:lnTo>
                      <a:pt x="22" y="15"/>
                    </a:lnTo>
                    <a:lnTo>
                      <a:pt x="20" y="17"/>
                    </a:lnTo>
                    <a:lnTo>
                      <a:pt x="19" y="17"/>
                    </a:lnTo>
                    <a:lnTo>
                      <a:pt x="16" y="18"/>
                    </a:lnTo>
                    <a:lnTo>
                      <a:pt x="15" y="18"/>
                    </a:lnTo>
                    <a:lnTo>
                      <a:pt x="12" y="18"/>
                    </a:lnTo>
                    <a:lnTo>
                      <a:pt x="9" y="18"/>
                    </a:lnTo>
                    <a:lnTo>
                      <a:pt x="8" y="18"/>
                    </a:lnTo>
                    <a:lnTo>
                      <a:pt x="5" y="17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1" y="13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8"/>
                    </a:lnTo>
                    <a:lnTo>
                      <a:pt x="1" y="6"/>
                    </a:lnTo>
                    <a:lnTo>
                      <a:pt x="3" y="4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9" y="0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1" name="Freeform 50"/>
              <p:cNvSpPr>
                <a:spLocks/>
              </p:cNvSpPr>
              <p:nvPr/>
            </p:nvSpPr>
            <p:spPr bwMode="auto">
              <a:xfrm>
                <a:off x="5428" y="3200"/>
                <a:ext cx="24" cy="15"/>
              </a:xfrm>
              <a:custGeom>
                <a:avLst/>
                <a:gdLst>
                  <a:gd name="T0" fmla="*/ 13 w 24"/>
                  <a:gd name="T1" fmla="*/ 0 h 15"/>
                  <a:gd name="T2" fmla="*/ 15 w 24"/>
                  <a:gd name="T3" fmla="*/ 0 h 15"/>
                  <a:gd name="T4" fmla="*/ 17 w 24"/>
                  <a:gd name="T5" fmla="*/ 0 h 15"/>
                  <a:gd name="T6" fmla="*/ 20 w 24"/>
                  <a:gd name="T7" fmla="*/ 2 h 15"/>
                  <a:gd name="T8" fmla="*/ 21 w 24"/>
                  <a:gd name="T9" fmla="*/ 2 h 15"/>
                  <a:gd name="T10" fmla="*/ 22 w 24"/>
                  <a:gd name="T11" fmla="*/ 3 h 15"/>
                  <a:gd name="T12" fmla="*/ 24 w 24"/>
                  <a:gd name="T13" fmla="*/ 4 h 15"/>
                  <a:gd name="T14" fmla="*/ 24 w 24"/>
                  <a:gd name="T15" fmla="*/ 6 h 15"/>
                  <a:gd name="T16" fmla="*/ 24 w 24"/>
                  <a:gd name="T17" fmla="*/ 8 h 15"/>
                  <a:gd name="T18" fmla="*/ 24 w 24"/>
                  <a:gd name="T19" fmla="*/ 10 h 15"/>
                  <a:gd name="T20" fmla="*/ 24 w 24"/>
                  <a:gd name="T21" fmla="*/ 11 h 15"/>
                  <a:gd name="T22" fmla="*/ 22 w 24"/>
                  <a:gd name="T23" fmla="*/ 13 h 15"/>
                  <a:gd name="T24" fmla="*/ 21 w 24"/>
                  <a:gd name="T25" fmla="*/ 14 h 15"/>
                  <a:gd name="T26" fmla="*/ 20 w 24"/>
                  <a:gd name="T27" fmla="*/ 15 h 15"/>
                  <a:gd name="T28" fmla="*/ 17 w 24"/>
                  <a:gd name="T29" fmla="*/ 15 h 15"/>
                  <a:gd name="T30" fmla="*/ 15 w 24"/>
                  <a:gd name="T31" fmla="*/ 15 h 15"/>
                  <a:gd name="T32" fmla="*/ 13 w 24"/>
                  <a:gd name="T33" fmla="*/ 15 h 15"/>
                  <a:gd name="T34" fmla="*/ 10 w 24"/>
                  <a:gd name="T35" fmla="*/ 15 h 15"/>
                  <a:gd name="T36" fmla="*/ 9 w 24"/>
                  <a:gd name="T37" fmla="*/ 15 h 15"/>
                  <a:gd name="T38" fmla="*/ 6 w 24"/>
                  <a:gd name="T39" fmla="*/ 15 h 15"/>
                  <a:gd name="T40" fmla="*/ 4 w 24"/>
                  <a:gd name="T41" fmla="*/ 14 h 15"/>
                  <a:gd name="T42" fmla="*/ 3 w 24"/>
                  <a:gd name="T43" fmla="*/ 13 h 15"/>
                  <a:gd name="T44" fmla="*/ 2 w 24"/>
                  <a:gd name="T45" fmla="*/ 11 h 15"/>
                  <a:gd name="T46" fmla="*/ 0 w 24"/>
                  <a:gd name="T47" fmla="*/ 10 h 15"/>
                  <a:gd name="T48" fmla="*/ 0 w 24"/>
                  <a:gd name="T49" fmla="*/ 8 h 15"/>
                  <a:gd name="T50" fmla="*/ 0 w 24"/>
                  <a:gd name="T51" fmla="*/ 6 h 15"/>
                  <a:gd name="T52" fmla="*/ 2 w 24"/>
                  <a:gd name="T53" fmla="*/ 4 h 15"/>
                  <a:gd name="T54" fmla="*/ 3 w 24"/>
                  <a:gd name="T55" fmla="*/ 3 h 15"/>
                  <a:gd name="T56" fmla="*/ 4 w 24"/>
                  <a:gd name="T57" fmla="*/ 2 h 15"/>
                  <a:gd name="T58" fmla="*/ 6 w 24"/>
                  <a:gd name="T59" fmla="*/ 2 h 15"/>
                  <a:gd name="T60" fmla="*/ 9 w 24"/>
                  <a:gd name="T61" fmla="*/ 0 h 15"/>
                  <a:gd name="T62" fmla="*/ 10 w 24"/>
                  <a:gd name="T63" fmla="*/ 0 h 15"/>
                  <a:gd name="T64" fmla="*/ 13 w 24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5">
                    <a:moveTo>
                      <a:pt x="13" y="0"/>
                    </a:moveTo>
                    <a:lnTo>
                      <a:pt x="15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21" y="14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3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2" name="Freeform 51"/>
              <p:cNvSpPr>
                <a:spLocks/>
              </p:cNvSpPr>
              <p:nvPr/>
            </p:nvSpPr>
            <p:spPr bwMode="auto">
              <a:xfrm>
                <a:off x="5428" y="3200"/>
                <a:ext cx="24" cy="15"/>
              </a:xfrm>
              <a:custGeom>
                <a:avLst/>
                <a:gdLst>
                  <a:gd name="T0" fmla="*/ 13 w 24"/>
                  <a:gd name="T1" fmla="*/ 0 h 15"/>
                  <a:gd name="T2" fmla="*/ 15 w 24"/>
                  <a:gd name="T3" fmla="*/ 0 h 15"/>
                  <a:gd name="T4" fmla="*/ 17 w 24"/>
                  <a:gd name="T5" fmla="*/ 0 h 15"/>
                  <a:gd name="T6" fmla="*/ 20 w 24"/>
                  <a:gd name="T7" fmla="*/ 2 h 15"/>
                  <a:gd name="T8" fmla="*/ 21 w 24"/>
                  <a:gd name="T9" fmla="*/ 2 h 15"/>
                  <a:gd name="T10" fmla="*/ 22 w 24"/>
                  <a:gd name="T11" fmla="*/ 3 h 15"/>
                  <a:gd name="T12" fmla="*/ 24 w 24"/>
                  <a:gd name="T13" fmla="*/ 4 h 15"/>
                  <a:gd name="T14" fmla="*/ 24 w 24"/>
                  <a:gd name="T15" fmla="*/ 6 h 15"/>
                  <a:gd name="T16" fmla="*/ 24 w 24"/>
                  <a:gd name="T17" fmla="*/ 8 h 15"/>
                  <a:gd name="T18" fmla="*/ 24 w 24"/>
                  <a:gd name="T19" fmla="*/ 10 h 15"/>
                  <a:gd name="T20" fmla="*/ 24 w 24"/>
                  <a:gd name="T21" fmla="*/ 11 h 15"/>
                  <a:gd name="T22" fmla="*/ 22 w 24"/>
                  <a:gd name="T23" fmla="*/ 13 h 15"/>
                  <a:gd name="T24" fmla="*/ 21 w 24"/>
                  <a:gd name="T25" fmla="*/ 14 h 15"/>
                  <a:gd name="T26" fmla="*/ 20 w 24"/>
                  <a:gd name="T27" fmla="*/ 15 h 15"/>
                  <a:gd name="T28" fmla="*/ 17 w 24"/>
                  <a:gd name="T29" fmla="*/ 15 h 15"/>
                  <a:gd name="T30" fmla="*/ 15 w 24"/>
                  <a:gd name="T31" fmla="*/ 15 h 15"/>
                  <a:gd name="T32" fmla="*/ 13 w 24"/>
                  <a:gd name="T33" fmla="*/ 15 h 15"/>
                  <a:gd name="T34" fmla="*/ 10 w 24"/>
                  <a:gd name="T35" fmla="*/ 15 h 15"/>
                  <a:gd name="T36" fmla="*/ 9 w 24"/>
                  <a:gd name="T37" fmla="*/ 15 h 15"/>
                  <a:gd name="T38" fmla="*/ 6 w 24"/>
                  <a:gd name="T39" fmla="*/ 15 h 15"/>
                  <a:gd name="T40" fmla="*/ 4 w 24"/>
                  <a:gd name="T41" fmla="*/ 14 h 15"/>
                  <a:gd name="T42" fmla="*/ 3 w 24"/>
                  <a:gd name="T43" fmla="*/ 13 h 15"/>
                  <a:gd name="T44" fmla="*/ 2 w 24"/>
                  <a:gd name="T45" fmla="*/ 11 h 15"/>
                  <a:gd name="T46" fmla="*/ 0 w 24"/>
                  <a:gd name="T47" fmla="*/ 10 h 15"/>
                  <a:gd name="T48" fmla="*/ 0 w 24"/>
                  <a:gd name="T49" fmla="*/ 8 h 15"/>
                  <a:gd name="T50" fmla="*/ 0 w 24"/>
                  <a:gd name="T51" fmla="*/ 6 h 15"/>
                  <a:gd name="T52" fmla="*/ 2 w 24"/>
                  <a:gd name="T53" fmla="*/ 4 h 15"/>
                  <a:gd name="T54" fmla="*/ 3 w 24"/>
                  <a:gd name="T55" fmla="*/ 3 h 15"/>
                  <a:gd name="T56" fmla="*/ 4 w 24"/>
                  <a:gd name="T57" fmla="*/ 2 h 15"/>
                  <a:gd name="T58" fmla="*/ 6 w 24"/>
                  <a:gd name="T59" fmla="*/ 2 h 15"/>
                  <a:gd name="T60" fmla="*/ 9 w 24"/>
                  <a:gd name="T61" fmla="*/ 0 h 15"/>
                  <a:gd name="T62" fmla="*/ 10 w 24"/>
                  <a:gd name="T63" fmla="*/ 0 h 15"/>
                  <a:gd name="T64" fmla="*/ 13 w 24"/>
                  <a:gd name="T6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5">
                    <a:moveTo>
                      <a:pt x="13" y="0"/>
                    </a:moveTo>
                    <a:lnTo>
                      <a:pt x="15" y="0"/>
                    </a:lnTo>
                    <a:lnTo>
                      <a:pt x="17" y="0"/>
                    </a:lnTo>
                    <a:lnTo>
                      <a:pt x="20" y="2"/>
                    </a:lnTo>
                    <a:lnTo>
                      <a:pt x="21" y="2"/>
                    </a:lnTo>
                    <a:lnTo>
                      <a:pt x="22" y="3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1"/>
                    </a:lnTo>
                    <a:lnTo>
                      <a:pt x="22" y="13"/>
                    </a:lnTo>
                    <a:lnTo>
                      <a:pt x="21" y="14"/>
                    </a:lnTo>
                    <a:lnTo>
                      <a:pt x="20" y="15"/>
                    </a:lnTo>
                    <a:lnTo>
                      <a:pt x="17" y="15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0" y="15"/>
                    </a:lnTo>
                    <a:lnTo>
                      <a:pt x="9" y="15"/>
                    </a:lnTo>
                    <a:lnTo>
                      <a:pt x="6" y="15"/>
                    </a:lnTo>
                    <a:lnTo>
                      <a:pt x="4" y="14"/>
                    </a:lnTo>
                    <a:lnTo>
                      <a:pt x="3" y="13"/>
                    </a:lnTo>
                    <a:lnTo>
                      <a:pt x="2" y="11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0" y="0"/>
                    </a:lnTo>
                    <a:lnTo>
                      <a:pt x="1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3" name="Freeform 52"/>
              <p:cNvSpPr>
                <a:spLocks/>
              </p:cNvSpPr>
              <p:nvPr/>
            </p:nvSpPr>
            <p:spPr bwMode="auto">
              <a:xfrm>
                <a:off x="5203" y="3149"/>
                <a:ext cx="30" cy="15"/>
              </a:xfrm>
              <a:custGeom>
                <a:avLst/>
                <a:gdLst>
                  <a:gd name="T0" fmla="*/ 15 w 30"/>
                  <a:gd name="T1" fmla="*/ 15 h 15"/>
                  <a:gd name="T2" fmla="*/ 18 w 30"/>
                  <a:gd name="T3" fmla="*/ 15 h 15"/>
                  <a:gd name="T4" fmla="*/ 20 w 30"/>
                  <a:gd name="T5" fmla="*/ 15 h 15"/>
                  <a:gd name="T6" fmla="*/ 23 w 30"/>
                  <a:gd name="T7" fmla="*/ 14 h 15"/>
                  <a:gd name="T8" fmla="*/ 26 w 30"/>
                  <a:gd name="T9" fmla="*/ 14 h 15"/>
                  <a:gd name="T10" fmla="*/ 27 w 30"/>
                  <a:gd name="T11" fmla="*/ 13 h 15"/>
                  <a:gd name="T12" fmla="*/ 29 w 30"/>
                  <a:gd name="T13" fmla="*/ 11 h 15"/>
                  <a:gd name="T14" fmla="*/ 30 w 30"/>
                  <a:gd name="T15" fmla="*/ 10 h 15"/>
                  <a:gd name="T16" fmla="*/ 30 w 30"/>
                  <a:gd name="T17" fmla="*/ 9 h 15"/>
                  <a:gd name="T18" fmla="*/ 30 w 30"/>
                  <a:gd name="T19" fmla="*/ 7 h 15"/>
                  <a:gd name="T20" fmla="*/ 29 w 30"/>
                  <a:gd name="T21" fmla="*/ 6 h 15"/>
                  <a:gd name="T22" fmla="*/ 27 w 30"/>
                  <a:gd name="T23" fmla="*/ 4 h 15"/>
                  <a:gd name="T24" fmla="*/ 26 w 30"/>
                  <a:gd name="T25" fmla="*/ 3 h 15"/>
                  <a:gd name="T26" fmla="*/ 23 w 30"/>
                  <a:gd name="T27" fmla="*/ 2 h 15"/>
                  <a:gd name="T28" fmla="*/ 20 w 30"/>
                  <a:gd name="T29" fmla="*/ 2 h 15"/>
                  <a:gd name="T30" fmla="*/ 18 w 30"/>
                  <a:gd name="T31" fmla="*/ 0 h 15"/>
                  <a:gd name="T32" fmla="*/ 15 w 30"/>
                  <a:gd name="T33" fmla="*/ 0 h 15"/>
                  <a:gd name="T34" fmla="*/ 12 w 30"/>
                  <a:gd name="T35" fmla="*/ 0 h 15"/>
                  <a:gd name="T36" fmla="*/ 9 w 30"/>
                  <a:gd name="T37" fmla="*/ 2 h 15"/>
                  <a:gd name="T38" fmla="*/ 7 w 30"/>
                  <a:gd name="T39" fmla="*/ 2 h 15"/>
                  <a:gd name="T40" fmla="*/ 4 w 30"/>
                  <a:gd name="T41" fmla="*/ 3 h 15"/>
                  <a:gd name="T42" fmla="*/ 2 w 30"/>
                  <a:gd name="T43" fmla="*/ 4 h 15"/>
                  <a:gd name="T44" fmla="*/ 1 w 30"/>
                  <a:gd name="T45" fmla="*/ 6 h 15"/>
                  <a:gd name="T46" fmla="*/ 0 w 30"/>
                  <a:gd name="T47" fmla="*/ 7 h 15"/>
                  <a:gd name="T48" fmla="*/ 0 w 30"/>
                  <a:gd name="T49" fmla="*/ 9 h 15"/>
                  <a:gd name="T50" fmla="*/ 0 w 30"/>
                  <a:gd name="T51" fmla="*/ 10 h 15"/>
                  <a:gd name="T52" fmla="*/ 1 w 30"/>
                  <a:gd name="T53" fmla="*/ 11 h 15"/>
                  <a:gd name="T54" fmla="*/ 2 w 30"/>
                  <a:gd name="T55" fmla="*/ 13 h 15"/>
                  <a:gd name="T56" fmla="*/ 4 w 30"/>
                  <a:gd name="T57" fmla="*/ 14 h 15"/>
                  <a:gd name="T58" fmla="*/ 7 w 30"/>
                  <a:gd name="T59" fmla="*/ 14 h 15"/>
                  <a:gd name="T60" fmla="*/ 9 w 30"/>
                  <a:gd name="T61" fmla="*/ 15 h 15"/>
                  <a:gd name="T62" fmla="*/ 12 w 30"/>
                  <a:gd name="T63" fmla="*/ 15 h 15"/>
                  <a:gd name="T64" fmla="*/ 15 w 3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5">
                    <a:moveTo>
                      <a:pt x="15" y="15"/>
                    </a:moveTo>
                    <a:lnTo>
                      <a:pt x="18" y="15"/>
                    </a:lnTo>
                    <a:lnTo>
                      <a:pt x="20" y="15"/>
                    </a:lnTo>
                    <a:lnTo>
                      <a:pt x="23" y="14"/>
                    </a:lnTo>
                    <a:lnTo>
                      <a:pt x="26" y="14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30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6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9" y="15"/>
                    </a:lnTo>
                    <a:lnTo>
                      <a:pt x="12" y="15"/>
                    </a:lnTo>
                    <a:lnTo>
                      <a:pt x="15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4" name="Freeform 53"/>
              <p:cNvSpPr>
                <a:spLocks/>
              </p:cNvSpPr>
              <p:nvPr/>
            </p:nvSpPr>
            <p:spPr bwMode="auto">
              <a:xfrm>
                <a:off x="5203" y="3149"/>
                <a:ext cx="30" cy="15"/>
              </a:xfrm>
              <a:custGeom>
                <a:avLst/>
                <a:gdLst>
                  <a:gd name="T0" fmla="*/ 15 w 30"/>
                  <a:gd name="T1" fmla="*/ 15 h 15"/>
                  <a:gd name="T2" fmla="*/ 18 w 30"/>
                  <a:gd name="T3" fmla="*/ 15 h 15"/>
                  <a:gd name="T4" fmla="*/ 20 w 30"/>
                  <a:gd name="T5" fmla="*/ 15 h 15"/>
                  <a:gd name="T6" fmla="*/ 23 w 30"/>
                  <a:gd name="T7" fmla="*/ 14 h 15"/>
                  <a:gd name="T8" fmla="*/ 26 w 30"/>
                  <a:gd name="T9" fmla="*/ 14 h 15"/>
                  <a:gd name="T10" fmla="*/ 27 w 30"/>
                  <a:gd name="T11" fmla="*/ 13 h 15"/>
                  <a:gd name="T12" fmla="*/ 29 w 30"/>
                  <a:gd name="T13" fmla="*/ 11 h 15"/>
                  <a:gd name="T14" fmla="*/ 30 w 30"/>
                  <a:gd name="T15" fmla="*/ 10 h 15"/>
                  <a:gd name="T16" fmla="*/ 30 w 30"/>
                  <a:gd name="T17" fmla="*/ 9 h 15"/>
                  <a:gd name="T18" fmla="*/ 30 w 30"/>
                  <a:gd name="T19" fmla="*/ 7 h 15"/>
                  <a:gd name="T20" fmla="*/ 29 w 30"/>
                  <a:gd name="T21" fmla="*/ 6 h 15"/>
                  <a:gd name="T22" fmla="*/ 27 w 30"/>
                  <a:gd name="T23" fmla="*/ 4 h 15"/>
                  <a:gd name="T24" fmla="*/ 26 w 30"/>
                  <a:gd name="T25" fmla="*/ 3 h 15"/>
                  <a:gd name="T26" fmla="*/ 23 w 30"/>
                  <a:gd name="T27" fmla="*/ 2 h 15"/>
                  <a:gd name="T28" fmla="*/ 20 w 30"/>
                  <a:gd name="T29" fmla="*/ 2 h 15"/>
                  <a:gd name="T30" fmla="*/ 18 w 30"/>
                  <a:gd name="T31" fmla="*/ 0 h 15"/>
                  <a:gd name="T32" fmla="*/ 15 w 30"/>
                  <a:gd name="T33" fmla="*/ 0 h 15"/>
                  <a:gd name="T34" fmla="*/ 12 w 30"/>
                  <a:gd name="T35" fmla="*/ 0 h 15"/>
                  <a:gd name="T36" fmla="*/ 9 w 30"/>
                  <a:gd name="T37" fmla="*/ 2 h 15"/>
                  <a:gd name="T38" fmla="*/ 7 w 30"/>
                  <a:gd name="T39" fmla="*/ 2 h 15"/>
                  <a:gd name="T40" fmla="*/ 4 w 30"/>
                  <a:gd name="T41" fmla="*/ 3 h 15"/>
                  <a:gd name="T42" fmla="*/ 2 w 30"/>
                  <a:gd name="T43" fmla="*/ 4 h 15"/>
                  <a:gd name="T44" fmla="*/ 1 w 30"/>
                  <a:gd name="T45" fmla="*/ 6 h 15"/>
                  <a:gd name="T46" fmla="*/ 0 w 30"/>
                  <a:gd name="T47" fmla="*/ 7 h 15"/>
                  <a:gd name="T48" fmla="*/ 0 w 30"/>
                  <a:gd name="T49" fmla="*/ 9 h 15"/>
                  <a:gd name="T50" fmla="*/ 0 w 30"/>
                  <a:gd name="T51" fmla="*/ 10 h 15"/>
                  <a:gd name="T52" fmla="*/ 1 w 30"/>
                  <a:gd name="T53" fmla="*/ 11 h 15"/>
                  <a:gd name="T54" fmla="*/ 2 w 30"/>
                  <a:gd name="T55" fmla="*/ 13 h 15"/>
                  <a:gd name="T56" fmla="*/ 4 w 30"/>
                  <a:gd name="T57" fmla="*/ 14 h 15"/>
                  <a:gd name="T58" fmla="*/ 7 w 30"/>
                  <a:gd name="T59" fmla="*/ 14 h 15"/>
                  <a:gd name="T60" fmla="*/ 9 w 30"/>
                  <a:gd name="T61" fmla="*/ 15 h 15"/>
                  <a:gd name="T62" fmla="*/ 12 w 30"/>
                  <a:gd name="T63" fmla="*/ 15 h 15"/>
                  <a:gd name="T64" fmla="*/ 15 w 30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5">
                    <a:moveTo>
                      <a:pt x="15" y="15"/>
                    </a:moveTo>
                    <a:lnTo>
                      <a:pt x="18" y="15"/>
                    </a:lnTo>
                    <a:lnTo>
                      <a:pt x="20" y="15"/>
                    </a:lnTo>
                    <a:lnTo>
                      <a:pt x="23" y="14"/>
                    </a:lnTo>
                    <a:lnTo>
                      <a:pt x="26" y="14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30" y="10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6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2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4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2" y="13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9" y="15"/>
                    </a:lnTo>
                    <a:lnTo>
                      <a:pt x="12" y="15"/>
                    </a:lnTo>
                    <a:lnTo>
                      <a:pt x="15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5" name="Freeform 54"/>
              <p:cNvSpPr>
                <a:spLocks/>
              </p:cNvSpPr>
              <p:nvPr/>
            </p:nvSpPr>
            <p:spPr bwMode="auto">
              <a:xfrm>
                <a:off x="5296" y="3203"/>
                <a:ext cx="22" cy="15"/>
              </a:xfrm>
              <a:custGeom>
                <a:avLst/>
                <a:gdLst>
                  <a:gd name="T0" fmla="*/ 11 w 22"/>
                  <a:gd name="T1" fmla="*/ 15 h 15"/>
                  <a:gd name="T2" fmla="*/ 13 w 22"/>
                  <a:gd name="T3" fmla="*/ 15 h 15"/>
                  <a:gd name="T4" fmla="*/ 15 w 22"/>
                  <a:gd name="T5" fmla="*/ 15 h 15"/>
                  <a:gd name="T6" fmla="*/ 17 w 22"/>
                  <a:gd name="T7" fmla="*/ 14 h 15"/>
                  <a:gd name="T8" fmla="*/ 18 w 22"/>
                  <a:gd name="T9" fmla="*/ 12 h 15"/>
                  <a:gd name="T10" fmla="*/ 20 w 22"/>
                  <a:gd name="T11" fmla="*/ 12 h 15"/>
                  <a:gd name="T12" fmla="*/ 21 w 22"/>
                  <a:gd name="T13" fmla="*/ 11 h 15"/>
                  <a:gd name="T14" fmla="*/ 21 w 22"/>
                  <a:gd name="T15" fmla="*/ 10 h 15"/>
                  <a:gd name="T16" fmla="*/ 22 w 22"/>
                  <a:gd name="T17" fmla="*/ 8 h 15"/>
                  <a:gd name="T18" fmla="*/ 21 w 22"/>
                  <a:gd name="T19" fmla="*/ 5 h 15"/>
                  <a:gd name="T20" fmla="*/ 21 w 22"/>
                  <a:gd name="T21" fmla="*/ 4 h 15"/>
                  <a:gd name="T22" fmla="*/ 20 w 22"/>
                  <a:gd name="T23" fmla="*/ 3 h 15"/>
                  <a:gd name="T24" fmla="*/ 18 w 22"/>
                  <a:gd name="T25" fmla="*/ 3 h 15"/>
                  <a:gd name="T26" fmla="*/ 17 w 22"/>
                  <a:gd name="T27" fmla="*/ 1 h 15"/>
                  <a:gd name="T28" fmla="*/ 15 w 22"/>
                  <a:gd name="T29" fmla="*/ 0 h 15"/>
                  <a:gd name="T30" fmla="*/ 13 w 22"/>
                  <a:gd name="T31" fmla="*/ 0 h 15"/>
                  <a:gd name="T32" fmla="*/ 11 w 22"/>
                  <a:gd name="T33" fmla="*/ 0 h 15"/>
                  <a:gd name="T34" fmla="*/ 8 w 22"/>
                  <a:gd name="T35" fmla="*/ 0 h 15"/>
                  <a:gd name="T36" fmla="*/ 6 w 22"/>
                  <a:gd name="T37" fmla="*/ 0 h 15"/>
                  <a:gd name="T38" fmla="*/ 4 w 22"/>
                  <a:gd name="T39" fmla="*/ 1 h 15"/>
                  <a:gd name="T40" fmla="*/ 3 w 22"/>
                  <a:gd name="T41" fmla="*/ 3 h 15"/>
                  <a:gd name="T42" fmla="*/ 2 w 22"/>
                  <a:gd name="T43" fmla="*/ 3 h 15"/>
                  <a:gd name="T44" fmla="*/ 0 w 22"/>
                  <a:gd name="T45" fmla="*/ 4 h 15"/>
                  <a:gd name="T46" fmla="*/ 0 w 22"/>
                  <a:gd name="T47" fmla="*/ 5 h 15"/>
                  <a:gd name="T48" fmla="*/ 0 w 22"/>
                  <a:gd name="T49" fmla="*/ 8 h 15"/>
                  <a:gd name="T50" fmla="*/ 0 w 22"/>
                  <a:gd name="T51" fmla="*/ 10 h 15"/>
                  <a:gd name="T52" fmla="*/ 0 w 22"/>
                  <a:gd name="T53" fmla="*/ 11 h 15"/>
                  <a:gd name="T54" fmla="*/ 2 w 22"/>
                  <a:gd name="T55" fmla="*/ 12 h 15"/>
                  <a:gd name="T56" fmla="*/ 3 w 22"/>
                  <a:gd name="T57" fmla="*/ 12 h 15"/>
                  <a:gd name="T58" fmla="*/ 4 w 22"/>
                  <a:gd name="T59" fmla="*/ 14 h 15"/>
                  <a:gd name="T60" fmla="*/ 6 w 22"/>
                  <a:gd name="T61" fmla="*/ 15 h 15"/>
                  <a:gd name="T62" fmla="*/ 8 w 22"/>
                  <a:gd name="T63" fmla="*/ 15 h 15"/>
                  <a:gd name="T64" fmla="*/ 11 w 22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5">
                    <a:moveTo>
                      <a:pt x="11" y="15"/>
                    </a:moveTo>
                    <a:lnTo>
                      <a:pt x="13" y="15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2" y="8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8" y="15"/>
                    </a:lnTo>
                    <a:lnTo>
                      <a:pt x="11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6" name="Freeform 55"/>
              <p:cNvSpPr>
                <a:spLocks/>
              </p:cNvSpPr>
              <p:nvPr/>
            </p:nvSpPr>
            <p:spPr bwMode="auto">
              <a:xfrm>
                <a:off x="5296" y="3203"/>
                <a:ext cx="22" cy="15"/>
              </a:xfrm>
              <a:custGeom>
                <a:avLst/>
                <a:gdLst>
                  <a:gd name="T0" fmla="*/ 11 w 22"/>
                  <a:gd name="T1" fmla="*/ 15 h 15"/>
                  <a:gd name="T2" fmla="*/ 13 w 22"/>
                  <a:gd name="T3" fmla="*/ 15 h 15"/>
                  <a:gd name="T4" fmla="*/ 15 w 22"/>
                  <a:gd name="T5" fmla="*/ 15 h 15"/>
                  <a:gd name="T6" fmla="*/ 17 w 22"/>
                  <a:gd name="T7" fmla="*/ 14 h 15"/>
                  <a:gd name="T8" fmla="*/ 18 w 22"/>
                  <a:gd name="T9" fmla="*/ 12 h 15"/>
                  <a:gd name="T10" fmla="*/ 20 w 22"/>
                  <a:gd name="T11" fmla="*/ 12 h 15"/>
                  <a:gd name="T12" fmla="*/ 21 w 22"/>
                  <a:gd name="T13" fmla="*/ 11 h 15"/>
                  <a:gd name="T14" fmla="*/ 21 w 22"/>
                  <a:gd name="T15" fmla="*/ 10 h 15"/>
                  <a:gd name="T16" fmla="*/ 22 w 22"/>
                  <a:gd name="T17" fmla="*/ 8 h 15"/>
                  <a:gd name="T18" fmla="*/ 21 w 22"/>
                  <a:gd name="T19" fmla="*/ 5 h 15"/>
                  <a:gd name="T20" fmla="*/ 21 w 22"/>
                  <a:gd name="T21" fmla="*/ 4 h 15"/>
                  <a:gd name="T22" fmla="*/ 20 w 22"/>
                  <a:gd name="T23" fmla="*/ 3 h 15"/>
                  <a:gd name="T24" fmla="*/ 18 w 22"/>
                  <a:gd name="T25" fmla="*/ 3 h 15"/>
                  <a:gd name="T26" fmla="*/ 17 w 22"/>
                  <a:gd name="T27" fmla="*/ 1 h 15"/>
                  <a:gd name="T28" fmla="*/ 15 w 22"/>
                  <a:gd name="T29" fmla="*/ 0 h 15"/>
                  <a:gd name="T30" fmla="*/ 13 w 22"/>
                  <a:gd name="T31" fmla="*/ 0 h 15"/>
                  <a:gd name="T32" fmla="*/ 11 w 22"/>
                  <a:gd name="T33" fmla="*/ 0 h 15"/>
                  <a:gd name="T34" fmla="*/ 8 w 22"/>
                  <a:gd name="T35" fmla="*/ 0 h 15"/>
                  <a:gd name="T36" fmla="*/ 6 w 22"/>
                  <a:gd name="T37" fmla="*/ 0 h 15"/>
                  <a:gd name="T38" fmla="*/ 4 w 22"/>
                  <a:gd name="T39" fmla="*/ 1 h 15"/>
                  <a:gd name="T40" fmla="*/ 3 w 22"/>
                  <a:gd name="T41" fmla="*/ 3 h 15"/>
                  <a:gd name="T42" fmla="*/ 2 w 22"/>
                  <a:gd name="T43" fmla="*/ 3 h 15"/>
                  <a:gd name="T44" fmla="*/ 0 w 22"/>
                  <a:gd name="T45" fmla="*/ 4 h 15"/>
                  <a:gd name="T46" fmla="*/ 0 w 22"/>
                  <a:gd name="T47" fmla="*/ 5 h 15"/>
                  <a:gd name="T48" fmla="*/ 0 w 22"/>
                  <a:gd name="T49" fmla="*/ 8 h 15"/>
                  <a:gd name="T50" fmla="*/ 0 w 22"/>
                  <a:gd name="T51" fmla="*/ 10 h 15"/>
                  <a:gd name="T52" fmla="*/ 0 w 22"/>
                  <a:gd name="T53" fmla="*/ 11 h 15"/>
                  <a:gd name="T54" fmla="*/ 2 w 22"/>
                  <a:gd name="T55" fmla="*/ 12 h 15"/>
                  <a:gd name="T56" fmla="*/ 3 w 22"/>
                  <a:gd name="T57" fmla="*/ 12 h 15"/>
                  <a:gd name="T58" fmla="*/ 4 w 22"/>
                  <a:gd name="T59" fmla="*/ 14 h 15"/>
                  <a:gd name="T60" fmla="*/ 6 w 22"/>
                  <a:gd name="T61" fmla="*/ 15 h 15"/>
                  <a:gd name="T62" fmla="*/ 8 w 22"/>
                  <a:gd name="T63" fmla="*/ 15 h 15"/>
                  <a:gd name="T64" fmla="*/ 11 w 22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5">
                    <a:moveTo>
                      <a:pt x="11" y="15"/>
                    </a:moveTo>
                    <a:lnTo>
                      <a:pt x="13" y="15"/>
                    </a:lnTo>
                    <a:lnTo>
                      <a:pt x="15" y="15"/>
                    </a:lnTo>
                    <a:lnTo>
                      <a:pt x="17" y="14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1" y="11"/>
                    </a:lnTo>
                    <a:lnTo>
                      <a:pt x="21" y="10"/>
                    </a:lnTo>
                    <a:lnTo>
                      <a:pt x="22" y="8"/>
                    </a:lnTo>
                    <a:lnTo>
                      <a:pt x="21" y="5"/>
                    </a:lnTo>
                    <a:lnTo>
                      <a:pt x="21" y="4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2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8" y="15"/>
                    </a:lnTo>
                    <a:lnTo>
                      <a:pt x="11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7" name="Freeform 56"/>
              <p:cNvSpPr>
                <a:spLocks/>
              </p:cNvSpPr>
              <p:nvPr/>
            </p:nvSpPr>
            <p:spPr bwMode="auto">
              <a:xfrm>
                <a:off x="5245" y="3204"/>
                <a:ext cx="18" cy="13"/>
              </a:xfrm>
              <a:custGeom>
                <a:avLst/>
                <a:gdLst>
                  <a:gd name="T0" fmla="*/ 9 w 18"/>
                  <a:gd name="T1" fmla="*/ 13 h 13"/>
                  <a:gd name="T2" fmla="*/ 11 w 18"/>
                  <a:gd name="T3" fmla="*/ 13 h 13"/>
                  <a:gd name="T4" fmla="*/ 13 w 18"/>
                  <a:gd name="T5" fmla="*/ 13 h 13"/>
                  <a:gd name="T6" fmla="*/ 14 w 18"/>
                  <a:gd name="T7" fmla="*/ 11 h 13"/>
                  <a:gd name="T8" fmla="*/ 15 w 18"/>
                  <a:gd name="T9" fmla="*/ 11 h 13"/>
                  <a:gd name="T10" fmla="*/ 17 w 18"/>
                  <a:gd name="T11" fmla="*/ 10 h 13"/>
                  <a:gd name="T12" fmla="*/ 18 w 18"/>
                  <a:gd name="T13" fmla="*/ 9 h 13"/>
                  <a:gd name="T14" fmla="*/ 18 w 18"/>
                  <a:gd name="T15" fmla="*/ 7 h 13"/>
                  <a:gd name="T16" fmla="*/ 18 w 18"/>
                  <a:gd name="T17" fmla="*/ 6 h 13"/>
                  <a:gd name="T18" fmla="*/ 18 w 18"/>
                  <a:gd name="T19" fmla="*/ 4 h 13"/>
                  <a:gd name="T20" fmla="*/ 18 w 18"/>
                  <a:gd name="T21" fmla="*/ 3 h 13"/>
                  <a:gd name="T22" fmla="*/ 17 w 18"/>
                  <a:gd name="T23" fmla="*/ 2 h 13"/>
                  <a:gd name="T24" fmla="*/ 15 w 18"/>
                  <a:gd name="T25" fmla="*/ 2 h 13"/>
                  <a:gd name="T26" fmla="*/ 14 w 18"/>
                  <a:gd name="T27" fmla="*/ 0 h 13"/>
                  <a:gd name="T28" fmla="*/ 13 w 18"/>
                  <a:gd name="T29" fmla="*/ 0 h 13"/>
                  <a:gd name="T30" fmla="*/ 11 w 18"/>
                  <a:gd name="T31" fmla="*/ 0 h 13"/>
                  <a:gd name="T32" fmla="*/ 9 w 18"/>
                  <a:gd name="T33" fmla="*/ 0 h 13"/>
                  <a:gd name="T34" fmla="*/ 7 w 18"/>
                  <a:gd name="T35" fmla="*/ 0 h 13"/>
                  <a:gd name="T36" fmla="*/ 6 w 18"/>
                  <a:gd name="T37" fmla="*/ 0 h 13"/>
                  <a:gd name="T38" fmla="*/ 4 w 18"/>
                  <a:gd name="T39" fmla="*/ 0 h 13"/>
                  <a:gd name="T40" fmla="*/ 3 w 18"/>
                  <a:gd name="T41" fmla="*/ 2 h 13"/>
                  <a:gd name="T42" fmla="*/ 2 w 18"/>
                  <a:gd name="T43" fmla="*/ 2 h 13"/>
                  <a:gd name="T44" fmla="*/ 0 w 18"/>
                  <a:gd name="T45" fmla="*/ 3 h 13"/>
                  <a:gd name="T46" fmla="*/ 0 w 18"/>
                  <a:gd name="T47" fmla="*/ 4 h 13"/>
                  <a:gd name="T48" fmla="*/ 0 w 18"/>
                  <a:gd name="T49" fmla="*/ 6 h 13"/>
                  <a:gd name="T50" fmla="*/ 0 w 18"/>
                  <a:gd name="T51" fmla="*/ 7 h 13"/>
                  <a:gd name="T52" fmla="*/ 0 w 18"/>
                  <a:gd name="T53" fmla="*/ 9 h 13"/>
                  <a:gd name="T54" fmla="*/ 2 w 18"/>
                  <a:gd name="T55" fmla="*/ 10 h 13"/>
                  <a:gd name="T56" fmla="*/ 3 w 18"/>
                  <a:gd name="T57" fmla="*/ 11 h 13"/>
                  <a:gd name="T58" fmla="*/ 4 w 18"/>
                  <a:gd name="T59" fmla="*/ 11 h 13"/>
                  <a:gd name="T60" fmla="*/ 6 w 18"/>
                  <a:gd name="T61" fmla="*/ 13 h 13"/>
                  <a:gd name="T62" fmla="*/ 7 w 18"/>
                  <a:gd name="T63" fmla="*/ 13 h 13"/>
                  <a:gd name="T64" fmla="*/ 9 w 18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" h="13">
                    <a:moveTo>
                      <a:pt x="9" y="13"/>
                    </a:moveTo>
                    <a:lnTo>
                      <a:pt x="11" y="13"/>
                    </a:lnTo>
                    <a:lnTo>
                      <a:pt x="13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0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3"/>
                    </a:lnTo>
                    <a:lnTo>
                      <a:pt x="7" y="13"/>
                    </a:lnTo>
                    <a:lnTo>
                      <a:pt x="9" y="1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8" name="Freeform 57"/>
              <p:cNvSpPr>
                <a:spLocks/>
              </p:cNvSpPr>
              <p:nvPr/>
            </p:nvSpPr>
            <p:spPr bwMode="auto">
              <a:xfrm>
                <a:off x="5245" y="3204"/>
                <a:ext cx="18" cy="13"/>
              </a:xfrm>
              <a:custGeom>
                <a:avLst/>
                <a:gdLst>
                  <a:gd name="T0" fmla="*/ 9 w 18"/>
                  <a:gd name="T1" fmla="*/ 13 h 13"/>
                  <a:gd name="T2" fmla="*/ 11 w 18"/>
                  <a:gd name="T3" fmla="*/ 13 h 13"/>
                  <a:gd name="T4" fmla="*/ 13 w 18"/>
                  <a:gd name="T5" fmla="*/ 13 h 13"/>
                  <a:gd name="T6" fmla="*/ 14 w 18"/>
                  <a:gd name="T7" fmla="*/ 11 h 13"/>
                  <a:gd name="T8" fmla="*/ 15 w 18"/>
                  <a:gd name="T9" fmla="*/ 11 h 13"/>
                  <a:gd name="T10" fmla="*/ 17 w 18"/>
                  <a:gd name="T11" fmla="*/ 10 h 13"/>
                  <a:gd name="T12" fmla="*/ 18 w 18"/>
                  <a:gd name="T13" fmla="*/ 9 h 13"/>
                  <a:gd name="T14" fmla="*/ 18 w 18"/>
                  <a:gd name="T15" fmla="*/ 7 h 13"/>
                  <a:gd name="T16" fmla="*/ 18 w 18"/>
                  <a:gd name="T17" fmla="*/ 6 h 13"/>
                  <a:gd name="T18" fmla="*/ 18 w 18"/>
                  <a:gd name="T19" fmla="*/ 4 h 13"/>
                  <a:gd name="T20" fmla="*/ 18 w 18"/>
                  <a:gd name="T21" fmla="*/ 3 h 13"/>
                  <a:gd name="T22" fmla="*/ 17 w 18"/>
                  <a:gd name="T23" fmla="*/ 2 h 13"/>
                  <a:gd name="T24" fmla="*/ 15 w 18"/>
                  <a:gd name="T25" fmla="*/ 2 h 13"/>
                  <a:gd name="T26" fmla="*/ 14 w 18"/>
                  <a:gd name="T27" fmla="*/ 0 h 13"/>
                  <a:gd name="T28" fmla="*/ 13 w 18"/>
                  <a:gd name="T29" fmla="*/ 0 h 13"/>
                  <a:gd name="T30" fmla="*/ 11 w 18"/>
                  <a:gd name="T31" fmla="*/ 0 h 13"/>
                  <a:gd name="T32" fmla="*/ 9 w 18"/>
                  <a:gd name="T33" fmla="*/ 0 h 13"/>
                  <a:gd name="T34" fmla="*/ 7 w 18"/>
                  <a:gd name="T35" fmla="*/ 0 h 13"/>
                  <a:gd name="T36" fmla="*/ 6 w 18"/>
                  <a:gd name="T37" fmla="*/ 0 h 13"/>
                  <a:gd name="T38" fmla="*/ 4 w 18"/>
                  <a:gd name="T39" fmla="*/ 0 h 13"/>
                  <a:gd name="T40" fmla="*/ 3 w 18"/>
                  <a:gd name="T41" fmla="*/ 2 h 13"/>
                  <a:gd name="T42" fmla="*/ 2 w 18"/>
                  <a:gd name="T43" fmla="*/ 2 h 13"/>
                  <a:gd name="T44" fmla="*/ 0 w 18"/>
                  <a:gd name="T45" fmla="*/ 3 h 13"/>
                  <a:gd name="T46" fmla="*/ 0 w 18"/>
                  <a:gd name="T47" fmla="*/ 4 h 13"/>
                  <a:gd name="T48" fmla="*/ 0 w 18"/>
                  <a:gd name="T49" fmla="*/ 6 h 13"/>
                  <a:gd name="T50" fmla="*/ 0 w 18"/>
                  <a:gd name="T51" fmla="*/ 7 h 13"/>
                  <a:gd name="T52" fmla="*/ 0 w 18"/>
                  <a:gd name="T53" fmla="*/ 9 h 13"/>
                  <a:gd name="T54" fmla="*/ 2 w 18"/>
                  <a:gd name="T55" fmla="*/ 10 h 13"/>
                  <a:gd name="T56" fmla="*/ 3 w 18"/>
                  <a:gd name="T57" fmla="*/ 11 h 13"/>
                  <a:gd name="T58" fmla="*/ 4 w 18"/>
                  <a:gd name="T59" fmla="*/ 11 h 13"/>
                  <a:gd name="T60" fmla="*/ 6 w 18"/>
                  <a:gd name="T61" fmla="*/ 13 h 13"/>
                  <a:gd name="T62" fmla="*/ 7 w 18"/>
                  <a:gd name="T63" fmla="*/ 13 h 13"/>
                  <a:gd name="T64" fmla="*/ 9 w 18"/>
                  <a:gd name="T6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8" h="13">
                    <a:moveTo>
                      <a:pt x="9" y="13"/>
                    </a:moveTo>
                    <a:lnTo>
                      <a:pt x="11" y="13"/>
                    </a:lnTo>
                    <a:lnTo>
                      <a:pt x="13" y="13"/>
                    </a:lnTo>
                    <a:lnTo>
                      <a:pt x="14" y="11"/>
                    </a:lnTo>
                    <a:lnTo>
                      <a:pt x="15" y="11"/>
                    </a:lnTo>
                    <a:lnTo>
                      <a:pt x="17" y="10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4" y="11"/>
                    </a:lnTo>
                    <a:lnTo>
                      <a:pt x="6" y="13"/>
                    </a:lnTo>
                    <a:lnTo>
                      <a:pt x="7" y="13"/>
                    </a:lnTo>
                    <a:lnTo>
                      <a:pt x="9" y="1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49" name="Freeform 58"/>
              <p:cNvSpPr>
                <a:spLocks/>
              </p:cNvSpPr>
              <p:nvPr/>
            </p:nvSpPr>
            <p:spPr bwMode="auto">
              <a:xfrm>
                <a:off x="5233" y="3639"/>
                <a:ext cx="87" cy="132"/>
              </a:xfrm>
              <a:custGeom>
                <a:avLst/>
                <a:gdLst>
                  <a:gd name="T0" fmla="*/ 10 w 87"/>
                  <a:gd name="T1" fmla="*/ 0 h 132"/>
                  <a:gd name="T2" fmla="*/ 5 w 87"/>
                  <a:gd name="T3" fmla="*/ 1 h 132"/>
                  <a:gd name="T4" fmla="*/ 1 w 87"/>
                  <a:gd name="T5" fmla="*/ 4 h 132"/>
                  <a:gd name="T6" fmla="*/ 0 w 87"/>
                  <a:gd name="T7" fmla="*/ 9 h 132"/>
                  <a:gd name="T8" fmla="*/ 4 w 87"/>
                  <a:gd name="T9" fmla="*/ 18 h 132"/>
                  <a:gd name="T10" fmla="*/ 11 w 87"/>
                  <a:gd name="T11" fmla="*/ 29 h 132"/>
                  <a:gd name="T12" fmla="*/ 19 w 87"/>
                  <a:gd name="T13" fmla="*/ 40 h 132"/>
                  <a:gd name="T14" fmla="*/ 25 w 87"/>
                  <a:gd name="T15" fmla="*/ 46 h 132"/>
                  <a:gd name="T16" fmla="*/ 25 w 87"/>
                  <a:gd name="T17" fmla="*/ 49 h 132"/>
                  <a:gd name="T18" fmla="*/ 25 w 87"/>
                  <a:gd name="T19" fmla="*/ 57 h 132"/>
                  <a:gd name="T20" fmla="*/ 25 w 87"/>
                  <a:gd name="T21" fmla="*/ 70 h 132"/>
                  <a:gd name="T22" fmla="*/ 22 w 87"/>
                  <a:gd name="T23" fmla="*/ 82 h 132"/>
                  <a:gd name="T24" fmla="*/ 19 w 87"/>
                  <a:gd name="T25" fmla="*/ 86 h 132"/>
                  <a:gd name="T26" fmla="*/ 19 w 87"/>
                  <a:gd name="T27" fmla="*/ 89 h 132"/>
                  <a:gd name="T28" fmla="*/ 21 w 87"/>
                  <a:gd name="T29" fmla="*/ 93 h 132"/>
                  <a:gd name="T30" fmla="*/ 23 w 87"/>
                  <a:gd name="T31" fmla="*/ 97 h 132"/>
                  <a:gd name="T32" fmla="*/ 27 w 87"/>
                  <a:gd name="T33" fmla="*/ 103 h 132"/>
                  <a:gd name="T34" fmla="*/ 34 w 87"/>
                  <a:gd name="T35" fmla="*/ 112 h 132"/>
                  <a:gd name="T36" fmla="*/ 40 w 87"/>
                  <a:gd name="T37" fmla="*/ 123 h 132"/>
                  <a:gd name="T38" fmla="*/ 43 w 87"/>
                  <a:gd name="T39" fmla="*/ 130 h 132"/>
                  <a:gd name="T40" fmla="*/ 44 w 87"/>
                  <a:gd name="T41" fmla="*/ 130 h 132"/>
                  <a:gd name="T42" fmla="*/ 48 w 87"/>
                  <a:gd name="T43" fmla="*/ 121 h 132"/>
                  <a:gd name="T44" fmla="*/ 55 w 87"/>
                  <a:gd name="T45" fmla="*/ 107 h 132"/>
                  <a:gd name="T46" fmla="*/ 63 w 87"/>
                  <a:gd name="T47" fmla="*/ 97 h 132"/>
                  <a:gd name="T48" fmla="*/ 71 w 87"/>
                  <a:gd name="T49" fmla="*/ 92 h 132"/>
                  <a:gd name="T50" fmla="*/ 78 w 87"/>
                  <a:gd name="T51" fmla="*/ 81 h 132"/>
                  <a:gd name="T52" fmla="*/ 83 w 87"/>
                  <a:gd name="T53" fmla="*/ 68 h 132"/>
                  <a:gd name="T54" fmla="*/ 85 w 87"/>
                  <a:gd name="T55" fmla="*/ 60 h 132"/>
                  <a:gd name="T56" fmla="*/ 85 w 87"/>
                  <a:gd name="T57" fmla="*/ 59 h 132"/>
                  <a:gd name="T58" fmla="*/ 80 w 87"/>
                  <a:gd name="T59" fmla="*/ 60 h 132"/>
                  <a:gd name="T60" fmla="*/ 70 w 87"/>
                  <a:gd name="T61" fmla="*/ 60 h 132"/>
                  <a:gd name="T62" fmla="*/ 62 w 87"/>
                  <a:gd name="T63" fmla="*/ 60 h 132"/>
                  <a:gd name="T64" fmla="*/ 54 w 87"/>
                  <a:gd name="T65" fmla="*/ 56 h 132"/>
                  <a:gd name="T66" fmla="*/ 47 w 87"/>
                  <a:gd name="T67" fmla="*/ 48 h 132"/>
                  <a:gd name="T68" fmla="*/ 40 w 87"/>
                  <a:gd name="T69" fmla="*/ 40 h 132"/>
                  <a:gd name="T70" fmla="*/ 37 w 87"/>
                  <a:gd name="T71" fmla="*/ 34 h 132"/>
                  <a:gd name="T72" fmla="*/ 22 w 87"/>
                  <a:gd name="T73" fmla="*/ 12 h 132"/>
                  <a:gd name="T74" fmla="*/ 21 w 87"/>
                  <a:gd name="T75" fmla="*/ 9 h 132"/>
                  <a:gd name="T76" fmla="*/ 19 w 87"/>
                  <a:gd name="T77" fmla="*/ 5 h 132"/>
                  <a:gd name="T78" fmla="*/ 16 w 87"/>
                  <a:gd name="T79" fmla="*/ 1 h 132"/>
                  <a:gd name="T80" fmla="*/ 10 w 87"/>
                  <a:gd name="T81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7" h="132">
                    <a:moveTo>
                      <a:pt x="10" y="0"/>
                    </a:moveTo>
                    <a:lnTo>
                      <a:pt x="10" y="0"/>
                    </a:lnTo>
                    <a:lnTo>
                      <a:pt x="8" y="1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4" y="18"/>
                    </a:lnTo>
                    <a:lnTo>
                      <a:pt x="8" y="23"/>
                    </a:lnTo>
                    <a:lnTo>
                      <a:pt x="11" y="29"/>
                    </a:lnTo>
                    <a:lnTo>
                      <a:pt x="15" y="34"/>
                    </a:lnTo>
                    <a:lnTo>
                      <a:pt x="19" y="40"/>
                    </a:lnTo>
                    <a:lnTo>
                      <a:pt x="22" y="44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5" y="70"/>
                    </a:lnTo>
                    <a:lnTo>
                      <a:pt x="23" y="77"/>
                    </a:lnTo>
                    <a:lnTo>
                      <a:pt x="22" y="82"/>
                    </a:lnTo>
                    <a:lnTo>
                      <a:pt x="19" y="86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19" y="90"/>
                    </a:lnTo>
                    <a:lnTo>
                      <a:pt x="21" y="93"/>
                    </a:lnTo>
                    <a:lnTo>
                      <a:pt x="22" y="96"/>
                    </a:lnTo>
                    <a:lnTo>
                      <a:pt x="23" y="97"/>
                    </a:lnTo>
                    <a:lnTo>
                      <a:pt x="25" y="100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4" y="112"/>
                    </a:lnTo>
                    <a:lnTo>
                      <a:pt x="37" y="118"/>
                    </a:lnTo>
                    <a:lnTo>
                      <a:pt x="40" y="123"/>
                    </a:lnTo>
                    <a:lnTo>
                      <a:pt x="41" y="128"/>
                    </a:lnTo>
                    <a:lnTo>
                      <a:pt x="43" y="130"/>
                    </a:lnTo>
                    <a:lnTo>
                      <a:pt x="43" y="132"/>
                    </a:lnTo>
                    <a:lnTo>
                      <a:pt x="44" y="130"/>
                    </a:lnTo>
                    <a:lnTo>
                      <a:pt x="45" y="126"/>
                    </a:lnTo>
                    <a:lnTo>
                      <a:pt x="48" y="121"/>
                    </a:lnTo>
                    <a:lnTo>
                      <a:pt x="51" y="114"/>
                    </a:lnTo>
                    <a:lnTo>
                      <a:pt x="55" y="107"/>
                    </a:lnTo>
                    <a:lnTo>
                      <a:pt x="59" y="101"/>
                    </a:lnTo>
                    <a:lnTo>
                      <a:pt x="63" y="97"/>
                    </a:lnTo>
                    <a:lnTo>
                      <a:pt x="67" y="95"/>
                    </a:lnTo>
                    <a:lnTo>
                      <a:pt x="71" y="92"/>
                    </a:lnTo>
                    <a:lnTo>
                      <a:pt x="74" y="88"/>
                    </a:lnTo>
                    <a:lnTo>
                      <a:pt x="78" y="81"/>
                    </a:lnTo>
                    <a:lnTo>
                      <a:pt x="81" y="75"/>
                    </a:lnTo>
                    <a:lnTo>
                      <a:pt x="83" y="68"/>
                    </a:lnTo>
                    <a:lnTo>
                      <a:pt x="85" y="63"/>
                    </a:lnTo>
                    <a:lnTo>
                      <a:pt x="85" y="60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3" y="59"/>
                    </a:lnTo>
                    <a:lnTo>
                      <a:pt x="80" y="60"/>
                    </a:lnTo>
                    <a:lnTo>
                      <a:pt x="76" y="60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2" y="60"/>
                    </a:lnTo>
                    <a:lnTo>
                      <a:pt x="58" y="59"/>
                    </a:lnTo>
                    <a:lnTo>
                      <a:pt x="54" y="56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3" y="44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7" y="34"/>
                    </a:lnTo>
                    <a:lnTo>
                      <a:pt x="36" y="33"/>
                    </a:lnTo>
                    <a:lnTo>
                      <a:pt x="22" y="12"/>
                    </a:lnTo>
                    <a:lnTo>
                      <a:pt x="22" y="11"/>
                    </a:lnTo>
                    <a:lnTo>
                      <a:pt x="21" y="9"/>
                    </a:lnTo>
                    <a:lnTo>
                      <a:pt x="21" y="8"/>
                    </a:lnTo>
                    <a:lnTo>
                      <a:pt x="19" y="5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0" name="Freeform 59"/>
              <p:cNvSpPr>
                <a:spLocks/>
              </p:cNvSpPr>
              <p:nvPr/>
            </p:nvSpPr>
            <p:spPr bwMode="auto">
              <a:xfrm>
                <a:off x="5233" y="3639"/>
                <a:ext cx="87" cy="132"/>
              </a:xfrm>
              <a:custGeom>
                <a:avLst/>
                <a:gdLst>
                  <a:gd name="T0" fmla="*/ 8 w 87"/>
                  <a:gd name="T1" fmla="*/ 1 h 132"/>
                  <a:gd name="T2" fmla="*/ 4 w 87"/>
                  <a:gd name="T3" fmla="*/ 2 h 132"/>
                  <a:gd name="T4" fmla="*/ 0 w 87"/>
                  <a:gd name="T5" fmla="*/ 7 h 132"/>
                  <a:gd name="T6" fmla="*/ 1 w 87"/>
                  <a:gd name="T7" fmla="*/ 13 h 132"/>
                  <a:gd name="T8" fmla="*/ 8 w 87"/>
                  <a:gd name="T9" fmla="*/ 23 h 132"/>
                  <a:gd name="T10" fmla="*/ 15 w 87"/>
                  <a:gd name="T11" fmla="*/ 34 h 132"/>
                  <a:gd name="T12" fmla="*/ 22 w 87"/>
                  <a:gd name="T13" fmla="*/ 44 h 132"/>
                  <a:gd name="T14" fmla="*/ 25 w 87"/>
                  <a:gd name="T15" fmla="*/ 48 h 132"/>
                  <a:gd name="T16" fmla="*/ 25 w 87"/>
                  <a:gd name="T17" fmla="*/ 52 h 132"/>
                  <a:gd name="T18" fmla="*/ 25 w 87"/>
                  <a:gd name="T19" fmla="*/ 63 h 132"/>
                  <a:gd name="T20" fmla="*/ 23 w 87"/>
                  <a:gd name="T21" fmla="*/ 77 h 132"/>
                  <a:gd name="T22" fmla="*/ 19 w 87"/>
                  <a:gd name="T23" fmla="*/ 86 h 132"/>
                  <a:gd name="T24" fmla="*/ 19 w 87"/>
                  <a:gd name="T25" fmla="*/ 89 h 132"/>
                  <a:gd name="T26" fmla="*/ 21 w 87"/>
                  <a:gd name="T27" fmla="*/ 93 h 132"/>
                  <a:gd name="T28" fmla="*/ 23 w 87"/>
                  <a:gd name="T29" fmla="*/ 97 h 132"/>
                  <a:gd name="T30" fmla="*/ 27 w 87"/>
                  <a:gd name="T31" fmla="*/ 103 h 132"/>
                  <a:gd name="T32" fmla="*/ 34 w 87"/>
                  <a:gd name="T33" fmla="*/ 112 h 132"/>
                  <a:gd name="T34" fmla="*/ 40 w 87"/>
                  <a:gd name="T35" fmla="*/ 123 h 132"/>
                  <a:gd name="T36" fmla="*/ 43 w 87"/>
                  <a:gd name="T37" fmla="*/ 130 h 132"/>
                  <a:gd name="T38" fmla="*/ 44 w 87"/>
                  <a:gd name="T39" fmla="*/ 130 h 132"/>
                  <a:gd name="T40" fmla="*/ 48 w 87"/>
                  <a:gd name="T41" fmla="*/ 121 h 132"/>
                  <a:gd name="T42" fmla="*/ 55 w 87"/>
                  <a:gd name="T43" fmla="*/ 107 h 132"/>
                  <a:gd name="T44" fmla="*/ 63 w 87"/>
                  <a:gd name="T45" fmla="*/ 97 h 132"/>
                  <a:gd name="T46" fmla="*/ 71 w 87"/>
                  <a:gd name="T47" fmla="*/ 92 h 132"/>
                  <a:gd name="T48" fmla="*/ 78 w 87"/>
                  <a:gd name="T49" fmla="*/ 81 h 132"/>
                  <a:gd name="T50" fmla="*/ 83 w 87"/>
                  <a:gd name="T51" fmla="*/ 68 h 132"/>
                  <a:gd name="T52" fmla="*/ 85 w 87"/>
                  <a:gd name="T53" fmla="*/ 60 h 132"/>
                  <a:gd name="T54" fmla="*/ 85 w 87"/>
                  <a:gd name="T55" fmla="*/ 59 h 132"/>
                  <a:gd name="T56" fmla="*/ 80 w 87"/>
                  <a:gd name="T57" fmla="*/ 60 h 132"/>
                  <a:gd name="T58" fmla="*/ 70 w 87"/>
                  <a:gd name="T59" fmla="*/ 60 h 132"/>
                  <a:gd name="T60" fmla="*/ 62 w 87"/>
                  <a:gd name="T61" fmla="*/ 60 h 132"/>
                  <a:gd name="T62" fmla="*/ 54 w 87"/>
                  <a:gd name="T63" fmla="*/ 56 h 132"/>
                  <a:gd name="T64" fmla="*/ 47 w 87"/>
                  <a:gd name="T65" fmla="*/ 48 h 132"/>
                  <a:gd name="T66" fmla="*/ 40 w 87"/>
                  <a:gd name="T67" fmla="*/ 40 h 132"/>
                  <a:gd name="T68" fmla="*/ 37 w 87"/>
                  <a:gd name="T69" fmla="*/ 34 h 132"/>
                  <a:gd name="T70" fmla="*/ 22 w 87"/>
                  <a:gd name="T71" fmla="*/ 12 h 132"/>
                  <a:gd name="T72" fmla="*/ 21 w 87"/>
                  <a:gd name="T73" fmla="*/ 9 h 132"/>
                  <a:gd name="T74" fmla="*/ 19 w 87"/>
                  <a:gd name="T75" fmla="*/ 5 h 132"/>
                  <a:gd name="T76" fmla="*/ 16 w 87"/>
                  <a:gd name="T77" fmla="*/ 1 h 132"/>
                  <a:gd name="T78" fmla="*/ 10 w 87"/>
                  <a:gd name="T79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7" h="132">
                    <a:moveTo>
                      <a:pt x="10" y="0"/>
                    </a:moveTo>
                    <a:lnTo>
                      <a:pt x="8" y="1"/>
                    </a:lnTo>
                    <a:lnTo>
                      <a:pt x="5" y="1"/>
                    </a:lnTo>
                    <a:lnTo>
                      <a:pt x="4" y="2"/>
                    </a:lnTo>
                    <a:lnTo>
                      <a:pt x="1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4" y="18"/>
                    </a:lnTo>
                    <a:lnTo>
                      <a:pt x="8" y="23"/>
                    </a:lnTo>
                    <a:lnTo>
                      <a:pt x="11" y="29"/>
                    </a:lnTo>
                    <a:lnTo>
                      <a:pt x="15" y="34"/>
                    </a:lnTo>
                    <a:lnTo>
                      <a:pt x="19" y="40"/>
                    </a:lnTo>
                    <a:lnTo>
                      <a:pt x="22" y="44"/>
                    </a:lnTo>
                    <a:lnTo>
                      <a:pt x="25" y="46"/>
                    </a:lnTo>
                    <a:lnTo>
                      <a:pt x="25" y="48"/>
                    </a:lnTo>
                    <a:lnTo>
                      <a:pt x="25" y="49"/>
                    </a:lnTo>
                    <a:lnTo>
                      <a:pt x="25" y="52"/>
                    </a:lnTo>
                    <a:lnTo>
                      <a:pt x="25" y="57"/>
                    </a:lnTo>
                    <a:lnTo>
                      <a:pt x="25" y="63"/>
                    </a:lnTo>
                    <a:lnTo>
                      <a:pt x="25" y="70"/>
                    </a:lnTo>
                    <a:lnTo>
                      <a:pt x="23" y="77"/>
                    </a:lnTo>
                    <a:lnTo>
                      <a:pt x="22" y="82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19" y="90"/>
                    </a:lnTo>
                    <a:lnTo>
                      <a:pt x="21" y="93"/>
                    </a:lnTo>
                    <a:lnTo>
                      <a:pt x="22" y="96"/>
                    </a:lnTo>
                    <a:lnTo>
                      <a:pt x="23" y="97"/>
                    </a:lnTo>
                    <a:lnTo>
                      <a:pt x="25" y="100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4" y="112"/>
                    </a:lnTo>
                    <a:lnTo>
                      <a:pt x="37" y="118"/>
                    </a:lnTo>
                    <a:lnTo>
                      <a:pt x="40" y="123"/>
                    </a:lnTo>
                    <a:lnTo>
                      <a:pt x="41" y="128"/>
                    </a:lnTo>
                    <a:lnTo>
                      <a:pt x="43" y="130"/>
                    </a:lnTo>
                    <a:lnTo>
                      <a:pt x="43" y="132"/>
                    </a:lnTo>
                    <a:lnTo>
                      <a:pt x="44" y="130"/>
                    </a:lnTo>
                    <a:lnTo>
                      <a:pt x="45" y="126"/>
                    </a:lnTo>
                    <a:lnTo>
                      <a:pt x="48" y="121"/>
                    </a:lnTo>
                    <a:lnTo>
                      <a:pt x="51" y="114"/>
                    </a:lnTo>
                    <a:lnTo>
                      <a:pt x="55" y="107"/>
                    </a:lnTo>
                    <a:lnTo>
                      <a:pt x="59" y="101"/>
                    </a:lnTo>
                    <a:lnTo>
                      <a:pt x="63" y="97"/>
                    </a:lnTo>
                    <a:lnTo>
                      <a:pt x="67" y="95"/>
                    </a:lnTo>
                    <a:lnTo>
                      <a:pt x="71" y="92"/>
                    </a:lnTo>
                    <a:lnTo>
                      <a:pt x="74" y="88"/>
                    </a:lnTo>
                    <a:lnTo>
                      <a:pt x="78" y="81"/>
                    </a:lnTo>
                    <a:lnTo>
                      <a:pt x="81" y="75"/>
                    </a:lnTo>
                    <a:lnTo>
                      <a:pt x="83" y="68"/>
                    </a:lnTo>
                    <a:lnTo>
                      <a:pt x="85" y="63"/>
                    </a:lnTo>
                    <a:lnTo>
                      <a:pt x="85" y="60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3" y="59"/>
                    </a:lnTo>
                    <a:lnTo>
                      <a:pt x="80" y="60"/>
                    </a:lnTo>
                    <a:lnTo>
                      <a:pt x="76" y="60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2" y="60"/>
                    </a:lnTo>
                    <a:lnTo>
                      <a:pt x="58" y="59"/>
                    </a:lnTo>
                    <a:lnTo>
                      <a:pt x="54" y="56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3" y="44"/>
                    </a:lnTo>
                    <a:lnTo>
                      <a:pt x="40" y="40"/>
                    </a:lnTo>
                    <a:lnTo>
                      <a:pt x="38" y="37"/>
                    </a:lnTo>
                    <a:lnTo>
                      <a:pt x="37" y="34"/>
                    </a:lnTo>
                    <a:lnTo>
                      <a:pt x="36" y="33"/>
                    </a:lnTo>
                    <a:lnTo>
                      <a:pt x="22" y="12"/>
                    </a:lnTo>
                    <a:lnTo>
                      <a:pt x="22" y="11"/>
                    </a:lnTo>
                    <a:lnTo>
                      <a:pt x="21" y="9"/>
                    </a:lnTo>
                    <a:lnTo>
                      <a:pt x="21" y="8"/>
                    </a:lnTo>
                    <a:lnTo>
                      <a:pt x="19" y="5"/>
                    </a:lnTo>
                    <a:lnTo>
                      <a:pt x="18" y="4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1" name="Freeform 60"/>
              <p:cNvSpPr>
                <a:spLocks/>
              </p:cNvSpPr>
              <p:nvPr/>
            </p:nvSpPr>
            <p:spPr bwMode="auto">
              <a:xfrm>
                <a:off x="5148" y="3761"/>
                <a:ext cx="110" cy="125"/>
              </a:xfrm>
              <a:custGeom>
                <a:avLst/>
                <a:gdLst>
                  <a:gd name="T0" fmla="*/ 5 w 110"/>
                  <a:gd name="T1" fmla="*/ 96 h 125"/>
                  <a:gd name="T2" fmla="*/ 2 w 110"/>
                  <a:gd name="T3" fmla="*/ 100 h 125"/>
                  <a:gd name="T4" fmla="*/ 0 w 110"/>
                  <a:gd name="T5" fmla="*/ 107 h 125"/>
                  <a:gd name="T6" fmla="*/ 1 w 110"/>
                  <a:gd name="T7" fmla="*/ 113 h 125"/>
                  <a:gd name="T8" fmla="*/ 9 w 110"/>
                  <a:gd name="T9" fmla="*/ 115 h 125"/>
                  <a:gd name="T10" fmla="*/ 19 w 110"/>
                  <a:gd name="T11" fmla="*/ 120 h 125"/>
                  <a:gd name="T12" fmla="*/ 29 w 110"/>
                  <a:gd name="T13" fmla="*/ 122 h 125"/>
                  <a:gd name="T14" fmla="*/ 37 w 110"/>
                  <a:gd name="T15" fmla="*/ 125 h 125"/>
                  <a:gd name="T16" fmla="*/ 42 w 110"/>
                  <a:gd name="T17" fmla="*/ 125 h 125"/>
                  <a:gd name="T18" fmla="*/ 49 w 110"/>
                  <a:gd name="T19" fmla="*/ 122 h 125"/>
                  <a:gd name="T20" fmla="*/ 55 w 110"/>
                  <a:gd name="T21" fmla="*/ 118 h 125"/>
                  <a:gd name="T22" fmla="*/ 59 w 110"/>
                  <a:gd name="T23" fmla="*/ 111 h 125"/>
                  <a:gd name="T24" fmla="*/ 63 w 110"/>
                  <a:gd name="T25" fmla="*/ 104 h 125"/>
                  <a:gd name="T26" fmla="*/ 63 w 110"/>
                  <a:gd name="T27" fmla="*/ 96 h 125"/>
                  <a:gd name="T28" fmla="*/ 62 w 110"/>
                  <a:gd name="T29" fmla="*/ 89 h 125"/>
                  <a:gd name="T30" fmla="*/ 63 w 110"/>
                  <a:gd name="T31" fmla="*/ 82 h 125"/>
                  <a:gd name="T32" fmla="*/ 70 w 110"/>
                  <a:gd name="T33" fmla="*/ 77 h 125"/>
                  <a:gd name="T34" fmla="*/ 78 w 110"/>
                  <a:gd name="T35" fmla="*/ 67 h 125"/>
                  <a:gd name="T36" fmla="*/ 85 w 110"/>
                  <a:gd name="T37" fmla="*/ 59 h 125"/>
                  <a:gd name="T38" fmla="*/ 88 w 110"/>
                  <a:gd name="T39" fmla="*/ 52 h 125"/>
                  <a:gd name="T40" fmla="*/ 97 w 110"/>
                  <a:gd name="T41" fmla="*/ 36 h 125"/>
                  <a:gd name="T42" fmla="*/ 100 w 110"/>
                  <a:gd name="T43" fmla="*/ 33 h 125"/>
                  <a:gd name="T44" fmla="*/ 106 w 110"/>
                  <a:gd name="T45" fmla="*/ 25 h 125"/>
                  <a:gd name="T46" fmla="*/ 110 w 110"/>
                  <a:gd name="T47" fmla="*/ 15 h 125"/>
                  <a:gd name="T48" fmla="*/ 108 w 110"/>
                  <a:gd name="T49" fmla="*/ 10 h 125"/>
                  <a:gd name="T50" fmla="*/ 100 w 110"/>
                  <a:gd name="T51" fmla="*/ 6 h 125"/>
                  <a:gd name="T52" fmla="*/ 93 w 110"/>
                  <a:gd name="T53" fmla="*/ 1 h 125"/>
                  <a:gd name="T54" fmla="*/ 88 w 110"/>
                  <a:gd name="T55" fmla="*/ 0 h 125"/>
                  <a:gd name="T56" fmla="*/ 82 w 110"/>
                  <a:gd name="T57" fmla="*/ 3 h 125"/>
                  <a:gd name="T58" fmla="*/ 79 w 110"/>
                  <a:gd name="T59" fmla="*/ 7 h 125"/>
                  <a:gd name="T60" fmla="*/ 77 w 110"/>
                  <a:gd name="T61" fmla="*/ 11 h 125"/>
                  <a:gd name="T62" fmla="*/ 74 w 110"/>
                  <a:gd name="T63" fmla="*/ 15 h 125"/>
                  <a:gd name="T64" fmla="*/ 73 w 110"/>
                  <a:gd name="T65" fmla="*/ 17 h 125"/>
                  <a:gd name="T66" fmla="*/ 51 w 110"/>
                  <a:gd name="T67" fmla="*/ 44 h 125"/>
                  <a:gd name="T68" fmla="*/ 24 w 110"/>
                  <a:gd name="T69" fmla="*/ 74 h 125"/>
                  <a:gd name="T70" fmla="*/ 18 w 110"/>
                  <a:gd name="T71" fmla="*/ 85 h 125"/>
                  <a:gd name="T72" fmla="*/ 15 w 110"/>
                  <a:gd name="T73" fmla="*/ 87 h 125"/>
                  <a:gd name="T74" fmla="*/ 11 w 110"/>
                  <a:gd name="T75" fmla="*/ 88 h 125"/>
                  <a:gd name="T76" fmla="*/ 7 w 110"/>
                  <a:gd name="T77" fmla="*/ 9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0" h="125">
                    <a:moveTo>
                      <a:pt x="7" y="95"/>
                    </a:moveTo>
                    <a:lnTo>
                      <a:pt x="5" y="96"/>
                    </a:lnTo>
                    <a:lnTo>
                      <a:pt x="4" y="98"/>
                    </a:lnTo>
                    <a:lnTo>
                      <a:pt x="2" y="100"/>
                    </a:lnTo>
                    <a:lnTo>
                      <a:pt x="1" y="103"/>
                    </a:lnTo>
                    <a:lnTo>
                      <a:pt x="0" y="107"/>
                    </a:lnTo>
                    <a:lnTo>
                      <a:pt x="0" y="110"/>
                    </a:lnTo>
                    <a:lnTo>
                      <a:pt x="1" y="113"/>
                    </a:lnTo>
                    <a:lnTo>
                      <a:pt x="5" y="114"/>
                    </a:lnTo>
                    <a:lnTo>
                      <a:pt x="9" y="115"/>
                    </a:lnTo>
                    <a:lnTo>
                      <a:pt x="13" y="117"/>
                    </a:lnTo>
                    <a:lnTo>
                      <a:pt x="19" y="120"/>
                    </a:lnTo>
                    <a:lnTo>
                      <a:pt x="24" y="121"/>
                    </a:lnTo>
                    <a:lnTo>
                      <a:pt x="29" y="122"/>
                    </a:lnTo>
                    <a:lnTo>
                      <a:pt x="33" y="124"/>
                    </a:lnTo>
                    <a:lnTo>
                      <a:pt x="37" y="125"/>
                    </a:lnTo>
                    <a:lnTo>
                      <a:pt x="40" y="125"/>
                    </a:lnTo>
                    <a:lnTo>
                      <a:pt x="42" y="125"/>
                    </a:lnTo>
                    <a:lnTo>
                      <a:pt x="45" y="125"/>
                    </a:lnTo>
                    <a:lnTo>
                      <a:pt x="49" y="122"/>
                    </a:lnTo>
                    <a:lnTo>
                      <a:pt x="52" y="121"/>
                    </a:lnTo>
                    <a:lnTo>
                      <a:pt x="55" y="118"/>
                    </a:lnTo>
                    <a:lnTo>
                      <a:pt x="57" y="114"/>
                    </a:lnTo>
                    <a:lnTo>
                      <a:pt x="59" y="111"/>
                    </a:lnTo>
                    <a:lnTo>
                      <a:pt x="62" y="107"/>
                    </a:lnTo>
                    <a:lnTo>
                      <a:pt x="63" y="104"/>
                    </a:lnTo>
                    <a:lnTo>
                      <a:pt x="63" y="100"/>
                    </a:lnTo>
                    <a:lnTo>
                      <a:pt x="63" y="96"/>
                    </a:lnTo>
                    <a:lnTo>
                      <a:pt x="62" y="93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3" y="82"/>
                    </a:lnTo>
                    <a:lnTo>
                      <a:pt x="66" y="80"/>
                    </a:lnTo>
                    <a:lnTo>
                      <a:pt x="70" y="77"/>
                    </a:lnTo>
                    <a:lnTo>
                      <a:pt x="74" y="73"/>
                    </a:lnTo>
                    <a:lnTo>
                      <a:pt x="78" y="67"/>
                    </a:lnTo>
                    <a:lnTo>
                      <a:pt x="82" y="63"/>
                    </a:lnTo>
                    <a:lnTo>
                      <a:pt x="85" y="59"/>
                    </a:lnTo>
                    <a:lnTo>
                      <a:pt x="86" y="55"/>
                    </a:lnTo>
                    <a:lnTo>
                      <a:pt x="88" y="52"/>
                    </a:lnTo>
                    <a:lnTo>
                      <a:pt x="89" y="51"/>
                    </a:lnTo>
                    <a:lnTo>
                      <a:pt x="97" y="36"/>
                    </a:lnTo>
                    <a:lnTo>
                      <a:pt x="97" y="36"/>
                    </a:lnTo>
                    <a:lnTo>
                      <a:pt x="100" y="33"/>
                    </a:lnTo>
                    <a:lnTo>
                      <a:pt x="103" y="29"/>
                    </a:lnTo>
                    <a:lnTo>
                      <a:pt x="106" y="25"/>
                    </a:lnTo>
                    <a:lnTo>
                      <a:pt x="108" y="19"/>
                    </a:lnTo>
                    <a:lnTo>
                      <a:pt x="110" y="15"/>
                    </a:lnTo>
                    <a:lnTo>
                      <a:pt x="110" y="11"/>
                    </a:lnTo>
                    <a:lnTo>
                      <a:pt x="108" y="10"/>
                    </a:lnTo>
                    <a:lnTo>
                      <a:pt x="104" y="7"/>
                    </a:lnTo>
                    <a:lnTo>
                      <a:pt x="100" y="6"/>
                    </a:lnTo>
                    <a:lnTo>
                      <a:pt x="97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8" y="0"/>
                    </a:lnTo>
                    <a:lnTo>
                      <a:pt x="85" y="1"/>
                    </a:lnTo>
                    <a:lnTo>
                      <a:pt x="82" y="3"/>
                    </a:lnTo>
                    <a:lnTo>
                      <a:pt x="81" y="6"/>
                    </a:lnTo>
                    <a:lnTo>
                      <a:pt x="79" y="7"/>
                    </a:lnTo>
                    <a:lnTo>
                      <a:pt x="78" y="10"/>
                    </a:lnTo>
                    <a:lnTo>
                      <a:pt x="77" y="11"/>
                    </a:lnTo>
                    <a:lnTo>
                      <a:pt x="75" y="14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68" y="32"/>
                    </a:lnTo>
                    <a:lnTo>
                      <a:pt x="51" y="44"/>
                    </a:lnTo>
                    <a:lnTo>
                      <a:pt x="38" y="54"/>
                    </a:lnTo>
                    <a:lnTo>
                      <a:pt x="24" y="74"/>
                    </a:lnTo>
                    <a:lnTo>
                      <a:pt x="18" y="85"/>
                    </a:lnTo>
                    <a:lnTo>
                      <a:pt x="18" y="85"/>
                    </a:lnTo>
                    <a:lnTo>
                      <a:pt x="16" y="85"/>
                    </a:lnTo>
                    <a:lnTo>
                      <a:pt x="15" y="87"/>
                    </a:lnTo>
                    <a:lnTo>
                      <a:pt x="12" y="87"/>
                    </a:lnTo>
                    <a:lnTo>
                      <a:pt x="11" y="88"/>
                    </a:lnTo>
                    <a:lnTo>
                      <a:pt x="9" y="89"/>
                    </a:lnTo>
                    <a:lnTo>
                      <a:pt x="7" y="92"/>
                    </a:lnTo>
                    <a:lnTo>
                      <a:pt x="7" y="9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2" name="Freeform 61"/>
              <p:cNvSpPr>
                <a:spLocks/>
              </p:cNvSpPr>
              <p:nvPr/>
            </p:nvSpPr>
            <p:spPr bwMode="auto">
              <a:xfrm>
                <a:off x="5148" y="3761"/>
                <a:ext cx="110" cy="125"/>
              </a:xfrm>
              <a:custGeom>
                <a:avLst/>
                <a:gdLst>
                  <a:gd name="T0" fmla="*/ 5 w 110"/>
                  <a:gd name="T1" fmla="*/ 96 h 125"/>
                  <a:gd name="T2" fmla="*/ 2 w 110"/>
                  <a:gd name="T3" fmla="*/ 100 h 125"/>
                  <a:gd name="T4" fmla="*/ 0 w 110"/>
                  <a:gd name="T5" fmla="*/ 107 h 125"/>
                  <a:gd name="T6" fmla="*/ 1 w 110"/>
                  <a:gd name="T7" fmla="*/ 113 h 125"/>
                  <a:gd name="T8" fmla="*/ 9 w 110"/>
                  <a:gd name="T9" fmla="*/ 115 h 125"/>
                  <a:gd name="T10" fmla="*/ 19 w 110"/>
                  <a:gd name="T11" fmla="*/ 120 h 125"/>
                  <a:gd name="T12" fmla="*/ 29 w 110"/>
                  <a:gd name="T13" fmla="*/ 122 h 125"/>
                  <a:gd name="T14" fmla="*/ 37 w 110"/>
                  <a:gd name="T15" fmla="*/ 125 h 125"/>
                  <a:gd name="T16" fmla="*/ 42 w 110"/>
                  <a:gd name="T17" fmla="*/ 125 h 125"/>
                  <a:gd name="T18" fmla="*/ 49 w 110"/>
                  <a:gd name="T19" fmla="*/ 122 h 125"/>
                  <a:gd name="T20" fmla="*/ 55 w 110"/>
                  <a:gd name="T21" fmla="*/ 118 h 125"/>
                  <a:gd name="T22" fmla="*/ 59 w 110"/>
                  <a:gd name="T23" fmla="*/ 111 h 125"/>
                  <a:gd name="T24" fmla="*/ 63 w 110"/>
                  <a:gd name="T25" fmla="*/ 104 h 125"/>
                  <a:gd name="T26" fmla="*/ 63 w 110"/>
                  <a:gd name="T27" fmla="*/ 96 h 125"/>
                  <a:gd name="T28" fmla="*/ 62 w 110"/>
                  <a:gd name="T29" fmla="*/ 89 h 125"/>
                  <a:gd name="T30" fmla="*/ 63 w 110"/>
                  <a:gd name="T31" fmla="*/ 82 h 125"/>
                  <a:gd name="T32" fmla="*/ 70 w 110"/>
                  <a:gd name="T33" fmla="*/ 77 h 125"/>
                  <a:gd name="T34" fmla="*/ 78 w 110"/>
                  <a:gd name="T35" fmla="*/ 67 h 125"/>
                  <a:gd name="T36" fmla="*/ 85 w 110"/>
                  <a:gd name="T37" fmla="*/ 59 h 125"/>
                  <a:gd name="T38" fmla="*/ 88 w 110"/>
                  <a:gd name="T39" fmla="*/ 52 h 125"/>
                  <a:gd name="T40" fmla="*/ 97 w 110"/>
                  <a:gd name="T41" fmla="*/ 36 h 125"/>
                  <a:gd name="T42" fmla="*/ 103 w 110"/>
                  <a:gd name="T43" fmla="*/ 29 h 125"/>
                  <a:gd name="T44" fmla="*/ 108 w 110"/>
                  <a:gd name="T45" fmla="*/ 19 h 125"/>
                  <a:gd name="T46" fmla="*/ 110 w 110"/>
                  <a:gd name="T47" fmla="*/ 11 h 125"/>
                  <a:gd name="T48" fmla="*/ 104 w 110"/>
                  <a:gd name="T49" fmla="*/ 7 h 125"/>
                  <a:gd name="T50" fmla="*/ 97 w 110"/>
                  <a:gd name="T51" fmla="*/ 3 h 125"/>
                  <a:gd name="T52" fmla="*/ 90 w 110"/>
                  <a:gd name="T53" fmla="*/ 1 h 125"/>
                  <a:gd name="T54" fmla="*/ 85 w 110"/>
                  <a:gd name="T55" fmla="*/ 1 h 125"/>
                  <a:gd name="T56" fmla="*/ 81 w 110"/>
                  <a:gd name="T57" fmla="*/ 6 h 125"/>
                  <a:gd name="T58" fmla="*/ 78 w 110"/>
                  <a:gd name="T59" fmla="*/ 10 h 125"/>
                  <a:gd name="T60" fmla="*/ 75 w 110"/>
                  <a:gd name="T61" fmla="*/ 14 h 125"/>
                  <a:gd name="T62" fmla="*/ 73 w 110"/>
                  <a:gd name="T63" fmla="*/ 15 h 125"/>
                  <a:gd name="T64" fmla="*/ 68 w 110"/>
                  <a:gd name="T65" fmla="*/ 32 h 125"/>
                  <a:gd name="T66" fmla="*/ 38 w 110"/>
                  <a:gd name="T67" fmla="*/ 54 h 125"/>
                  <a:gd name="T68" fmla="*/ 18 w 110"/>
                  <a:gd name="T69" fmla="*/ 85 h 125"/>
                  <a:gd name="T70" fmla="*/ 15 w 110"/>
                  <a:gd name="T71" fmla="*/ 87 h 125"/>
                  <a:gd name="T72" fmla="*/ 11 w 110"/>
                  <a:gd name="T73" fmla="*/ 88 h 125"/>
                  <a:gd name="T74" fmla="*/ 7 w 110"/>
                  <a:gd name="T75" fmla="*/ 9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0" h="125">
                    <a:moveTo>
                      <a:pt x="7" y="95"/>
                    </a:moveTo>
                    <a:lnTo>
                      <a:pt x="5" y="96"/>
                    </a:lnTo>
                    <a:lnTo>
                      <a:pt x="4" y="98"/>
                    </a:lnTo>
                    <a:lnTo>
                      <a:pt x="2" y="100"/>
                    </a:lnTo>
                    <a:lnTo>
                      <a:pt x="1" y="103"/>
                    </a:lnTo>
                    <a:lnTo>
                      <a:pt x="0" y="107"/>
                    </a:lnTo>
                    <a:lnTo>
                      <a:pt x="0" y="110"/>
                    </a:lnTo>
                    <a:lnTo>
                      <a:pt x="1" y="113"/>
                    </a:lnTo>
                    <a:lnTo>
                      <a:pt x="5" y="114"/>
                    </a:lnTo>
                    <a:lnTo>
                      <a:pt x="9" y="115"/>
                    </a:lnTo>
                    <a:lnTo>
                      <a:pt x="13" y="117"/>
                    </a:lnTo>
                    <a:lnTo>
                      <a:pt x="19" y="120"/>
                    </a:lnTo>
                    <a:lnTo>
                      <a:pt x="24" y="121"/>
                    </a:lnTo>
                    <a:lnTo>
                      <a:pt x="29" y="122"/>
                    </a:lnTo>
                    <a:lnTo>
                      <a:pt x="33" y="124"/>
                    </a:lnTo>
                    <a:lnTo>
                      <a:pt x="37" y="125"/>
                    </a:lnTo>
                    <a:lnTo>
                      <a:pt x="40" y="125"/>
                    </a:lnTo>
                    <a:lnTo>
                      <a:pt x="42" y="125"/>
                    </a:lnTo>
                    <a:lnTo>
                      <a:pt x="45" y="125"/>
                    </a:lnTo>
                    <a:lnTo>
                      <a:pt x="49" y="122"/>
                    </a:lnTo>
                    <a:lnTo>
                      <a:pt x="52" y="121"/>
                    </a:lnTo>
                    <a:lnTo>
                      <a:pt x="55" y="118"/>
                    </a:lnTo>
                    <a:lnTo>
                      <a:pt x="57" y="114"/>
                    </a:lnTo>
                    <a:lnTo>
                      <a:pt x="59" y="111"/>
                    </a:lnTo>
                    <a:lnTo>
                      <a:pt x="62" y="107"/>
                    </a:lnTo>
                    <a:lnTo>
                      <a:pt x="63" y="104"/>
                    </a:lnTo>
                    <a:lnTo>
                      <a:pt x="63" y="100"/>
                    </a:lnTo>
                    <a:lnTo>
                      <a:pt x="63" y="96"/>
                    </a:lnTo>
                    <a:lnTo>
                      <a:pt x="62" y="93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3" y="82"/>
                    </a:lnTo>
                    <a:lnTo>
                      <a:pt x="66" y="80"/>
                    </a:lnTo>
                    <a:lnTo>
                      <a:pt x="70" y="77"/>
                    </a:lnTo>
                    <a:lnTo>
                      <a:pt x="74" y="73"/>
                    </a:lnTo>
                    <a:lnTo>
                      <a:pt x="78" y="67"/>
                    </a:lnTo>
                    <a:lnTo>
                      <a:pt x="82" y="63"/>
                    </a:lnTo>
                    <a:lnTo>
                      <a:pt x="85" y="59"/>
                    </a:lnTo>
                    <a:lnTo>
                      <a:pt x="86" y="55"/>
                    </a:lnTo>
                    <a:lnTo>
                      <a:pt x="88" y="52"/>
                    </a:lnTo>
                    <a:lnTo>
                      <a:pt x="89" y="51"/>
                    </a:lnTo>
                    <a:lnTo>
                      <a:pt x="97" y="36"/>
                    </a:lnTo>
                    <a:lnTo>
                      <a:pt x="100" y="33"/>
                    </a:lnTo>
                    <a:lnTo>
                      <a:pt x="103" y="29"/>
                    </a:lnTo>
                    <a:lnTo>
                      <a:pt x="106" y="25"/>
                    </a:lnTo>
                    <a:lnTo>
                      <a:pt x="108" y="19"/>
                    </a:lnTo>
                    <a:lnTo>
                      <a:pt x="110" y="15"/>
                    </a:lnTo>
                    <a:lnTo>
                      <a:pt x="110" y="11"/>
                    </a:lnTo>
                    <a:lnTo>
                      <a:pt x="108" y="10"/>
                    </a:lnTo>
                    <a:lnTo>
                      <a:pt x="104" y="7"/>
                    </a:lnTo>
                    <a:lnTo>
                      <a:pt x="100" y="6"/>
                    </a:lnTo>
                    <a:lnTo>
                      <a:pt x="97" y="3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8" y="0"/>
                    </a:lnTo>
                    <a:lnTo>
                      <a:pt x="85" y="1"/>
                    </a:lnTo>
                    <a:lnTo>
                      <a:pt x="82" y="3"/>
                    </a:lnTo>
                    <a:lnTo>
                      <a:pt x="81" y="6"/>
                    </a:lnTo>
                    <a:lnTo>
                      <a:pt x="79" y="7"/>
                    </a:lnTo>
                    <a:lnTo>
                      <a:pt x="78" y="10"/>
                    </a:lnTo>
                    <a:lnTo>
                      <a:pt x="77" y="11"/>
                    </a:lnTo>
                    <a:lnTo>
                      <a:pt x="75" y="14"/>
                    </a:lnTo>
                    <a:lnTo>
                      <a:pt x="74" y="15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68" y="32"/>
                    </a:lnTo>
                    <a:lnTo>
                      <a:pt x="51" y="44"/>
                    </a:lnTo>
                    <a:lnTo>
                      <a:pt x="38" y="54"/>
                    </a:lnTo>
                    <a:lnTo>
                      <a:pt x="24" y="74"/>
                    </a:lnTo>
                    <a:lnTo>
                      <a:pt x="18" y="85"/>
                    </a:lnTo>
                    <a:lnTo>
                      <a:pt x="16" y="85"/>
                    </a:lnTo>
                    <a:lnTo>
                      <a:pt x="15" y="87"/>
                    </a:lnTo>
                    <a:lnTo>
                      <a:pt x="12" y="87"/>
                    </a:lnTo>
                    <a:lnTo>
                      <a:pt x="11" y="88"/>
                    </a:lnTo>
                    <a:lnTo>
                      <a:pt x="9" y="89"/>
                    </a:lnTo>
                    <a:lnTo>
                      <a:pt x="7" y="92"/>
                    </a:lnTo>
                    <a:lnTo>
                      <a:pt x="7" y="9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3" name="Freeform 62"/>
              <p:cNvSpPr>
                <a:spLocks/>
              </p:cNvSpPr>
              <p:nvPr/>
            </p:nvSpPr>
            <p:spPr bwMode="auto">
              <a:xfrm>
                <a:off x="5130" y="3989"/>
                <a:ext cx="12" cy="18"/>
              </a:xfrm>
              <a:custGeom>
                <a:avLst/>
                <a:gdLst>
                  <a:gd name="T0" fmla="*/ 7 w 12"/>
                  <a:gd name="T1" fmla="*/ 18 h 18"/>
                  <a:gd name="T2" fmla="*/ 8 w 12"/>
                  <a:gd name="T3" fmla="*/ 18 h 18"/>
                  <a:gd name="T4" fmla="*/ 8 w 12"/>
                  <a:gd name="T5" fmla="*/ 18 h 18"/>
                  <a:gd name="T6" fmla="*/ 9 w 12"/>
                  <a:gd name="T7" fmla="*/ 17 h 18"/>
                  <a:gd name="T8" fmla="*/ 11 w 12"/>
                  <a:gd name="T9" fmla="*/ 17 h 18"/>
                  <a:gd name="T10" fmla="*/ 11 w 12"/>
                  <a:gd name="T11" fmla="*/ 15 h 18"/>
                  <a:gd name="T12" fmla="*/ 12 w 12"/>
                  <a:gd name="T13" fmla="*/ 13 h 18"/>
                  <a:gd name="T14" fmla="*/ 12 w 12"/>
                  <a:gd name="T15" fmla="*/ 11 h 18"/>
                  <a:gd name="T16" fmla="*/ 12 w 12"/>
                  <a:gd name="T17" fmla="*/ 10 h 18"/>
                  <a:gd name="T18" fmla="*/ 12 w 12"/>
                  <a:gd name="T19" fmla="*/ 8 h 18"/>
                  <a:gd name="T20" fmla="*/ 12 w 12"/>
                  <a:gd name="T21" fmla="*/ 6 h 18"/>
                  <a:gd name="T22" fmla="*/ 11 w 12"/>
                  <a:gd name="T23" fmla="*/ 4 h 18"/>
                  <a:gd name="T24" fmla="*/ 11 w 12"/>
                  <a:gd name="T25" fmla="*/ 3 h 18"/>
                  <a:gd name="T26" fmla="*/ 9 w 12"/>
                  <a:gd name="T27" fmla="*/ 2 h 18"/>
                  <a:gd name="T28" fmla="*/ 8 w 12"/>
                  <a:gd name="T29" fmla="*/ 2 h 18"/>
                  <a:gd name="T30" fmla="*/ 8 w 12"/>
                  <a:gd name="T31" fmla="*/ 0 h 18"/>
                  <a:gd name="T32" fmla="*/ 7 w 12"/>
                  <a:gd name="T33" fmla="*/ 0 h 18"/>
                  <a:gd name="T34" fmla="*/ 5 w 12"/>
                  <a:gd name="T35" fmla="*/ 0 h 18"/>
                  <a:gd name="T36" fmla="*/ 4 w 12"/>
                  <a:gd name="T37" fmla="*/ 2 h 18"/>
                  <a:gd name="T38" fmla="*/ 3 w 12"/>
                  <a:gd name="T39" fmla="*/ 2 h 18"/>
                  <a:gd name="T40" fmla="*/ 1 w 12"/>
                  <a:gd name="T41" fmla="*/ 3 h 18"/>
                  <a:gd name="T42" fmla="*/ 0 w 12"/>
                  <a:gd name="T43" fmla="*/ 4 h 18"/>
                  <a:gd name="T44" fmla="*/ 0 w 12"/>
                  <a:gd name="T45" fmla="*/ 6 h 18"/>
                  <a:gd name="T46" fmla="*/ 0 w 12"/>
                  <a:gd name="T47" fmla="*/ 8 h 18"/>
                  <a:gd name="T48" fmla="*/ 0 w 12"/>
                  <a:gd name="T49" fmla="*/ 10 h 18"/>
                  <a:gd name="T50" fmla="*/ 0 w 12"/>
                  <a:gd name="T51" fmla="*/ 11 h 18"/>
                  <a:gd name="T52" fmla="*/ 0 w 12"/>
                  <a:gd name="T53" fmla="*/ 13 h 18"/>
                  <a:gd name="T54" fmla="*/ 0 w 12"/>
                  <a:gd name="T55" fmla="*/ 15 h 18"/>
                  <a:gd name="T56" fmla="*/ 1 w 12"/>
                  <a:gd name="T57" fmla="*/ 17 h 18"/>
                  <a:gd name="T58" fmla="*/ 3 w 12"/>
                  <a:gd name="T59" fmla="*/ 17 h 18"/>
                  <a:gd name="T60" fmla="*/ 4 w 12"/>
                  <a:gd name="T61" fmla="*/ 18 h 18"/>
                  <a:gd name="T62" fmla="*/ 5 w 12"/>
                  <a:gd name="T63" fmla="*/ 18 h 18"/>
                  <a:gd name="T64" fmla="*/ 7 w 12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8">
                    <a:moveTo>
                      <a:pt x="7" y="18"/>
                    </a:moveTo>
                    <a:lnTo>
                      <a:pt x="8" y="18"/>
                    </a:lnTo>
                    <a:lnTo>
                      <a:pt x="8" y="18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4" name="Freeform 63"/>
              <p:cNvSpPr>
                <a:spLocks/>
              </p:cNvSpPr>
              <p:nvPr/>
            </p:nvSpPr>
            <p:spPr bwMode="auto">
              <a:xfrm>
                <a:off x="5130" y="3989"/>
                <a:ext cx="12" cy="18"/>
              </a:xfrm>
              <a:custGeom>
                <a:avLst/>
                <a:gdLst>
                  <a:gd name="T0" fmla="*/ 7 w 12"/>
                  <a:gd name="T1" fmla="*/ 18 h 18"/>
                  <a:gd name="T2" fmla="*/ 8 w 12"/>
                  <a:gd name="T3" fmla="*/ 18 h 18"/>
                  <a:gd name="T4" fmla="*/ 9 w 12"/>
                  <a:gd name="T5" fmla="*/ 17 h 18"/>
                  <a:gd name="T6" fmla="*/ 11 w 12"/>
                  <a:gd name="T7" fmla="*/ 17 h 18"/>
                  <a:gd name="T8" fmla="*/ 11 w 12"/>
                  <a:gd name="T9" fmla="*/ 15 h 18"/>
                  <a:gd name="T10" fmla="*/ 12 w 12"/>
                  <a:gd name="T11" fmla="*/ 13 h 18"/>
                  <a:gd name="T12" fmla="*/ 12 w 12"/>
                  <a:gd name="T13" fmla="*/ 11 h 18"/>
                  <a:gd name="T14" fmla="*/ 12 w 12"/>
                  <a:gd name="T15" fmla="*/ 10 h 18"/>
                  <a:gd name="T16" fmla="*/ 12 w 12"/>
                  <a:gd name="T17" fmla="*/ 8 h 18"/>
                  <a:gd name="T18" fmla="*/ 12 w 12"/>
                  <a:gd name="T19" fmla="*/ 6 h 18"/>
                  <a:gd name="T20" fmla="*/ 11 w 12"/>
                  <a:gd name="T21" fmla="*/ 4 h 18"/>
                  <a:gd name="T22" fmla="*/ 11 w 12"/>
                  <a:gd name="T23" fmla="*/ 3 h 18"/>
                  <a:gd name="T24" fmla="*/ 9 w 12"/>
                  <a:gd name="T25" fmla="*/ 2 h 18"/>
                  <a:gd name="T26" fmla="*/ 8 w 12"/>
                  <a:gd name="T27" fmla="*/ 2 h 18"/>
                  <a:gd name="T28" fmla="*/ 8 w 12"/>
                  <a:gd name="T29" fmla="*/ 0 h 18"/>
                  <a:gd name="T30" fmla="*/ 7 w 12"/>
                  <a:gd name="T31" fmla="*/ 0 h 18"/>
                  <a:gd name="T32" fmla="*/ 5 w 12"/>
                  <a:gd name="T33" fmla="*/ 0 h 18"/>
                  <a:gd name="T34" fmla="*/ 4 w 12"/>
                  <a:gd name="T35" fmla="*/ 2 h 18"/>
                  <a:gd name="T36" fmla="*/ 3 w 12"/>
                  <a:gd name="T37" fmla="*/ 2 h 18"/>
                  <a:gd name="T38" fmla="*/ 1 w 12"/>
                  <a:gd name="T39" fmla="*/ 3 h 18"/>
                  <a:gd name="T40" fmla="*/ 0 w 12"/>
                  <a:gd name="T41" fmla="*/ 4 h 18"/>
                  <a:gd name="T42" fmla="*/ 0 w 12"/>
                  <a:gd name="T43" fmla="*/ 6 h 18"/>
                  <a:gd name="T44" fmla="*/ 0 w 12"/>
                  <a:gd name="T45" fmla="*/ 8 h 18"/>
                  <a:gd name="T46" fmla="*/ 0 w 12"/>
                  <a:gd name="T47" fmla="*/ 10 h 18"/>
                  <a:gd name="T48" fmla="*/ 0 w 12"/>
                  <a:gd name="T49" fmla="*/ 11 h 18"/>
                  <a:gd name="T50" fmla="*/ 0 w 12"/>
                  <a:gd name="T51" fmla="*/ 13 h 18"/>
                  <a:gd name="T52" fmla="*/ 0 w 12"/>
                  <a:gd name="T53" fmla="*/ 15 h 18"/>
                  <a:gd name="T54" fmla="*/ 1 w 12"/>
                  <a:gd name="T55" fmla="*/ 17 h 18"/>
                  <a:gd name="T56" fmla="*/ 3 w 12"/>
                  <a:gd name="T57" fmla="*/ 17 h 18"/>
                  <a:gd name="T58" fmla="*/ 4 w 12"/>
                  <a:gd name="T59" fmla="*/ 18 h 18"/>
                  <a:gd name="T60" fmla="*/ 5 w 12"/>
                  <a:gd name="T61" fmla="*/ 18 h 18"/>
                  <a:gd name="T62" fmla="*/ 7 w 12"/>
                  <a:gd name="T6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" h="18">
                    <a:moveTo>
                      <a:pt x="7" y="18"/>
                    </a:moveTo>
                    <a:lnTo>
                      <a:pt x="8" y="18"/>
                    </a:lnTo>
                    <a:lnTo>
                      <a:pt x="9" y="17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7" y="1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5" name="Freeform 64"/>
              <p:cNvSpPr>
                <a:spLocks/>
              </p:cNvSpPr>
              <p:nvPr/>
            </p:nvSpPr>
            <p:spPr bwMode="auto">
              <a:xfrm>
                <a:off x="5005" y="4079"/>
                <a:ext cx="23" cy="5"/>
              </a:xfrm>
              <a:custGeom>
                <a:avLst/>
                <a:gdLst>
                  <a:gd name="T0" fmla="*/ 12 w 23"/>
                  <a:gd name="T1" fmla="*/ 5 h 5"/>
                  <a:gd name="T2" fmla="*/ 15 w 23"/>
                  <a:gd name="T3" fmla="*/ 5 h 5"/>
                  <a:gd name="T4" fmla="*/ 16 w 23"/>
                  <a:gd name="T5" fmla="*/ 5 h 5"/>
                  <a:gd name="T6" fmla="*/ 19 w 23"/>
                  <a:gd name="T7" fmla="*/ 5 h 5"/>
                  <a:gd name="T8" fmla="*/ 20 w 23"/>
                  <a:gd name="T9" fmla="*/ 5 h 5"/>
                  <a:gd name="T10" fmla="*/ 22 w 23"/>
                  <a:gd name="T11" fmla="*/ 4 h 5"/>
                  <a:gd name="T12" fmla="*/ 23 w 23"/>
                  <a:gd name="T13" fmla="*/ 4 h 5"/>
                  <a:gd name="T14" fmla="*/ 23 w 23"/>
                  <a:gd name="T15" fmla="*/ 4 h 5"/>
                  <a:gd name="T16" fmla="*/ 23 w 23"/>
                  <a:gd name="T17" fmla="*/ 2 h 5"/>
                  <a:gd name="T18" fmla="*/ 23 w 23"/>
                  <a:gd name="T19" fmla="*/ 2 h 5"/>
                  <a:gd name="T20" fmla="*/ 23 w 23"/>
                  <a:gd name="T21" fmla="*/ 1 h 5"/>
                  <a:gd name="T22" fmla="*/ 22 w 23"/>
                  <a:gd name="T23" fmla="*/ 1 h 5"/>
                  <a:gd name="T24" fmla="*/ 20 w 23"/>
                  <a:gd name="T25" fmla="*/ 0 h 5"/>
                  <a:gd name="T26" fmla="*/ 19 w 23"/>
                  <a:gd name="T27" fmla="*/ 0 h 5"/>
                  <a:gd name="T28" fmla="*/ 16 w 23"/>
                  <a:gd name="T29" fmla="*/ 0 h 5"/>
                  <a:gd name="T30" fmla="*/ 15 w 23"/>
                  <a:gd name="T31" fmla="*/ 0 h 5"/>
                  <a:gd name="T32" fmla="*/ 12 w 23"/>
                  <a:gd name="T33" fmla="*/ 0 h 5"/>
                  <a:gd name="T34" fmla="*/ 9 w 23"/>
                  <a:gd name="T35" fmla="*/ 0 h 5"/>
                  <a:gd name="T36" fmla="*/ 6 w 23"/>
                  <a:gd name="T37" fmla="*/ 0 h 5"/>
                  <a:gd name="T38" fmla="*/ 5 w 23"/>
                  <a:gd name="T39" fmla="*/ 0 h 5"/>
                  <a:gd name="T40" fmla="*/ 4 w 23"/>
                  <a:gd name="T41" fmla="*/ 0 h 5"/>
                  <a:gd name="T42" fmla="*/ 2 w 23"/>
                  <a:gd name="T43" fmla="*/ 1 h 5"/>
                  <a:gd name="T44" fmla="*/ 1 w 23"/>
                  <a:gd name="T45" fmla="*/ 1 h 5"/>
                  <a:gd name="T46" fmla="*/ 1 w 23"/>
                  <a:gd name="T47" fmla="*/ 2 h 5"/>
                  <a:gd name="T48" fmla="*/ 0 w 23"/>
                  <a:gd name="T49" fmla="*/ 2 h 5"/>
                  <a:gd name="T50" fmla="*/ 1 w 23"/>
                  <a:gd name="T51" fmla="*/ 4 h 5"/>
                  <a:gd name="T52" fmla="*/ 1 w 23"/>
                  <a:gd name="T53" fmla="*/ 4 h 5"/>
                  <a:gd name="T54" fmla="*/ 2 w 23"/>
                  <a:gd name="T55" fmla="*/ 4 h 5"/>
                  <a:gd name="T56" fmla="*/ 4 w 23"/>
                  <a:gd name="T57" fmla="*/ 5 h 5"/>
                  <a:gd name="T58" fmla="*/ 5 w 23"/>
                  <a:gd name="T59" fmla="*/ 5 h 5"/>
                  <a:gd name="T60" fmla="*/ 6 w 23"/>
                  <a:gd name="T61" fmla="*/ 5 h 5"/>
                  <a:gd name="T62" fmla="*/ 9 w 23"/>
                  <a:gd name="T63" fmla="*/ 5 h 5"/>
                  <a:gd name="T64" fmla="*/ 12 w 23"/>
                  <a:gd name="T6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5">
                    <a:moveTo>
                      <a:pt x="12" y="5"/>
                    </a:moveTo>
                    <a:lnTo>
                      <a:pt x="15" y="5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2"/>
                    </a:lnTo>
                    <a:lnTo>
                      <a:pt x="23" y="1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6" name="Freeform 65"/>
              <p:cNvSpPr>
                <a:spLocks/>
              </p:cNvSpPr>
              <p:nvPr/>
            </p:nvSpPr>
            <p:spPr bwMode="auto">
              <a:xfrm>
                <a:off x="5005" y="4079"/>
                <a:ext cx="23" cy="5"/>
              </a:xfrm>
              <a:custGeom>
                <a:avLst/>
                <a:gdLst>
                  <a:gd name="T0" fmla="*/ 12 w 23"/>
                  <a:gd name="T1" fmla="*/ 5 h 5"/>
                  <a:gd name="T2" fmla="*/ 15 w 23"/>
                  <a:gd name="T3" fmla="*/ 5 h 5"/>
                  <a:gd name="T4" fmla="*/ 16 w 23"/>
                  <a:gd name="T5" fmla="*/ 5 h 5"/>
                  <a:gd name="T6" fmla="*/ 19 w 23"/>
                  <a:gd name="T7" fmla="*/ 5 h 5"/>
                  <a:gd name="T8" fmla="*/ 20 w 23"/>
                  <a:gd name="T9" fmla="*/ 5 h 5"/>
                  <a:gd name="T10" fmla="*/ 22 w 23"/>
                  <a:gd name="T11" fmla="*/ 4 h 5"/>
                  <a:gd name="T12" fmla="*/ 23 w 23"/>
                  <a:gd name="T13" fmla="*/ 4 h 5"/>
                  <a:gd name="T14" fmla="*/ 23 w 23"/>
                  <a:gd name="T15" fmla="*/ 2 h 5"/>
                  <a:gd name="T16" fmla="*/ 23 w 23"/>
                  <a:gd name="T17" fmla="*/ 1 h 5"/>
                  <a:gd name="T18" fmla="*/ 22 w 23"/>
                  <a:gd name="T19" fmla="*/ 1 h 5"/>
                  <a:gd name="T20" fmla="*/ 20 w 23"/>
                  <a:gd name="T21" fmla="*/ 0 h 5"/>
                  <a:gd name="T22" fmla="*/ 19 w 23"/>
                  <a:gd name="T23" fmla="*/ 0 h 5"/>
                  <a:gd name="T24" fmla="*/ 16 w 23"/>
                  <a:gd name="T25" fmla="*/ 0 h 5"/>
                  <a:gd name="T26" fmla="*/ 15 w 23"/>
                  <a:gd name="T27" fmla="*/ 0 h 5"/>
                  <a:gd name="T28" fmla="*/ 12 w 23"/>
                  <a:gd name="T29" fmla="*/ 0 h 5"/>
                  <a:gd name="T30" fmla="*/ 9 w 23"/>
                  <a:gd name="T31" fmla="*/ 0 h 5"/>
                  <a:gd name="T32" fmla="*/ 6 w 23"/>
                  <a:gd name="T33" fmla="*/ 0 h 5"/>
                  <a:gd name="T34" fmla="*/ 5 w 23"/>
                  <a:gd name="T35" fmla="*/ 0 h 5"/>
                  <a:gd name="T36" fmla="*/ 4 w 23"/>
                  <a:gd name="T37" fmla="*/ 0 h 5"/>
                  <a:gd name="T38" fmla="*/ 2 w 23"/>
                  <a:gd name="T39" fmla="*/ 1 h 5"/>
                  <a:gd name="T40" fmla="*/ 1 w 23"/>
                  <a:gd name="T41" fmla="*/ 1 h 5"/>
                  <a:gd name="T42" fmla="*/ 1 w 23"/>
                  <a:gd name="T43" fmla="*/ 2 h 5"/>
                  <a:gd name="T44" fmla="*/ 0 w 23"/>
                  <a:gd name="T45" fmla="*/ 2 h 5"/>
                  <a:gd name="T46" fmla="*/ 1 w 23"/>
                  <a:gd name="T47" fmla="*/ 4 h 5"/>
                  <a:gd name="T48" fmla="*/ 2 w 23"/>
                  <a:gd name="T49" fmla="*/ 4 h 5"/>
                  <a:gd name="T50" fmla="*/ 4 w 23"/>
                  <a:gd name="T51" fmla="*/ 5 h 5"/>
                  <a:gd name="T52" fmla="*/ 5 w 23"/>
                  <a:gd name="T53" fmla="*/ 5 h 5"/>
                  <a:gd name="T54" fmla="*/ 6 w 23"/>
                  <a:gd name="T55" fmla="*/ 5 h 5"/>
                  <a:gd name="T56" fmla="*/ 9 w 23"/>
                  <a:gd name="T57" fmla="*/ 5 h 5"/>
                  <a:gd name="T58" fmla="*/ 12 w 23"/>
                  <a:gd name="T5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5">
                    <a:moveTo>
                      <a:pt x="12" y="5"/>
                    </a:moveTo>
                    <a:lnTo>
                      <a:pt x="15" y="5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20" y="5"/>
                    </a:lnTo>
                    <a:lnTo>
                      <a:pt x="22" y="4"/>
                    </a:lnTo>
                    <a:lnTo>
                      <a:pt x="23" y="4"/>
                    </a:lnTo>
                    <a:lnTo>
                      <a:pt x="23" y="2"/>
                    </a:lnTo>
                    <a:lnTo>
                      <a:pt x="23" y="1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12" y="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7" name="Freeform 66"/>
              <p:cNvSpPr>
                <a:spLocks/>
              </p:cNvSpPr>
              <p:nvPr/>
            </p:nvSpPr>
            <p:spPr bwMode="auto">
              <a:xfrm>
                <a:off x="5243" y="4077"/>
                <a:ext cx="33" cy="8"/>
              </a:xfrm>
              <a:custGeom>
                <a:avLst/>
                <a:gdLst>
                  <a:gd name="T0" fmla="*/ 16 w 33"/>
                  <a:gd name="T1" fmla="*/ 8 h 8"/>
                  <a:gd name="T2" fmla="*/ 19 w 33"/>
                  <a:gd name="T3" fmla="*/ 8 h 8"/>
                  <a:gd name="T4" fmla="*/ 22 w 33"/>
                  <a:gd name="T5" fmla="*/ 7 h 8"/>
                  <a:gd name="T6" fmla="*/ 24 w 33"/>
                  <a:gd name="T7" fmla="*/ 7 h 8"/>
                  <a:gd name="T8" fmla="*/ 27 w 33"/>
                  <a:gd name="T9" fmla="*/ 7 h 8"/>
                  <a:gd name="T10" fmla="*/ 30 w 33"/>
                  <a:gd name="T11" fmla="*/ 6 h 8"/>
                  <a:gd name="T12" fmla="*/ 31 w 33"/>
                  <a:gd name="T13" fmla="*/ 6 h 8"/>
                  <a:gd name="T14" fmla="*/ 31 w 33"/>
                  <a:gd name="T15" fmla="*/ 4 h 8"/>
                  <a:gd name="T16" fmla="*/ 33 w 33"/>
                  <a:gd name="T17" fmla="*/ 4 h 8"/>
                  <a:gd name="T18" fmla="*/ 31 w 33"/>
                  <a:gd name="T19" fmla="*/ 3 h 8"/>
                  <a:gd name="T20" fmla="*/ 31 w 33"/>
                  <a:gd name="T21" fmla="*/ 2 h 8"/>
                  <a:gd name="T22" fmla="*/ 30 w 33"/>
                  <a:gd name="T23" fmla="*/ 2 h 8"/>
                  <a:gd name="T24" fmla="*/ 27 w 33"/>
                  <a:gd name="T25" fmla="*/ 2 h 8"/>
                  <a:gd name="T26" fmla="*/ 24 w 33"/>
                  <a:gd name="T27" fmla="*/ 0 h 8"/>
                  <a:gd name="T28" fmla="*/ 22 w 33"/>
                  <a:gd name="T29" fmla="*/ 0 h 8"/>
                  <a:gd name="T30" fmla="*/ 19 w 33"/>
                  <a:gd name="T31" fmla="*/ 0 h 8"/>
                  <a:gd name="T32" fmla="*/ 16 w 33"/>
                  <a:gd name="T33" fmla="*/ 0 h 8"/>
                  <a:gd name="T34" fmla="*/ 12 w 33"/>
                  <a:gd name="T35" fmla="*/ 0 h 8"/>
                  <a:gd name="T36" fmla="*/ 9 w 33"/>
                  <a:gd name="T37" fmla="*/ 0 h 8"/>
                  <a:gd name="T38" fmla="*/ 6 w 33"/>
                  <a:gd name="T39" fmla="*/ 0 h 8"/>
                  <a:gd name="T40" fmla="*/ 5 w 33"/>
                  <a:gd name="T41" fmla="*/ 2 h 8"/>
                  <a:gd name="T42" fmla="*/ 2 w 33"/>
                  <a:gd name="T43" fmla="*/ 2 h 8"/>
                  <a:gd name="T44" fmla="*/ 1 w 33"/>
                  <a:gd name="T45" fmla="*/ 2 h 8"/>
                  <a:gd name="T46" fmla="*/ 1 w 33"/>
                  <a:gd name="T47" fmla="*/ 3 h 8"/>
                  <a:gd name="T48" fmla="*/ 0 w 33"/>
                  <a:gd name="T49" fmla="*/ 4 h 8"/>
                  <a:gd name="T50" fmla="*/ 1 w 33"/>
                  <a:gd name="T51" fmla="*/ 4 h 8"/>
                  <a:gd name="T52" fmla="*/ 1 w 33"/>
                  <a:gd name="T53" fmla="*/ 6 h 8"/>
                  <a:gd name="T54" fmla="*/ 2 w 33"/>
                  <a:gd name="T55" fmla="*/ 6 h 8"/>
                  <a:gd name="T56" fmla="*/ 5 w 33"/>
                  <a:gd name="T57" fmla="*/ 7 h 8"/>
                  <a:gd name="T58" fmla="*/ 6 w 33"/>
                  <a:gd name="T59" fmla="*/ 7 h 8"/>
                  <a:gd name="T60" fmla="*/ 9 w 33"/>
                  <a:gd name="T61" fmla="*/ 7 h 8"/>
                  <a:gd name="T62" fmla="*/ 12 w 33"/>
                  <a:gd name="T63" fmla="*/ 8 h 8"/>
                  <a:gd name="T64" fmla="*/ 16 w 33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8">
                    <a:moveTo>
                      <a:pt x="16" y="8"/>
                    </a:moveTo>
                    <a:lnTo>
                      <a:pt x="19" y="8"/>
                    </a:lnTo>
                    <a:lnTo>
                      <a:pt x="22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1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9" y="7"/>
                    </a:lnTo>
                    <a:lnTo>
                      <a:pt x="12" y="8"/>
                    </a:lnTo>
                    <a:lnTo>
                      <a:pt x="16" y="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8" name="Freeform 67"/>
              <p:cNvSpPr>
                <a:spLocks/>
              </p:cNvSpPr>
              <p:nvPr/>
            </p:nvSpPr>
            <p:spPr bwMode="auto">
              <a:xfrm>
                <a:off x="5243" y="4077"/>
                <a:ext cx="33" cy="8"/>
              </a:xfrm>
              <a:custGeom>
                <a:avLst/>
                <a:gdLst>
                  <a:gd name="T0" fmla="*/ 16 w 33"/>
                  <a:gd name="T1" fmla="*/ 8 h 8"/>
                  <a:gd name="T2" fmla="*/ 19 w 33"/>
                  <a:gd name="T3" fmla="*/ 8 h 8"/>
                  <a:gd name="T4" fmla="*/ 22 w 33"/>
                  <a:gd name="T5" fmla="*/ 7 h 8"/>
                  <a:gd name="T6" fmla="*/ 24 w 33"/>
                  <a:gd name="T7" fmla="*/ 7 h 8"/>
                  <a:gd name="T8" fmla="*/ 27 w 33"/>
                  <a:gd name="T9" fmla="*/ 7 h 8"/>
                  <a:gd name="T10" fmla="*/ 30 w 33"/>
                  <a:gd name="T11" fmla="*/ 6 h 8"/>
                  <a:gd name="T12" fmla="*/ 31 w 33"/>
                  <a:gd name="T13" fmla="*/ 6 h 8"/>
                  <a:gd name="T14" fmla="*/ 31 w 33"/>
                  <a:gd name="T15" fmla="*/ 4 h 8"/>
                  <a:gd name="T16" fmla="*/ 33 w 33"/>
                  <a:gd name="T17" fmla="*/ 4 h 8"/>
                  <a:gd name="T18" fmla="*/ 31 w 33"/>
                  <a:gd name="T19" fmla="*/ 3 h 8"/>
                  <a:gd name="T20" fmla="*/ 31 w 33"/>
                  <a:gd name="T21" fmla="*/ 2 h 8"/>
                  <a:gd name="T22" fmla="*/ 30 w 33"/>
                  <a:gd name="T23" fmla="*/ 2 h 8"/>
                  <a:gd name="T24" fmla="*/ 27 w 33"/>
                  <a:gd name="T25" fmla="*/ 2 h 8"/>
                  <a:gd name="T26" fmla="*/ 24 w 33"/>
                  <a:gd name="T27" fmla="*/ 0 h 8"/>
                  <a:gd name="T28" fmla="*/ 22 w 33"/>
                  <a:gd name="T29" fmla="*/ 0 h 8"/>
                  <a:gd name="T30" fmla="*/ 19 w 33"/>
                  <a:gd name="T31" fmla="*/ 0 h 8"/>
                  <a:gd name="T32" fmla="*/ 16 w 33"/>
                  <a:gd name="T33" fmla="*/ 0 h 8"/>
                  <a:gd name="T34" fmla="*/ 12 w 33"/>
                  <a:gd name="T35" fmla="*/ 0 h 8"/>
                  <a:gd name="T36" fmla="*/ 9 w 33"/>
                  <a:gd name="T37" fmla="*/ 0 h 8"/>
                  <a:gd name="T38" fmla="*/ 6 w 33"/>
                  <a:gd name="T39" fmla="*/ 0 h 8"/>
                  <a:gd name="T40" fmla="*/ 5 w 33"/>
                  <a:gd name="T41" fmla="*/ 2 h 8"/>
                  <a:gd name="T42" fmla="*/ 2 w 33"/>
                  <a:gd name="T43" fmla="*/ 2 h 8"/>
                  <a:gd name="T44" fmla="*/ 1 w 33"/>
                  <a:gd name="T45" fmla="*/ 2 h 8"/>
                  <a:gd name="T46" fmla="*/ 1 w 33"/>
                  <a:gd name="T47" fmla="*/ 3 h 8"/>
                  <a:gd name="T48" fmla="*/ 0 w 33"/>
                  <a:gd name="T49" fmla="*/ 4 h 8"/>
                  <a:gd name="T50" fmla="*/ 1 w 33"/>
                  <a:gd name="T51" fmla="*/ 4 h 8"/>
                  <a:gd name="T52" fmla="*/ 1 w 33"/>
                  <a:gd name="T53" fmla="*/ 6 h 8"/>
                  <a:gd name="T54" fmla="*/ 2 w 33"/>
                  <a:gd name="T55" fmla="*/ 6 h 8"/>
                  <a:gd name="T56" fmla="*/ 5 w 33"/>
                  <a:gd name="T57" fmla="*/ 7 h 8"/>
                  <a:gd name="T58" fmla="*/ 6 w 33"/>
                  <a:gd name="T59" fmla="*/ 7 h 8"/>
                  <a:gd name="T60" fmla="*/ 9 w 33"/>
                  <a:gd name="T61" fmla="*/ 7 h 8"/>
                  <a:gd name="T62" fmla="*/ 12 w 33"/>
                  <a:gd name="T63" fmla="*/ 8 h 8"/>
                  <a:gd name="T64" fmla="*/ 16 w 33"/>
                  <a:gd name="T6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8">
                    <a:moveTo>
                      <a:pt x="16" y="8"/>
                    </a:moveTo>
                    <a:lnTo>
                      <a:pt x="19" y="8"/>
                    </a:lnTo>
                    <a:lnTo>
                      <a:pt x="22" y="7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0" y="6"/>
                    </a:lnTo>
                    <a:lnTo>
                      <a:pt x="31" y="6"/>
                    </a:lnTo>
                    <a:lnTo>
                      <a:pt x="31" y="4"/>
                    </a:lnTo>
                    <a:lnTo>
                      <a:pt x="33" y="4"/>
                    </a:lnTo>
                    <a:lnTo>
                      <a:pt x="31" y="3"/>
                    </a:lnTo>
                    <a:lnTo>
                      <a:pt x="31" y="2"/>
                    </a:lnTo>
                    <a:lnTo>
                      <a:pt x="30" y="2"/>
                    </a:lnTo>
                    <a:lnTo>
                      <a:pt x="27" y="2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2" y="6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9" y="7"/>
                    </a:lnTo>
                    <a:lnTo>
                      <a:pt x="12" y="8"/>
                    </a:lnTo>
                    <a:lnTo>
                      <a:pt x="16" y="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9" name="Freeform 68"/>
              <p:cNvSpPr>
                <a:spLocks/>
              </p:cNvSpPr>
              <p:nvPr/>
            </p:nvSpPr>
            <p:spPr bwMode="auto">
              <a:xfrm>
                <a:off x="5325" y="3993"/>
                <a:ext cx="26" cy="15"/>
              </a:xfrm>
              <a:custGeom>
                <a:avLst/>
                <a:gdLst>
                  <a:gd name="T0" fmla="*/ 14 w 26"/>
                  <a:gd name="T1" fmla="*/ 15 h 15"/>
                  <a:gd name="T2" fmla="*/ 17 w 26"/>
                  <a:gd name="T3" fmla="*/ 15 h 15"/>
                  <a:gd name="T4" fmla="*/ 18 w 26"/>
                  <a:gd name="T5" fmla="*/ 15 h 15"/>
                  <a:gd name="T6" fmla="*/ 21 w 26"/>
                  <a:gd name="T7" fmla="*/ 14 h 15"/>
                  <a:gd name="T8" fmla="*/ 22 w 26"/>
                  <a:gd name="T9" fmla="*/ 13 h 15"/>
                  <a:gd name="T10" fmla="*/ 24 w 26"/>
                  <a:gd name="T11" fmla="*/ 13 h 15"/>
                  <a:gd name="T12" fmla="*/ 25 w 26"/>
                  <a:gd name="T13" fmla="*/ 11 h 15"/>
                  <a:gd name="T14" fmla="*/ 26 w 26"/>
                  <a:gd name="T15" fmla="*/ 10 h 15"/>
                  <a:gd name="T16" fmla="*/ 26 w 26"/>
                  <a:gd name="T17" fmla="*/ 7 h 15"/>
                  <a:gd name="T18" fmla="*/ 26 w 26"/>
                  <a:gd name="T19" fmla="*/ 6 h 15"/>
                  <a:gd name="T20" fmla="*/ 25 w 26"/>
                  <a:gd name="T21" fmla="*/ 4 h 15"/>
                  <a:gd name="T22" fmla="*/ 24 w 26"/>
                  <a:gd name="T23" fmla="*/ 3 h 15"/>
                  <a:gd name="T24" fmla="*/ 22 w 26"/>
                  <a:gd name="T25" fmla="*/ 3 h 15"/>
                  <a:gd name="T26" fmla="*/ 21 w 26"/>
                  <a:gd name="T27" fmla="*/ 2 h 15"/>
                  <a:gd name="T28" fmla="*/ 18 w 26"/>
                  <a:gd name="T29" fmla="*/ 0 h 15"/>
                  <a:gd name="T30" fmla="*/ 17 w 26"/>
                  <a:gd name="T31" fmla="*/ 0 h 15"/>
                  <a:gd name="T32" fmla="*/ 14 w 26"/>
                  <a:gd name="T33" fmla="*/ 0 h 15"/>
                  <a:gd name="T34" fmla="*/ 11 w 26"/>
                  <a:gd name="T35" fmla="*/ 0 h 15"/>
                  <a:gd name="T36" fmla="*/ 8 w 26"/>
                  <a:gd name="T37" fmla="*/ 0 h 15"/>
                  <a:gd name="T38" fmla="*/ 6 w 26"/>
                  <a:gd name="T39" fmla="*/ 2 h 15"/>
                  <a:gd name="T40" fmla="*/ 4 w 26"/>
                  <a:gd name="T41" fmla="*/ 3 h 15"/>
                  <a:gd name="T42" fmla="*/ 2 w 26"/>
                  <a:gd name="T43" fmla="*/ 3 h 15"/>
                  <a:gd name="T44" fmla="*/ 0 w 26"/>
                  <a:gd name="T45" fmla="*/ 4 h 15"/>
                  <a:gd name="T46" fmla="*/ 0 w 26"/>
                  <a:gd name="T47" fmla="*/ 6 h 15"/>
                  <a:gd name="T48" fmla="*/ 0 w 26"/>
                  <a:gd name="T49" fmla="*/ 7 h 15"/>
                  <a:gd name="T50" fmla="*/ 0 w 26"/>
                  <a:gd name="T51" fmla="*/ 10 h 15"/>
                  <a:gd name="T52" fmla="*/ 0 w 26"/>
                  <a:gd name="T53" fmla="*/ 11 h 15"/>
                  <a:gd name="T54" fmla="*/ 2 w 26"/>
                  <a:gd name="T55" fmla="*/ 13 h 15"/>
                  <a:gd name="T56" fmla="*/ 4 w 26"/>
                  <a:gd name="T57" fmla="*/ 13 h 15"/>
                  <a:gd name="T58" fmla="*/ 6 w 26"/>
                  <a:gd name="T59" fmla="*/ 14 h 15"/>
                  <a:gd name="T60" fmla="*/ 8 w 26"/>
                  <a:gd name="T61" fmla="*/ 15 h 15"/>
                  <a:gd name="T62" fmla="*/ 11 w 26"/>
                  <a:gd name="T63" fmla="*/ 15 h 15"/>
                  <a:gd name="T64" fmla="*/ 14 w 26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lnTo>
                      <a:pt x="17" y="1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2" y="13"/>
                    </a:lnTo>
                    <a:lnTo>
                      <a:pt x="24" y="13"/>
                    </a:lnTo>
                    <a:lnTo>
                      <a:pt x="25" y="11"/>
                    </a:lnTo>
                    <a:lnTo>
                      <a:pt x="26" y="10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4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4"/>
                    </a:lnTo>
                    <a:lnTo>
                      <a:pt x="8" y="15"/>
                    </a:lnTo>
                    <a:lnTo>
                      <a:pt x="11" y="15"/>
                    </a:lnTo>
                    <a:lnTo>
                      <a:pt x="14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0" name="Freeform 69"/>
              <p:cNvSpPr>
                <a:spLocks/>
              </p:cNvSpPr>
              <p:nvPr/>
            </p:nvSpPr>
            <p:spPr bwMode="auto">
              <a:xfrm>
                <a:off x="5325" y="3993"/>
                <a:ext cx="26" cy="15"/>
              </a:xfrm>
              <a:custGeom>
                <a:avLst/>
                <a:gdLst>
                  <a:gd name="T0" fmla="*/ 14 w 26"/>
                  <a:gd name="T1" fmla="*/ 15 h 15"/>
                  <a:gd name="T2" fmla="*/ 17 w 26"/>
                  <a:gd name="T3" fmla="*/ 15 h 15"/>
                  <a:gd name="T4" fmla="*/ 18 w 26"/>
                  <a:gd name="T5" fmla="*/ 15 h 15"/>
                  <a:gd name="T6" fmla="*/ 21 w 26"/>
                  <a:gd name="T7" fmla="*/ 14 h 15"/>
                  <a:gd name="T8" fmla="*/ 22 w 26"/>
                  <a:gd name="T9" fmla="*/ 13 h 15"/>
                  <a:gd name="T10" fmla="*/ 24 w 26"/>
                  <a:gd name="T11" fmla="*/ 13 h 15"/>
                  <a:gd name="T12" fmla="*/ 25 w 26"/>
                  <a:gd name="T13" fmla="*/ 11 h 15"/>
                  <a:gd name="T14" fmla="*/ 26 w 26"/>
                  <a:gd name="T15" fmla="*/ 10 h 15"/>
                  <a:gd name="T16" fmla="*/ 26 w 26"/>
                  <a:gd name="T17" fmla="*/ 7 h 15"/>
                  <a:gd name="T18" fmla="*/ 26 w 26"/>
                  <a:gd name="T19" fmla="*/ 6 h 15"/>
                  <a:gd name="T20" fmla="*/ 25 w 26"/>
                  <a:gd name="T21" fmla="*/ 4 h 15"/>
                  <a:gd name="T22" fmla="*/ 24 w 26"/>
                  <a:gd name="T23" fmla="*/ 3 h 15"/>
                  <a:gd name="T24" fmla="*/ 22 w 26"/>
                  <a:gd name="T25" fmla="*/ 3 h 15"/>
                  <a:gd name="T26" fmla="*/ 21 w 26"/>
                  <a:gd name="T27" fmla="*/ 2 h 15"/>
                  <a:gd name="T28" fmla="*/ 18 w 26"/>
                  <a:gd name="T29" fmla="*/ 0 h 15"/>
                  <a:gd name="T30" fmla="*/ 17 w 26"/>
                  <a:gd name="T31" fmla="*/ 0 h 15"/>
                  <a:gd name="T32" fmla="*/ 14 w 26"/>
                  <a:gd name="T33" fmla="*/ 0 h 15"/>
                  <a:gd name="T34" fmla="*/ 11 w 26"/>
                  <a:gd name="T35" fmla="*/ 0 h 15"/>
                  <a:gd name="T36" fmla="*/ 8 w 26"/>
                  <a:gd name="T37" fmla="*/ 0 h 15"/>
                  <a:gd name="T38" fmla="*/ 6 w 26"/>
                  <a:gd name="T39" fmla="*/ 2 h 15"/>
                  <a:gd name="T40" fmla="*/ 4 w 26"/>
                  <a:gd name="T41" fmla="*/ 3 h 15"/>
                  <a:gd name="T42" fmla="*/ 2 w 26"/>
                  <a:gd name="T43" fmla="*/ 3 h 15"/>
                  <a:gd name="T44" fmla="*/ 0 w 26"/>
                  <a:gd name="T45" fmla="*/ 4 h 15"/>
                  <a:gd name="T46" fmla="*/ 0 w 26"/>
                  <a:gd name="T47" fmla="*/ 6 h 15"/>
                  <a:gd name="T48" fmla="*/ 0 w 26"/>
                  <a:gd name="T49" fmla="*/ 7 h 15"/>
                  <a:gd name="T50" fmla="*/ 0 w 26"/>
                  <a:gd name="T51" fmla="*/ 10 h 15"/>
                  <a:gd name="T52" fmla="*/ 0 w 26"/>
                  <a:gd name="T53" fmla="*/ 11 h 15"/>
                  <a:gd name="T54" fmla="*/ 2 w 26"/>
                  <a:gd name="T55" fmla="*/ 13 h 15"/>
                  <a:gd name="T56" fmla="*/ 4 w 26"/>
                  <a:gd name="T57" fmla="*/ 13 h 15"/>
                  <a:gd name="T58" fmla="*/ 6 w 26"/>
                  <a:gd name="T59" fmla="*/ 14 h 15"/>
                  <a:gd name="T60" fmla="*/ 8 w 26"/>
                  <a:gd name="T61" fmla="*/ 15 h 15"/>
                  <a:gd name="T62" fmla="*/ 11 w 26"/>
                  <a:gd name="T63" fmla="*/ 15 h 15"/>
                  <a:gd name="T64" fmla="*/ 14 w 26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6" h="15">
                    <a:moveTo>
                      <a:pt x="14" y="15"/>
                    </a:moveTo>
                    <a:lnTo>
                      <a:pt x="17" y="15"/>
                    </a:lnTo>
                    <a:lnTo>
                      <a:pt x="18" y="15"/>
                    </a:lnTo>
                    <a:lnTo>
                      <a:pt x="21" y="14"/>
                    </a:lnTo>
                    <a:lnTo>
                      <a:pt x="22" y="13"/>
                    </a:lnTo>
                    <a:lnTo>
                      <a:pt x="24" y="13"/>
                    </a:lnTo>
                    <a:lnTo>
                      <a:pt x="25" y="11"/>
                    </a:lnTo>
                    <a:lnTo>
                      <a:pt x="26" y="10"/>
                    </a:lnTo>
                    <a:lnTo>
                      <a:pt x="26" y="7"/>
                    </a:lnTo>
                    <a:lnTo>
                      <a:pt x="26" y="6"/>
                    </a:lnTo>
                    <a:lnTo>
                      <a:pt x="25" y="4"/>
                    </a:lnTo>
                    <a:lnTo>
                      <a:pt x="24" y="3"/>
                    </a:lnTo>
                    <a:lnTo>
                      <a:pt x="22" y="3"/>
                    </a:lnTo>
                    <a:lnTo>
                      <a:pt x="21" y="2"/>
                    </a:lnTo>
                    <a:lnTo>
                      <a:pt x="18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4"/>
                    </a:lnTo>
                    <a:lnTo>
                      <a:pt x="8" y="15"/>
                    </a:lnTo>
                    <a:lnTo>
                      <a:pt x="11" y="15"/>
                    </a:lnTo>
                    <a:lnTo>
                      <a:pt x="14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1" name="Freeform 70"/>
              <p:cNvSpPr>
                <a:spLocks/>
              </p:cNvSpPr>
              <p:nvPr/>
            </p:nvSpPr>
            <p:spPr bwMode="auto">
              <a:xfrm>
                <a:off x="5361" y="3933"/>
                <a:ext cx="30" cy="16"/>
              </a:xfrm>
              <a:custGeom>
                <a:avLst/>
                <a:gdLst>
                  <a:gd name="T0" fmla="*/ 15 w 30"/>
                  <a:gd name="T1" fmla="*/ 16 h 16"/>
                  <a:gd name="T2" fmla="*/ 18 w 30"/>
                  <a:gd name="T3" fmla="*/ 16 h 16"/>
                  <a:gd name="T4" fmla="*/ 21 w 30"/>
                  <a:gd name="T5" fmla="*/ 16 h 16"/>
                  <a:gd name="T6" fmla="*/ 23 w 30"/>
                  <a:gd name="T7" fmla="*/ 15 h 16"/>
                  <a:gd name="T8" fmla="*/ 26 w 30"/>
                  <a:gd name="T9" fmla="*/ 14 h 16"/>
                  <a:gd name="T10" fmla="*/ 27 w 30"/>
                  <a:gd name="T11" fmla="*/ 12 h 16"/>
                  <a:gd name="T12" fmla="*/ 29 w 30"/>
                  <a:gd name="T13" fmla="*/ 11 h 16"/>
                  <a:gd name="T14" fmla="*/ 30 w 30"/>
                  <a:gd name="T15" fmla="*/ 9 h 16"/>
                  <a:gd name="T16" fmla="*/ 30 w 30"/>
                  <a:gd name="T17" fmla="*/ 8 h 16"/>
                  <a:gd name="T18" fmla="*/ 30 w 30"/>
                  <a:gd name="T19" fmla="*/ 7 h 16"/>
                  <a:gd name="T20" fmla="*/ 29 w 30"/>
                  <a:gd name="T21" fmla="*/ 5 h 16"/>
                  <a:gd name="T22" fmla="*/ 27 w 30"/>
                  <a:gd name="T23" fmla="*/ 4 h 16"/>
                  <a:gd name="T24" fmla="*/ 26 w 30"/>
                  <a:gd name="T25" fmla="*/ 3 h 16"/>
                  <a:gd name="T26" fmla="*/ 23 w 30"/>
                  <a:gd name="T27" fmla="*/ 1 h 16"/>
                  <a:gd name="T28" fmla="*/ 21 w 30"/>
                  <a:gd name="T29" fmla="*/ 0 h 16"/>
                  <a:gd name="T30" fmla="*/ 18 w 30"/>
                  <a:gd name="T31" fmla="*/ 0 h 16"/>
                  <a:gd name="T32" fmla="*/ 15 w 30"/>
                  <a:gd name="T33" fmla="*/ 0 h 16"/>
                  <a:gd name="T34" fmla="*/ 12 w 30"/>
                  <a:gd name="T35" fmla="*/ 0 h 16"/>
                  <a:gd name="T36" fmla="*/ 10 w 30"/>
                  <a:gd name="T37" fmla="*/ 0 h 16"/>
                  <a:gd name="T38" fmla="*/ 7 w 30"/>
                  <a:gd name="T39" fmla="*/ 1 h 16"/>
                  <a:gd name="T40" fmla="*/ 4 w 30"/>
                  <a:gd name="T41" fmla="*/ 3 h 16"/>
                  <a:gd name="T42" fmla="*/ 3 w 30"/>
                  <a:gd name="T43" fmla="*/ 4 h 16"/>
                  <a:gd name="T44" fmla="*/ 1 w 30"/>
                  <a:gd name="T45" fmla="*/ 5 h 16"/>
                  <a:gd name="T46" fmla="*/ 0 w 30"/>
                  <a:gd name="T47" fmla="*/ 7 h 16"/>
                  <a:gd name="T48" fmla="*/ 0 w 30"/>
                  <a:gd name="T49" fmla="*/ 8 h 16"/>
                  <a:gd name="T50" fmla="*/ 0 w 30"/>
                  <a:gd name="T51" fmla="*/ 9 h 16"/>
                  <a:gd name="T52" fmla="*/ 1 w 30"/>
                  <a:gd name="T53" fmla="*/ 11 h 16"/>
                  <a:gd name="T54" fmla="*/ 3 w 30"/>
                  <a:gd name="T55" fmla="*/ 12 h 16"/>
                  <a:gd name="T56" fmla="*/ 4 w 30"/>
                  <a:gd name="T57" fmla="*/ 14 h 16"/>
                  <a:gd name="T58" fmla="*/ 7 w 30"/>
                  <a:gd name="T59" fmla="*/ 15 h 16"/>
                  <a:gd name="T60" fmla="*/ 10 w 30"/>
                  <a:gd name="T61" fmla="*/ 16 h 16"/>
                  <a:gd name="T62" fmla="*/ 12 w 30"/>
                  <a:gd name="T63" fmla="*/ 16 h 16"/>
                  <a:gd name="T64" fmla="*/ 15 w 30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6">
                    <a:moveTo>
                      <a:pt x="15" y="16"/>
                    </a:moveTo>
                    <a:lnTo>
                      <a:pt x="18" y="16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6" y="14"/>
                    </a:lnTo>
                    <a:lnTo>
                      <a:pt x="27" y="12"/>
                    </a:lnTo>
                    <a:lnTo>
                      <a:pt x="29" y="11"/>
                    </a:lnTo>
                    <a:lnTo>
                      <a:pt x="30" y="9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29" y="5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7" y="15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5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2" name="Freeform 71"/>
              <p:cNvSpPr>
                <a:spLocks/>
              </p:cNvSpPr>
              <p:nvPr/>
            </p:nvSpPr>
            <p:spPr bwMode="auto">
              <a:xfrm>
                <a:off x="5361" y="3933"/>
                <a:ext cx="30" cy="16"/>
              </a:xfrm>
              <a:custGeom>
                <a:avLst/>
                <a:gdLst>
                  <a:gd name="T0" fmla="*/ 15 w 30"/>
                  <a:gd name="T1" fmla="*/ 16 h 16"/>
                  <a:gd name="T2" fmla="*/ 18 w 30"/>
                  <a:gd name="T3" fmla="*/ 16 h 16"/>
                  <a:gd name="T4" fmla="*/ 21 w 30"/>
                  <a:gd name="T5" fmla="*/ 16 h 16"/>
                  <a:gd name="T6" fmla="*/ 23 w 30"/>
                  <a:gd name="T7" fmla="*/ 15 h 16"/>
                  <a:gd name="T8" fmla="*/ 26 w 30"/>
                  <a:gd name="T9" fmla="*/ 14 h 16"/>
                  <a:gd name="T10" fmla="*/ 27 w 30"/>
                  <a:gd name="T11" fmla="*/ 12 h 16"/>
                  <a:gd name="T12" fmla="*/ 29 w 30"/>
                  <a:gd name="T13" fmla="*/ 11 h 16"/>
                  <a:gd name="T14" fmla="*/ 30 w 30"/>
                  <a:gd name="T15" fmla="*/ 9 h 16"/>
                  <a:gd name="T16" fmla="*/ 30 w 30"/>
                  <a:gd name="T17" fmla="*/ 8 h 16"/>
                  <a:gd name="T18" fmla="*/ 30 w 30"/>
                  <a:gd name="T19" fmla="*/ 7 h 16"/>
                  <a:gd name="T20" fmla="*/ 29 w 30"/>
                  <a:gd name="T21" fmla="*/ 5 h 16"/>
                  <a:gd name="T22" fmla="*/ 27 w 30"/>
                  <a:gd name="T23" fmla="*/ 4 h 16"/>
                  <a:gd name="T24" fmla="*/ 26 w 30"/>
                  <a:gd name="T25" fmla="*/ 3 h 16"/>
                  <a:gd name="T26" fmla="*/ 23 w 30"/>
                  <a:gd name="T27" fmla="*/ 1 h 16"/>
                  <a:gd name="T28" fmla="*/ 21 w 30"/>
                  <a:gd name="T29" fmla="*/ 0 h 16"/>
                  <a:gd name="T30" fmla="*/ 18 w 30"/>
                  <a:gd name="T31" fmla="*/ 0 h 16"/>
                  <a:gd name="T32" fmla="*/ 15 w 30"/>
                  <a:gd name="T33" fmla="*/ 0 h 16"/>
                  <a:gd name="T34" fmla="*/ 12 w 30"/>
                  <a:gd name="T35" fmla="*/ 0 h 16"/>
                  <a:gd name="T36" fmla="*/ 10 w 30"/>
                  <a:gd name="T37" fmla="*/ 0 h 16"/>
                  <a:gd name="T38" fmla="*/ 7 w 30"/>
                  <a:gd name="T39" fmla="*/ 1 h 16"/>
                  <a:gd name="T40" fmla="*/ 4 w 30"/>
                  <a:gd name="T41" fmla="*/ 3 h 16"/>
                  <a:gd name="T42" fmla="*/ 3 w 30"/>
                  <a:gd name="T43" fmla="*/ 4 h 16"/>
                  <a:gd name="T44" fmla="*/ 1 w 30"/>
                  <a:gd name="T45" fmla="*/ 5 h 16"/>
                  <a:gd name="T46" fmla="*/ 0 w 30"/>
                  <a:gd name="T47" fmla="*/ 7 h 16"/>
                  <a:gd name="T48" fmla="*/ 0 w 30"/>
                  <a:gd name="T49" fmla="*/ 8 h 16"/>
                  <a:gd name="T50" fmla="*/ 0 w 30"/>
                  <a:gd name="T51" fmla="*/ 9 h 16"/>
                  <a:gd name="T52" fmla="*/ 1 w 30"/>
                  <a:gd name="T53" fmla="*/ 11 h 16"/>
                  <a:gd name="T54" fmla="*/ 3 w 30"/>
                  <a:gd name="T55" fmla="*/ 12 h 16"/>
                  <a:gd name="T56" fmla="*/ 4 w 30"/>
                  <a:gd name="T57" fmla="*/ 14 h 16"/>
                  <a:gd name="T58" fmla="*/ 7 w 30"/>
                  <a:gd name="T59" fmla="*/ 15 h 16"/>
                  <a:gd name="T60" fmla="*/ 10 w 30"/>
                  <a:gd name="T61" fmla="*/ 16 h 16"/>
                  <a:gd name="T62" fmla="*/ 12 w 30"/>
                  <a:gd name="T63" fmla="*/ 16 h 16"/>
                  <a:gd name="T64" fmla="*/ 15 w 30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16">
                    <a:moveTo>
                      <a:pt x="15" y="16"/>
                    </a:moveTo>
                    <a:lnTo>
                      <a:pt x="18" y="16"/>
                    </a:lnTo>
                    <a:lnTo>
                      <a:pt x="21" y="16"/>
                    </a:lnTo>
                    <a:lnTo>
                      <a:pt x="23" y="15"/>
                    </a:lnTo>
                    <a:lnTo>
                      <a:pt x="26" y="14"/>
                    </a:lnTo>
                    <a:lnTo>
                      <a:pt x="27" y="12"/>
                    </a:lnTo>
                    <a:lnTo>
                      <a:pt x="29" y="11"/>
                    </a:lnTo>
                    <a:lnTo>
                      <a:pt x="30" y="9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29" y="5"/>
                    </a:lnTo>
                    <a:lnTo>
                      <a:pt x="27" y="4"/>
                    </a:lnTo>
                    <a:lnTo>
                      <a:pt x="26" y="3"/>
                    </a:lnTo>
                    <a:lnTo>
                      <a:pt x="23" y="1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3" y="12"/>
                    </a:lnTo>
                    <a:lnTo>
                      <a:pt x="4" y="14"/>
                    </a:lnTo>
                    <a:lnTo>
                      <a:pt x="7" y="15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5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3" name="Freeform 72"/>
              <p:cNvSpPr>
                <a:spLocks/>
              </p:cNvSpPr>
              <p:nvPr/>
            </p:nvSpPr>
            <p:spPr bwMode="auto">
              <a:xfrm>
                <a:off x="5461" y="3832"/>
                <a:ext cx="24" cy="16"/>
              </a:xfrm>
              <a:custGeom>
                <a:avLst/>
                <a:gdLst>
                  <a:gd name="T0" fmla="*/ 11 w 24"/>
                  <a:gd name="T1" fmla="*/ 16 h 16"/>
                  <a:gd name="T2" fmla="*/ 14 w 24"/>
                  <a:gd name="T3" fmla="*/ 16 h 16"/>
                  <a:gd name="T4" fmla="*/ 15 w 24"/>
                  <a:gd name="T5" fmla="*/ 16 h 16"/>
                  <a:gd name="T6" fmla="*/ 18 w 24"/>
                  <a:gd name="T7" fmla="*/ 14 h 16"/>
                  <a:gd name="T8" fmla="*/ 20 w 24"/>
                  <a:gd name="T9" fmla="*/ 14 h 16"/>
                  <a:gd name="T10" fmla="*/ 21 w 24"/>
                  <a:gd name="T11" fmla="*/ 13 h 16"/>
                  <a:gd name="T12" fmla="*/ 22 w 24"/>
                  <a:gd name="T13" fmla="*/ 11 h 16"/>
                  <a:gd name="T14" fmla="*/ 22 w 24"/>
                  <a:gd name="T15" fmla="*/ 10 h 16"/>
                  <a:gd name="T16" fmla="*/ 24 w 24"/>
                  <a:gd name="T17" fmla="*/ 9 h 16"/>
                  <a:gd name="T18" fmla="*/ 22 w 24"/>
                  <a:gd name="T19" fmla="*/ 7 h 16"/>
                  <a:gd name="T20" fmla="*/ 22 w 24"/>
                  <a:gd name="T21" fmla="*/ 6 h 16"/>
                  <a:gd name="T22" fmla="*/ 21 w 24"/>
                  <a:gd name="T23" fmla="*/ 5 h 16"/>
                  <a:gd name="T24" fmla="*/ 20 w 24"/>
                  <a:gd name="T25" fmla="*/ 3 h 16"/>
                  <a:gd name="T26" fmla="*/ 18 w 24"/>
                  <a:gd name="T27" fmla="*/ 2 h 16"/>
                  <a:gd name="T28" fmla="*/ 15 w 24"/>
                  <a:gd name="T29" fmla="*/ 2 h 16"/>
                  <a:gd name="T30" fmla="*/ 14 w 24"/>
                  <a:gd name="T31" fmla="*/ 2 h 16"/>
                  <a:gd name="T32" fmla="*/ 11 w 24"/>
                  <a:gd name="T33" fmla="*/ 0 h 16"/>
                  <a:gd name="T34" fmla="*/ 9 w 24"/>
                  <a:gd name="T35" fmla="*/ 2 h 16"/>
                  <a:gd name="T36" fmla="*/ 7 w 24"/>
                  <a:gd name="T37" fmla="*/ 2 h 16"/>
                  <a:gd name="T38" fmla="*/ 4 w 24"/>
                  <a:gd name="T39" fmla="*/ 2 h 16"/>
                  <a:gd name="T40" fmla="*/ 3 w 24"/>
                  <a:gd name="T41" fmla="*/ 3 h 16"/>
                  <a:gd name="T42" fmla="*/ 2 w 24"/>
                  <a:gd name="T43" fmla="*/ 5 h 16"/>
                  <a:gd name="T44" fmla="*/ 0 w 24"/>
                  <a:gd name="T45" fmla="*/ 6 h 16"/>
                  <a:gd name="T46" fmla="*/ 0 w 24"/>
                  <a:gd name="T47" fmla="*/ 7 h 16"/>
                  <a:gd name="T48" fmla="*/ 0 w 24"/>
                  <a:gd name="T49" fmla="*/ 9 h 16"/>
                  <a:gd name="T50" fmla="*/ 0 w 24"/>
                  <a:gd name="T51" fmla="*/ 10 h 16"/>
                  <a:gd name="T52" fmla="*/ 0 w 24"/>
                  <a:gd name="T53" fmla="*/ 11 h 16"/>
                  <a:gd name="T54" fmla="*/ 2 w 24"/>
                  <a:gd name="T55" fmla="*/ 13 h 16"/>
                  <a:gd name="T56" fmla="*/ 3 w 24"/>
                  <a:gd name="T57" fmla="*/ 14 h 16"/>
                  <a:gd name="T58" fmla="*/ 4 w 24"/>
                  <a:gd name="T59" fmla="*/ 14 h 16"/>
                  <a:gd name="T60" fmla="*/ 7 w 24"/>
                  <a:gd name="T61" fmla="*/ 16 h 16"/>
                  <a:gd name="T62" fmla="*/ 9 w 24"/>
                  <a:gd name="T63" fmla="*/ 16 h 16"/>
                  <a:gd name="T64" fmla="*/ 11 w 24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6">
                    <a:moveTo>
                      <a:pt x="11" y="16"/>
                    </a:moveTo>
                    <a:lnTo>
                      <a:pt x="14" y="16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3"/>
                    </a:lnTo>
                    <a:lnTo>
                      <a:pt x="22" y="11"/>
                    </a:lnTo>
                    <a:lnTo>
                      <a:pt x="22" y="10"/>
                    </a:lnTo>
                    <a:lnTo>
                      <a:pt x="24" y="9"/>
                    </a:lnTo>
                    <a:lnTo>
                      <a:pt x="22" y="7"/>
                    </a:lnTo>
                    <a:lnTo>
                      <a:pt x="22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4" name="Freeform 73"/>
              <p:cNvSpPr>
                <a:spLocks/>
              </p:cNvSpPr>
              <p:nvPr/>
            </p:nvSpPr>
            <p:spPr bwMode="auto">
              <a:xfrm>
                <a:off x="5461" y="3832"/>
                <a:ext cx="24" cy="16"/>
              </a:xfrm>
              <a:custGeom>
                <a:avLst/>
                <a:gdLst>
                  <a:gd name="T0" fmla="*/ 11 w 24"/>
                  <a:gd name="T1" fmla="*/ 16 h 16"/>
                  <a:gd name="T2" fmla="*/ 14 w 24"/>
                  <a:gd name="T3" fmla="*/ 16 h 16"/>
                  <a:gd name="T4" fmla="*/ 15 w 24"/>
                  <a:gd name="T5" fmla="*/ 16 h 16"/>
                  <a:gd name="T6" fmla="*/ 18 w 24"/>
                  <a:gd name="T7" fmla="*/ 14 h 16"/>
                  <a:gd name="T8" fmla="*/ 20 w 24"/>
                  <a:gd name="T9" fmla="*/ 14 h 16"/>
                  <a:gd name="T10" fmla="*/ 21 w 24"/>
                  <a:gd name="T11" fmla="*/ 13 h 16"/>
                  <a:gd name="T12" fmla="*/ 22 w 24"/>
                  <a:gd name="T13" fmla="*/ 11 h 16"/>
                  <a:gd name="T14" fmla="*/ 22 w 24"/>
                  <a:gd name="T15" fmla="*/ 10 h 16"/>
                  <a:gd name="T16" fmla="*/ 24 w 24"/>
                  <a:gd name="T17" fmla="*/ 9 h 16"/>
                  <a:gd name="T18" fmla="*/ 22 w 24"/>
                  <a:gd name="T19" fmla="*/ 7 h 16"/>
                  <a:gd name="T20" fmla="*/ 22 w 24"/>
                  <a:gd name="T21" fmla="*/ 6 h 16"/>
                  <a:gd name="T22" fmla="*/ 21 w 24"/>
                  <a:gd name="T23" fmla="*/ 5 h 16"/>
                  <a:gd name="T24" fmla="*/ 20 w 24"/>
                  <a:gd name="T25" fmla="*/ 3 h 16"/>
                  <a:gd name="T26" fmla="*/ 18 w 24"/>
                  <a:gd name="T27" fmla="*/ 2 h 16"/>
                  <a:gd name="T28" fmla="*/ 15 w 24"/>
                  <a:gd name="T29" fmla="*/ 2 h 16"/>
                  <a:gd name="T30" fmla="*/ 14 w 24"/>
                  <a:gd name="T31" fmla="*/ 2 h 16"/>
                  <a:gd name="T32" fmla="*/ 11 w 24"/>
                  <a:gd name="T33" fmla="*/ 0 h 16"/>
                  <a:gd name="T34" fmla="*/ 9 w 24"/>
                  <a:gd name="T35" fmla="*/ 2 h 16"/>
                  <a:gd name="T36" fmla="*/ 7 w 24"/>
                  <a:gd name="T37" fmla="*/ 2 h 16"/>
                  <a:gd name="T38" fmla="*/ 4 w 24"/>
                  <a:gd name="T39" fmla="*/ 2 h 16"/>
                  <a:gd name="T40" fmla="*/ 3 w 24"/>
                  <a:gd name="T41" fmla="*/ 3 h 16"/>
                  <a:gd name="T42" fmla="*/ 2 w 24"/>
                  <a:gd name="T43" fmla="*/ 5 h 16"/>
                  <a:gd name="T44" fmla="*/ 0 w 24"/>
                  <a:gd name="T45" fmla="*/ 6 h 16"/>
                  <a:gd name="T46" fmla="*/ 0 w 24"/>
                  <a:gd name="T47" fmla="*/ 7 h 16"/>
                  <a:gd name="T48" fmla="*/ 0 w 24"/>
                  <a:gd name="T49" fmla="*/ 9 h 16"/>
                  <a:gd name="T50" fmla="*/ 0 w 24"/>
                  <a:gd name="T51" fmla="*/ 10 h 16"/>
                  <a:gd name="T52" fmla="*/ 0 w 24"/>
                  <a:gd name="T53" fmla="*/ 11 h 16"/>
                  <a:gd name="T54" fmla="*/ 2 w 24"/>
                  <a:gd name="T55" fmla="*/ 13 h 16"/>
                  <a:gd name="T56" fmla="*/ 3 w 24"/>
                  <a:gd name="T57" fmla="*/ 14 h 16"/>
                  <a:gd name="T58" fmla="*/ 4 w 24"/>
                  <a:gd name="T59" fmla="*/ 14 h 16"/>
                  <a:gd name="T60" fmla="*/ 7 w 24"/>
                  <a:gd name="T61" fmla="*/ 16 h 16"/>
                  <a:gd name="T62" fmla="*/ 9 w 24"/>
                  <a:gd name="T63" fmla="*/ 16 h 16"/>
                  <a:gd name="T64" fmla="*/ 11 w 24"/>
                  <a:gd name="T65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16">
                    <a:moveTo>
                      <a:pt x="11" y="16"/>
                    </a:moveTo>
                    <a:lnTo>
                      <a:pt x="14" y="16"/>
                    </a:lnTo>
                    <a:lnTo>
                      <a:pt x="15" y="16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1" y="13"/>
                    </a:lnTo>
                    <a:lnTo>
                      <a:pt x="22" y="11"/>
                    </a:lnTo>
                    <a:lnTo>
                      <a:pt x="22" y="10"/>
                    </a:lnTo>
                    <a:lnTo>
                      <a:pt x="24" y="9"/>
                    </a:lnTo>
                    <a:lnTo>
                      <a:pt x="22" y="7"/>
                    </a:lnTo>
                    <a:lnTo>
                      <a:pt x="22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2"/>
                    </a:lnTo>
                    <a:lnTo>
                      <a:pt x="15" y="2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9" y="16"/>
                    </a:lnTo>
                    <a:lnTo>
                      <a:pt x="11" y="1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5" name="Freeform 74"/>
              <p:cNvSpPr>
                <a:spLocks/>
              </p:cNvSpPr>
              <p:nvPr/>
            </p:nvSpPr>
            <p:spPr bwMode="auto">
              <a:xfrm>
                <a:off x="4569" y="2781"/>
                <a:ext cx="15" cy="18"/>
              </a:xfrm>
              <a:custGeom>
                <a:avLst/>
                <a:gdLst>
                  <a:gd name="T0" fmla="*/ 6 w 15"/>
                  <a:gd name="T1" fmla="*/ 18 h 18"/>
                  <a:gd name="T2" fmla="*/ 8 w 15"/>
                  <a:gd name="T3" fmla="*/ 18 h 18"/>
                  <a:gd name="T4" fmla="*/ 9 w 15"/>
                  <a:gd name="T5" fmla="*/ 18 h 18"/>
                  <a:gd name="T6" fmla="*/ 11 w 15"/>
                  <a:gd name="T7" fmla="*/ 17 h 18"/>
                  <a:gd name="T8" fmla="*/ 12 w 15"/>
                  <a:gd name="T9" fmla="*/ 15 h 18"/>
                  <a:gd name="T10" fmla="*/ 13 w 15"/>
                  <a:gd name="T11" fmla="*/ 14 h 18"/>
                  <a:gd name="T12" fmla="*/ 13 w 15"/>
                  <a:gd name="T13" fmla="*/ 12 h 18"/>
                  <a:gd name="T14" fmla="*/ 13 w 15"/>
                  <a:gd name="T15" fmla="*/ 11 h 18"/>
                  <a:gd name="T16" fmla="*/ 15 w 15"/>
                  <a:gd name="T17" fmla="*/ 10 h 18"/>
                  <a:gd name="T18" fmla="*/ 13 w 15"/>
                  <a:gd name="T19" fmla="*/ 7 h 18"/>
                  <a:gd name="T20" fmla="*/ 13 w 15"/>
                  <a:gd name="T21" fmla="*/ 6 h 18"/>
                  <a:gd name="T22" fmla="*/ 13 w 15"/>
                  <a:gd name="T23" fmla="*/ 4 h 18"/>
                  <a:gd name="T24" fmla="*/ 12 w 15"/>
                  <a:gd name="T25" fmla="*/ 3 h 18"/>
                  <a:gd name="T26" fmla="*/ 11 w 15"/>
                  <a:gd name="T27" fmla="*/ 1 h 18"/>
                  <a:gd name="T28" fmla="*/ 9 w 15"/>
                  <a:gd name="T29" fmla="*/ 1 h 18"/>
                  <a:gd name="T30" fmla="*/ 8 w 15"/>
                  <a:gd name="T31" fmla="*/ 0 h 18"/>
                  <a:gd name="T32" fmla="*/ 6 w 15"/>
                  <a:gd name="T33" fmla="*/ 0 h 18"/>
                  <a:gd name="T34" fmla="*/ 5 w 15"/>
                  <a:gd name="T35" fmla="*/ 0 h 18"/>
                  <a:gd name="T36" fmla="*/ 4 w 15"/>
                  <a:gd name="T37" fmla="*/ 1 h 18"/>
                  <a:gd name="T38" fmla="*/ 2 w 15"/>
                  <a:gd name="T39" fmla="*/ 1 h 18"/>
                  <a:gd name="T40" fmla="*/ 1 w 15"/>
                  <a:gd name="T41" fmla="*/ 3 h 18"/>
                  <a:gd name="T42" fmla="*/ 1 w 15"/>
                  <a:gd name="T43" fmla="*/ 4 h 18"/>
                  <a:gd name="T44" fmla="*/ 0 w 15"/>
                  <a:gd name="T45" fmla="*/ 6 h 18"/>
                  <a:gd name="T46" fmla="*/ 0 w 15"/>
                  <a:gd name="T47" fmla="*/ 7 h 18"/>
                  <a:gd name="T48" fmla="*/ 0 w 15"/>
                  <a:gd name="T49" fmla="*/ 10 h 18"/>
                  <a:gd name="T50" fmla="*/ 0 w 15"/>
                  <a:gd name="T51" fmla="*/ 11 h 18"/>
                  <a:gd name="T52" fmla="*/ 0 w 15"/>
                  <a:gd name="T53" fmla="*/ 12 h 18"/>
                  <a:gd name="T54" fmla="*/ 1 w 15"/>
                  <a:gd name="T55" fmla="*/ 14 h 18"/>
                  <a:gd name="T56" fmla="*/ 1 w 15"/>
                  <a:gd name="T57" fmla="*/ 15 h 18"/>
                  <a:gd name="T58" fmla="*/ 2 w 15"/>
                  <a:gd name="T59" fmla="*/ 17 h 18"/>
                  <a:gd name="T60" fmla="*/ 4 w 15"/>
                  <a:gd name="T61" fmla="*/ 18 h 18"/>
                  <a:gd name="T62" fmla="*/ 5 w 15"/>
                  <a:gd name="T63" fmla="*/ 18 h 18"/>
                  <a:gd name="T64" fmla="*/ 6 w 15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8">
                    <a:moveTo>
                      <a:pt x="6" y="18"/>
                    </a:moveTo>
                    <a:lnTo>
                      <a:pt x="8" y="18"/>
                    </a:lnTo>
                    <a:lnTo>
                      <a:pt x="9" y="18"/>
                    </a:lnTo>
                    <a:lnTo>
                      <a:pt x="11" y="17"/>
                    </a:lnTo>
                    <a:lnTo>
                      <a:pt x="12" y="15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3" y="7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6" y="1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6" name="Freeform 75"/>
              <p:cNvSpPr>
                <a:spLocks/>
              </p:cNvSpPr>
              <p:nvPr/>
            </p:nvSpPr>
            <p:spPr bwMode="auto">
              <a:xfrm>
                <a:off x="4569" y="2781"/>
                <a:ext cx="15" cy="18"/>
              </a:xfrm>
              <a:custGeom>
                <a:avLst/>
                <a:gdLst>
                  <a:gd name="T0" fmla="*/ 6 w 15"/>
                  <a:gd name="T1" fmla="*/ 18 h 18"/>
                  <a:gd name="T2" fmla="*/ 8 w 15"/>
                  <a:gd name="T3" fmla="*/ 18 h 18"/>
                  <a:gd name="T4" fmla="*/ 9 w 15"/>
                  <a:gd name="T5" fmla="*/ 18 h 18"/>
                  <a:gd name="T6" fmla="*/ 11 w 15"/>
                  <a:gd name="T7" fmla="*/ 17 h 18"/>
                  <a:gd name="T8" fmla="*/ 12 w 15"/>
                  <a:gd name="T9" fmla="*/ 15 h 18"/>
                  <a:gd name="T10" fmla="*/ 13 w 15"/>
                  <a:gd name="T11" fmla="*/ 14 h 18"/>
                  <a:gd name="T12" fmla="*/ 13 w 15"/>
                  <a:gd name="T13" fmla="*/ 12 h 18"/>
                  <a:gd name="T14" fmla="*/ 13 w 15"/>
                  <a:gd name="T15" fmla="*/ 11 h 18"/>
                  <a:gd name="T16" fmla="*/ 15 w 15"/>
                  <a:gd name="T17" fmla="*/ 10 h 18"/>
                  <a:gd name="T18" fmla="*/ 13 w 15"/>
                  <a:gd name="T19" fmla="*/ 7 h 18"/>
                  <a:gd name="T20" fmla="*/ 13 w 15"/>
                  <a:gd name="T21" fmla="*/ 6 h 18"/>
                  <a:gd name="T22" fmla="*/ 13 w 15"/>
                  <a:gd name="T23" fmla="*/ 4 h 18"/>
                  <a:gd name="T24" fmla="*/ 12 w 15"/>
                  <a:gd name="T25" fmla="*/ 3 h 18"/>
                  <a:gd name="T26" fmla="*/ 11 w 15"/>
                  <a:gd name="T27" fmla="*/ 1 h 18"/>
                  <a:gd name="T28" fmla="*/ 9 w 15"/>
                  <a:gd name="T29" fmla="*/ 1 h 18"/>
                  <a:gd name="T30" fmla="*/ 8 w 15"/>
                  <a:gd name="T31" fmla="*/ 0 h 18"/>
                  <a:gd name="T32" fmla="*/ 6 w 15"/>
                  <a:gd name="T33" fmla="*/ 0 h 18"/>
                  <a:gd name="T34" fmla="*/ 5 w 15"/>
                  <a:gd name="T35" fmla="*/ 0 h 18"/>
                  <a:gd name="T36" fmla="*/ 4 w 15"/>
                  <a:gd name="T37" fmla="*/ 1 h 18"/>
                  <a:gd name="T38" fmla="*/ 2 w 15"/>
                  <a:gd name="T39" fmla="*/ 1 h 18"/>
                  <a:gd name="T40" fmla="*/ 1 w 15"/>
                  <a:gd name="T41" fmla="*/ 3 h 18"/>
                  <a:gd name="T42" fmla="*/ 1 w 15"/>
                  <a:gd name="T43" fmla="*/ 4 h 18"/>
                  <a:gd name="T44" fmla="*/ 0 w 15"/>
                  <a:gd name="T45" fmla="*/ 6 h 18"/>
                  <a:gd name="T46" fmla="*/ 0 w 15"/>
                  <a:gd name="T47" fmla="*/ 7 h 18"/>
                  <a:gd name="T48" fmla="*/ 0 w 15"/>
                  <a:gd name="T49" fmla="*/ 10 h 18"/>
                  <a:gd name="T50" fmla="*/ 0 w 15"/>
                  <a:gd name="T51" fmla="*/ 11 h 18"/>
                  <a:gd name="T52" fmla="*/ 0 w 15"/>
                  <a:gd name="T53" fmla="*/ 12 h 18"/>
                  <a:gd name="T54" fmla="*/ 1 w 15"/>
                  <a:gd name="T55" fmla="*/ 14 h 18"/>
                  <a:gd name="T56" fmla="*/ 1 w 15"/>
                  <a:gd name="T57" fmla="*/ 15 h 18"/>
                  <a:gd name="T58" fmla="*/ 2 w 15"/>
                  <a:gd name="T59" fmla="*/ 17 h 18"/>
                  <a:gd name="T60" fmla="*/ 4 w 15"/>
                  <a:gd name="T61" fmla="*/ 18 h 18"/>
                  <a:gd name="T62" fmla="*/ 5 w 15"/>
                  <a:gd name="T63" fmla="*/ 18 h 18"/>
                  <a:gd name="T64" fmla="*/ 6 w 15"/>
                  <a:gd name="T6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18">
                    <a:moveTo>
                      <a:pt x="6" y="18"/>
                    </a:moveTo>
                    <a:lnTo>
                      <a:pt x="8" y="18"/>
                    </a:lnTo>
                    <a:lnTo>
                      <a:pt x="9" y="18"/>
                    </a:lnTo>
                    <a:lnTo>
                      <a:pt x="11" y="17"/>
                    </a:lnTo>
                    <a:lnTo>
                      <a:pt x="12" y="15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3" y="11"/>
                    </a:lnTo>
                    <a:lnTo>
                      <a:pt x="15" y="10"/>
                    </a:lnTo>
                    <a:lnTo>
                      <a:pt x="13" y="7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9" y="1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4"/>
                    </a:lnTo>
                    <a:lnTo>
                      <a:pt x="1" y="15"/>
                    </a:lnTo>
                    <a:lnTo>
                      <a:pt x="2" y="17"/>
                    </a:lnTo>
                    <a:lnTo>
                      <a:pt x="4" y="18"/>
                    </a:lnTo>
                    <a:lnTo>
                      <a:pt x="5" y="18"/>
                    </a:lnTo>
                    <a:lnTo>
                      <a:pt x="6" y="1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7" name="Freeform 76"/>
              <p:cNvSpPr>
                <a:spLocks/>
              </p:cNvSpPr>
              <p:nvPr/>
            </p:nvSpPr>
            <p:spPr bwMode="auto">
              <a:xfrm>
                <a:off x="4526" y="2642"/>
                <a:ext cx="43" cy="113"/>
              </a:xfrm>
              <a:custGeom>
                <a:avLst/>
                <a:gdLst>
                  <a:gd name="T0" fmla="*/ 23 w 43"/>
                  <a:gd name="T1" fmla="*/ 0 h 113"/>
                  <a:gd name="T2" fmla="*/ 18 w 43"/>
                  <a:gd name="T3" fmla="*/ 0 h 113"/>
                  <a:gd name="T4" fmla="*/ 11 w 43"/>
                  <a:gd name="T5" fmla="*/ 2 h 113"/>
                  <a:gd name="T6" fmla="*/ 4 w 43"/>
                  <a:gd name="T7" fmla="*/ 6 h 113"/>
                  <a:gd name="T8" fmla="*/ 3 w 43"/>
                  <a:gd name="T9" fmla="*/ 11 h 113"/>
                  <a:gd name="T10" fmla="*/ 1 w 43"/>
                  <a:gd name="T11" fmla="*/ 22 h 113"/>
                  <a:gd name="T12" fmla="*/ 0 w 43"/>
                  <a:gd name="T13" fmla="*/ 39 h 113"/>
                  <a:gd name="T14" fmla="*/ 0 w 43"/>
                  <a:gd name="T15" fmla="*/ 54 h 113"/>
                  <a:gd name="T16" fmla="*/ 3 w 43"/>
                  <a:gd name="T17" fmla="*/ 61 h 113"/>
                  <a:gd name="T18" fmla="*/ 4 w 43"/>
                  <a:gd name="T19" fmla="*/ 63 h 113"/>
                  <a:gd name="T20" fmla="*/ 4 w 43"/>
                  <a:gd name="T21" fmla="*/ 65 h 113"/>
                  <a:gd name="T22" fmla="*/ 4 w 43"/>
                  <a:gd name="T23" fmla="*/ 66 h 113"/>
                  <a:gd name="T24" fmla="*/ 3 w 43"/>
                  <a:gd name="T25" fmla="*/ 69 h 113"/>
                  <a:gd name="T26" fmla="*/ 3 w 43"/>
                  <a:gd name="T27" fmla="*/ 72 h 113"/>
                  <a:gd name="T28" fmla="*/ 1 w 43"/>
                  <a:gd name="T29" fmla="*/ 73 h 113"/>
                  <a:gd name="T30" fmla="*/ 0 w 43"/>
                  <a:gd name="T31" fmla="*/ 77 h 113"/>
                  <a:gd name="T32" fmla="*/ 1 w 43"/>
                  <a:gd name="T33" fmla="*/ 83 h 113"/>
                  <a:gd name="T34" fmla="*/ 5 w 43"/>
                  <a:gd name="T35" fmla="*/ 92 h 113"/>
                  <a:gd name="T36" fmla="*/ 10 w 43"/>
                  <a:gd name="T37" fmla="*/ 102 h 113"/>
                  <a:gd name="T38" fmla="*/ 15 w 43"/>
                  <a:gd name="T39" fmla="*/ 110 h 113"/>
                  <a:gd name="T40" fmla="*/ 18 w 43"/>
                  <a:gd name="T41" fmla="*/ 113 h 113"/>
                  <a:gd name="T42" fmla="*/ 21 w 43"/>
                  <a:gd name="T43" fmla="*/ 113 h 113"/>
                  <a:gd name="T44" fmla="*/ 23 w 43"/>
                  <a:gd name="T45" fmla="*/ 110 h 113"/>
                  <a:gd name="T46" fmla="*/ 26 w 43"/>
                  <a:gd name="T47" fmla="*/ 106 h 113"/>
                  <a:gd name="T48" fmla="*/ 27 w 43"/>
                  <a:gd name="T49" fmla="*/ 101 h 113"/>
                  <a:gd name="T50" fmla="*/ 27 w 43"/>
                  <a:gd name="T51" fmla="*/ 90 h 113"/>
                  <a:gd name="T52" fmla="*/ 27 w 43"/>
                  <a:gd name="T53" fmla="*/ 76 h 113"/>
                  <a:gd name="T54" fmla="*/ 27 w 43"/>
                  <a:gd name="T55" fmla="*/ 68 h 113"/>
                  <a:gd name="T56" fmla="*/ 34 w 43"/>
                  <a:gd name="T57" fmla="*/ 50 h 113"/>
                  <a:gd name="T58" fmla="*/ 34 w 43"/>
                  <a:gd name="T59" fmla="*/ 46 h 113"/>
                  <a:gd name="T60" fmla="*/ 36 w 43"/>
                  <a:gd name="T61" fmla="*/ 39 h 113"/>
                  <a:gd name="T62" fmla="*/ 37 w 43"/>
                  <a:gd name="T63" fmla="*/ 30 h 113"/>
                  <a:gd name="T64" fmla="*/ 38 w 43"/>
                  <a:gd name="T65" fmla="*/ 28 h 113"/>
                  <a:gd name="T66" fmla="*/ 40 w 43"/>
                  <a:gd name="T67" fmla="*/ 24 h 113"/>
                  <a:gd name="T68" fmla="*/ 40 w 43"/>
                  <a:gd name="T69" fmla="*/ 15 h 113"/>
                  <a:gd name="T70" fmla="*/ 40 w 43"/>
                  <a:gd name="T71" fmla="*/ 7 h 113"/>
                  <a:gd name="T72" fmla="*/ 43 w 43"/>
                  <a:gd name="T73" fmla="*/ 0 h 113"/>
                  <a:gd name="T74" fmla="*/ 40 w 43"/>
                  <a:gd name="T75" fmla="*/ 0 h 113"/>
                  <a:gd name="T76" fmla="*/ 36 w 43"/>
                  <a:gd name="T77" fmla="*/ 2 h 113"/>
                  <a:gd name="T78" fmla="*/ 29 w 43"/>
                  <a:gd name="T79" fmla="*/ 2 h 113"/>
                  <a:gd name="T80" fmla="*/ 23 w 43"/>
                  <a:gd name="T81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3" h="113">
                    <a:moveTo>
                      <a:pt x="23" y="0"/>
                    </a:moveTo>
                    <a:lnTo>
                      <a:pt x="23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5"/>
                    </a:lnTo>
                    <a:lnTo>
                      <a:pt x="1" y="22"/>
                    </a:lnTo>
                    <a:lnTo>
                      <a:pt x="0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4"/>
                    </a:lnTo>
                    <a:lnTo>
                      <a:pt x="1" y="58"/>
                    </a:lnTo>
                    <a:lnTo>
                      <a:pt x="3" y="61"/>
                    </a:lnTo>
                    <a:lnTo>
                      <a:pt x="3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5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3" y="69"/>
                    </a:lnTo>
                    <a:lnTo>
                      <a:pt x="3" y="70"/>
                    </a:lnTo>
                    <a:lnTo>
                      <a:pt x="3" y="72"/>
                    </a:lnTo>
                    <a:lnTo>
                      <a:pt x="1" y="73"/>
                    </a:lnTo>
                    <a:lnTo>
                      <a:pt x="1" y="73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1" y="83"/>
                    </a:lnTo>
                    <a:lnTo>
                      <a:pt x="3" y="87"/>
                    </a:lnTo>
                    <a:lnTo>
                      <a:pt x="5" y="92"/>
                    </a:lnTo>
                    <a:lnTo>
                      <a:pt x="7" y="98"/>
                    </a:lnTo>
                    <a:lnTo>
                      <a:pt x="10" y="102"/>
                    </a:lnTo>
                    <a:lnTo>
                      <a:pt x="12" y="107"/>
                    </a:lnTo>
                    <a:lnTo>
                      <a:pt x="15" y="110"/>
                    </a:lnTo>
                    <a:lnTo>
                      <a:pt x="16" y="113"/>
                    </a:lnTo>
                    <a:lnTo>
                      <a:pt x="18" y="113"/>
                    </a:lnTo>
                    <a:lnTo>
                      <a:pt x="19" y="113"/>
                    </a:lnTo>
                    <a:lnTo>
                      <a:pt x="21" y="113"/>
                    </a:lnTo>
                    <a:lnTo>
                      <a:pt x="22" y="112"/>
                    </a:lnTo>
                    <a:lnTo>
                      <a:pt x="23" y="110"/>
                    </a:lnTo>
                    <a:lnTo>
                      <a:pt x="25" y="109"/>
                    </a:lnTo>
                    <a:lnTo>
                      <a:pt x="26" y="106"/>
                    </a:lnTo>
                    <a:lnTo>
                      <a:pt x="27" y="103"/>
                    </a:lnTo>
                    <a:lnTo>
                      <a:pt x="27" y="101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83"/>
                    </a:lnTo>
                    <a:lnTo>
                      <a:pt x="27" y="76"/>
                    </a:lnTo>
                    <a:lnTo>
                      <a:pt x="27" y="70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6" y="43"/>
                    </a:lnTo>
                    <a:lnTo>
                      <a:pt x="36" y="39"/>
                    </a:lnTo>
                    <a:lnTo>
                      <a:pt x="36" y="35"/>
                    </a:lnTo>
                    <a:lnTo>
                      <a:pt x="37" y="30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1"/>
                    </a:lnTo>
                    <a:lnTo>
                      <a:pt x="40" y="15"/>
                    </a:lnTo>
                    <a:lnTo>
                      <a:pt x="40" y="11"/>
                    </a:lnTo>
                    <a:lnTo>
                      <a:pt x="40" y="7"/>
                    </a:lnTo>
                    <a:lnTo>
                      <a:pt x="41" y="3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26" y="2"/>
                    </a:lnTo>
                    <a:lnTo>
                      <a:pt x="23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8" name="Freeform 77"/>
              <p:cNvSpPr>
                <a:spLocks/>
              </p:cNvSpPr>
              <p:nvPr/>
            </p:nvSpPr>
            <p:spPr bwMode="auto">
              <a:xfrm>
                <a:off x="4526" y="2642"/>
                <a:ext cx="43" cy="113"/>
              </a:xfrm>
              <a:custGeom>
                <a:avLst/>
                <a:gdLst>
                  <a:gd name="T0" fmla="*/ 21 w 43"/>
                  <a:gd name="T1" fmla="*/ 0 h 113"/>
                  <a:gd name="T2" fmla="*/ 14 w 43"/>
                  <a:gd name="T3" fmla="*/ 2 h 113"/>
                  <a:gd name="T4" fmla="*/ 7 w 43"/>
                  <a:gd name="T5" fmla="*/ 4 h 113"/>
                  <a:gd name="T6" fmla="*/ 3 w 43"/>
                  <a:gd name="T7" fmla="*/ 8 h 113"/>
                  <a:gd name="T8" fmla="*/ 3 w 43"/>
                  <a:gd name="T9" fmla="*/ 15 h 113"/>
                  <a:gd name="T10" fmla="*/ 0 w 43"/>
                  <a:gd name="T11" fmla="*/ 30 h 113"/>
                  <a:gd name="T12" fmla="*/ 0 w 43"/>
                  <a:gd name="T13" fmla="*/ 47 h 113"/>
                  <a:gd name="T14" fmla="*/ 1 w 43"/>
                  <a:gd name="T15" fmla="*/ 58 h 113"/>
                  <a:gd name="T16" fmla="*/ 3 w 43"/>
                  <a:gd name="T17" fmla="*/ 63 h 113"/>
                  <a:gd name="T18" fmla="*/ 4 w 43"/>
                  <a:gd name="T19" fmla="*/ 65 h 113"/>
                  <a:gd name="T20" fmla="*/ 4 w 43"/>
                  <a:gd name="T21" fmla="*/ 68 h 113"/>
                  <a:gd name="T22" fmla="*/ 3 w 43"/>
                  <a:gd name="T23" fmla="*/ 70 h 113"/>
                  <a:gd name="T24" fmla="*/ 1 w 43"/>
                  <a:gd name="T25" fmla="*/ 73 h 113"/>
                  <a:gd name="T26" fmla="*/ 0 w 43"/>
                  <a:gd name="T27" fmla="*/ 77 h 113"/>
                  <a:gd name="T28" fmla="*/ 1 w 43"/>
                  <a:gd name="T29" fmla="*/ 83 h 113"/>
                  <a:gd name="T30" fmla="*/ 5 w 43"/>
                  <a:gd name="T31" fmla="*/ 92 h 113"/>
                  <a:gd name="T32" fmla="*/ 10 w 43"/>
                  <a:gd name="T33" fmla="*/ 102 h 113"/>
                  <a:gd name="T34" fmla="*/ 15 w 43"/>
                  <a:gd name="T35" fmla="*/ 110 h 113"/>
                  <a:gd name="T36" fmla="*/ 18 w 43"/>
                  <a:gd name="T37" fmla="*/ 113 h 113"/>
                  <a:gd name="T38" fmla="*/ 21 w 43"/>
                  <a:gd name="T39" fmla="*/ 113 h 113"/>
                  <a:gd name="T40" fmla="*/ 23 w 43"/>
                  <a:gd name="T41" fmla="*/ 110 h 113"/>
                  <a:gd name="T42" fmla="*/ 26 w 43"/>
                  <a:gd name="T43" fmla="*/ 106 h 113"/>
                  <a:gd name="T44" fmla="*/ 27 w 43"/>
                  <a:gd name="T45" fmla="*/ 101 h 113"/>
                  <a:gd name="T46" fmla="*/ 27 w 43"/>
                  <a:gd name="T47" fmla="*/ 90 h 113"/>
                  <a:gd name="T48" fmla="*/ 27 w 43"/>
                  <a:gd name="T49" fmla="*/ 76 h 113"/>
                  <a:gd name="T50" fmla="*/ 27 w 43"/>
                  <a:gd name="T51" fmla="*/ 68 h 113"/>
                  <a:gd name="T52" fmla="*/ 34 w 43"/>
                  <a:gd name="T53" fmla="*/ 50 h 113"/>
                  <a:gd name="T54" fmla="*/ 34 w 43"/>
                  <a:gd name="T55" fmla="*/ 46 h 113"/>
                  <a:gd name="T56" fmla="*/ 36 w 43"/>
                  <a:gd name="T57" fmla="*/ 39 h 113"/>
                  <a:gd name="T58" fmla="*/ 37 w 43"/>
                  <a:gd name="T59" fmla="*/ 30 h 113"/>
                  <a:gd name="T60" fmla="*/ 38 w 43"/>
                  <a:gd name="T61" fmla="*/ 28 h 113"/>
                  <a:gd name="T62" fmla="*/ 40 w 43"/>
                  <a:gd name="T63" fmla="*/ 24 h 113"/>
                  <a:gd name="T64" fmla="*/ 40 w 43"/>
                  <a:gd name="T65" fmla="*/ 15 h 113"/>
                  <a:gd name="T66" fmla="*/ 40 w 43"/>
                  <a:gd name="T67" fmla="*/ 7 h 113"/>
                  <a:gd name="T68" fmla="*/ 43 w 43"/>
                  <a:gd name="T69" fmla="*/ 0 h 113"/>
                  <a:gd name="T70" fmla="*/ 40 w 43"/>
                  <a:gd name="T71" fmla="*/ 0 h 113"/>
                  <a:gd name="T72" fmla="*/ 36 w 43"/>
                  <a:gd name="T73" fmla="*/ 2 h 113"/>
                  <a:gd name="T74" fmla="*/ 29 w 43"/>
                  <a:gd name="T75" fmla="*/ 2 h 113"/>
                  <a:gd name="T76" fmla="*/ 23 w 43"/>
                  <a:gd name="T7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3" h="113">
                    <a:moveTo>
                      <a:pt x="23" y="0"/>
                    </a:moveTo>
                    <a:lnTo>
                      <a:pt x="21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4" y="6"/>
                    </a:lnTo>
                    <a:lnTo>
                      <a:pt x="3" y="8"/>
                    </a:lnTo>
                    <a:lnTo>
                      <a:pt x="3" y="11"/>
                    </a:lnTo>
                    <a:lnTo>
                      <a:pt x="3" y="15"/>
                    </a:lnTo>
                    <a:lnTo>
                      <a:pt x="1" y="22"/>
                    </a:lnTo>
                    <a:lnTo>
                      <a:pt x="0" y="30"/>
                    </a:lnTo>
                    <a:lnTo>
                      <a:pt x="0" y="39"/>
                    </a:lnTo>
                    <a:lnTo>
                      <a:pt x="0" y="47"/>
                    </a:lnTo>
                    <a:lnTo>
                      <a:pt x="0" y="54"/>
                    </a:lnTo>
                    <a:lnTo>
                      <a:pt x="1" y="58"/>
                    </a:lnTo>
                    <a:lnTo>
                      <a:pt x="3" y="61"/>
                    </a:lnTo>
                    <a:lnTo>
                      <a:pt x="3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4" y="66"/>
                    </a:lnTo>
                    <a:lnTo>
                      <a:pt x="4" y="68"/>
                    </a:lnTo>
                    <a:lnTo>
                      <a:pt x="3" y="69"/>
                    </a:lnTo>
                    <a:lnTo>
                      <a:pt x="3" y="70"/>
                    </a:lnTo>
                    <a:lnTo>
                      <a:pt x="3" y="72"/>
                    </a:lnTo>
                    <a:lnTo>
                      <a:pt x="1" y="73"/>
                    </a:lnTo>
                    <a:lnTo>
                      <a:pt x="0" y="76"/>
                    </a:lnTo>
                    <a:lnTo>
                      <a:pt x="0" y="77"/>
                    </a:lnTo>
                    <a:lnTo>
                      <a:pt x="0" y="80"/>
                    </a:lnTo>
                    <a:lnTo>
                      <a:pt x="1" y="83"/>
                    </a:lnTo>
                    <a:lnTo>
                      <a:pt x="3" y="87"/>
                    </a:lnTo>
                    <a:lnTo>
                      <a:pt x="5" y="92"/>
                    </a:lnTo>
                    <a:lnTo>
                      <a:pt x="7" y="98"/>
                    </a:lnTo>
                    <a:lnTo>
                      <a:pt x="10" y="102"/>
                    </a:lnTo>
                    <a:lnTo>
                      <a:pt x="12" y="107"/>
                    </a:lnTo>
                    <a:lnTo>
                      <a:pt x="15" y="110"/>
                    </a:lnTo>
                    <a:lnTo>
                      <a:pt x="16" y="113"/>
                    </a:lnTo>
                    <a:lnTo>
                      <a:pt x="18" y="113"/>
                    </a:lnTo>
                    <a:lnTo>
                      <a:pt x="19" y="113"/>
                    </a:lnTo>
                    <a:lnTo>
                      <a:pt x="21" y="113"/>
                    </a:lnTo>
                    <a:lnTo>
                      <a:pt x="22" y="112"/>
                    </a:lnTo>
                    <a:lnTo>
                      <a:pt x="23" y="110"/>
                    </a:lnTo>
                    <a:lnTo>
                      <a:pt x="25" y="109"/>
                    </a:lnTo>
                    <a:lnTo>
                      <a:pt x="26" y="106"/>
                    </a:lnTo>
                    <a:lnTo>
                      <a:pt x="27" y="103"/>
                    </a:lnTo>
                    <a:lnTo>
                      <a:pt x="27" y="101"/>
                    </a:lnTo>
                    <a:lnTo>
                      <a:pt x="27" y="95"/>
                    </a:lnTo>
                    <a:lnTo>
                      <a:pt x="27" y="90"/>
                    </a:lnTo>
                    <a:lnTo>
                      <a:pt x="27" y="83"/>
                    </a:lnTo>
                    <a:lnTo>
                      <a:pt x="27" y="76"/>
                    </a:lnTo>
                    <a:lnTo>
                      <a:pt x="27" y="70"/>
                    </a:lnTo>
                    <a:lnTo>
                      <a:pt x="27" y="68"/>
                    </a:lnTo>
                    <a:lnTo>
                      <a:pt x="27" y="66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4" y="46"/>
                    </a:lnTo>
                    <a:lnTo>
                      <a:pt x="36" y="43"/>
                    </a:lnTo>
                    <a:lnTo>
                      <a:pt x="36" y="39"/>
                    </a:lnTo>
                    <a:lnTo>
                      <a:pt x="36" y="35"/>
                    </a:lnTo>
                    <a:lnTo>
                      <a:pt x="37" y="30"/>
                    </a:lnTo>
                    <a:lnTo>
                      <a:pt x="37" y="29"/>
                    </a:lnTo>
                    <a:lnTo>
                      <a:pt x="38" y="28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1"/>
                    </a:lnTo>
                    <a:lnTo>
                      <a:pt x="40" y="15"/>
                    </a:lnTo>
                    <a:lnTo>
                      <a:pt x="40" y="11"/>
                    </a:lnTo>
                    <a:lnTo>
                      <a:pt x="40" y="7"/>
                    </a:lnTo>
                    <a:lnTo>
                      <a:pt x="41" y="3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26" y="2"/>
                    </a:lnTo>
                    <a:lnTo>
                      <a:pt x="23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69" name="Freeform 78"/>
              <p:cNvSpPr>
                <a:spLocks/>
              </p:cNvSpPr>
              <p:nvPr/>
            </p:nvSpPr>
            <p:spPr bwMode="auto">
              <a:xfrm>
                <a:off x="4489" y="2760"/>
                <a:ext cx="37" cy="40"/>
              </a:xfrm>
              <a:custGeom>
                <a:avLst/>
                <a:gdLst>
                  <a:gd name="T0" fmla="*/ 0 w 37"/>
                  <a:gd name="T1" fmla="*/ 33 h 40"/>
                  <a:gd name="T2" fmla="*/ 0 w 37"/>
                  <a:gd name="T3" fmla="*/ 33 h 40"/>
                  <a:gd name="T4" fmla="*/ 0 w 37"/>
                  <a:gd name="T5" fmla="*/ 35 h 40"/>
                  <a:gd name="T6" fmla="*/ 0 w 37"/>
                  <a:gd name="T7" fmla="*/ 36 h 40"/>
                  <a:gd name="T8" fmla="*/ 0 w 37"/>
                  <a:gd name="T9" fmla="*/ 36 h 40"/>
                  <a:gd name="T10" fmla="*/ 0 w 37"/>
                  <a:gd name="T11" fmla="*/ 38 h 40"/>
                  <a:gd name="T12" fmla="*/ 0 w 37"/>
                  <a:gd name="T13" fmla="*/ 39 h 40"/>
                  <a:gd name="T14" fmla="*/ 1 w 37"/>
                  <a:gd name="T15" fmla="*/ 40 h 40"/>
                  <a:gd name="T16" fmla="*/ 3 w 37"/>
                  <a:gd name="T17" fmla="*/ 40 h 40"/>
                  <a:gd name="T18" fmla="*/ 5 w 37"/>
                  <a:gd name="T19" fmla="*/ 40 h 40"/>
                  <a:gd name="T20" fmla="*/ 8 w 37"/>
                  <a:gd name="T21" fmla="*/ 39 h 40"/>
                  <a:gd name="T22" fmla="*/ 12 w 37"/>
                  <a:gd name="T23" fmla="*/ 36 h 40"/>
                  <a:gd name="T24" fmla="*/ 16 w 37"/>
                  <a:gd name="T25" fmla="*/ 35 h 40"/>
                  <a:gd name="T26" fmla="*/ 19 w 37"/>
                  <a:gd name="T27" fmla="*/ 32 h 40"/>
                  <a:gd name="T28" fmla="*/ 22 w 37"/>
                  <a:gd name="T29" fmla="*/ 29 h 40"/>
                  <a:gd name="T30" fmla="*/ 25 w 37"/>
                  <a:gd name="T31" fmla="*/ 28 h 40"/>
                  <a:gd name="T32" fmla="*/ 25 w 37"/>
                  <a:gd name="T33" fmla="*/ 28 h 40"/>
                  <a:gd name="T34" fmla="*/ 26 w 37"/>
                  <a:gd name="T35" fmla="*/ 27 h 40"/>
                  <a:gd name="T36" fmla="*/ 27 w 37"/>
                  <a:gd name="T37" fmla="*/ 25 h 40"/>
                  <a:gd name="T38" fmla="*/ 29 w 37"/>
                  <a:gd name="T39" fmla="*/ 21 h 40"/>
                  <a:gd name="T40" fmla="*/ 31 w 37"/>
                  <a:gd name="T41" fmla="*/ 18 h 40"/>
                  <a:gd name="T42" fmla="*/ 33 w 37"/>
                  <a:gd name="T43" fmla="*/ 14 h 40"/>
                  <a:gd name="T44" fmla="*/ 34 w 37"/>
                  <a:gd name="T45" fmla="*/ 11 h 40"/>
                  <a:gd name="T46" fmla="*/ 36 w 37"/>
                  <a:gd name="T47" fmla="*/ 9 h 40"/>
                  <a:gd name="T48" fmla="*/ 37 w 37"/>
                  <a:gd name="T49" fmla="*/ 7 h 40"/>
                  <a:gd name="T50" fmla="*/ 37 w 37"/>
                  <a:gd name="T51" fmla="*/ 6 h 40"/>
                  <a:gd name="T52" fmla="*/ 37 w 37"/>
                  <a:gd name="T53" fmla="*/ 5 h 40"/>
                  <a:gd name="T54" fmla="*/ 36 w 37"/>
                  <a:gd name="T55" fmla="*/ 3 h 40"/>
                  <a:gd name="T56" fmla="*/ 36 w 37"/>
                  <a:gd name="T57" fmla="*/ 2 h 40"/>
                  <a:gd name="T58" fmla="*/ 34 w 37"/>
                  <a:gd name="T59" fmla="*/ 2 h 40"/>
                  <a:gd name="T60" fmla="*/ 33 w 37"/>
                  <a:gd name="T61" fmla="*/ 0 h 40"/>
                  <a:gd name="T62" fmla="*/ 31 w 37"/>
                  <a:gd name="T63" fmla="*/ 0 h 40"/>
                  <a:gd name="T64" fmla="*/ 29 w 37"/>
                  <a:gd name="T65" fmla="*/ 2 h 40"/>
                  <a:gd name="T66" fmla="*/ 26 w 37"/>
                  <a:gd name="T67" fmla="*/ 3 h 40"/>
                  <a:gd name="T68" fmla="*/ 20 w 37"/>
                  <a:gd name="T69" fmla="*/ 7 h 40"/>
                  <a:gd name="T70" fmla="*/ 16 w 37"/>
                  <a:gd name="T71" fmla="*/ 13 h 40"/>
                  <a:gd name="T72" fmla="*/ 12 w 37"/>
                  <a:gd name="T73" fmla="*/ 18 h 40"/>
                  <a:gd name="T74" fmla="*/ 7 w 37"/>
                  <a:gd name="T75" fmla="*/ 24 h 40"/>
                  <a:gd name="T76" fmla="*/ 4 w 37"/>
                  <a:gd name="T77" fmla="*/ 29 h 40"/>
                  <a:gd name="T78" fmla="*/ 1 w 37"/>
                  <a:gd name="T79" fmla="*/ 32 h 40"/>
                  <a:gd name="T80" fmla="*/ 0 w 37"/>
                  <a:gd name="T81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7" h="40">
                    <a:moveTo>
                      <a:pt x="0" y="33"/>
                    </a:moveTo>
                    <a:lnTo>
                      <a:pt x="0" y="33"/>
                    </a:lnTo>
                    <a:lnTo>
                      <a:pt x="0" y="35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5" y="40"/>
                    </a:lnTo>
                    <a:lnTo>
                      <a:pt x="8" y="39"/>
                    </a:lnTo>
                    <a:lnTo>
                      <a:pt x="12" y="36"/>
                    </a:lnTo>
                    <a:lnTo>
                      <a:pt x="16" y="35"/>
                    </a:lnTo>
                    <a:lnTo>
                      <a:pt x="19" y="32"/>
                    </a:lnTo>
                    <a:lnTo>
                      <a:pt x="22" y="29"/>
                    </a:lnTo>
                    <a:lnTo>
                      <a:pt x="25" y="28"/>
                    </a:lnTo>
                    <a:lnTo>
                      <a:pt x="25" y="28"/>
                    </a:lnTo>
                    <a:lnTo>
                      <a:pt x="26" y="27"/>
                    </a:lnTo>
                    <a:lnTo>
                      <a:pt x="27" y="25"/>
                    </a:lnTo>
                    <a:lnTo>
                      <a:pt x="29" y="21"/>
                    </a:lnTo>
                    <a:lnTo>
                      <a:pt x="31" y="18"/>
                    </a:lnTo>
                    <a:lnTo>
                      <a:pt x="33" y="14"/>
                    </a:lnTo>
                    <a:lnTo>
                      <a:pt x="34" y="11"/>
                    </a:lnTo>
                    <a:lnTo>
                      <a:pt x="36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6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0" y="7"/>
                    </a:lnTo>
                    <a:lnTo>
                      <a:pt x="16" y="13"/>
                    </a:lnTo>
                    <a:lnTo>
                      <a:pt x="12" y="18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1" y="32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0" name="Freeform 79"/>
              <p:cNvSpPr>
                <a:spLocks/>
              </p:cNvSpPr>
              <p:nvPr/>
            </p:nvSpPr>
            <p:spPr bwMode="auto">
              <a:xfrm>
                <a:off x="4489" y="2760"/>
                <a:ext cx="37" cy="40"/>
              </a:xfrm>
              <a:custGeom>
                <a:avLst/>
                <a:gdLst>
                  <a:gd name="T0" fmla="*/ 0 w 37"/>
                  <a:gd name="T1" fmla="*/ 33 h 40"/>
                  <a:gd name="T2" fmla="*/ 0 w 37"/>
                  <a:gd name="T3" fmla="*/ 35 h 40"/>
                  <a:gd name="T4" fmla="*/ 0 w 37"/>
                  <a:gd name="T5" fmla="*/ 36 h 40"/>
                  <a:gd name="T6" fmla="*/ 0 w 37"/>
                  <a:gd name="T7" fmla="*/ 38 h 40"/>
                  <a:gd name="T8" fmla="*/ 0 w 37"/>
                  <a:gd name="T9" fmla="*/ 39 h 40"/>
                  <a:gd name="T10" fmla="*/ 1 w 37"/>
                  <a:gd name="T11" fmla="*/ 40 h 40"/>
                  <a:gd name="T12" fmla="*/ 3 w 37"/>
                  <a:gd name="T13" fmla="*/ 40 h 40"/>
                  <a:gd name="T14" fmla="*/ 5 w 37"/>
                  <a:gd name="T15" fmla="*/ 40 h 40"/>
                  <a:gd name="T16" fmla="*/ 8 w 37"/>
                  <a:gd name="T17" fmla="*/ 39 h 40"/>
                  <a:gd name="T18" fmla="*/ 12 w 37"/>
                  <a:gd name="T19" fmla="*/ 36 h 40"/>
                  <a:gd name="T20" fmla="*/ 16 w 37"/>
                  <a:gd name="T21" fmla="*/ 35 h 40"/>
                  <a:gd name="T22" fmla="*/ 19 w 37"/>
                  <a:gd name="T23" fmla="*/ 32 h 40"/>
                  <a:gd name="T24" fmla="*/ 22 w 37"/>
                  <a:gd name="T25" fmla="*/ 29 h 40"/>
                  <a:gd name="T26" fmla="*/ 25 w 37"/>
                  <a:gd name="T27" fmla="*/ 28 h 40"/>
                  <a:gd name="T28" fmla="*/ 26 w 37"/>
                  <a:gd name="T29" fmla="*/ 27 h 40"/>
                  <a:gd name="T30" fmla="*/ 27 w 37"/>
                  <a:gd name="T31" fmla="*/ 25 h 40"/>
                  <a:gd name="T32" fmla="*/ 29 w 37"/>
                  <a:gd name="T33" fmla="*/ 21 h 40"/>
                  <a:gd name="T34" fmla="*/ 31 w 37"/>
                  <a:gd name="T35" fmla="*/ 18 h 40"/>
                  <a:gd name="T36" fmla="*/ 33 w 37"/>
                  <a:gd name="T37" fmla="*/ 14 h 40"/>
                  <a:gd name="T38" fmla="*/ 34 w 37"/>
                  <a:gd name="T39" fmla="*/ 11 h 40"/>
                  <a:gd name="T40" fmla="*/ 36 w 37"/>
                  <a:gd name="T41" fmla="*/ 9 h 40"/>
                  <a:gd name="T42" fmla="*/ 37 w 37"/>
                  <a:gd name="T43" fmla="*/ 7 h 40"/>
                  <a:gd name="T44" fmla="*/ 37 w 37"/>
                  <a:gd name="T45" fmla="*/ 6 h 40"/>
                  <a:gd name="T46" fmla="*/ 37 w 37"/>
                  <a:gd name="T47" fmla="*/ 5 h 40"/>
                  <a:gd name="T48" fmla="*/ 36 w 37"/>
                  <a:gd name="T49" fmla="*/ 3 h 40"/>
                  <a:gd name="T50" fmla="*/ 36 w 37"/>
                  <a:gd name="T51" fmla="*/ 2 h 40"/>
                  <a:gd name="T52" fmla="*/ 34 w 37"/>
                  <a:gd name="T53" fmla="*/ 2 h 40"/>
                  <a:gd name="T54" fmla="*/ 33 w 37"/>
                  <a:gd name="T55" fmla="*/ 0 h 40"/>
                  <a:gd name="T56" fmla="*/ 31 w 37"/>
                  <a:gd name="T57" fmla="*/ 0 h 40"/>
                  <a:gd name="T58" fmla="*/ 29 w 37"/>
                  <a:gd name="T59" fmla="*/ 2 h 40"/>
                  <a:gd name="T60" fmla="*/ 26 w 37"/>
                  <a:gd name="T61" fmla="*/ 3 h 40"/>
                  <a:gd name="T62" fmla="*/ 20 w 37"/>
                  <a:gd name="T63" fmla="*/ 7 h 40"/>
                  <a:gd name="T64" fmla="*/ 16 w 37"/>
                  <a:gd name="T65" fmla="*/ 13 h 40"/>
                  <a:gd name="T66" fmla="*/ 12 w 37"/>
                  <a:gd name="T67" fmla="*/ 18 h 40"/>
                  <a:gd name="T68" fmla="*/ 7 w 37"/>
                  <a:gd name="T69" fmla="*/ 24 h 40"/>
                  <a:gd name="T70" fmla="*/ 4 w 37"/>
                  <a:gd name="T71" fmla="*/ 29 h 40"/>
                  <a:gd name="T72" fmla="*/ 1 w 37"/>
                  <a:gd name="T73" fmla="*/ 32 h 40"/>
                  <a:gd name="T74" fmla="*/ 0 w 37"/>
                  <a:gd name="T75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7" h="40">
                    <a:moveTo>
                      <a:pt x="0" y="33"/>
                    </a:moveTo>
                    <a:lnTo>
                      <a:pt x="0" y="35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0" y="39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5" y="40"/>
                    </a:lnTo>
                    <a:lnTo>
                      <a:pt x="8" y="39"/>
                    </a:lnTo>
                    <a:lnTo>
                      <a:pt x="12" y="36"/>
                    </a:lnTo>
                    <a:lnTo>
                      <a:pt x="16" y="35"/>
                    </a:lnTo>
                    <a:lnTo>
                      <a:pt x="19" y="32"/>
                    </a:lnTo>
                    <a:lnTo>
                      <a:pt x="22" y="29"/>
                    </a:lnTo>
                    <a:lnTo>
                      <a:pt x="25" y="28"/>
                    </a:lnTo>
                    <a:lnTo>
                      <a:pt x="26" y="27"/>
                    </a:lnTo>
                    <a:lnTo>
                      <a:pt x="27" y="25"/>
                    </a:lnTo>
                    <a:lnTo>
                      <a:pt x="29" y="21"/>
                    </a:lnTo>
                    <a:lnTo>
                      <a:pt x="31" y="18"/>
                    </a:lnTo>
                    <a:lnTo>
                      <a:pt x="33" y="14"/>
                    </a:lnTo>
                    <a:lnTo>
                      <a:pt x="34" y="11"/>
                    </a:lnTo>
                    <a:lnTo>
                      <a:pt x="36" y="9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7" y="5"/>
                    </a:lnTo>
                    <a:lnTo>
                      <a:pt x="36" y="3"/>
                    </a:lnTo>
                    <a:lnTo>
                      <a:pt x="36" y="2"/>
                    </a:lnTo>
                    <a:lnTo>
                      <a:pt x="34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3"/>
                    </a:lnTo>
                    <a:lnTo>
                      <a:pt x="20" y="7"/>
                    </a:lnTo>
                    <a:lnTo>
                      <a:pt x="16" y="13"/>
                    </a:lnTo>
                    <a:lnTo>
                      <a:pt x="12" y="18"/>
                    </a:lnTo>
                    <a:lnTo>
                      <a:pt x="7" y="24"/>
                    </a:lnTo>
                    <a:lnTo>
                      <a:pt x="4" y="29"/>
                    </a:lnTo>
                    <a:lnTo>
                      <a:pt x="1" y="32"/>
                    </a:lnTo>
                    <a:lnTo>
                      <a:pt x="0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1" name="Freeform 80"/>
              <p:cNvSpPr>
                <a:spLocks/>
              </p:cNvSpPr>
              <p:nvPr/>
            </p:nvSpPr>
            <p:spPr bwMode="auto">
              <a:xfrm>
                <a:off x="4552" y="2754"/>
                <a:ext cx="23" cy="28"/>
              </a:xfrm>
              <a:custGeom>
                <a:avLst/>
                <a:gdLst>
                  <a:gd name="T0" fmla="*/ 12 w 23"/>
                  <a:gd name="T1" fmla="*/ 0 h 28"/>
                  <a:gd name="T2" fmla="*/ 11 w 23"/>
                  <a:gd name="T3" fmla="*/ 0 h 28"/>
                  <a:gd name="T4" fmla="*/ 10 w 23"/>
                  <a:gd name="T5" fmla="*/ 0 h 28"/>
                  <a:gd name="T6" fmla="*/ 8 w 23"/>
                  <a:gd name="T7" fmla="*/ 1 h 28"/>
                  <a:gd name="T8" fmla="*/ 6 w 23"/>
                  <a:gd name="T9" fmla="*/ 1 h 28"/>
                  <a:gd name="T10" fmla="*/ 3 w 23"/>
                  <a:gd name="T11" fmla="*/ 2 h 28"/>
                  <a:gd name="T12" fmla="*/ 1 w 23"/>
                  <a:gd name="T13" fmla="*/ 4 h 28"/>
                  <a:gd name="T14" fmla="*/ 0 w 23"/>
                  <a:gd name="T15" fmla="*/ 5 h 28"/>
                  <a:gd name="T16" fmla="*/ 0 w 23"/>
                  <a:gd name="T17" fmla="*/ 8 h 28"/>
                  <a:gd name="T18" fmla="*/ 0 w 23"/>
                  <a:gd name="T19" fmla="*/ 11 h 28"/>
                  <a:gd name="T20" fmla="*/ 0 w 23"/>
                  <a:gd name="T21" fmla="*/ 13 h 28"/>
                  <a:gd name="T22" fmla="*/ 0 w 23"/>
                  <a:gd name="T23" fmla="*/ 16 h 28"/>
                  <a:gd name="T24" fmla="*/ 1 w 23"/>
                  <a:gd name="T25" fmla="*/ 19 h 28"/>
                  <a:gd name="T26" fmla="*/ 1 w 23"/>
                  <a:gd name="T27" fmla="*/ 22 h 28"/>
                  <a:gd name="T28" fmla="*/ 3 w 23"/>
                  <a:gd name="T29" fmla="*/ 24 h 28"/>
                  <a:gd name="T30" fmla="*/ 4 w 23"/>
                  <a:gd name="T31" fmla="*/ 26 h 28"/>
                  <a:gd name="T32" fmla="*/ 7 w 23"/>
                  <a:gd name="T33" fmla="*/ 28 h 28"/>
                  <a:gd name="T34" fmla="*/ 8 w 23"/>
                  <a:gd name="T35" fmla="*/ 28 h 28"/>
                  <a:gd name="T36" fmla="*/ 11 w 23"/>
                  <a:gd name="T37" fmla="*/ 28 h 28"/>
                  <a:gd name="T38" fmla="*/ 15 w 23"/>
                  <a:gd name="T39" fmla="*/ 27 h 28"/>
                  <a:gd name="T40" fmla="*/ 18 w 23"/>
                  <a:gd name="T41" fmla="*/ 26 h 28"/>
                  <a:gd name="T42" fmla="*/ 21 w 23"/>
                  <a:gd name="T43" fmla="*/ 24 h 28"/>
                  <a:gd name="T44" fmla="*/ 22 w 23"/>
                  <a:gd name="T45" fmla="*/ 23 h 28"/>
                  <a:gd name="T46" fmla="*/ 23 w 23"/>
                  <a:gd name="T47" fmla="*/ 22 h 28"/>
                  <a:gd name="T48" fmla="*/ 23 w 23"/>
                  <a:gd name="T49" fmla="*/ 19 h 28"/>
                  <a:gd name="T50" fmla="*/ 22 w 23"/>
                  <a:gd name="T51" fmla="*/ 17 h 28"/>
                  <a:gd name="T52" fmla="*/ 21 w 23"/>
                  <a:gd name="T53" fmla="*/ 15 h 28"/>
                  <a:gd name="T54" fmla="*/ 19 w 23"/>
                  <a:gd name="T55" fmla="*/ 12 h 28"/>
                  <a:gd name="T56" fmla="*/ 19 w 23"/>
                  <a:gd name="T57" fmla="*/ 8 h 28"/>
                  <a:gd name="T58" fmla="*/ 18 w 23"/>
                  <a:gd name="T59" fmla="*/ 5 h 28"/>
                  <a:gd name="T60" fmla="*/ 15 w 23"/>
                  <a:gd name="T61" fmla="*/ 4 h 28"/>
                  <a:gd name="T62" fmla="*/ 14 w 23"/>
                  <a:gd name="T63" fmla="*/ 1 h 28"/>
                  <a:gd name="T64" fmla="*/ 12 w 23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28">
                    <a:moveTo>
                      <a:pt x="12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3" y="24"/>
                    </a:lnTo>
                    <a:lnTo>
                      <a:pt x="4" y="26"/>
                    </a:lnTo>
                    <a:lnTo>
                      <a:pt x="7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2" y="23"/>
                    </a:lnTo>
                    <a:lnTo>
                      <a:pt x="23" y="22"/>
                    </a:lnTo>
                    <a:lnTo>
                      <a:pt x="23" y="19"/>
                    </a:lnTo>
                    <a:lnTo>
                      <a:pt x="22" y="17"/>
                    </a:lnTo>
                    <a:lnTo>
                      <a:pt x="21" y="15"/>
                    </a:lnTo>
                    <a:lnTo>
                      <a:pt x="19" y="12"/>
                    </a:lnTo>
                    <a:lnTo>
                      <a:pt x="19" y="8"/>
                    </a:lnTo>
                    <a:lnTo>
                      <a:pt x="18" y="5"/>
                    </a:lnTo>
                    <a:lnTo>
                      <a:pt x="15" y="4"/>
                    </a:lnTo>
                    <a:lnTo>
                      <a:pt x="14" y="1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2" name="Freeform 81"/>
              <p:cNvSpPr>
                <a:spLocks/>
              </p:cNvSpPr>
              <p:nvPr/>
            </p:nvSpPr>
            <p:spPr bwMode="auto">
              <a:xfrm>
                <a:off x="4552" y="2754"/>
                <a:ext cx="23" cy="28"/>
              </a:xfrm>
              <a:custGeom>
                <a:avLst/>
                <a:gdLst>
                  <a:gd name="T0" fmla="*/ 12 w 23"/>
                  <a:gd name="T1" fmla="*/ 0 h 28"/>
                  <a:gd name="T2" fmla="*/ 11 w 23"/>
                  <a:gd name="T3" fmla="*/ 0 h 28"/>
                  <a:gd name="T4" fmla="*/ 10 w 23"/>
                  <a:gd name="T5" fmla="*/ 0 h 28"/>
                  <a:gd name="T6" fmla="*/ 8 w 23"/>
                  <a:gd name="T7" fmla="*/ 1 h 28"/>
                  <a:gd name="T8" fmla="*/ 6 w 23"/>
                  <a:gd name="T9" fmla="*/ 1 h 28"/>
                  <a:gd name="T10" fmla="*/ 3 w 23"/>
                  <a:gd name="T11" fmla="*/ 2 h 28"/>
                  <a:gd name="T12" fmla="*/ 1 w 23"/>
                  <a:gd name="T13" fmla="*/ 4 h 28"/>
                  <a:gd name="T14" fmla="*/ 0 w 23"/>
                  <a:gd name="T15" fmla="*/ 5 h 28"/>
                  <a:gd name="T16" fmla="*/ 0 w 23"/>
                  <a:gd name="T17" fmla="*/ 8 h 28"/>
                  <a:gd name="T18" fmla="*/ 0 w 23"/>
                  <a:gd name="T19" fmla="*/ 11 h 28"/>
                  <a:gd name="T20" fmla="*/ 0 w 23"/>
                  <a:gd name="T21" fmla="*/ 13 h 28"/>
                  <a:gd name="T22" fmla="*/ 0 w 23"/>
                  <a:gd name="T23" fmla="*/ 16 h 28"/>
                  <a:gd name="T24" fmla="*/ 1 w 23"/>
                  <a:gd name="T25" fmla="*/ 19 h 28"/>
                  <a:gd name="T26" fmla="*/ 1 w 23"/>
                  <a:gd name="T27" fmla="*/ 22 h 28"/>
                  <a:gd name="T28" fmla="*/ 3 w 23"/>
                  <a:gd name="T29" fmla="*/ 24 h 28"/>
                  <a:gd name="T30" fmla="*/ 4 w 23"/>
                  <a:gd name="T31" fmla="*/ 26 h 28"/>
                  <a:gd name="T32" fmla="*/ 7 w 23"/>
                  <a:gd name="T33" fmla="*/ 28 h 28"/>
                  <a:gd name="T34" fmla="*/ 8 w 23"/>
                  <a:gd name="T35" fmla="*/ 28 h 28"/>
                  <a:gd name="T36" fmla="*/ 11 w 23"/>
                  <a:gd name="T37" fmla="*/ 28 h 28"/>
                  <a:gd name="T38" fmla="*/ 15 w 23"/>
                  <a:gd name="T39" fmla="*/ 27 h 28"/>
                  <a:gd name="T40" fmla="*/ 18 w 23"/>
                  <a:gd name="T41" fmla="*/ 26 h 28"/>
                  <a:gd name="T42" fmla="*/ 21 w 23"/>
                  <a:gd name="T43" fmla="*/ 24 h 28"/>
                  <a:gd name="T44" fmla="*/ 22 w 23"/>
                  <a:gd name="T45" fmla="*/ 23 h 28"/>
                  <a:gd name="T46" fmla="*/ 23 w 23"/>
                  <a:gd name="T47" fmla="*/ 22 h 28"/>
                  <a:gd name="T48" fmla="*/ 23 w 23"/>
                  <a:gd name="T49" fmla="*/ 19 h 28"/>
                  <a:gd name="T50" fmla="*/ 22 w 23"/>
                  <a:gd name="T51" fmla="*/ 17 h 28"/>
                  <a:gd name="T52" fmla="*/ 21 w 23"/>
                  <a:gd name="T53" fmla="*/ 15 h 28"/>
                  <a:gd name="T54" fmla="*/ 19 w 23"/>
                  <a:gd name="T55" fmla="*/ 12 h 28"/>
                  <a:gd name="T56" fmla="*/ 19 w 23"/>
                  <a:gd name="T57" fmla="*/ 8 h 28"/>
                  <a:gd name="T58" fmla="*/ 18 w 23"/>
                  <a:gd name="T59" fmla="*/ 5 h 28"/>
                  <a:gd name="T60" fmla="*/ 15 w 23"/>
                  <a:gd name="T61" fmla="*/ 4 h 28"/>
                  <a:gd name="T62" fmla="*/ 14 w 23"/>
                  <a:gd name="T63" fmla="*/ 1 h 28"/>
                  <a:gd name="T64" fmla="*/ 12 w 23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28">
                    <a:moveTo>
                      <a:pt x="12" y="0"/>
                    </a:moveTo>
                    <a:lnTo>
                      <a:pt x="11" y="0"/>
                    </a:lnTo>
                    <a:lnTo>
                      <a:pt x="10" y="0"/>
                    </a:lnTo>
                    <a:lnTo>
                      <a:pt x="8" y="1"/>
                    </a:lnTo>
                    <a:lnTo>
                      <a:pt x="6" y="1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1" y="22"/>
                    </a:lnTo>
                    <a:lnTo>
                      <a:pt x="3" y="24"/>
                    </a:lnTo>
                    <a:lnTo>
                      <a:pt x="4" y="26"/>
                    </a:lnTo>
                    <a:lnTo>
                      <a:pt x="7" y="28"/>
                    </a:lnTo>
                    <a:lnTo>
                      <a:pt x="8" y="28"/>
                    </a:lnTo>
                    <a:lnTo>
                      <a:pt x="11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2" y="23"/>
                    </a:lnTo>
                    <a:lnTo>
                      <a:pt x="23" y="22"/>
                    </a:lnTo>
                    <a:lnTo>
                      <a:pt x="23" y="19"/>
                    </a:lnTo>
                    <a:lnTo>
                      <a:pt x="22" y="17"/>
                    </a:lnTo>
                    <a:lnTo>
                      <a:pt x="21" y="15"/>
                    </a:lnTo>
                    <a:lnTo>
                      <a:pt x="19" y="12"/>
                    </a:lnTo>
                    <a:lnTo>
                      <a:pt x="19" y="8"/>
                    </a:lnTo>
                    <a:lnTo>
                      <a:pt x="18" y="5"/>
                    </a:lnTo>
                    <a:lnTo>
                      <a:pt x="15" y="4"/>
                    </a:lnTo>
                    <a:lnTo>
                      <a:pt x="14" y="1"/>
                    </a:lnTo>
                    <a:lnTo>
                      <a:pt x="12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3" name="Freeform 82"/>
              <p:cNvSpPr>
                <a:spLocks/>
              </p:cNvSpPr>
              <p:nvPr/>
            </p:nvSpPr>
            <p:spPr bwMode="auto">
              <a:xfrm>
                <a:off x="4560" y="2711"/>
                <a:ext cx="28" cy="22"/>
              </a:xfrm>
              <a:custGeom>
                <a:avLst/>
                <a:gdLst>
                  <a:gd name="T0" fmla="*/ 14 w 28"/>
                  <a:gd name="T1" fmla="*/ 22 h 22"/>
                  <a:gd name="T2" fmla="*/ 17 w 28"/>
                  <a:gd name="T3" fmla="*/ 22 h 22"/>
                  <a:gd name="T4" fmla="*/ 20 w 28"/>
                  <a:gd name="T5" fmla="*/ 22 h 22"/>
                  <a:gd name="T6" fmla="*/ 22 w 28"/>
                  <a:gd name="T7" fmla="*/ 21 h 22"/>
                  <a:gd name="T8" fmla="*/ 24 w 28"/>
                  <a:gd name="T9" fmla="*/ 19 h 22"/>
                  <a:gd name="T10" fmla="*/ 25 w 28"/>
                  <a:gd name="T11" fmla="*/ 18 h 22"/>
                  <a:gd name="T12" fmla="*/ 26 w 28"/>
                  <a:gd name="T13" fmla="*/ 15 h 22"/>
                  <a:gd name="T14" fmla="*/ 28 w 28"/>
                  <a:gd name="T15" fmla="*/ 14 h 22"/>
                  <a:gd name="T16" fmla="*/ 28 w 28"/>
                  <a:gd name="T17" fmla="*/ 11 h 22"/>
                  <a:gd name="T18" fmla="*/ 28 w 28"/>
                  <a:gd name="T19" fmla="*/ 10 h 22"/>
                  <a:gd name="T20" fmla="*/ 26 w 28"/>
                  <a:gd name="T21" fmla="*/ 7 h 22"/>
                  <a:gd name="T22" fmla="*/ 25 w 28"/>
                  <a:gd name="T23" fmla="*/ 5 h 22"/>
                  <a:gd name="T24" fmla="*/ 24 w 28"/>
                  <a:gd name="T25" fmla="*/ 4 h 22"/>
                  <a:gd name="T26" fmla="*/ 22 w 28"/>
                  <a:gd name="T27" fmla="*/ 3 h 22"/>
                  <a:gd name="T28" fmla="*/ 20 w 28"/>
                  <a:gd name="T29" fmla="*/ 1 h 22"/>
                  <a:gd name="T30" fmla="*/ 17 w 28"/>
                  <a:gd name="T31" fmla="*/ 0 h 22"/>
                  <a:gd name="T32" fmla="*/ 14 w 28"/>
                  <a:gd name="T33" fmla="*/ 0 h 22"/>
                  <a:gd name="T34" fmla="*/ 11 w 28"/>
                  <a:gd name="T35" fmla="*/ 0 h 22"/>
                  <a:gd name="T36" fmla="*/ 9 w 28"/>
                  <a:gd name="T37" fmla="*/ 1 h 22"/>
                  <a:gd name="T38" fmla="*/ 6 w 28"/>
                  <a:gd name="T39" fmla="*/ 3 h 22"/>
                  <a:gd name="T40" fmla="*/ 4 w 28"/>
                  <a:gd name="T41" fmla="*/ 4 h 22"/>
                  <a:gd name="T42" fmla="*/ 3 w 28"/>
                  <a:gd name="T43" fmla="*/ 5 h 22"/>
                  <a:gd name="T44" fmla="*/ 2 w 28"/>
                  <a:gd name="T45" fmla="*/ 7 h 22"/>
                  <a:gd name="T46" fmla="*/ 0 w 28"/>
                  <a:gd name="T47" fmla="*/ 10 h 22"/>
                  <a:gd name="T48" fmla="*/ 0 w 28"/>
                  <a:gd name="T49" fmla="*/ 11 h 22"/>
                  <a:gd name="T50" fmla="*/ 0 w 28"/>
                  <a:gd name="T51" fmla="*/ 14 h 22"/>
                  <a:gd name="T52" fmla="*/ 2 w 28"/>
                  <a:gd name="T53" fmla="*/ 15 h 22"/>
                  <a:gd name="T54" fmla="*/ 3 w 28"/>
                  <a:gd name="T55" fmla="*/ 18 h 22"/>
                  <a:gd name="T56" fmla="*/ 4 w 28"/>
                  <a:gd name="T57" fmla="*/ 19 h 22"/>
                  <a:gd name="T58" fmla="*/ 6 w 28"/>
                  <a:gd name="T59" fmla="*/ 21 h 22"/>
                  <a:gd name="T60" fmla="*/ 9 w 28"/>
                  <a:gd name="T61" fmla="*/ 22 h 22"/>
                  <a:gd name="T62" fmla="*/ 11 w 28"/>
                  <a:gd name="T63" fmla="*/ 22 h 22"/>
                  <a:gd name="T64" fmla="*/ 14 w 28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22">
                    <a:moveTo>
                      <a:pt x="14" y="22"/>
                    </a:moveTo>
                    <a:lnTo>
                      <a:pt x="17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4" y="19"/>
                    </a:lnTo>
                    <a:lnTo>
                      <a:pt x="25" y="18"/>
                    </a:lnTo>
                    <a:lnTo>
                      <a:pt x="26" y="15"/>
                    </a:lnTo>
                    <a:lnTo>
                      <a:pt x="28" y="14"/>
                    </a:lnTo>
                    <a:lnTo>
                      <a:pt x="28" y="11"/>
                    </a:lnTo>
                    <a:lnTo>
                      <a:pt x="28" y="10"/>
                    </a:lnTo>
                    <a:lnTo>
                      <a:pt x="26" y="7"/>
                    </a:lnTo>
                    <a:lnTo>
                      <a:pt x="25" y="5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9" y="22"/>
                    </a:lnTo>
                    <a:lnTo>
                      <a:pt x="11" y="22"/>
                    </a:lnTo>
                    <a:lnTo>
                      <a:pt x="14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4" name="Freeform 83"/>
              <p:cNvSpPr>
                <a:spLocks/>
              </p:cNvSpPr>
              <p:nvPr/>
            </p:nvSpPr>
            <p:spPr bwMode="auto">
              <a:xfrm>
                <a:off x="4560" y="2711"/>
                <a:ext cx="28" cy="22"/>
              </a:xfrm>
              <a:custGeom>
                <a:avLst/>
                <a:gdLst>
                  <a:gd name="T0" fmla="*/ 14 w 28"/>
                  <a:gd name="T1" fmla="*/ 22 h 22"/>
                  <a:gd name="T2" fmla="*/ 17 w 28"/>
                  <a:gd name="T3" fmla="*/ 22 h 22"/>
                  <a:gd name="T4" fmla="*/ 20 w 28"/>
                  <a:gd name="T5" fmla="*/ 22 h 22"/>
                  <a:gd name="T6" fmla="*/ 22 w 28"/>
                  <a:gd name="T7" fmla="*/ 21 h 22"/>
                  <a:gd name="T8" fmla="*/ 24 w 28"/>
                  <a:gd name="T9" fmla="*/ 19 h 22"/>
                  <a:gd name="T10" fmla="*/ 25 w 28"/>
                  <a:gd name="T11" fmla="*/ 18 h 22"/>
                  <a:gd name="T12" fmla="*/ 26 w 28"/>
                  <a:gd name="T13" fmla="*/ 15 h 22"/>
                  <a:gd name="T14" fmla="*/ 28 w 28"/>
                  <a:gd name="T15" fmla="*/ 14 h 22"/>
                  <a:gd name="T16" fmla="*/ 28 w 28"/>
                  <a:gd name="T17" fmla="*/ 11 h 22"/>
                  <a:gd name="T18" fmla="*/ 28 w 28"/>
                  <a:gd name="T19" fmla="*/ 10 h 22"/>
                  <a:gd name="T20" fmla="*/ 26 w 28"/>
                  <a:gd name="T21" fmla="*/ 7 h 22"/>
                  <a:gd name="T22" fmla="*/ 25 w 28"/>
                  <a:gd name="T23" fmla="*/ 5 h 22"/>
                  <a:gd name="T24" fmla="*/ 24 w 28"/>
                  <a:gd name="T25" fmla="*/ 4 h 22"/>
                  <a:gd name="T26" fmla="*/ 22 w 28"/>
                  <a:gd name="T27" fmla="*/ 3 h 22"/>
                  <a:gd name="T28" fmla="*/ 20 w 28"/>
                  <a:gd name="T29" fmla="*/ 1 h 22"/>
                  <a:gd name="T30" fmla="*/ 17 w 28"/>
                  <a:gd name="T31" fmla="*/ 0 h 22"/>
                  <a:gd name="T32" fmla="*/ 14 w 28"/>
                  <a:gd name="T33" fmla="*/ 0 h 22"/>
                  <a:gd name="T34" fmla="*/ 11 w 28"/>
                  <a:gd name="T35" fmla="*/ 0 h 22"/>
                  <a:gd name="T36" fmla="*/ 9 w 28"/>
                  <a:gd name="T37" fmla="*/ 1 h 22"/>
                  <a:gd name="T38" fmla="*/ 6 w 28"/>
                  <a:gd name="T39" fmla="*/ 3 h 22"/>
                  <a:gd name="T40" fmla="*/ 4 w 28"/>
                  <a:gd name="T41" fmla="*/ 4 h 22"/>
                  <a:gd name="T42" fmla="*/ 3 w 28"/>
                  <a:gd name="T43" fmla="*/ 5 h 22"/>
                  <a:gd name="T44" fmla="*/ 2 w 28"/>
                  <a:gd name="T45" fmla="*/ 7 h 22"/>
                  <a:gd name="T46" fmla="*/ 0 w 28"/>
                  <a:gd name="T47" fmla="*/ 10 h 22"/>
                  <a:gd name="T48" fmla="*/ 0 w 28"/>
                  <a:gd name="T49" fmla="*/ 11 h 22"/>
                  <a:gd name="T50" fmla="*/ 0 w 28"/>
                  <a:gd name="T51" fmla="*/ 14 h 22"/>
                  <a:gd name="T52" fmla="*/ 2 w 28"/>
                  <a:gd name="T53" fmla="*/ 15 h 22"/>
                  <a:gd name="T54" fmla="*/ 3 w 28"/>
                  <a:gd name="T55" fmla="*/ 18 h 22"/>
                  <a:gd name="T56" fmla="*/ 4 w 28"/>
                  <a:gd name="T57" fmla="*/ 19 h 22"/>
                  <a:gd name="T58" fmla="*/ 6 w 28"/>
                  <a:gd name="T59" fmla="*/ 21 h 22"/>
                  <a:gd name="T60" fmla="*/ 9 w 28"/>
                  <a:gd name="T61" fmla="*/ 22 h 22"/>
                  <a:gd name="T62" fmla="*/ 11 w 28"/>
                  <a:gd name="T63" fmla="*/ 22 h 22"/>
                  <a:gd name="T64" fmla="*/ 14 w 28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8" h="22">
                    <a:moveTo>
                      <a:pt x="14" y="22"/>
                    </a:moveTo>
                    <a:lnTo>
                      <a:pt x="17" y="22"/>
                    </a:lnTo>
                    <a:lnTo>
                      <a:pt x="20" y="22"/>
                    </a:lnTo>
                    <a:lnTo>
                      <a:pt x="22" y="21"/>
                    </a:lnTo>
                    <a:lnTo>
                      <a:pt x="24" y="19"/>
                    </a:lnTo>
                    <a:lnTo>
                      <a:pt x="25" y="18"/>
                    </a:lnTo>
                    <a:lnTo>
                      <a:pt x="26" y="15"/>
                    </a:lnTo>
                    <a:lnTo>
                      <a:pt x="28" y="14"/>
                    </a:lnTo>
                    <a:lnTo>
                      <a:pt x="28" y="11"/>
                    </a:lnTo>
                    <a:lnTo>
                      <a:pt x="28" y="10"/>
                    </a:lnTo>
                    <a:lnTo>
                      <a:pt x="26" y="7"/>
                    </a:lnTo>
                    <a:lnTo>
                      <a:pt x="25" y="5"/>
                    </a:lnTo>
                    <a:lnTo>
                      <a:pt x="24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9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5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2" y="15"/>
                    </a:lnTo>
                    <a:lnTo>
                      <a:pt x="3" y="18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9" y="22"/>
                    </a:lnTo>
                    <a:lnTo>
                      <a:pt x="11" y="22"/>
                    </a:lnTo>
                    <a:lnTo>
                      <a:pt x="14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5" name="Freeform 84"/>
              <p:cNvSpPr>
                <a:spLocks/>
              </p:cNvSpPr>
              <p:nvPr/>
            </p:nvSpPr>
            <p:spPr bwMode="auto">
              <a:xfrm>
                <a:off x="4589" y="2748"/>
                <a:ext cx="24" cy="23"/>
              </a:xfrm>
              <a:custGeom>
                <a:avLst/>
                <a:gdLst>
                  <a:gd name="T0" fmla="*/ 13 w 24"/>
                  <a:gd name="T1" fmla="*/ 23 h 23"/>
                  <a:gd name="T2" fmla="*/ 14 w 24"/>
                  <a:gd name="T3" fmla="*/ 23 h 23"/>
                  <a:gd name="T4" fmla="*/ 17 w 24"/>
                  <a:gd name="T5" fmla="*/ 23 h 23"/>
                  <a:gd name="T6" fmla="*/ 18 w 24"/>
                  <a:gd name="T7" fmla="*/ 22 h 23"/>
                  <a:gd name="T8" fmla="*/ 19 w 24"/>
                  <a:gd name="T9" fmla="*/ 21 h 23"/>
                  <a:gd name="T10" fmla="*/ 21 w 24"/>
                  <a:gd name="T11" fmla="*/ 19 h 23"/>
                  <a:gd name="T12" fmla="*/ 22 w 24"/>
                  <a:gd name="T13" fmla="*/ 17 h 23"/>
                  <a:gd name="T14" fmla="*/ 22 w 24"/>
                  <a:gd name="T15" fmla="*/ 14 h 23"/>
                  <a:gd name="T16" fmla="*/ 24 w 24"/>
                  <a:gd name="T17" fmla="*/ 12 h 23"/>
                  <a:gd name="T18" fmla="*/ 22 w 24"/>
                  <a:gd name="T19" fmla="*/ 10 h 23"/>
                  <a:gd name="T20" fmla="*/ 22 w 24"/>
                  <a:gd name="T21" fmla="*/ 7 h 23"/>
                  <a:gd name="T22" fmla="*/ 21 w 24"/>
                  <a:gd name="T23" fmla="*/ 6 h 23"/>
                  <a:gd name="T24" fmla="*/ 19 w 24"/>
                  <a:gd name="T25" fmla="*/ 4 h 23"/>
                  <a:gd name="T26" fmla="*/ 18 w 24"/>
                  <a:gd name="T27" fmla="*/ 3 h 23"/>
                  <a:gd name="T28" fmla="*/ 17 w 24"/>
                  <a:gd name="T29" fmla="*/ 1 h 23"/>
                  <a:gd name="T30" fmla="*/ 14 w 24"/>
                  <a:gd name="T31" fmla="*/ 0 h 23"/>
                  <a:gd name="T32" fmla="*/ 13 w 24"/>
                  <a:gd name="T33" fmla="*/ 0 h 23"/>
                  <a:gd name="T34" fmla="*/ 10 w 24"/>
                  <a:gd name="T35" fmla="*/ 0 h 23"/>
                  <a:gd name="T36" fmla="*/ 7 w 24"/>
                  <a:gd name="T37" fmla="*/ 1 h 23"/>
                  <a:gd name="T38" fmla="*/ 6 w 24"/>
                  <a:gd name="T39" fmla="*/ 3 h 23"/>
                  <a:gd name="T40" fmla="*/ 4 w 24"/>
                  <a:gd name="T41" fmla="*/ 4 h 23"/>
                  <a:gd name="T42" fmla="*/ 3 w 24"/>
                  <a:gd name="T43" fmla="*/ 6 h 23"/>
                  <a:gd name="T44" fmla="*/ 2 w 24"/>
                  <a:gd name="T45" fmla="*/ 7 h 23"/>
                  <a:gd name="T46" fmla="*/ 0 w 24"/>
                  <a:gd name="T47" fmla="*/ 10 h 23"/>
                  <a:gd name="T48" fmla="*/ 0 w 24"/>
                  <a:gd name="T49" fmla="*/ 12 h 23"/>
                  <a:gd name="T50" fmla="*/ 0 w 24"/>
                  <a:gd name="T51" fmla="*/ 14 h 23"/>
                  <a:gd name="T52" fmla="*/ 2 w 24"/>
                  <a:gd name="T53" fmla="*/ 17 h 23"/>
                  <a:gd name="T54" fmla="*/ 3 w 24"/>
                  <a:gd name="T55" fmla="*/ 19 h 23"/>
                  <a:gd name="T56" fmla="*/ 4 w 24"/>
                  <a:gd name="T57" fmla="*/ 21 h 23"/>
                  <a:gd name="T58" fmla="*/ 6 w 24"/>
                  <a:gd name="T59" fmla="*/ 22 h 23"/>
                  <a:gd name="T60" fmla="*/ 7 w 24"/>
                  <a:gd name="T61" fmla="*/ 23 h 23"/>
                  <a:gd name="T62" fmla="*/ 10 w 24"/>
                  <a:gd name="T63" fmla="*/ 23 h 23"/>
                  <a:gd name="T64" fmla="*/ 13 w 24"/>
                  <a:gd name="T6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23">
                    <a:moveTo>
                      <a:pt x="13" y="23"/>
                    </a:moveTo>
                    <a:lnTo>
                      <a:pt x="14" y="23"/>
                    </a:lnTo>
                    <a:lnTo>
                      <a:pt x="17" y="23"/>
                    </a:lnTo>
                    <a:lnTo>
                      <a:pt x="18" y="22"/>
                    </a:lnTo>
                    <a:lnTo>
                      <a:pt x="19" y="21"/>
                    </a:lnTo>
                    <a:lnTo>
                      <a:pt x="21" y="19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7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3" y="19"/>
                    </a:lnTo>
                    <a:lnTo>
                      <a:pt x="4" y="21"/>
                    </a:lnTo>
                    <a:lnTo>
                      <a:pt x="6" y="22"/>
                    </a:lnTo>
                    <a:lnTo>
                      <a:pt x="7" y="23"/>
                    </a:lnTo>
                    <a:lnTo>
                      <a:pt x="10" y="23"/>
                    </a:lnTo>
                    <a:lnTo>
                      <a:pt x="13" y="2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6" name="Freeform 85"/>
              <p:cNvSpPr>
                <a:spLocks/>
              </p:cNvSpPr>
              <p:nvPr/>
            </p:nvSpPr>
            <p:spPr bwMode="auto">
              <a:xfrm>
                <a:off x="4589" y="2748"/>
                <a:ext cx="24" cy="23"/>
              </a:xfrm>
              <a:custGeom>
                <a:avLst/>
                <a:gdLst>
                  <a:gd name="T0" fmla="*/ 13 w 24"/>
                  <a:gd name="T1" fmla="*/ 23 h 23"/>
                  <a:gd name="T2" fmla="*/ 14 w 24"/>
                  <a:gd name="T3" fmla="*/ 23 h 23"/>
                  <a:gd name="T4" fmla="*/ 17 w 24"/>
                  <a:gd name="T5" fmla="*/ 23 h 23"/>
                  <a:gd name="T6" fmla="*/ 18 w 24"/>
                  <a:gd name="T7" fmla="*/ 22 h 23"/>
                  <a:gd name="T8" fmla="*/ 19 w 24"/>
                  <a:gd name="T9" fmla="*/ 21 h 23"/>
                  <a:gd name="T10" fmla="*/ 21 w 24"/>
                  <a:gd name="T11" fmla="*/ 19 h 23"/>
                  <a:gd name="T12" fmla="*/ 22 w 24"/>
                  <a:gd name="T13" fmla="*/ 17 h 23"/>
                  <a:gd name="T14" fmla="*/ 22 w 24"/>
                  <a:gd name="T15" fmla="*/ 14 h 23"/>
                  <a:gd name="T16" fmla="*/ 24 w 24"/>
                  <a:gd name="T17" fmla="*/ 12 h 23"/>
                  <a:gd name="T18" fmla="*/ 22 w 24"/>
                  <a:gd name="T19" fmla="*/ 10 h 23"/>
                  <a:gd name="T20" fmla="*/ 22 w 24"/>
                  <a:gd name="T21" fmla="*/ 7 h 23"/>
                  <a:gd name="T22" fmla="*/ 21 w 24"/>
                  <a:gd name="T23" fmla="*/ 6 h 23"/>
                  <a:gd name="T24" fmla="*/ 19 w 24"/>
                  <a:gd name="T25" fmla="*/ 4 h 23"/>
                  <a:gd name="T26" fmla="*/ 18 w 24"/>
                  <a:gd name="T27" fmla="*/ 3 h 23"/>
                  <a:gd name="T28" fmla="*/ 17 w 24"/>
                  <a:gd name="T29" fmla="*/ 1 h 23"/>
                  <a:gd name="T30" fmla="*/ 14 w 24"/>
                  <a:gd name="T31" fmla="*/ 0 h 23"/>
                  <a:gd name="T32" fmla="*/ 13 w 24"/>
                  <a:gd name="T33" fmla="*/ 0 h 23"/>
                  <a:gd name="T34" fmla="*/ 10 w 24"/>
                  <a:gd name="T35" fmla="*/ 0 h 23"/>
                  <a:gd name="T36" fmla="*/ 7 w 24"/>
                  <a:gd name="T37" fmla="*/ 1 h 23"/>
                  <a:gd name="T38" fmla="*/ 6 w 24"/>
                  <a:gd name="T39" fmla="*/ 3 h 23"/>
                  <a:gd name="T40" fmla="*/ 4 w 24"/>
                  <a:gd name="T41" fmla="*/ 4 h 23"/>
                  <a:gd name="T42" fmla="*/ 3 w 24"/>
                  <a:gd name="T43" fmla="*/ 6 h 23"/>
                  <a:gd name="T44" fmla="*/ 2 w 24"/>
                  <a:gd name="T45" fmla="*/ 7 h 23"/>
                  <a:gd name="T46" fmla="*/ 0 w 24"/>
                  <a:gd name="T47" fmla="*/ 10 h 23"/>
                  <a:gd name="T48" fmla="*/ 0 w 24"/>
                  <a:gd name="T49" fmla="*/ 12 h 23"/>
                  <a:gd name="T50" fmla="*/ 0 w 24"/>
                  <a:gd name="T51" fmla="*/ 14 h 23"/>
                  <a:gd name="T52" fmla="*/ 2 w 24"/>
                  <a:gd name="T53" fmla="*/ 17 h 23"/>
                  <a:gd name="T54" fmla="*/ 3 w 24"/>
                  <a:gd name="T55" fmla="*/ 19 h 23"/>
                  <a:gd name="T56" fmla="*/ 4 w 24"/>
                  <a:gd name="T57" fmla="*/ 21 h 23"/>
                  <a:gd name="T58" fmla="*/ 6 w 24"/>
                  <a:gd name="T59" fmla="*/ 22 h 23"/>
                  <a:gd name="T60" fmla="*/ 7 w 24"/>
                  <a:gd name="T61" fmla="*/ 23 h 23"/>
                  <a:gd name="T62" fmla="*/ 10 w 24"/>
                  <a:gd name="T63" fmla="*/ 23 h 23"/>
                  <a:gd name="T64" fmla="*/ 13 w 24"/>
                  <a:gd name="T6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23">
                    <a:moveTo>
                      <a:pt x="13" y="23"/>
                    </a:moveTo>
                    <a:lnTo>
                      <a:pt x="14" y="23"/>
                    </a:lnTo>
                    <a:lnTo>
                      <a:pt x="17" y="23"/>
                    </a:lnTo>
                    <a:lnTo>
                      <a:pt x="18" y="22"/>
                    </a:lnTo>
                    <a:lnTo>
                      <a:pt x="19" y="21"/>
                    </a:lnTo>
                    <a:lnTo>
                      <a:pt x="21" y="19"/>
                    </a:lnTo>
                    <a:lnTo>
                      <a:pt x="22" y="17"/>
                    </a:lnTo>
                    <a:lnTo>
                      <a:pt x="22" y="14"/>
                    </a:lnTo>
                    <a:lnTo>
                      <a:pt x="24" y="12"/>
                    </a:lnTo>
                    <a:lnTo>
                      <a:pt x="22" y="10"/>
                    </a:lnTo>
                    <a:lnTo>
                      <a:pt x="22" y="7"/>
                    </a:lnTo>
                    <a:lnTo>
                      <a:pt x="21" y="6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7" y="1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1"/>
                    </a:lnTo>
                    <a:lnTo>
                      <a:pt x="6" y="3"/>
                    </a:lnTo>
                    <a:lnTo>
                      <a:pt x="4" y="4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3" y="19"/>
                    </a:lnTo>
                    <a:lnTo>
                      <a:pt x="4" y="21"/>
                    </a:lnTo>
                    <a:lnTo>
                      <a:pt x="6" y="22"/>
                    </a:lnTo>
                    <a:lnTo>
                      <a:pt x="7" y="23"/>
                    </a:lnTo>
                    <a:lnTo>
                      <a:pt x="10" y="23"/>
                    </a:lnTo>
                    <a:lnTo>
                      <a:pt x="13" y="2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7" name="Freeform 86"/>
              <p:cNvSpPr>
                <a:spLocks/>
              </p:cNvSpPr>
              <p:nvPr/>
            </p:nvSpPr>
            <p:spPr bwMode="auto">
              <a:xfrm>
                <a:off x="4559" y="2791"/>
                <a:ext cx="73" cy="55"/>
              </a:xfrm>
              <a:custGeom>
                <a:avLst/>
                <a:gdLst>
                  <a:gd name="T0" fmla="*/ 36 w 73"/>
                  <a:gd name="T1" fmla="*/ 8 h 55"/>
                  <a:gd name="T2" fmla="*/ 7 w 73"/>
                  <a:gd name="T3" fmla="*/ 19 h 55"/>
                  <a:gd name="T4" fmla="*/ 5 w 73"/>
                  <a:gd name="T5" fmla="*/ 22 h 55"/>
                  <a:gd name="T6" fmla="*/ 1 w 73"/>
                  <a:gd name="T7" fmla="*/ 30 h 55"/>
                  <a:gd name="T8" fmla="*/ 0 w 73"/>
                  <a:gd name="T9" fmla="*/ 37 h 55"/>
                  <a:gd name="T10" fmla="*/ 3 w 73"/>
                  <a:gd name="T11" fmla="*/ 39 h 55"/>
                  <a:gd name="T12" fmla="*/ 11 w 73"/>
                  <a:gd name="T13" fmla="*/ 39 h 55"/>
                  <a:gd name="T14" fmla="*/ 16 w 73"/>
                  <a:gd name="T15" fmla="*/ 38 h 55"/>
                  <a:gd name="T16" fmla="*/ 22 w 73"/>
                  <a:gd name="T17" fmla="*/ 37 h 55"/>
                  <a:gd name="T18" fmla="*/ 25 w 73"/>
                  <a:gd name="T19" fmla="*/ 37 h 55"/>
                  <a:gd name="T20" fmla="*/ 25 w 73"/>
                  <a:gd name="T21" fmla="*/ 38 h 55"/>
                  <a:gd name="T22" fmla="*/ 25 w 73"/>
                  <a:gd name="T23" fmla="*/ 42 h 55"/>
                  <a:gd name="T24" fmla="*/ 26 w 73"/>
                  <a:gd name="T25" fmla="*/ 48 h 55"/>
                  <a:gd name="T26" fmla="*/ 30 w 73"/>
                  <a:gd name="T27" fmla="*/ 50 h 55"/>
                  <a:gd name="T28" fmla="*/ 37 w 73"/>
                  <a:gd name="T29" fmla="*/ 52 h 55"/>
                  <a:gd name="T30" fmla="*/ 43 w 73"/>
                  <a:gd name="T31" fmla="*/ 55 h 55"/>
                  <a:gd name="T32" fmla="*/ 48 w 73"/>
                  <a:gd name="T33" fmla="*/ 53 h 55"/>
                  <a:gd name="T34" fmla="*/ 52 w 73"/>
                  <a:gd name="T35" fmla="*/ 49 h 55"/>
                  <a:gd name="T36" fmla="*/ 52 w 73"/>
                  <a:gd name="T37" fmla="*/ 42 h 55"/>
                  <a:gd name="T38" fmla="*/ 51 w 73"/>
                  <a:gd name="T39" fmla="*/ 37 h 55"/>
                  <a:gd name="T40" fmla="*/ 51 w 73"/>
                  <a:gd name="T41" fmla="*/ 34 h 55"/>
                  <a:gd name="T42" fmla="*/ 52 w 73"/>
                  <a:gd name="T43" fmla="*/ 33 h 55"/>
                  <a:gd name="T44" fmla="*/ 55 w 73"/>
                  <a:gd name="T45" fmla="*/ 33 h 55"/>
                  <a:gd name="T46" fmla="*/ 58 w 73"/>
                  <a:gd name="T47" fmla="*/ 37 h 55"/>
                  <a:gd name="T48" fmla="*/ 60 w 73"/>
                  <a:gd name="T49" fmla="*/ 39 h 55"/>
                  <a:gd name="T50" fmla="*/ 63 w 73"/>
                  <a:gd name="T51" fmla="*/ 39 h 55"/>
                  <a:gd name="T52" fmla="*/ 67 w 73"/>
                  <a:gd name="T53" fmla="*/ 35 h 55"/>
                  <a:gd name="T54" fmla="*/ 71 w 73"/>
                  <a:gd name="T55" fmla="*/ 28 h 55"/>
                  <a:gd name="T56" fmla="*/ 73 w 73"/>
                  <a:gd name="T57" fmla="*/ 19 h 55"/>
                  <a:gd name="T58" fmla="*/ 69 w 73"/>
                  <a:gd name="T59" fmla="*/ 12 h 55"/>
                  <a:gd name="T60" fmla="*/ 65 w 73"/>
                  <a:gd name="T61" fmla="*/ 7 h 55"/>
                  <a:gd name="T62" fmla="*/ 59 w 73"/>
                  <a:gd name="T63" fmla="*/ 2 h 55"/>
                  <a:gd name="T64" fmla="*/ 55 w 73"/>
                  <a:gd name="T65" fmla="*/ 0 h 55"/>
                  <a:gd name="T66" fmla="*/ 49 w 73"/>
                  <a:gd name="T67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55">
                    <a:moveTo>
                      <a:pt x="49" y="0"/>
                    </a:moveTo>
                    <a:lnTo>
                      <a:pt x="36" y="8"/>
                    </a:lnTo>
                    <a:lnTo>
                      <a:pt x="23" y="1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3" y="26"/>
                    </a:lnTo>
                    <a:lnTo>
                      <a:pt x="1" y="30"/>
                    </a:lnTo>
                    <a:lnTo>
                      <a:pt x="0" y="34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7"/>
                    </a:lnTo>
                    <a:lnTo>
                      <a:pt x="25" y="37"/>
                    </a:lnTo>
                    <a:lnTo>
                      <a:pt x="25" y="38"/>
                    </a:lnTo>
                    <a:lnTo>
                      <a:pt x="25" y="41"/>
                    </a:lnTo>
                    <a:lnTo>
                      <a:pt x="25" y="42"/>
                    </a:lnTo>
                    <a:lnTo>
                      <a:pt x="25" y="45"/>
                    </a:lnTo>
                    <a:lnTo>
                      <a:pt x="26" y="48"/>
                    </a:lnTo>
                    <a:lnTo>
                      <a:pt x="27" y="49"/>
                    </a:lnTo>
                    <a:lnTo>
                      <a:pt x="30" y="50"/>
                    </a:lnTo>
                    <a:lnTo>
                      <a:pt x="33" y="52"/>
                    </a:lnTo>
                    <a:lnTo>
                      <a:pt x="37" y="52"/>
                    </a:lnTo>
                    <a:lnTo>
                      <a:pt x="40" y="53"/>
                    </a:lnTo>
                    <a:lnTo>
                      <a:pt x="43" y="55"/>
                    </a:lnTo>
                    <a:lnTo>
                      <a:pt x="47" y="55"/>
                    </a:lnTo>
                    <a:lnTo>
                      <a:pt x="48" y="53"/>
                    </a:lnTo>
                    <a:lnTo>
                      <a:pt x="51" y="52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2"/>
                    </a:lnTo>
                    <a:lnTo>
                      <a:pt x="52" y="39"/>
                    </a:lnTo>
                    <a:lnTo>
                      <a:pt x="51" y="37"/>
                    </a:lnTo>
                    <a:lnTo>
                      <a:pt x="51" y="35"/>
                    </a:lnTo>
                    <a:lnTo>
                      <a:pt x="51" y="34"/>
                    </a:lnTo>
                    <a:lnTo>
                      <a:pt x="51" y="33"/>
                    </a:lnTo>
                    <a:lnTo>
                      <a:pt x="52" y="33"/>
                    </a:lnTo>
                    <a:lnTo>
                      <a:pt x="54" y="33"/>
                    </a:lnTo>
                    <a:lnTo>
                      <a:pt x="55" y="33"/>
                    </a:lnTo>
                    <a:lnTo>
                      <a:pt x="56" y="34"/>
                    </a:lnTo>
                    <a:lnTo>
                      <a:pt x="58" y="37"/>
                    </a:lnTo>
                    <a:lnTo>
                      <a:pt x="59" y="38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3" y="39"/>
                    </a:lnTo>
                    <a:lnTo>
                      <a:pt x="66" y="38"/>
                    </a:lnTo>
                    <a:lnTo>
                      <a:pt x="67" y="35"/>
                    </a:lnTo>
                    <a:lnTo>
                      <a:pt x="70" y="33"/>
                    </a:lnTo>
                    <a:lnTo>
                      <a:pt x="71" y="28"/>
                    </a:lnTo>
                    <a:lnTo>
                      <a:pt x="73" y="23"/>
                    </a:lnTo>
                    <a:lnTo>
                      <a:pt x="73" y="19"/>
                    </a:lnTo>
                    <a:lnTo>
                      <a:pt x="71" y="15"/>
                    </a:lnTo>
                    <a:lnTo>
                      <a:pt x="69" y="12"/>
                    </a:lnTo>
                    <a:lnTo>
                      <a:pt x="67" y="9"/>
                    </a:lnTo>
                    <a:lnTo>
                      <a:pt x="65" y="7"/>
                    </a:lnTo>
                    <a:lnTo>
                      <a:pt x="62" y="4"/>
                    </a:lnTo>
                    <a:lnTo>
                      <a:pt x="59" y="2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9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8" name="Freeform 87"/>
              <p:cNvSpPr>
                <a:spLocks/>
              </p:cNvSpPr>
              <p:nvPr/>
            </p:nvSpPr>
            <p:spPr bwMode="auto">
              <a:xfrm>
                <a:off x="4559" y="2791"/>
                <a:ext cx="73" cy="55"/>
              </a:xfrm>
              <a:custGeom>
                <a:avLst/>
                <a:gdLst>
                  <a:gd name="T0" fmla="*/ 36 w 73"/>
                  <a:gd name="T1" fmla="*/ 8 h 55"/>
                  <a:gd name="T2" fmla="*/ 7 w 73"/>
                  <a:gd name="T3" fmla="*/ 19 h 55"/>
                  <a:gd name="T4" fmla="*/ 3 w 73"/>
                  <a:gd name="T5" fmla="*/ 26 h 55"/>
                  <a:gd name="T6" fmla="*/ 0 w 73"/>
                  <a:gd name="T7" fmla="*/ 34 h 55"/>
                  <a:gd name="T8" fmla="*/ 0 w 73"/>
                  <a:gd name="T9" fmla="*/ 39 h 55"/>
                  <a:gd name="T10" fmla="*/ 7 w 73"/>
                  <a:gd name="T11" fmla="*/ 39 h 55"/>
                  <a:gd name="T12" fmla="*/ 14 w 73"/>
                  <a:gd name="T13" fmla="*/ 38 h 55"/>
                  <a:gd name="T14" fmla="*/ 21 w 73"/>
                  <a:gd name="T15" fmla="*/ 37 h 55"/>
                  <a:gd name="T16" fmla="*/ 23 w 73"/>
                  <a:gd name="T17" fmla="*/ 37 h 55"/>
                  <a:gd name="T18" fmla="*/ 25 w 73"/>
                  <a:gd name="T19" fmla="*/ 38 h 55"/>
                  <a:gd name="T20" fmla="*/ 25 w 73"/>
                  <a:gd name="T21" fmla="*/ 42 h 55"/>
                  <a:gd name="T22" fmla="*/ 26 w 73"/>
                  <a:gd name="T23" fmla="*/ 48 h 55"/>
                  <a:gd name="T24" fmla="*/ 30 w 73"/>
                  <a:gd name="T25" fmla="*/ 50 h 55"/>
                  <a:gd name="T26" fmla="*/ 37 w 73"/>
                  <a:gd name="T27" fmla="*/ 52 h 55"/>
                  <a:gd name="T28" fmla="*/ 43 w 73"/>
                  <a:gd name="T29" fmla="*/ 55 h 55"/>
                  <a:gd name="T30" fmla="*/ 48 w 73"/>
                  <a:gd name="T31" fmla="*/ 53 h 55"/>
                  <a:gd name="T32" fmla="*/ 52 w 73"/>
                  <a:gd name="T33" fmla="*/ 49 h 55"/>
                  <a:gd name="T34" fmla="*/ 52 w 73"/>
                  <a:gd name="T35" fmla="*/ 42 h 55"/>
                  <a:gd name="T36" fmla="*/ 51 w 73"/>
                  <a:gd name="T37" fmla="*/ 37 h 55"/>
                  <a:gd name="T38" fmla="*/ 51 w 73"/>
                  <a:gd name="T39" fmla="*/ 34 h 55"/>
                  <a:gd name="T40" fmla="*/ 52 w 73"/>
                  <a:gd name="T41" fmla="*/ 33 h 55"/>
                  <a:gd name="T42" fmla="*/ 55 w 73"/>
                  <a:gd name="T43" fmla="*/ 33 h 55"/>
                  <a:gd name="T44" fmla="*/ 58 w 73"/>
                  <a:gd name="T45" fmla="*/ 37 h 55"/>
                  <a:gd name="T46" fmla="*/ 60 w 73"/>
                  <a:gd name="T47" fmla="*/ 39 h 55"/>
                  <a:gd name="T48" fmla="*/ 63 w 73"/>
                  <a:gd name="T49" fmla="*/ 39 h 55"/>
                  <a:gd name="T50" fmla="*/ 67 w 73"/>
                  <a:gd name="T51" fmla="*/ 35 h 55"/>
                  <a:gd name="T52" fmla="*/ 71 w 73"/>
                  <a:gd name="T53" fmla="*/ 28 h 55"/>
                  <a:gd name="T54" fmla="*/ 73 w 73"/>
                  <a:gd name="T55" fmla="*/ 19 h 55"/>
                  <a:gd name="T56" fmla="*/ 69 w 73"/>
                  <a:gd name="T57" fmla="*/ 12 h 55"/>
                  <a:gd name="T58" fmla="*/ 65 w 73"/>
                  <a:gd name="T59" fmla="*/ 7 h 55"/>
                  <a:gd name="T60" fmla="*/ 59 w 73"/>
                  <a:gd name="T61" fmla="*/ 2 h 55"/>
                  <a:gd name="T62" fmla="*/ 55 w 73"/>
                  <a:gd name="T63" fmla="*/ 0 h 55"/>
                  <a:gd name="T64" fmla="*/ 49 w 73"/>
                  <a:gd name="T65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" h="55">
                    <a:moveTo>
                      <a:pt x="49" y="0"/>
                    </a:moveTo>
                    <a:lnTo>
                      <a:pt x="36" y="8"/>
                    </a:lnTo>
                    <a:lnTo>
                      <a:pt x="23" y="11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3" y="26"/>
                    </a:lnTo>
                    <a:lnTo>
                      <a:pt x="1" y="30"/>
                    </a:lnTo>
                    <a:lnTo>
                      <a:pt x="0" y="34"/>
                    </a:lnTo>
                    <a:lnTo>
                      <a:pt x="0" y="37"/>
                    </a:lnTo>
                    <a:lnTo>
                      <a:pt x="0" y="39"/>
                    </a:lnTo>
                    <a:lnTo>
                      <a:pt x="3" y="39"/>
                    </a:lnTo>
                    <a:lnTo>
                      <a:pt x="7" y="39"/>
                    </a:lnTo>
                    <a:lnTo>
                      <a:pt x="11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3" y="37"/>
                    </a:lnTo>
                    <a:lnTo>
                      <a:pt x="25" y="37"/>
                    </a:lnTo>
                    <a:lnTo>
                      <a:pt x="25" y="38"/>
                    </a:lnTo>
                    <a:lnTo>
                      <a:pt x="25" y="41"/>
                    </a:lnTo>
                    <a:lnTo>
                      <a:pt x="25" y="42"/>
                    </a:lnTo>
                    <a:lnTo>
                      <a:pt x="25" y="45"/>
                    </a:lnTo>
                    <a:lnTo>
                      <a:pt x="26" y="48"/>
                    </a:lnTo>
                    <a:lnTo>
                      <a:pt x="27" y="49"/>
                    </a:lnTo>
                    <a:lnTo>
                      <a:pt x="30" y="50"/>
                    </a:lnTo>
                    <a:lnTo>
                      <a:pt x="33" y="52"/>
                    </a:lnTo>
                    <a:lnTo>
                      <a:pt x="37" y="52"/>
                    </a:lnTo>
                    <a:lnTo>
                      <a:pt x="40" y="53"/>
                    </a:lnTo>
                    <a:lnTo>
                      <a:pt x="43" y="55"/>
                    </a:lnTo>
                    <a:lnTo>
                      <a:pt x="47" y="55"/>
                    </a:lnTo>
                    <a:lnTo>
                      <a:pt x="48" y="53"/>
                    </a:lnTo>
                    <a:lnTo>
                      <a:pt x="51" y="52"/>
                    </a:lnTo>
                    <a:lnTo>
                      <a:pt x="52" y="49"/>
                    </a:lnTo>
                    <a:lnTo>
                      <a:pt x="52" y="45"/>
                    </a:lnTo>
                    <a:lnTo>
                      <a:pt x="52" y="42"/>
                    </a:lnTo>
                    <a:lnTo>
                      <a:pt x="52" y="39"/>
                    </a:lnTo>
                    <a:lnTo>
                      <a:pt x="51" y="37"/>
                    </a:lnTo>
                    <a:lnTo>
                      <a:pt x="51" y="35"/>
                    </a:lnTo>
                    <a:lnTo>
                      <a:pt x="51" y="34"/>
                    </a:lnTo>
                    <a:lnTo>
                      <a:pt x="51" y="33"/>
                    </a:lnTo>
                    <a:lnTo>
                      <a:pt x="52" y="33"/>
                    </a:lnTo>
                    <a:lnTo>
                      <a:pt x="54" y="33"/>
                    </a:lnTo>
                    <a:lnTo>
                      <a:pt x="55" y="33"/>
                    </a:lnTo>
                    <a:lnTo>
                      <a:pt x="56" y="34"/>
                    </a:lnTo>
                    <a:lnTo>
                      <a:pt x="58" y="37"/>
                    </a:lnTo>
                    <a:lnTo>
                      <a:pt x="59" y="38"/>
                    </a:lnTo>
                    <a:lnTo>
                      <a:pt x="60" y="39"/>
                    </a:lnTo>
                    <a:lnTo>
                      <a:pt x="62" y="39"/>
                    </a:lnTo>
                    <a:lnTo>
                      <a:pt x="63" y="39"/>
                    </a:lnTo>
                    <a:lnTo>
                      <a:pt x="66" y="38"/>
                    </a:lnTo>
                    <a:lnTo>
                      <a:pt x="67" y="35"/>
                    </a:lnTo>
                    <a:lnTo>
                      <a:pt x="70" y="33"/>
                    </a:lnTo>
                    <a:lnTo>
                      <a:pt x="71" y="28"/>
                    </a:lnTo>
                    <a:lnTo>
                      <a:pt x="73" y="23"/>
                    </a:lnTo>
                    <a:lnTo>
                      <a:pt x="73" y="19"/>
                    </a:lnTo>
                    <a:lnTo>
                      <a:pt x="71" y="15"/>
                    </a:lnTo>
                    <a:lnTo>
                      <a:pt x="69" y="12"/>
                    </a:lnTo>
                    <a:lnTo>
                      <a:pt x="67" y="9"/>
                    </a:lnTo>
                    <a:lnTo>
                      <a:pt x="65" y="7"/>
                    </a:lnTo>
                    <a:lnTo>
                      <a:pt x="62" y="4"/>
                    </a:lnTo>
                    <a:lnTo>
                      <a:pt x="59" y="2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9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9" name="Freeform 88"/>
              <p:cNvSpPr>
                <a:spLocks/>
              </p:cNvSpPr>
              <p:nvPr/>
            </p:nvSpPr>
            <p:spPr bwMode="auto">
              <a:xfrm>
                <a:off x="4390" y="2824"/>
                <a:ext cx="129" cy="112"/>
              </a:xfrm>
              <a:custGeom>
                <a:avLst/>
                <a:gdLst>
                  <a:gd name="T0" fmla="*/ 82 w 129"/>
                  <a:gd name="T1" fmla="*/ 53 h 112"/>
                  <a:gd name="T2" fmla="*/ 103 w 129"/>
                  <a:gd name="T3" fmla="*/ 53 h 112"/>
                  <a:gd name="T4" fmla="*/ 111 w 129"/>
                  <a:gd name="T5" fmla="*/ 52 h 112"/>
                  <a:gd name="T6" fmla="*/ 117 w 129"/>
                  <a:gd name="T7" fmla="*/ 50 h 112"/>
                  <a:gd name="T8" fmla="*/ 119 w 129"/>
                  <a:gd name="T9" fmla="*/ 49 h 112"/>
                  <a:gd name="T10" fmla="*/ 103 w 129"/>
                  <a:gd name="T11" fmla="*/ 44 h 112"/>
                  <a:gd name="T12" fmla="*/ 129 w 129"/>
                  <a:gd name="T13" fmla="*/ 35 h 112"/>
                  <a:gd name="T14" fmla="*/ 129 w 129"/>
                  <a:gd name="T15" fmla="*/ 34 h 112"/>
                  <a:gd name="T16" fmla="*/ 129 w 129"/>
                  <a:gd name="T17" fmla="*/ 31 h 112"/>
                  <a:gd name="T18" fmla="*/ 126 w 129"/>
                  <a:gd name="T19" fmla="*/ 28 h 112"/>
                  <a:gd name="T20" fmla="*/ 124 w 129"/>
                  <a:gd name="T21" fmla="*/ 26 h 112"/>
                  <a:gd name="T22" fmla="*/ 119 w 129"/>
                  <a:gd name="T23" fmla="*/ 22 h 112"/>
                  <a:gd name="T24" fmla="*/ 115 w 129"/>
                  <a:gd name="T25" fmla="*/ 16 h 112"/>
                  <a:gd name="T26" fmla="*/ 110 w 129"/>
                  <a:gd name="T27" fmla="*/ 11 h 112"/>
                  <a:gd name="T28" fmla="*/ 106 w 129"/>
                  <a:gd name="T29" fmla="*/ 6 h 112"/>
                  <a:gd name="T30" fmla="*/ 103 w 129"/>
                  <a:gd name="T31" fmla="*/ 2 h 112"/>
                  <a:gd name="T32" fmla="*/ 100 w 129"/>
                  <a:gd name="T33" fmla="*/ 0 h 112"/>
                  <a:gd name="T34" fmla="*/ 93 w 129"/>
                  <a:gd name="T35" fmla="*/ 1 h 112"/>
                  <a:gd name="T36" fmla="*/ 86 w 129"/>
                  <a:gd name="T37" fmla="*/ 4 h 112"/>
                  <a:gd name="T38" fmla="*/ 84 w 129"/>
                  <a:gd name="T39" fmla="*/ 6 h 112"/>
                  <a:gd name="T40" fmla="*/ 80 w 129"/>
                  <a:gd name="T41" fmla="*/ 11 h 112"/>
                  <a:gd name="T42" fmla="*/ 73 w 129"/>
                  <a:gd name="T43" fmla="*/ 13 h 112"/>
                  <a:gd name="T44" fmla="*/ 57 w 129"/>
                  <a:gd name="T45" fmla="*/ 42 h 112"/>
                  <a:gd name="T46" fmla="*/ 55 w 129"/>
                  <a:gd name="T47" fmla="*/ 44 h 112"/>
                  <a:gd name="T48" fmla="*/ 51 w 129"/>
                  <a:gd name="T49" fmla="*/ 48 h 112"/>
                  <a:gd name="T50" fmla="*/ 44 w 129"/>
                  <a:gd name="T51" fmla="*/ 52 h 112"/>
                  <a:gd name="T52" fmla="*/ 38 w 129"/>
                  <a:gd name="T53" fmla="*/ 55 h 112"/>
                  <a:gd name="T54" fmla="*/ 33 w 129"/>
                  <a:gd name="T55" fmla="*/ 59 h 112"/>
                  <a:gd name="T56" fmla="*/ 26 w 129"/>
                  <a:gd name="T57" fmla="*/ 66 h 112"/>
                  <a:gd name="T58" fmla="*/ 22 w 129"/>
                  <a:gd name="T59" fmla="*/ 71 h 112"/>
                  <a:gd name="T60" fmla="*/ 19 w 129"/>
                  <a:gd name="T61" fmla="*/ 74 h 112"/>
                  <a:gd name="T62" fmla="*/ 0 w 129"/>
                  <a:gd name="T63" fmla="*/ 103 h 112"/>
                  <a:gd name="T64" fmla="*/ 1 w 129"/>
                  <a:gd name="T65" fmla="*/ 104 h 112"/>
                  <a:gd name="T66" fmla="*/ 5 w 129"/>
                  <a:gd name="T67" fmla="*/ 107 h 112"/>
                  <a:gd name="T68" fmla="*/ 11 w 129"/>
                  <a:gd name="T69" fmla="*/ 111 h 112"/>
                  <a:gd name="T70" fmla="*/ 18 w 129"/>
                  <a:gd name="T71" fmla="*/ 112 h 112"/>
                  <a:gd name="T72" fmla="*/ 19 w 129"/>
                  <a:gd name="T73" fmla="*/ 112 h 112"/>
                  <a:gd name="T74" fmla="*/ 22 w 129"/>
                  <a:gd name="T75" fmla="*/ 110 h 112"/>
                  <a:gd name="T76" fmla="*/ 26 w 129"/>
                  <a:gd name="T77" fmla="*/ 107 h 112"/>
                  <a:gd name="T78" fmla="*/ 29 w 129"/>
                  <a:gd name="T79" fmla="*/ 101 h 112"/>
                  <a:gd name="T80" fmla="*/ 30 w 129"/>
                  <a:gd name="T81" fmla="*/ 100 h 112"/>
                  <a:gd name="T82" fmla="*/ 31 w 129"/>
                  <a:gd name="T83" fmla="*/ 99 h 112"/>
                  <a:gd name="T84" fmla="*/ 33 w 129"/>
                  <a:gd name="T85" fmla="*/ 97 h 112"/>
                  <a:gd name="T86" fmla="*/ 33 w 129"/>
                  <a:gd name="T87" fmla="*/ 97 h 112"/>
                  <a:gd name="T88" fmla="*/ 45 w 129"/>
                  <a:gd name="T89" fmla="*/ 92 h 112"/>
                  <a:gd name="T90" fmla="*/ 63 w 129"/>
                  <a:gd name="T91" fmla="*/ 81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9" h="112">
                    <a:moveTo>
                      <a:pt x="74" y="66"/>
                    </a:moveTo>
                    <a:lnTo>
                      <a:pt x="82" y="53"/>
                    </a:lnTo>
                    <a:lnTo>
                      <a:pt x="99" y="53"/>
                    </a:lnTo>
                    <a:lnTo>
                      <a:pt x="103" y="53"/>
                    </a:lnTo>
                    <a:lnTo>
                      <a:pt x="107" y="53"/>
                    </a:lnTo>
                    <a:lnTo>
                      <a:pt x="111" y="52"/>
                    </a:lnTo>
                    <a:lnTo>
                      <a:pt x="114" y="52"/>
                    </a:lnTo>
                    <a:lnTo>
                      <a:pt x="117" y="50"/>
                    </a:lnTo>
                    <a:lnTo>
                      <a:pt x="118" y="50"/>
                    </a:lnTo>
                    <a:lnTo>
                      <a:pt x="119" y="49"/>
                    </a:lnTo>
                    <a:lnTo>
                      <a:pt x="121" y="49"/>
                    </a:lnTo>
                    <a:lnTo>
                      <a:pt x="103" y="44"/>
                    </a:lnTo>
                    <a:lnTo>
                      <a:pt x="129" y="35"/>
                    </a:lnTo>
                    <a:lnTo>
                      <a:pt x="129" y="35"/>
                    </a:lnTo>
                    <a:lnTo>
                      <a:pt x="129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1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4" y="26"/>
                    </a:lnTo>
                    <a:lnTo>
                      <a:pt x="124" y="26"/>
                    </a:lnTo>
                    <a:lnTo>
                      <a:pt x="122" y="24"/>
                    </a:lnTo>
                    <a:lnTo>
                      <a:pt x="119" y="22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3" y="13"/>
                    </a:lnTo>
                    <a:lnTo>
                      <a:pt x="110" y="11"/>
                    </a:lnTo>
                    <a:lnTo>
                      <a:pt x="107" y="8"/>
                    </a:lnTo>
                    <a:lnTo>
                      <a:pt x="106" y="6"/>
                    </a:lnTo>
                    <a:lnTo>
                      <a:pt x="104" y="5"/>
                    </a:lnTo>
                    <a:lnTo>
                      <a:pt x="103" y="2"/>
                    </a:lnTo>
                    <a:lnTo>
                      <a:pt x="102" y="1"/>
                    </a:lnTo>
                    <a:lnTo>
                      <a:pt x="100" y="0"/>
                    </a:lnTo>
                    <a:lnTo>
                      <a:pt x="97" y="0"/>
                    </a:lnTo>
                    <a:lnTo>
                      <a:pt x="93" y="1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5" y="5"/>
                    </a:lnTo>
                    <a:lnTo>
                      <a:pt x="84" y="6"/>
                    </a:lnTo>
                    <a:lnTo>
                      <a:pt x="82" y="8"/>
                    </a:lnTo>
                    <a:lnTo>
                      <a:pt x="80" y="11"/>
                    </a:lnTo>
                    <a:lnTo>
                      <a:pt x="75" y="12"/>
                    </a:lnTo>
                    <a:lnTo>
                      <a:pt x="73" y="13"/>
                    </a:lnTo>
                    <a:lnTo>
                      <a:pt x="69" y="15"/>
                    </a:lnTo>
                    <a:lnTo>
                      <a:pt x="57" y="42"/>
                    </a:lnTo>
                    <a:lnTo>
                      <a:pt x="57" y="42"/>
                    </a:lnTo>
                    <a:lnTo>
                      <a:pt x="55" y="44"/>
                    </a:lnTo>
                    <a:lnTo>
                      <a:pt x="53" y="45"/>
                    </a:lnTo>
                    <a:lnTo>
                      <a:pt x="51" y="48"/>
                    </a:lnTo>
                    <a:lnTo>
                      <a:pt x="48" y="49"/>
                    </a:lnTo>
                    <a:lnTo>
                      <a:pt x="44" y="52"/>
                    </a:lnTo>
                    <a:lnTo>
                      <a:pt x="41" y="53"/>
                    </a:lnTo>
                    <a:lnTo>
                      <a:pt x="38" y="55"/>
                    </a:lnTo>
                    <a:lnTo>
                      <a:pt x="35" y="56"/>
                    </a:lnTo>
                    <a:lnTo>
                      <a:pt x="33" y="59"/>
                    </a:lnTo>
                    <a:lnTo>
                      <a:pt x="29" y="61"/>
                    </a:lnTo>
                    <a:lnTo>
                      <a:pt x="26" y="66"/>
                    </a:lnTo>
                    <a:lnTo>
                      <a:pt x="23" y="68"/>
                    </a:lnTo>
                    <a:lnTo>
                      <a:pt x="22" y="71"/>
                    </a:lnTo>
                    <a:lnTo>
                      <a:pt x="19" y="74"/>
                    </a:lnTo>
                    <a:lnTo>
                      <a:pt x="19" y="74"/>
                    </a:lnTo>
                    <a:lnTo>
                      <a:pt x="9" y="97"/>
                    </a:lnTo>
                    <a:lnTo>
                      <a:pt x="0" y="103"/>
                    </a:lnTo>
                    <a:lnTo>
                      <a:pt x="0" y="103"/>
                    </a:lnTo>
                    <a:lnTo>
                      <a:pt x="1" y="104"/>
                    </a:lnTo>
                    <a:lnTo>
                      <a:pt x="2" y="105"/>
                    </a:lnTo>
                    <a:lnTo>
                      <a:pt x="5" y="107"/>
                    </a:lnTo>
                    <a:lnTo>
                      <a:pt x="8" y="110"/>
                    </a:lnTo>
                    <a:lnTo>
                      <a:pt x="11" y="111"/>
                    </a:lnTo>
                    <a:lnTo>
                      <a:pt x="13" y="112"/>
                    </a:lnTo>
                    <a:lnTo>
                      <a:pt x="18" y="112"/>
                    </a:lnTo>
                    <a:lnTo>
                      <a:pt x="18" y="112"/>
                    </a:lnTo>
                    <a:lnTo>
                      <a:pt x="19" y="112"/>
                    </a:lnTo>
                    <a:lnTo>
                      <a:pt x="20" y="111"/>
                    </a:lnTo>
                    <a:lnTo>
                      <a:pt x="22" y="110"/>
                    </a:lnTo>
                    <a:lnTo>
                      <a:pt x="23" y="108"/>
                    </a:lnTo>
                    <a:lnTo>
                      <a:pt x="26" y="107"/>
                    </a:lnTo>
                    <a:lnTo>
                      <a:pt x="27" y="104"/>
                    </a:lnTo>
                    <a:lnTo>
                      <a:pt x="29" y="101"/>
                    </a:lnTo>
                    <a:lnTo>
                      <a:pt x="29" y="101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1" y="99"/>
                    </a:lnTo>
                    <a:lnTo>
                      <a:pt x="31" y="99"/>
                    </a:lnTo>
                    <a:lnTo>
                      <a:pt x="33" y="97"/>
                    </a:lnTo>
                    <a:lnTo>
                      <a:pt x="33" y="97"/>
                    </a:lnTo>
                    <a:lnTo>
                      <a:pt x="33" y="97"/>
                    </a:lnTo>
                    <a:lnTo>
                      <a:pt x="38" y="93"/>
                    </a:lnTo>
                    <a:lnTo>
                      <a:pt x="45" y="92"/>
                    </a:lnTo>
                    <a:lnTo>
                      <a:pt x="55" y="86"/>
                    </a:lnTo>
                    <a:lnTo>
                      <a:pt x="63" y="81"/>
                    </a:lnTo>
                    <a:lnTo>
                      <a:pt x="74" y="6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0" name="Freeform 89"/>
              <p:cNvSpPr>
                <a:spLocks/>
              </p:cNvSpPr>
              <p:nvPr/>
            </p:nvSpPr>
            <p:spPr bwMode="auto">
              <a:xfrm>
                <a:off x="4390" y="2824"/>
                <a:ext cx="129" cy="112"/>
              </a:xfrm>
              <a:custGeom>
                <a:avLst/>
                <a:gdLst>
                  <a:gd name="T0" fmla="*/ 82 w 129"/>
                  <a:gd name="T1" fmla="*/ 53 h 112"/>
                  <a:gd name="T2" fmla="*/ 103 w 129"/>
                  <a:gd name="T3" fmla="*/ 53 h 112"/>
                  <a:gd name="T4" fmla="*/ 111 w 129"/>
                  <a:gd name="T5" fmla="*/ 52 h 112"/>
                  <a:gd name="T6" fmla="*/ 117 w 129"/>
                  <a:gd name="T7" fmla="*/ 50 h 112"/>
                  <a:gd name="T8" fmla="*/ 119 w 129"/>
                  <a:gd name="T9" fmla="*/ 49 h 112"/>
                  <a:gd name="T10" fmla="*/ 103 w 129"/>
                  <a:gd name="T11" fmla="*/ 44 h 112"/>
                  <a:gd name="T12" fmla="*/ 129 w 129"/>
                  <a:gd name="T13" fmla="*/ 34 h 112"/>
                  <a:gd name="T14" fmla="*/ 129 w 129"/>
                  <a:gd name="T15" fmla="*/ 31 h 112"/>
                  <a:gd name="T16" fmla="*/ 126 w 129"/>
                  <a:gd name="T17" fmla="*/ 28 h 112"/>
                  <a:gd name="T18" fmla="*/ 122 w 129"/>
                  <a:gd name="T19" fmla="*/ 24 h 112"/>
                  <a:gd name="T20" fmla="*/ 118 w 129"/>
                  <a:gd name="T21" fmla="*/ 19 h 112"/>
                  <a:gd name="T22" fmla="*/ 113 w 129"/>
                  <a:gd name="T23" fmla="*/ 13 h 112"/>
                  <a:gd name="T24" fmla="*/ 107 w 129"/>
                  <a:gd name="T25" fmla="*/ 8 h 112"/>
                  <a:gd name="T26" fmla="*/ 104 w 129"/>
                  <a:gd name="T27" fmla="*/ 5 h 112"/>
                  <a:gd name="T28" fmla="*/ 102 w 129"/>
                  <a:gd name="T29" fmla="*/ 1 h 112"/>
                  <a:gd name="T30" fmla="*/ 97 w 129"/>
                  <a:gd name="T31" fmla="*/ 0 h 112"/>
                  <a:gd name="T32" fmla="*/ 86 w 129"/>
                  <a:gd name="T33" fmla="*/ 4 h 112"/>
                  <a:gd name="T34" fmla="*/ 84 w 129"/>
                  <a:gd name="T35" fmla="*/ 6 h 112"/>
                  <a:gd name="T36" fmla="*/ 80 w 129"/>
                  <a:gd name="T37" fmla="*/ 11 h 112"/>
                  <a:gd name="T38" fmla="*/ 73 w 129"/>
                  <a:gd name="T39" fmla="*/ 13 h 112"/>
                  <a:gd name="T40" fmla="*/ 57 w 129"/>
                  <a:gd name="T41" fmla="*/ 42 h 112"/>
                  <a:gd name="T42" fmla="*/ 53 w 129"/>
                  <a:gd name="T43" fmla="*/ 45 h 112"/>
                  <a:gd name="T44" fmla="*/ 48 w 129"/>
                  <a:gd name="T45" fmla="*/ 49 h 112"/>
                  <a:gd name="T46" fmla="*/ 41 w 129"/>
                  <a:gd name="T47" fmla="*/ 53 h 112"/>
                  <a:gd name="T48" fmla="*/ 35 w 129"/>
                  <a:gd name="T49" fmla="*/ 56 h 112"/>
                  <a:gd name="T50" fmla="*/ 29 w 129"/>
                  <a:gd name="T51" fmla="*/ 61 h 112"/>
                  <a:gd name="T52" fmla="*/ 23 w 129"/>
                  <a:gd name="T53" fmla="*/ 68 h 112"/>
                  <a:gd name="T54" fmla="*/ 19 w 129"/>
                  <a:gd name="T55" fmla="*/ 74 h 112"/>
                  <a:gd name="T56" fmla="*/ 0 w 129"/>
                  <a:gd name="T57" fmla="*/ 103 h 112"/>
                  <a:gd name="T58" fmla="*/ 2 w 129"/>
                  <a:gd name="T59" fmla="*/ 105 h 112"/>
                  <a:gd name="T60" fmla="*/ 8 w 129"/>
                  <a:gd name="T61" fmla="*/ 110 h 112"/>
                  <a:gd name="T62" fmla="*/ 13 w 129"/>
                  <a:gd name="T63" fmla="*/ 112 h 112"/>
                  <a:gd name="T64" fmla="*/ 19 w 129"/>
                  <a:gd name="T65" fmla="*/ 112 h 112"/>
                  <a:gd name="T66" fmla="*/ 22 w 129"/>
                  <a:gd name="T67" fmla="*/ 110 h 112"/>
                  <a:gd name="T68" fmla="*/ 26 w 129"/>
                  <a:gd name="T69" fmla="*/ 107 h 112"/>
                  <a:gd name="T70" fmla="*/ 29 w 129"/>
                  <a:gd name="T71" fmla="*/ 101 h 112"/>
                  <a:gd name="T72" fmla="*/ 31 w 129"/>
                  <a:gd name="T73" fmla="*/ 99 h 112"/>
                  <a:gd name="T74" fmla="*/ 38 w 129"/>
                  <a:gd name="T75" fmla="*/ 93 h 112"/>
                  <a:gd name="T76" fmla="*/ 55 w 129"/>
                  <a:gd name="T77" fmla="*/ 86 h 112"/>
                  <a:gd name="T78" fmla="*/ 74 w 129"/>
                  <a:gd name="T79" fmla="*/ 6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9" h="112">
                    <a:moveTo>
                      <a:pt x="74" y="66"/>
                    </a:moveTo>
                    <a:lnTo>
                      <a:pt x="82" y="53"/>
                    </a:lnTo>
                    <a:lnTo>
                      <a:pt x="99" y="53"/>
                    </a:lnTo>
                    <a:lnTo>
                      <a:pt x="103" y="53"/>
                    </a:lnTo>
                    <a:lnTo>
                      <a:pt x="107" y="53"/>
                    </a:lnTo>
                    <a:lnTo>
                      <a:pt x="111" y="52"/>
                    </a:lnTo>
                    <a:lnTo>
                      <a:pt x="114" y="52"/>
                    </a:lnTo>
                    <a:lnTo>
                      <a:pt x="117" y="50"/>
                    </a:lnTo>
                    <a:lnTo>
                      <a:pt x="118" y="50"/>
                    </a:lnTo>
                    <a:lnTo>
                      <a:pt x="119" y="49"/>
                    </a:lnTo>
                    <a:lnTo>
                      <a:pt x="121" y="49"/>
                    </a:lnTo>
                    <a:lnTo>
                      <a:pt x="103" y="44"/>
                    </a:lnTo>
                    <a:lnTo>
                      <a:pt x="129" y="35"/>
                    </a:lnTo>
                    <a:lnTo>
                      <a:pt x="129" y="34"/>
                    </a:lnTo>
                    <a:lnTo>
                      <a:pt x="129" y="33"/>
                    </a:lnTo>
                    <a:lnTo>
                      <a:pt x="129" y="31"/>
                    </a:lnTo>
                    <a:lnTo>
                      <a:pt x="128" y="30"/>
                    </a:lnTo>
                    <a:lnTo>
                      <a:pt x="126" y="28"/>
                    </a:lnTo>
                    <a:lnTo>
                      <a:pt x="124" y="26"/>
                    </a:lnTo>
                    <a:lnTo>
                      <a:pt x="122" y="24"/>
                    </a:lnTo>
                    <a:lnTo>
                      <a:pt x="119" y="22"/>
                    </a:lnTo>
                    <a:lnTo>
                      <a:pt x="118" y="19"/>
                    </a:lnTo>
                    <a:lnTo>
                      <a:pt x="115" y="16"/>
                    </a:lnTo>
                    <a:lnTo>
                      <a:pt x="113" y="13"/>
                    </a:lnTo>
                    <a:lnTo>
                      <a:pt x="110" y="11"/>
                    </a:lnTo>
                    <a:lnTo>
                      <a:pt x="107" y="8"/>
                    </a:lnTo>
                    <a:lnTo>
                      <a:pt x="106" y="6"/>
                    </a:lnTo>
                    <a:lnTo>
                      <a:pt x="104" y="5"/>
                    </a:lnTo>
                    <a:lnTo>
                      <a:pt x="103" y="2"/>
                    </a:lnTo>
                    <a:lnTo>
                      <a:pt x="102" y="1"/>
                    </a:lnTo>
                    <a:lnTo>
                      <a:pt x="100" y="0"/>
                    </a:lnTo>
                    <a:lnTo>
                      <a:pt x="97" y="0"/>
                    </a:lnTo>
                    <a:lnTo>
                      <a:pt x="93" y="1"/>
                    </a:lnTo>
                    <a:lnTo>
                      <a:pt x="86" y="4"/>
                    </a:lnTo>
                    <a:lnTo>
                      <a:pt x="85" y="5"/>
                    </a:lnTo>
                    <a:lnTo>
                      <a:pt x="84" y="6"/>
                    </a:lnTo>
                    <a:lnTo>
                      <a:pt x="82" y="8"/>
                    </a:lnTo>
                    <a:lnTo>
                      <a:pt x="80" y="11"/>
                    </a:lnTo>
                    <a:lnTo>
                      <a:pt x="75" y="12"/>
                    </a:lnTo>
                    <a:lnTo>
                      <a:pt x="73" y="13"/>
                    </a:lnTo>
                    <a:lnTo>
                      <a:pt x="69" y="15"/>
                    </a:lnTo>
                    <a:lnTo>
                      <a:pt x="57" y="42"/>
                    </a:lnTo>
                    <a:lnTo>
                      <a:pt x="55" y="44"/>
                    </a:lnTo>
                    <a:lnTo>
                      <a:pt x="53" y="45"/>
                    </a:lnTo>
                    <a:lnTo>
                      <a:pt x="51" y="48"/>
                    </a:lnTo>
                    <a:lnTo>
                      <a:pt x="48" y="49"/>
                    </a:lnTo>
                    <a:lnTo>
                      <a:pt x="44" y="52"/>
                    </a:lnTo>
                    <a:lnTo>
                      <a:pt x="41" y="53"/>
                    </a:lnTo>
                    <a:lnTo>
                      <a:pt x="38" y="55"/>
                    </a:lnTo>
                    <a:lnTo>
                      <a:pt x="35" y="56"/>
                    </a:lnTo>
                    <a:lnTo>
                      <a:pt x="33" y="59"/>
                    </a:lnTo>
                    <a:lnTo>
                      <a:pt x="29" y="61"/>
                    </a:lnTo>
                    <a:lnTo>
                      <a:pt x="26" y="66"/>
                    </a:lnTo>
                    <a:lnTo>
                      <a:pt x="23" y="68"/>
                    </a:lnTo>
                    <a:lnTo>
                      <a:pt x="22" y="71"/>
                    </a:lnTo>
                    <a:lnTo>
                      <a:pt x="19" y="74"/>
                    </a:lnTo>
                    <a:lnTo>
                      <a:pt x="9" y="97"/>
                    </a:lnTo>
                    <a:lnTo>
                      <a:pt x="0" y="103"/>
                    </a:lnTo>
                    <a:lnTo>
                      <a:pt x="1" y="104"/>
                    </a:lnTo>
                    <a:lnTo>
                      <a:pt x="2" y="105"/>
                    </a:lnTo>
                    <a:lnTo>
                      <a:pt x="5" y="107"/>
                    </a:lnTo>
                    <a:lnTo>
                      <a:pt x="8" y="110"/>
                    </a:lnTo>
                    <a:lnTo>
                      <a:pt x="11" y="111"/>
                    </a:lnTo>
                    <a:lnTo>
                      <a:pt x="13" y="112"/>
                    </a:lnTo>
                    <a:lnTo>
                      <a:pt x="18" y="112"/>
                    </a:lnTo>
                    <a:lnTo>
                      <a:pt x="19" y="112"/>
                    </a:lnTo>
                    <a:lnTo>
                      <a:pt x="20" y="111"/>
                    </a:lnTo>
                    <a:lnTo>
                      <a:pt x="22" y="110"/>
                    </a:lnTo>
                    <a:lnTo>
                      <a:pt x="23" y="108"/>
                    </a:lnTo>
                    <a:lnTo>
                      <a:pt x="26" y="107"/>
                    </a:lnTo>
                    <a:lnTo>
                      <a:pt x="27" y="104"/>
                    </a:lnTo>
                    <a:lnTo>
                      <a:pt x="29" y="101"/>
                    </a:lnTo>
                    <a:lnTo>
                      <a:pt x="30" y="100"/>
                    </a:lnTo>
                    <a:lnTo>
                      <a:pt x="31" y="99"/>
                    </a:lnTo>
                    <a:lnTo>
                      <a:pt x="33" y="97"/>
                    </a:lnTo>
                    <a:lnTo>
                      <a:pt x="38" y="93"/>
                    </a:lnTo>
                    <a:lnTo>
                      <a:pt x="45" y="92"/>
                    </a:lnTo>
                    <a:lnTo>
                      <a:pt x="55" y="86"/>
                    </a:lnTo>
                    <a:lnTo>
                      <a:pt x="63" y="81"/>
                    </a:lnTo>
                    <a:lnTo>
                      <a:pt x="74" y="6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1" name="Freeform 90"/>
              <p:cNvSpPr>
                <a:spLocks/>
              </p:cNvSpPr>
              <p:nvPr/>
            </p:nvSpPr>
            <p:spPr bwMode="auto">
              <a:xfrm>
                <a:off x="4365" y="2873"/>
                <a:ext cx="144" cy="129"/>
              </a:xfrm>
              <a:custGeom>
                <a:avLst/>
                <a:gdLst>
                  <a:gd name="T0" fmla="*/ 121 w 144"/>
                  <a:gd name="T1" fmla="*/ 37 h 129"/>
                  <a:gd name="T2" fmla="*/ 122 w 144"/>
                  <a:gd name="T3" fmla="*/ 40 h 129"/>
                  <a:gd name="T4" fmla="*/ 128 w 144"/>
                  <a:gd name="T5" fmla="*/ 41 h 129"/>
                  <a:gd name="T6" fmla="*/ 135 w 144"/>
                  <a:gd name="T7" fmla="*/ 43 h 129"/>
                  <a:gd name="T8" fmla="*/ 140 w 144"/>
                  <a:gd name="T9" fmla="*/ 45 h 129"/>
                  <a:gd name="T10" fmla="*/ 143 w 144"/>
                  <a:gd name="T11" fmla="*/ 51 h 129"/>
                  <a:gd name="T12" fmla="*/ 140 w 144"/>
                  <a:gd name="T13" fmla="*/ 55 h 129"/>
                  <a:gd name="T14" fmla="*/ 136 w 144"/>
                  <a:gd name="T15" fmla="*/ 58 h 129"/>
                  <a:gd name="T16" fmla="*/ 128 w 144"/>
                  <a:gd name="T17" fmla="*/ 59 h 129"/>
                  <a:gd name="T18" fmla="*/ 122 w 144"/>
                  <a:gd name="T19" fmla="*/ 63 h 129"/>
                  <a:gd name="T20" fmla="*/ 120 w 144"/>
                  <a:gd name="T21" fmla="*/ 67 h 129"/>
                  <a:gd name="T22" fmla="*/ 111 w 144"/>
                  <a:gd name="T23" fmla="*/ 84 h 129"/>
                  <a:gd name="T24" fmla="*/ 105 w 144"/>
                  <a:gd name="T25" fmla="*/ 91 h 129"/>
                  <a:gd name="T26" fmla="*/ 102 w 144"/>
                  <a:gd name="T27" fmla="*/ 95 h 129"/>
                  <a:gd name="T28" fmla="*/ 100 w 144"/>
                  <a:gd name="T29" fmla="*/ 102 h 129"/>
                  <a:gd name="T30" fmla="*/ 98 w 144"/>
                  <a:gd name="T31" fmla="*/ 116 h 129"/>
                  <a:gd name="T32" fmla="*/ 94 w 144"/>
                  <a:gd name="T33" fmla="*/ 122 h 129"/>
                  <a:gd name="T34" fmla="*/ 85 w 144"/>
                  <a:gd name="T35" fmla="*/ 127 h 129"/>
                  <a:gd name="T36" fmla="*/ 78 w 144"/>
                  <a:gd name="T37" fmla="*/ 129 h 129"/>
                  <a:gd name="T38" fmla="*/ 60 w 144"/>
                  <a:gd name="T39" fmla="*/ 120 h 129"/>
                  <a:gd name="T40" fmla="*/ 60 w 144"/>
                  <a:gd name="T41" fmla="*/ 116 h 129"/>
                  <a:gd name="T42" fmla="*/ 52 w 144"/>
                  <a:gd name="T43" fmla="*/ 113 h 129"/>
                  <a:gd name="T44" fmla="*/ 47 w 144"/>
                  <a:gd name="T45" fmla="*/ 114 h 129"/>
                  <a:gd name="T46" fmla="*/ 37 w 144"/>
                  <a:gd name="T47" fmla="*/ 113 h 129"/>
                  <a:gd name="T48" fmla="*/ 29 w 144"/>
                  <a:gd name="T49" fmla="*/ 109 h 129"/>
                  <a:gd name="T50" fmla="*/ 25 w 144"/>
                  <a:gd name="T51" fmla="*/ 105 h 129"/>
                  <a:gd name="T52" fmla="*/ 15 w 144"/>
                  <a:gd name="T53" fmla="*/ 100 h 129"/>
                  <a:gd name="T54" fmla="*/ 4 w 144"/>
                  <a:gd name="T55" fmla="*/ 96 h 129"/>
                  <a:gd name="T56" fmla="*/ 1 w 144"/>
                  <a:gd name="T57" fmla="*/ 91 h 129"/>
                  <a:gd name="T58" fmla="*/ 4 w 144"/>
                  <a:gd name="T59" fmla="*/ 85 h 129"/>
                  <a:gd name="T60" fmla="*/ 4 w 144"/>
                  <a:gd name="T61" fmla="*/ 72 h 129"/>
                  <a:gd name="T62" fmla="*/ 4 w 144"/>
                  <a:gd name="T63" fmla="*/ 61 h 129"/>
                  <a:gd name="T64" fmla="*/ 8 w 144"/>
                  <a:gd name="T65" fmla="*/ 51 h 129"/>
                  <a:gd name="T66" fmla="*/ 34 w 144"/>
                  <a:gd name="T67" fmla="*/ 50 h 129"/>
                  <a:gd name="T68" fmla="*/ 27 w 144"/>
                  <a:gd name="T69" fmla="*/ 56 h 129"/>
                  <a:gd name="T70" fmla="*/ 40 w 144"/>
                  <a:gd name="T71" fmla="*/ 63 h 129"/>
                  <a:gd name="T72" fmla="*/ 54 w 144"/>
                  <a:gd name="T73" fmla="*/ 52 h 129"/>
                  <a:gd name="T74" fmla="*/ 55 w 144"/>
                  <a:gd name="T75" fmla="*/ 50 h 129"/>
                  <a:gd name="T76" fmla="*/ 62 w 144"/>
                  <a:gd name="T77" fmla="*/ 45 h 129"/>
                  <a:gd name="T78" fmla="*/ 70 w 144"/>
                  <a:gd name="T79" fmla="*/ 43 h 129"/>
                  <a:gd name="T80" fmla="*/ 80 w 144"/>
                  <a:gd name="T81" fmla="*/ 37 h 129"/>
                  <a:gd name="T82" fmla="*/ 88 w 144"/>
                  <a:gd name="T83" fmla="*/ 33 h 129"/>
                  <a:gd name="T84" fmla="*/ 107 w 144"/>
                  <a:gd name="T85" fmla="*/ 4 h 129"/>
                  <a:gd name="T86" fmla="*/ 117 w 144"/>
                  <a:gd name="T87" fmla="*/ 4 h 129"/>
                  <a:gd name="T88" fmla="*/ 135 w 144"/>
                  <a:gd name="T89" fmla="*/ 3 h 129"/>
                  <a:gd name="T90" fmla="*/ 144 w 144"/>
                  <a:gd name="T91" fmla="*/ 1 h 129"/>
                  <a:gd name="T92" fmla="*/ 139 w 144"/>
                  <a:gd name="T93" fmla="*/ 7 h 129"/>
                  <a:gd name="T94" fmla="*/ 128 w 144"/>
                  <a:gd name="T95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129">
                    <a:moveTo>
                      <a:pt x="124" y="33"/>
                    </a:moveTo>
                    <a:lnTo>
                      <a:pt x="122" y="34"/>
                    </a:lnTo>
                    <a:lnTo>
                      <a:pt x="121" y="37"/>
                    </a:lnTo>
                    <a:lnTo>
                      <a:pt x="121" y="39"/>
                    </a:lnTo>
                    <a:lnTo>
                      <a:pt x="122" y="39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7" y="41"/>
                    </a:lnTo>
                    <a:lnTo>
                      <a:pt x="128" y="41"/>
                    </a:lnTo>
                    <a:lnTo>
                      <a:pt x="131" y="41"/>
                    </a:lnTo>
                    <a:lnTo>
                      <a:pt x="133" y="41"/>
                    </a:lnTo>
                    <a:lnTo>
                      <a:pt x="135" y="43"/>
                    </a:lnTo>
                    <a:lnTo>
                      <a:pt x="138" y="43"/>
                    </a:lnTo>
                    <a:lnTo>
                      <a:pt x="139" y="44"/>
                    </a:lnTo>
                    <a:lnTo>
                      <a:pt x="140" y="45"/>
                    </a:lnTo>
                    <a:lnTo>
                      <a:pt x="142" y="47"/>
                    </a:lnTo>
                    <a:lnTo>
                      <a:pt x="143" y="50"/>
                    </a:lnTo>
                    <a:lnTo>
                      <a:pt x="143" y="51"/>
                    </a:lnTo>
                    <a:lnTo>
                      <a:pt x="142" y="52"/>
                    </a:lnTo>
                    <a:lnTo>
                      <a:pt x="142" y="54"/>
                    </a:lnTo>
                    <a:lnTo>
                      <a:pt x="140" y="55"/>
                    </a:lnTo>
                    <a:lnTo>
                      <a:pt x="139" y="56"/>
                    </a:lnTo>
                    <a:lnTo>
                      <a:pt x="138" y="56"/>
                    </a:lnTo>
                    <a:lnTo>
                      <a:pt x="136" y="58"/>
                    </a:lnTo>
                    <a:lnTo>
                      <a:pt x="136" y="58"/>
                    </a:lnTo>
                    <a:lnTo>
                      <a:pt x="132" y="58"/>
                    </a:lnTo>
                    <a:lnTo>
                      <a:pt x="128" y="59"/>
                    </a:lnTo>
                    <a:lnTo>
                      <a:pt x="125" y="61"/>
                    </a:lnTo>
                    <a:lnTo>
                      <a:pt x="124" y="62"/>
                    </a:lnTo>
                    <a:lnTo>
                      <a:pt x="122" y="63"/>
                    </a:lnTo>
                    <a:lnTo>
                      <a:pt x="121" y="66"/>
                    </a:lnTo>
                    <a:lnTo>
                      <a:pt x="120" y="66"/>
                    </a:lnTo>
                    <a:lnTo>
                      <a:pt x="120" y="67"/>
                    </a:lnTo>
                    <a:lnTo>
                      <a:pt x="117" y="83"/>
                    </a:lnTo>
                    <a:lnTo>
                      <a:pt x="114" y="84"/>
                    </a:lnTo>
                    <a:lnTo>
                      <a:pt x="111" y="84"/>
                    </a:lnTo>
                    <a:lnTo>
                      <a:pt x="109" y="87"/>
                    </a:lnTo>
                    <a:lnTo>
                      <a:pt x="107" y="88"/>
                    </a:lnTo>
                    <a:lnTo>
                      <a:pt x="105" y="91"/>
                    </a:lnTo>
                    <a:lnTo>
                      <a:pt x="103" y="92"/>
                    </a:lnTo>
                    <a:lnTo>
                      <a:pt x="103" y="94"/>
                    </a:lnTo>
                    <a:lnTo>
                      <a:pt x="102" y="95"/>
                    </a:lnTo>
                    <a:lnTo>
                      <a:pt x="102" y="95"/>
                    </a:lnTo>
                    <a:lnTo>
                      <a:pt x="102" y="98"/>
                    </a:lnTo>
                    <a:lnTo>
                      <a:pt x="100" y="102"/>
                    </a:lnTo>
                    <a:lnTo>
                      <a:pt x="99" y="106"/>
                    </a:lnTo>
                    <a:lnTo>
                      <a:pt x="99" y="110"/>
                    </a:lnTo>
                    <a:lnTo>
                      <a:pt x="98" y="116"/>
                    </a:lnTo>
                    <a:lnTo>
                      <a:pt x="96" y="118"/>
                    </a:lnTo>
                    <a:lnTo>
                      <a:pt x="95" y="121"/>
                    </a:lnTo>
                    <a:lnTo>
                      <a:pt x="94" y="122"/>
                    </a:lnTo>
                    <a:lnTo>
                      <a:pt x="91" y="124"/>
                    </a:lnTo>
                    <a:lnTo>
                      <a:pt x="88" y="125"/>
                    </a:lnTo>
                    <a:lnTo>
                      <a:pt x="85" y="127"/>
                    </a:lnTo>
                    <a:lnTo>
                      <a:pt x="82" y="128"/>
                    </a:lnTo>
                    <a:lnTo>
                      <a:pt x="81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3" y="120"/>
                    </a:lnTo>
                    <a:lnTo>
                      <a:pt x="60" y="120"/>
                    </a:lnTo>
                    <a:lnTo>
                      <a:pt x="62" y="118"/>
                    </a:lnTo>
                    <a:lnTo>
                      <a:pt x="62" y="117"/>
                    </a:lnTo>
                    <a:lnTo>
                      <a:pt x="60" y="116"/>
                    </a:lnTo>
                    <a:lnTo>
                      <a:pt x="58" y="114"/>
                    </a:lnTo>
                    <a:lnTo>
                      <a:pt x="55" y="113"/>
                    </a:lnTo>
                    <a:lnTo>
                      <a:pt x="52" y="113"/>
                    </a:lnTo>
                    <a:lnTo>
                      <a:pt x="51" y="113"/>
                    </a:lnTo>
                    <a:lnTo>
                      <a:pt x="49" y="114"/>
                    </a:lnTo>
                    <a:lnTo>
                      <a:pt x="47" y="114"/>
                    </a:lnTo>
                    <a:lnTo>
                      <a:pt x="44" y="114"/>
                    </a:lnTo>
                    <a:lnTo>
                      <a:pt x="41" y="114"/>
                    </a:lnTo>
                    <a:lnTo>
                      <a:pt x="37" y="113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09"/>
                    </a:lnTo>
                    <a:lnTo>
                      <a:pt x="27" y="107"/>
                    </a:lnTo>
                    <a:lnTo>
                      <a:pt x="26" y="106"/>
                    </a:lnTo>
                    <a:lnTo>
                      <a:pt x="25" y="105"/>
                    </a:lnTo>
                    <a:lnTo>
                      <a:pt x="22" y="103"/>
                    </a:lnTo>
                    <a:lnTo>
                      <a:pt x="18" y="102"/>
                    </a:lnTo>
                    <a:lnTo>
                      <a:pt x="15" y="100"/>
                    </a:lnTo>
                    <a:lnTo>
                      <a:pt x="11" y="99"/>
                    </a:lnTo>
                    <a:lnTo>
                      <a:pt x="7" y="98"/>
                    </a:lnTo>
                    <a:lnTo>
                      <a:pt x="4" y="96"/>
                    </a:lnTo>
                    <a:lnTo>
                      <a:pt x="1" y="94"/>
                    </a:lnTo>
                    <a:lnTo>
                      <a:pt x="0" y="92"/>
                    </a:lnTo>
                    <a:lnTo>
                      <a:pt x="1" y="91"/>
                    </a:lnTo>
                    <a:lnTo>
                      <a:pt x="1" y="88"/>
                    </a:lnTo>
                    <a:lnTo>
                      <a:pt x="3" y="87"/>
                    </a:lnTo>
                    <a:lnTo>
                      <a:pt x="4" y="85"/>
                    </a:lnTo>
                    <a:lnTo>
                      <a:pt x="5" y="85"/>
                    </a:lnTo>
                    <a:lnTo>
                      <a:pt x="5" y="85"/>
                    </a:lnTo>
                    <a:lnTo>
                      <a:pt x="4" y="72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4" y="61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8" y="51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34" y="50"/>
                    </a:lnTo>
                    <a:lnTo>
                      <a:pt x="25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32" y="59"/>
                    </a:lnTo>
                    <a:lnTo>
                      <a:pt x="36" y="62"/>
                    </a:lnTo>
                    <a:lnTo>
                      <a:pt x="40" y="63"/>
                    </a:lnTo>
                    <a:lnTo>
                      <a:pt x="44" y="62"/>
                    </a:lnTo>
                    <a:lnTo>
                      <a:pt x="49" y="59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5" y="51"/>
                    </a:lnTo>
                    <a:lnTo>
                      <a:pt x="55" y="50"/>
                    </a:lnTo>
                    <a:lnTo>
                      <a:pt x="58" y="48"/>
                    </a:lnTo>
                    <a:lnTo>
                      <a:pt x="59" y="47"/>
                    </a:lnTo>
                    <a:lnTo>
                      <a:pt x="62" y="45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70" y="43"/>
                    </a:lnTo>
                    <a:lnTo>
                      <a:pt x="73" y="41"/>
                    </a:lnTo>
                    <a:lnTo>
                      <a:pt x="77" y="40"/>
                    </a:lnTo>
                    <a:lnTo>
                      <a:pt x="80" y="37"/>
                    </a:lnTo>
                    <a:lnTo>
                      <a:pt x="84" y="36"/>
                    </a:lnTo>
                    <a:lnTo>
                      <a:pt x="85" y="33"/>
                    </a:lnTo>
                    <a:lnTo>
                      <a:pt x="88" y="33"/>
                    </a:lnTo>
                    <a:lnTo>
                      <a:pt x="88" y="32"/>
                    </a:lnTo>
                    <a:lnTo>
                      <a:pt x="99" y="17"/>
                    </a:lnTo>
                    <a:lnTo>
                      <a:pt x="107" y="4"/>
                    </a:lnTo>
                    <a:lnTo>
                      <a:pt x="109" y="4"/>
                    </a:lnTo>
                    <a:lnTo>
                      <a:pt x="111" y="4"/>
                    </a:lnTo>
                    <a:lnTo>
                      <a:pt x="117" y="4"/>
                    </a:lnTo>
                    <a:lnTo>
                      <a:pt x="122" y="4"/>
                    </a:lnTo>
                    <a:lnTo>
                      <a:pt x="129" y="4"/>
                    </a:lnTo>
                    <a:lnTo>
                      <a:pt x="135" y="3"/>
                    </a:lnTo>
                    <a:lnTo>
                      <a:pt x="140" y="1"/>
                    </a:lnTo>
                    <a:lnTo>
                      <a:pt x="144" y="0"/>
                    </a:lnTo>
                    <a:lnTo>
                      <a:pt x="144" y="1"/>
                    </a:lnTo>
                    <a:lnTo>
                      <a:pt x="143" y="3"/>
                    </a:lnTo>
                    <a:lnTo>
                      <a:pt x="142" y="4"/>
                    </a:lnTo>
                    <a:lnTo>
                      <a:pt x="139" y="7"/>
                    </a:lnTo>
                    <a:lnTo>
                      <a:pt x="136" y="10"/>
                    </a:lnTo>
                    <a:lnTo>
                      <a:pt x="132" y="12"/>
                    </a:lnTo>
                    <a:lnTo>
                      <a:pt x="128" y="14"/>
                    </a:lnTo>
                    <a:lnTo>
                      <a:pt x="124" y="17"/>
                    </a:lnTo>
                    <a:lnTo>
                      <a:pt x="124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2" name="Freeform 91"/>
              <p:cNvSpPr>
                <a:spLocks/>
              </p:cNvSpPr>
              <p:nvPr/>
            </p:nvSpPr>
            <p:spPr bwMode="auto">
              <a:xfrm>
                <a:off x="4365" y="2873"/>
                <a:ext cx="144" cy="129"/>
              </a:xfrm>
              <a:custGeom>
                <a:avLst/>
                <a:gdLst>
                  <a:gd name="T0" fmla="*/ 121 w 144"/>
                  <a:gd name="T1" fmla="*/ 37 h 129"/>
                  <a:gd name="T2" fmla="*/ 122 w 144"/>
                  <a:gd name="T3" fmla="*/ 40 h 129"/>
                  <a:gd name="T4" fmla="*/ 128 w 144"/>
                  <a:gd name="T5" fmla="*/ 41 h 129"/>
                  <a:gd name="T6" fmla="*/ 135 w 144"/>
                  <a:gd name="T7" fmla="*/ 43 h 129"/>
                  <a:gd name="T8" fmla="*/ 140 w 144"/>
                  <a:gd name="T9" fmla="*/ 45 h 129"/>
                  <a:gd name="T10" fmla="*/ 143 w 144"/>
                  <a:gd name="T11" fmla="*/ 51 h 129"/>
                  <a:gd name="T12" fmla="*/ 140 w 144"/>
                  <a:gd name="T13" fmla="*/ 55 h 129"/>
                  <a:gd name="T14" fmla="*/ 136 w 144"/>
                  <a:gd name="T15" fmla="*/ 58 h 129"/>
                  <a:gd name="T16" fmla="*/ 125 w 144"/>
                  <a:gd name="T17" fmla="*/ 61 h 129"/>
                  <a:gd name="T18" fmla="*/ 121 w 144"/>
                  <a:gd name="T19" fmla="*/ 66 h 129"/>
                  <a:gd name="T20" fmla="*/ 117 w 144"/>
                  <a:gd name="T21" fmla="*/ 83 h 129"/>
                  <a:gd name="T22" fmla="*/ 109 w 144"/>
                  <a:gd name="T23" fmla="*/ 87 h 129"/>
                  <a:gd name="T24" fmla="*/ 103 w 144"/>
                  <a:gd name="T25" fmla="*/ 92 h 129"/>
                  <a:gd name="T26" fmla="*/ 102 w 144"/>
                  <a:gd name="T27" fmla="*/ 98 h 129"/>
                  <a:gd name="T28" fmla="*/ 99 w 144"/>
                  <a:gd name="T29" fmla="*/ 110 h 129"/>
                  <a:gd name="T30" fmla="*/ 95 w 144"/>
                  <a:gd name="T31" fmla="*/ 121 h 129"/>
                  <a:gd name="T32" fmla="*/ 88 w 144"/>
                  <a:gd name="T33" fmla="*/ 125 h 129"/>
                  <a:gd name="T34" fmla="*/ 81 w 144"/>
                  <a:gd name="T35" fmla="*/ 128 h 129"/>
                  <a:gd name="T36" fmla="*/ 60 w 144"/>
                  <a:gd name="T37" fmla="*/ 120 h 129"/>
                  <a:gd name="T38" fmla="*/ 60 w 144"/>
                  <a:gd name="T39" fmla="*/ 116 h 129"/>
                  <a:gd name="T40" fmla="*/ 52 w 144"/>
                  <a:gd name="T41" fmla="*/ 113 h 129"/>
                  <a:gd name="T42" fmla="*/ 47 w 144"/>
                  <a:gd name="T43" fmla="*/ 114 h 129"/>
                  <a:gd name="T44" fmla="*/ 37 w 144"/>
                  <a:gd name="T45" fmla="*/ 113 h 129"/>
                  <a:gd name="T46" fmla="*/ 29 w 144"/>
                  <a:gd name="T47" fmla="*/ 109 h 129"/>
                  <a:gd name="T48" fmla="*/ 25 w 144"/>
                  <a:gd name="T49" fmla="*/ 105 h 129"/>
                  <a:gd name="T50" fmla="*/ 15 w 144"/>
                  <a:gd name="T51" fmla="*/ 100 h 129"/>
                  <a:gd name="T52" fmla="*/ 4 w 144"/>
                  <a:gd name="T53" fmla="*/ 96 h 129"/>
                  <a:gd name="T54" fmla="*/ 1 w 144"/>
                  <a:gd name="T55" fmla="*/ 91 h 129"/>
                  <a:gd name="T56" fmla="*/ 4 w 144"/>
                  <a:gd name="T57" fmla="*/ 85 h 129"/>
                  <a:gd name="T58" fmla="*/ 3 w 144"/>
                  <a:gd name="T59" fmla="*/ 67 h 129"/>
                  <a:gd name="T60" fmla="*/ 5 w 144"/>
                  <a:gd name="T61" fmla="*/ 56 h 129"/>
                  <a:gd name="T62" fmla="*/ 10 w 144"/>
                  <a:gd name="T63" fmla="*/ 50 h 129"/>
                  <a:gd name="T64" fmla="*/ 25 w 144"/>
                  <a:gd name="T65" fmla="*/ 54 h 129"/>
                  <a:gd name="T66" fmla="*/ 32 w 144"/>
                  <a:gd name="T67" fmla="*/ 59 h 129"/>
                  <a:gd name="T68" fmla="*/ 44 w 144"/>
                  <a:gd name="T69" fmla="*/ 62 h 129"/>
                  <a:gd name="T70" fmla="*/ 55 w 144"/>
                  <a:gd name="T71" fmla="*/ 51 h 129"/>
                  <a:gd name="T72" fmla="*/ 59 w 144"/>
                  <a:gd name="T73" fmla="*/ 47 h 129"/>
                  <a:gd name="T74" fmla="*/ 67 w 144"/>
                  <a:gd name="T75" fmla="*/ 44 h 129"/>
                  <a:gd name="T76" fmla="*/ 77 w 144"/>
                  <a:gd name="T77" fmla="*/ 40 h 129"/>
                  <a:gd name="T78" fmla="*/ 85 w 144"/>
                  <a:gd name="T79" fmla="*/ 33 h 129"/>
                  <a:gd name="T80" fmla="*/ 99 w 144"/>
                  <a:gd name="T81" fmla="*/ 17 h 129"/>
                  <a:gd name="T82" fmla="*/ 111 w 144"/>
                  <a:gd name="T83" fmla="*/ 4 h 129"/>
                  <a:gd name="T84" fmla="*/ 129 w 144"/>
                  <a:gd name="T85" fmla="*/ 4 h 129"/>
                  <a:gd name="T86" fmla="*/ 144 w 144"/>
                  <a:gd name="T87" fmla="*/ 0 h 129"/>
                  <a:gd name="T88" fmla="*/ 142 w 144"/>
                  <a:gd name="T89" fmla="*/ 4 h 129"/>
                  <a:gd name="T90" fmla="*/ 132 w 144"/>
                  <a:gd name="T91" fmla="*/ 12 h 129"/>
                  <a:gd name="T92" fmla="*/ 124 w 144"/>
                  <a:gd name="T93" fmla="*/ 3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4" h="129">
                    <a:moveTo>
                      <a:pt x="124" y="33"/>
                    </a:moveTo>
                    <a:lnTo>
                      <a:pt x="122" y="34"/>
                    </a:lnTo>
                    <a:lnTo>
                      <a:pt x="121" y="37"/>
                    </a:lnTo>
                    <a:lnTo>
                      <a:pt x="121" y="39"/>
                    </a:lnTo>
                    <a:lnTo>
                      <a:pt x="122" y="39"/>
                    </a:lnTo>
                    <a:lnTo>
                      <a:pt x="122" y="40"/>
                    </a:lnTo>
                    <a:lnTo>
                      <a:pt x="124" y="40"/>
                    </a:lnTo>
                    <a:lnTo>
                      <a:pt x="127" y="41"/>
                    </a:lnTo>
                    <a:lnTo>
                      <a:pt x="128" y="41"/>
                    </a:lnTo>
                    <a:lnTo>
                      <a:pt x="131" y="41"/>
                    </a:lnTo>
                    <a:lnTo>
                      <a:pt x="133" y="41"/>
                    </a:lnTo>
                    <a:lnTo>
                      <a:pt x="135" y="43"/>
                    </a:lnTo>
                    <a:lnTo>
                      <a:pt x="138" y="43"/>
                    </a:lnTo>
                    <a:lnTo>
                      <a:pt x="139" y="44"/>
                    </a:lnTo>
                    <a:lnTo>
                      <a:pt x="140" y="45"/>
                    </a:lnTo>
                    <a:lnTo>
                      <a:pt x="142" y="47"/>
                    </a:lnTo>
                    <a:lnTo>
                      <a:pt x="143" y="50"/>
                    </a:lnTo>
                    <a:lnTo>
                      <a:pt x="143" y="51"/>
                    </a:lnTo>
                    <a:lnTo>
                      <a:pt x="142" y="52"/>
                    </a:lnTo>
                    <a:lnTo>
                      <a:pt x="142" y="54"/>
                    </a:lnTo>
                    <a:lnTo>
                      <a:pt x="140" y="55"/>
                    </a:lnTo>
                    <a:lnTo>
                      <a:pt x="139" y="56"/>
                    </a:lnTo>
                    <a:lnTo>
                      <a:pt x="138" y="56"/>
                    </a:lnTo>
                    <a:lnTo>
                      <a:pt x="136" y="58"/>
                    </a:lnTo>
                    <a:lnTo>
                      <a:pt x="132" y="58"/>
                    </a:lnTo>
                    <a:lnTo>
                      <a:pt x="128" y="59"/>
                    </a:lnTo>
                    <a:lnTo>
                      <a:pt x="125" y="61"/>
                    </a:lnTo>
                    <a:lnTo>
                      <a:pt x="124" y="62"/>
                    </a:lnTo>
                    <a:lnTo>
                      <a:pt x="122" y="63"/>
                    </a:lnTo>
                    <a:lnTo>
                      <a:pt x="121" y="66"/>
                    </a:lnTo>
                    <a:lnTo>
                      <a:pt x="120" y="66"/>
                    </a:lnTo>
                    <a:lnTo>
                      <a:pt x="120" y="67"/>
                    </a:lnTo>
                    <a:lnTo>
                      <a:pt x="117" y="83"/>
                    </a:lnTo>
                    <a:lnTo>
                      <a:pt x="114" y="84"/>
                    </a:lnTo>
                    <a:lnTo>
                      <a:pt x="111" y="84"/>
                    </a:lnTo>
                    <a:lnTo>
                      <a:pt x="109" y="87"/>
                    </a:lnTo>
                    <a:lnTo>
                      <a:pt x="107" y="88"/>
                    </a:lnTo>
                    <a:lnTo>
                      <a:pt x="105" y="91"/>
                    </a:lnTo>
                    <a:lnTo>
                      <a:pt x="103" y="92"/>
                    </a:lnTo>
                    <a:lnTo>
                      <a:pt x="103" y="94"/>
                    </a:lnTo>
                    <a:lnTo>
                      <a:pt x="102" y="95"/>
                    </a:lnTo>
                    <a:lnTo>
                      <a:pt x="102" y="98"/>
                    </a:lnTo>
                    <a:lnTo>
                      <a:pt x="100" y="102"/>
                    </a:lnTo>
                    <a:lnTo>
                      <a:pt x="99" y="106"/>
                    </a:lnTo>
                    <a:lnTo>
                      <a:pt x="99" y="110"/>
                    </a:lnTo>
                    <a:lnTo>
                      <a:pt x="98" y="116"/>
                    </a:lnTo>
                    <a:lnTo>
                      <a:pt x="96" y="118"/>
                    </a:lnTo>
                    <a:lnTo>
                      <a:pt x="95" y="121"/>
                    </a:lnTo>
                    <a:lnTo>
                      <a:pt x="94" y="122"/>
                    </a:lnTo>
                    <a:lnTo>
                      <a:pt x="91" y="124"/>
                    </a:lnTo>
                    <a:lnTo>
                      <a:pt x="88" y="125"/>
                    </a:lnTo>
                    <a:lnTo>
                      <a:pt x="85" y="127"/>
                    </a:lnTo>
                    <a:lnTo>
                      <a:pt x="82" y="128"/>
                    </a:lnTo>
                    <a:lnTo>
                      <a:pt x="81" y="128"/>
                    </a:lnTo>
                    <a:lnTo>
                      <a:pt x="78" y="129"/>
                    </a:lnTo>
                    <a:lnTo>
                      <a:pt x="73" y="120"/>
                    </a:lnTo>
                    <a:lnTo>
                      <a:pt x="60" y="120"/>
                    </a:lnTo>
                    <a:lnTo>
                      <a:pt x="62" y="118"/>
                    </a:lnTo>
                    <a:lnTo>
                      <a:pt x="62" y="117"/>
                    </a:lnTo>
                    <a:lnTo>
                      <a:pt x="60" y="116"/>
                    </a:lnTo>
                    <a:lnTo>
                      <a:pt x="58" y="114"/>
                    </a:lnTo>
                    <a:lnTo>
                      <a:pt x="55" y="113"/>
                    </a:lnTo>
                    <a:lnTo>
                      <a:pt x="52" y="113"/>
                    </a:lnTo>
                    <a:lnTo>
                      <a:pt x="51" y="113"/>
                    </a:lnTo>
                    <a:lnTo>
                      <a:pt x="49" y="114"/>
                    </a:lnTo>
                    <a:lnTo>
                      <a:pt x="47" y="114"/>
                    </a:lnTo>
                    <a:lnTo>
                      <a:pt x="44" y="114"/>
                    </a:lnTo>
                    <a:lnTo>
                      <a:pt x="41" y="114"/>
                    </a:lnTo>
                    <a:lnTo>
                      <a:pt x="37" y="113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09"/>
                    </a:lnTo>
                    <a:lnTo>
                      <a:pt x="27" y="107"/>
                    </a:lnTo>
                    <a:lnTo>
                      <a:pt x="26" y="106"/>
                    </a:lnTo>
                    <a:lnTo>
                      <a:pt x="25" y="105"/>
                    </a:lnTo>
                    <a:lnTo>
                      <a:pt x="22" y="103"/>
                    </a:lnTo>
                    <a:lnTo>
                      <a:pt x="18" y="102"/>
                    </a:lnTo>
                    <a:lnTo>
                      <a:pt x="15" y="100"/>
                    </a:lnTo>
                    <a:lnTo>
                      <a:pt x="11" y="99"/>
                    </a:lnTo>
                    <a:lnTo>
                      <a:pt x="7" y="98"/>
                    </a:lnTo>
                    <a:lnTo>
                      <a:pt x="4" y="96"/>
                    </a:lnTo>
                    <a:lnTo>
                      <a:pt x="1" y="94"/>
                    </a:lnTo>
                    <a:lnTo>
                      <a:pt x="0" y="92"/>
                    </a:lnTo>
                    <a:lnTo>
                      <a:pt x="1" y="91"/>
                    </a:lnTo>
                    <a:lnTo>
                      <a:pt x="1" y="88"/>
                    </a:lnTo>
                    <a:lnTo>
                      <a:pt x="3" y="87"/>
                    </a:lnTo>
                    <a:lnTo>
                      <a:pt x="4" y="85"/>
                    </a:lnTo>
                    <a:lnTo>
                      <a:pt x="5" y="85"/>
                    </a:lnTo>
                    <a:lnTo>
                      <a:pt x="4" y="72"/>
                    </a:lnTo>
                    <a:lnTo>
                      <a:pt x="3" y="67"/>
                    </a:lnTo>
                    <a:lnTo>
                      <a:pt x="3" y="63"/>
                    </a:lnTo>
                    <a:lnTo>
                      <a:pt x="4" y="61"/>
                    </a:lnTo>
                    <a:lnTo>
                      <a:pt x="5" y="56"/>
                    </a:lnTo>
                    <a:lnTo>
                      <a:pt x="7" y="54"/>
                    </a:lnTo>
                    <a:lnTo>
                      <a:pt x="8" y="51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34" y="50"/>
                    </a:lnTo>
                    <a:lnTo>
                      <a:pt x="25" y="54"/>
                    </a:lnTo>
                    <a:lnTo>
                      <a:pt x="26" y="55"/>
                    </a:lnTo>
                    <a:lnTo>
                      <a:pt x="27" y="56"/>
                    </a:lnTo>
                    <a:lnTo>
                      <a:pt x="32" y="59"/>
                    </a:lnTo>
                    <a:lnTo>
                      <a:pt x="36" y="62"/>
                    </a:lnTo>
                    <a:lnTo>
                      <a:pt x="40" y="63"/>
                    </a:lnTo>
                    <a:lnTo>
                      <a:pt x="44" y="62"/>
                    </a:lnTo>
                    <a:lnTo>
                      <a:pt x="49" y="59"/>
                    </a:lnTo>
                    <a:lnTo>
                      <a:pt x="54" y="52"/>
                    </a:lnTo>
                    <a:lnTo>
                      <a:pt x="55" y="51"/>
                    </a:lnTo>
                    <a:lnTo>
                      <a:pt x="55" y="50"/>
                    </a:lnTo>
                    <a:lnTo>
                      <a:pt x="58" y="48"/>
                    </a:lnTo>
                    <a:lnTo>
                      <a:pt x="59" y="47"/>
                    </a:lnTo>
                    <a:lnTo>
                      <a:pt x="62" y="45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70" y="43"/>
                    </a:lnTo>
                    <a:lnTo>
                      <a:pt x="73" y="41"/>
                    </a:lnTo>
                    <a:lnTo>
                      <a:pt x="77" y="40"/>
                    </a:lnTo>
                    <a:lnTo>
                      <a:pt x="80" y="37"/>
                    </a:lnTo>
                    <a:lnTo>
                      <a:pt x="84" y="36"/>
                    </a:lnTo>
                    <a:lnTo>
                      <a:pt x="85" y="33"/>
                    </a:lnTo>
                    <a:lnTo>
                      <a:pt x="88" y="33"/>
                    </a:lnTo>
                    <a:lnTo>
                      <a:pt x="88" y="32"/>
                    </a:lnTo>
                    <a:lnTo>
                      <a:pt x="99" y="17"/>
                    </a:lnTo>
                    <a:lnTo>
                      <a:pt x="107" y="4"/>
                    </a:lnTo>
                    <a:lnTo>
                      <a:pt x="109" y="4"/>
                    </a:lnTo>
                    <a:lnTo>
                      <a:pt x="111" y="4"/>
                    </a:lnTo>
                    <a:lnTo>
                      <a:pt x="117" y="4"/>
                    </a:lnTo>
                    <a:lnTo>
                      <a:pt x="122" y="4"/>
                    </a:lnTo>
                    <a:lnTo>
                      <a:pt x="129" y="4"/>
                    </a:lnTo>
                    <a:lnTo>
                      <a:pt x="135" y="3"/>
                    </a:lnTo>
                    <a:lnTo>
                      <a:pt x="140" y="1"/>
                    </a:lnTo>
                    <a:lnTo>
                      <a:pt x="144" y="0"/>
                    </a:lnTo>
                    <a:lnTo>
                      <a:pt x="144" y="1"/>
                    </a:lnTo>
                    <a:lnTo>
                      <a:pt x="143" y="3"/>
                    </a:lnTo>
                    <a:lnTo>
                      <a:pt x="142" y="4"/>
                    </a:lnTo>
                    <a:lnTo>
                      <a:pt x="139" y="7"/>
                    </a:lnTo>
                    <a:lnTo>
                      <a:pt x="136" y="10"/>
                    </a:lnTo>
                    <a:lnTo>
                      <a:pt x="132" y="12"/>
                    </a:lnTo>
                    <a:lnTo>
                      <a:pt x="128" y="14"/>
                    </a:lnTo>
                    <a:lnTo>
                      <a:pt x="124" y="17"/>
                    </a:lnTo>
                    <a:lnTo>
                      <a:pt x="124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3" name="Freeform 92"/>
              <p:cNvSpPr>
                <a:spLocks/>
              </p:cNvSpPr>
              <p:nvPr/>
            </p:nvSpPr>
            <p:spPr bwMode="auto">
              <a:xfrm>
                <a:off x="4845" y="2972"/>
                <a:ext cx="155" cy="129"/>
              </a:xfrm>
              <a:custGeom>
                <a:avLst/>
                <a:gdLst>
                  <a:gd name="T0" fmla="*/ 95 w 155"/>
                  <a:gd name="T1" fmla="*/ 47 h 129"/>
                  <a:gd name="T2" fmla="*/ 92 w 155"/>
                  <a:gd name="T3" fmla="*/ 44 h 129"/>
                  <a:gd name="T4" fmla="*/ 88 w 155"/>
                  <a:gd name="T5" fmla="*/ 43 h 129"/>
                  <a:gd name="T6" fmla="*/ 83 w 155"/>
                  <a:gd name="T7" fmla="*/ 41 h 129"/>
                  <a:gd name="T8" fmla="*/ 77 w 155"/>
                  <a:gd name="T9" fmla="*/ 34 h 129"/>
                  <a:gd name="T10" fmla="*/ 66 w 155"/>
                  <a:gd name="T11" fmla="*/ 26 h 129"/>
                  <a:gd name="T12" fmla="*/ 55 w 155"/>
                  <a:gd name="T13" fmla="*/ 18 h 129"/>
                  <a:gd name="T14" fmla="*/ 48 w 155"/>
                  <a:gd name="T15" fmla="*/ 14 h 129"/>
                  <a:gd name="T16" fmla="*/ 47 w 155"/>
                  <a:gd name="T17" fmla="*/ 12 h 129"/>
                  <a:gd name="T18" fmla="*/ 39 w 155"/>
                  <a:gd name="T19" fmla="*/ 11 h 129"/>
                  <a:gd name="T20" fmla="*/ 25 w 155"/>
                  <a:gd name="T21" fmla="*/ 7 h 129"/>
                  <a:gd name="T22" fmla="*/ 11 w 155"/>
                  <a:gd name="T23" fmla="*/ 3 h 129"/>
                  <a:gd name="T24" fmla="*/ 0 w 155"/>
                  <a:gd name="T25" fmla="*/ 95 h 129"/>
                  <a:gd name="T26" fmla="*/ 34 w 155"/>
                  <a:gd name="T27" fmla="*/ 95 h 129"/>
                  <a:gd name="T28" fmla="*/ 36 w 155"/>
                  <a:gd name="T29" fmla="*/ 92 h 129"/>
                  <a:gd name="T30" fmla="*/ 41 w 155"/>
                  <a:gd name="T31" fmla="*/ 85 h 129"/>
                  <a:gd name="T32" fmla="*/ 51 w 155"/>
                  <a:gd name="T33" fmla="*/ 80 h 129"/>
                  <a:gd name="T34" fmla="*/ 63 w 155"/>
                  <a:gd name="T35" fmla="*/ 83 h 129"/>
                  <a:gd name="T36" fmla="*/ 105 w 155"/>
                  <a:gd name="T37" fmla="*/ 113 h 129"/>
                  <a:gd name="T38" fmla="*/ 153 w 155"/>
                  <a:gd name="T39" fmla="*/ 129 h 129"/>
                  <a:gd name="T40" fmla="*/ 154 w 155"/>
                  <a:gd name="T41" fmla="*/ 128 h 129"/>
                  <a:gd name="T42" fmla="*/ 155 w 155"/>
                  <a:gd name="T43" fmla="*/ 125 h 129"/>
                  <a:gd name="T44" fmla="*/ 154 w 155"/>
                  <a:gd name="T45" fmla="*/ 121 h 129"/>
                  <a:gd name="T46" fmla="*/ 151 w 155"/>
                  <a:gd name="T47" fmla="*/ 116 h 129"/>
                  <a:gd name="T48" fmla="*/ 143 w 155"/>
                  <a:gd name="T49" fmla="*/ 107 h 129"/>
                  <a:gd name="T50" fmla="*/ 131 w 155"/>
                  <a:gd name="T51" fmla="*/ 98 h 129"/>
                  <a:gd name="T52" fmla="*/ 120 w 155"/>
                  <a:gd name="T53" fmla="*/ 88 h 129"/>
                  <a:gd name="T54" fmla="*/ 116 w 155"/>
                  <a:gd name="T55" fmla="*/ 84 h 129"/>
                  <a:gd name="T56" fmla="*/ 116 w 155"/>
                  <a:gd name="T57" fmla="*/ 65 h 129"/>
                  <a:gd name="T58" fmla="*/ 110 w 155"/>
                  <a:gd name="T59" fmla="*/ 55 h 129"/>
                  <a:gd name="T60" fmla="*/ 105 w 155"/>
                  <a:gd name="T61" fmla="*/ 54 h 129"/>
                  <a:gd name="T62" fmla="*/ 99 w 155"/>
                  <a:gd name="T63" fmla="*/ 52 h 129"/>
                  <a:gd name="T64" fmla="*/ 95 w 155"/>
                  <a:gd name="T65" fmla="*/ 5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5" h="129">
                    <a:moveTo>
                      <a:pt x="95" y="48"/>
                    </a:moveTo>
                    <a:lnTo>
                      <a:pt x="95" y="47"/>
                    </a:lnTo>
                    <a:lnTo>
                      <a:pt x="94" y="45"/>
                    </a:lnTo>
                    <a:lnTo>
                      <a:pt x="92" y="44"/>
                    </a:lnTo>
                    <a:lnTo>
                      <a:pt x="89" y="44"/>
                    </a:lnTo>
                    <a:lnTo>
                      <a:pt x="88" y="43"/>
                    </a:lnTo>
                    <a:lnTo>
                      <a:pt x="85" y="41"/>
                    </a:lnTo>
                    <a:lnTo>
                      <a:pt x="83" y="41"/>
                    </a:lnTo>
                    <a:lnTo>
                      <a:pt x="81" y="40"/>
                    </a:lnTo>
                    <a:lnTo>
                      <a:pt x="77" y="34"/>
                    </a:lnTo>
                    <a:lnTo>
                      <a:pt x="72" y="30"/>
                    </a:lnTo>
                    <a:lnTo>
                      <a:pt x="66" y="26"/>
                    </a:lnTo>
                    <a:lnTo>
                      <a:pt x="61" y="22"/>
                    </a:lnTo>
                    <a:lnTo>
                      <a:pt x="55" y="18"/>
                    </a:lnTo>
                    <a:lnTo>
                      <a:pt x="51" y="15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7" y="12"/>
                    </a:lnTo>
                    <a:lnTo>
                      <a:pt x="43" y="11"/>
                    </a:lnTo>
                    <a:lnTo>
                      <a:pt x="39" y="11"/>
                    </a:lnTo>
                    <a:lnTo>
                      <a:pt x="32" y="10"/>
                    </a:lnTo>
                    <a:lnTo>
                      <a:pt x="25" y="7"/>
                    </a:lnTo>
                    <a:lnTo>
                      <a:pt x="18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0" y="95"/>
                    </a:lnTo>
                    <a:lnTo>
                      <a:pt x="17" y="103"/>
                    </a:lnTo>
                    <a:lnTo>
                      <a:pt x="34" y="95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9" y="89"/>
                    </a:lnTo>
                    <a:lnTo>
                      <a:pt x="41" y="85"/>
                    </a:lnTo>
                    <a:lnTo>
                      <a:pt x="45" y="83"/>
                    </a:lnTo>
                    <a:lnTo>
                      <a:pt x="51" y="80"/>
                    </a:lnTo>
                    <a:lnTo>
                      <a:pt x="56" y="80"/>
                    </a:lnTo>
                    <a:lnTo>
                      <a:pt x="63" y="83"/>
                    </a:lnTo>
                    <a:lnTo>
                      <a:pt x="94" y="98"/>
                    </a:lnTo>
                    <a:lnTo>
                      <a:pt x="105" y="113"/>
                    </a:lnTo>
                    <a:lnTo>
                      <a:pt x="125" y="121"/>
                    </a:lnTo>
                    <a:lnTo>
                      <a:pt x="153" y="129"/>
                    </a:lnTo>
                    <a:lnTo>
                      <a:pt x="153" y="129"/>
                    </a:lnTo>
                    <a:lnTo>
                      <a:pt x="154" y="128"/>
                    </a:lnTo>
                    <a:lnTo>
                      <a:pt x="154" y="127"/>
                    </a:lnTo>
                    <a:lnTo>
                      <a:pt x="155" y="125"/>
                    </a:lnTo>
                    <a:lnTo>
                      <a:pt x="155" y="124"/>
                    </a:lnTo>
                    <a:lnTo>
                      <a:pt x="154" y="121"/>
                    </a:lnTo>
                    <a:lnTo>
                      <a:pt x="154" y="118"/>
                    </a:lnTo>
                    <a:lnTo>
                      <a:pt x="151" y="116"/>
                    </a:lnTo>
                    <a:lnTo>
                      <a:pt x="147" y="113"/>
                    </a:lnTo>
                    <a:lnTo>
                      <a:pt x="143" y="107"/>
                    </a:lnTo>
                    <a:lnTo>
                      <a:pt x="136" y="103"/>
                    </a:lnTo>
                    <a:lnTo>
                      <a:pt x="131" y="98"/>
                    </a:lnTo>
                    <a:lnTo>
                      <a:pt x="125" y="92"/>
                    </a:lnTo>
                    <a:lnTo>
                      <a:pt x="120" y="88"/>
                    </a:lnTo>
                    <a:lnTo>
                      <a:pt x="117" y="85"/>
                    </a:lnTo>
                    <a:lnTo>
                      <a:pt x="116" y="84"/>
                    </a:lnTo>
                    <a:lnTo>
                      <a:pt x="98" y="72"/>
                    </a:lnTo>
                    <a:lnTo>
                      <a:pt x="116" y="65"/>
                    </a:lnTo>
                    <a:lnTo>
                      <a:pt x="111" y="55"/>
                    </a:lnTo>
                    <a:lnTo>
                      <a:pt x="110" y="55"/>
                    </a:lnTo>
                    <a:lnTo>
                      <a:pt x="109" y="55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99" y="52"/>
                    </a:lnTo>
                    <a:lnTo>
                      <a:pt x="96" y="51"/>
                    </a:lnTo>
                    <a:lnTo>
                      <a:pt x="95" y="50"/>
                    </a:lnTo>
                    <a:lnTo>
                      <a:pt x="95" y="4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4" name="Freeform 93"/>
              <p:cNvSpPr>
                <a:spLocks/>
              </p:cNvSpPr>
              <p:nvPr/>
            </p:nvSpPr>
            <p:spPr bwMode="auto">
              <a:xfrm>
                <a:off x="4845" y="2972"/>
                <a:ext cx="155" cy="129"/>
              </a:xfrm>
              <a:custGeom>
                <a:avLst/>
                <a:gdLst>
                  <a:gd name="T0" fmla="*/ 95 w 155"/>
                  <a:gd name="T1" fmla="*/ 47 h 129"/>
                  <a:gd name="T2" fmla="*/ 92 w 155"/>
                  <a:gd name="T3" fmla="*/ 44 h 129"/>
                  <a:gd name="T4" fmla="*/ 88 w 155"/>
                  <a:gd name="T5" fmla="*/ 43 h 129"/>
                  <a:gd name="T6" fmla="*/ 83 w 155"/>
                  <a:gd name="T7" fmla="*/ 41 h 129"/>
                  <a:gd name="T8" fmla="*/ 77 w 155"/>
                  <a:gd name="T9" fmla="*/ 34 h 129"/>
                  <a:gd name="T10" fmla="*/ 66 w 155"/>
                  <a:gd name="T11" fmla="*/ 26 h 129"/>
                  <a:gd name="T12" fmla="*/ 55 w 155"/>
                  <a:gd name="T13" fmla="*/ 18 h 129"/>
                  <a:gd name="T14" fmla="*/ 48 w 155"/>
                  <a:gd name="T15" fmla="*/ 14 h 129"/>
                  <a:gd name="T16" fmla="*/ 47 w 155"/>
                  <a:gd name="T17" fmla="*/ 12 h 129"/>
                  <a:gd name="T18" fmla="*/ 39 w 155"/>
                  <a:gd name="T19" fmla="*/ 11 h 129"/>
                  <a:gd name="T20" fmla="*/ 25 w 155"/>
                  <a:gd name="T21" fmla="*/ 7 h 129"/>
                  <a:gd name="T22" fmla="*/ 11 w 155"/>
                  <a:gd name="T23" fmla="*/ 3 h 129"/>
                  <a:gd name="T24" fmla="*/ 0 w 155"/>
                  <a:gd name="T25" fmla="*/ 95 h 129"/>
                  <a:gd name="T26" fmla="*/ 34 w 155"/>
                  <a:gd name="T27" fmla="*/ 95 h 129"/>
                  <a:gd name="T28" fmla="*/ 39 w 155"/>
                  <a:gd name="T29" fmla="*/ 89 h 129"/>
                  <a:gd name="T30" fmla="*/ 45 w 155"/>
                  <a:gd name="T31" fmla="*/ 83 h 129"/>
                  <a:gd name="T32" fmla="*/ 56 w 155"/>
                  <a:gd name="T33" fmla="*/ 80 h 129"/>
                  <a:gd name="T34" fmla="*/ 94 w 155"/>
                  <a:gd name="T35" fmla="*/ 98 h 129"/>
                  <a:gd name="T36" fmla="*/ 125 w 155"/>
                  <a:gd name="T37" fmla="*/ 121 h 129"/>
                  <a:gd name="T38" fmla="*/ 154 w 155"/>
                  <a:gd name="T39" fmla="*/ 128 h 129"/>
                  <a:gd name="T40" fmla="*/ 155 w 155"/>
                  <a:gd name="T41" fmla="*/ 125 h 129"/>
                  <a:gd name="T42" fmla="*/ 154 w 155"/>
                  <a:gd name="T43" fmla="*/ 121 h 129"/>
                  <a:gd name="T44" fmla="*/ 151 w 155"/>
                  <a:gd name="T45" fmla="*/ 116 h 129"/>
                  <a:gd name="T46" fmla="*/ 143 w 155"/>
                  <a:gd name="T47" fmla="*/ 107 h 129"/>
                  <a:gd name="T48" fmla="*/ 131 w 155"/>
                  <a:gd name="T49" fmla="*/ 98 h 129"/>
                  <a:gd name="T50" fmla="*/ 120 w 155"/>
                  <a:gd name="T51" fmla="*/ 88 h 129"/>
                  <a:gd name="T52" fmla="*/ 116 w 155"/>
                  <a:gd name="T53" fmla="*/ 84 h 129"/>
                  <a:gd name="T54" fmla="*/ 116 w 155"/>
                  <a:gd name="T55" fmla="*/ 65 h 129"/>
                  <a:gd name="T56" fmla="*/ 110 w 155"/>
                  <a:gd name="T57" fmla="*/ 55 h 129"/>
                  <a:gd name="T58" fmla="*/ 105 w 155"/>
                  <a:gd name="T59" fmla="*/ 54 h 129"/>
                  <a:gd name="T60" fmla="*/ 99 w 155"/>
                  <a:gd name="T61" fmla="*/ 52 h 129"/>
                  <a:gd name="T62" fmla="*/ 95 w 155"/>
                  <a:gd name="T63" fmla="*/ 5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5" h="129">
                    <a:moveTo>
                      <a:pt x="95" y="48"/>
                    </a:moveTo>
                    <a:lnTo>
                      <a:pt x="95" y="47"/>
                    </a:lnTo>
                    <a:lnTo>
                      <a:pt x="94" y="45"/>
                    </a:lnTo>
                    <a:lnTo>
                      <a:pt x="92" y="44"/>
                    </a:lnTo>
                    <a:lnTo>
                      <a:pt x="89" y="44"/>
                    </a:lnTo>
                    <a:lnTo>
                      <a:pt x="88" y="43"/>
                    </a:lnTo>
                    <a:lnTo>
                      <a:pt x="85" y="41"/>
                    </a:lnTo>
                    <a:lnTo>
                      <a:pt x="83" y="41"/>
                    </a:lnTo>
                    <a:lnTo>
                      <a:pt x="81" y="40"/>
                    </a:lnTo>
                    <a:lnTo>
                      <a:pt x="77" y="34"/>
                    </a:lnTo>
                    <a:lnTo>
                      <a:pt x="72" y="30"/>
                    </a:lnTo>
                    <a:lnTo>
                      <a:pt x="66" y="26"/>
                    </a:lnTo>
                    <a:lnTo>
                      <a:pt x="61" y="22"/>
                    </a:lnTo>
                    <a:lnTo>
                      <a:pt x="55" y="18"/>
                    </a:lnTo>
                    <a:lnTo>
                      <a:pt x="51" y="15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7" y="12"/>
                    </a:lnTo>
                    <a:lnTo>
                      <a:pt x="43" y="11"/>
                    </a:lnTo>
                    <a:lnTo>
                      <a:pt x="39" y="11"/>
                    </a:lnTo>
                    <a:lnTo>
                      <a:pt x="32" y="10"/>
                    </a:lnTo>
                    <a:lnTo>
                      <a:pt x="25" y="7"/>
                    </a:lnTo>
                    <a:lnTo>
                      <a:pt x="18" y="6"/>
                    </a:lnTo>
                    <a:lnTo>
                      <a:pt x="11" y="3"/>
                    </a:lnTo>
                    <a:lnTo>
                      <a:pt x="6" y="0"/>
                    </a:lnTo>
                    <a:lnTo>
                      <a:pt x="0" y="95"/>
                    </a:lnTo>
                    <a:lnTo>
                      <a:pt x="17" y="103"/>
                    </a:lnTo>
                    <a:lnTo>
                      <a:pt x="34" y="95"/>
                    </a:lnTo>
                    <a:lnTo>
                      <a:pt x="36" y="92"/>
                    </a:lnTo>
                    <a:lnTo>
                      <a:pt x="39" y="89"/>
                    </a:lnTo>
                    <a:lnTo>
                      <a:pt x="41" y="85"/>
                    </a:lnTo>
                    <a:lnTo>
                      <a:pt x="45" y="83"/>
                    </a:lnTo>
                    <a:lnTo>
                      <a:pt x="51" y="80"/>
                    </a:lnTo>
                    <a:lnTo>
                      <a:pt x="56" y="80"/>
                    </a:lnTo>
                    <a:lnTo>
                      <a:pt x="63" y="83"/>
                    </a:lnTo>
                    <a:lnTo>
                      <a:pt x="94" y="98"/>
                    </a:lnTo>
                    <a:lnTo>
                      <a:pt x="105" y="113"/>
                    </a:lnTo>
                    <a:lnTo>
                      <a:pt x="125" y="121"/>
                    </a:lnTo>
                    <a:lnTo>
                      <a:pt x="153" y="129"/>
                    </a:lnTo>
                    <a:lnTo>
                      <a:pt x="154" y="128"/>
                    </a:lnTo>
                    <a:lnTo>
                      <a:pt x="154" y="127"/>
                    </a:lnTo>
                    <a:lnTo>
                      <a:pt x="155" y="125"/>
                    </a:lnTo>
                    <a:lnTo>
                      <a:pt x="155" y="124"/>
                    </a:lnTo>
                    <a:lnTo>
                      <a:pt x="154" y="121"/>
                    </a:lnTo>
                    <a:lnTo>
                      <a:pt x="154" y="118"/>
                    </a:lnTo>
                    <a:lnTo>
                      <a:pt x="151" y="116"/>
                    </a:lnTo>
                    <a:lnTo>
                      <a:pt x="147" y="113"/>
                    </a:lnTo>
                    <a:lnTo>
                      <a:pt x="143" y="107"/>
                    </a:lnTo>
                    <a:lnTo>
                      <a:pt x="136" y="103"/>
                    </a:lnTo>
                    <a:lnTo>
                      <a:pt x="131" y="98"/>
                    </a:lnTo>
                    <a:lnTo>
                      <a:pt x="125" y="92"/>
                    </a:lnTo>
                    <a:lnTo>
                      <a:pt x="120" y="88"/>
                    </a:lnTo>
                    <a:lnTo>
                      <a:pt x="117" y="85"/>
                    </a:lnTo>
                    <a:lnTo>
                      <a:pt x="116" y="84"/>
                    </a:lnTo>
                    <a:lnTo>
                      <a:pt x="98" y="72"/>
                    </a:lnTo>
                    <a:lnTo>
                      <a:pt x="116" y="65"/>
                    </a:lnTo>
                    <a:lnTo>
                      <a:pt x="111" y="55"/>
                    </a:lnTo>
                    <a:lnTo>
                      <a:pt x="110" y="55"/>
                    </a:lnTo>
                    <a:lnTo>
                      <a:pt x="109" y="55"/>
                    </a:lnTo>
                    <a:lnTo>
                      <a:pt x="105" y="54"/>
                    </a:lnTo>
                    <a:lnTo>
                      <a:pt x="102" y="54"/>
                    </a:lnTo>
                    <a:lnTo>
                      <a:pt x="99" y="52"/>
                    </a:lnTo>
                    <a:lnTo>
                      <a:pt x="96" y="51"/>
                    </a:lnTo>
                    <a:lnTo>
                      <a:pt x="95" y="50"/>
                    </a:lnTo>
                    <a:lnTo>
                      <a:pt x="95" y="4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5" name="Freeform 94"/>
              <p:cNvSpPr>
                <a:spLocks/>
              </p:cNvSpPr>
              <p:nvPr/>
            </p:nvSpPr>
            <p:spPr bwMode="auto">
              <a:xfrm>
                <a:off x="4703" y="2939"/>
                <a:ext cx="146" cy="128"/>
              </a:xfrm>
              <a:custGeom>
                <a:avLst/>
                <a:gdLst>
                  <a:gd name="T0" fmla="*/ 141 w 146"/>
                  <a:gd name="T1" fmla="*/ 30 h 128"/>
                  <a:gd name="T2" fmla="*/ 124 w 146"/>
                  <a:gd name="T3" fmla="*/ 22 h 128"/>
                  <a:gd name="T4" fmla="*/ 108 w 146"/>
                  <a:gd name="T5" fmla="*/ 17 h 128"/>
                  <a:gd name="T6" fmla="*/ 97 w 146"/>
                  <a:gd name="T7" fmla="*/ 17 h 128"/>
                  <a:gd name="T8" fmla="*/ 90 w 146"/>
                  <a:gd name="T9" fmla="*/ 21 h 128"/>
                  <a:gd name="T10" fmla="*/ 87 w 146"/>
                  <a:gd name="T11" fmla="*/ 25 h 128"/>
                  <a:gd name="T12" fmla="*/ 87 w 146"/>
                  <a:gd name="T13" fmla="*/ 32 h 128"/>
                  <a:gd name="T14" fmla="*/ 84 w 146"/>
                  <a:gd name="T15" fmla="*/ 41 h 128"/>
                  <a:gd name="T16" fmla="*/ 80 w 146"/>
                  <a:gd name="T17" fmla="*/ 48 h 128"/>
                  <a:gd name="T18" fmla="*/ 73 w 146"/>
                  <a:gd name="T19" fmla="*/ 51 h 128"/>
                  <a:gd name="T20" fmla="*/ 64 w 146"/>
                  <a:gd name="T21" fmla="*/ 51 h 128"/>
                  <a:gd name="T22" fmla="*/ 57 w 146"/>
                  <a:gd name="T23" fmla="*/ 48 h 128"/>
                  <a:gd name="T24" fmla="*/ 50 w 146"/>
                  <a:gd name="T25" fmla="*/ 43 h 128"/>
                  <a:gd name="T26" fmla="*/ 46 w 146"/>
                  <a:gd name="T27" fmla="*/ 36 h 128"/>
                  <a:gd name="T28" fmla="*/ 43 w 146"/>
                  <a:gd name="T29" fmla="*/ 28 h 128"/>
                  <a:gd name="T30" fmla="*/ 40 w 146"/>
                  <a:gd name="T31" fmla="*/ 21 h 128"/>
                  <a:gd name="T32" fmla="*/ 39 w 146"/>
                  <a:gd name="T33" fmla="*/ 17 h 128"/>
                  <a:gd name="T34" fmla="*/ 38 w 146"/>
                  <a:gd name="T35" fmla="*/ 14 h 128"/>
                  <a:gd name="T36" fmla="*/ 32 w 146"/>
                  <a:gd name="T37" fmla="*/ 8 h 128"/>
                  <a:gd name="T38" fmla="*/ 21 w 146"/>
                  <a:gd name="T39" fmla="*/ 1 h 128"/>
                  <a:gd name="T40" fmla="*/ 13 w 146"/>
                  <a:gd name="T41" fmla="*/ 0 h 128"/>
                  <a:gd name="T42" fmla="*/ 7 w 146"/>
                  <a:gd name="T43" fmla="*/ 3 h 128"/>
                  <a:gd name="T44" fmla="*/ 4 w 146"/>
                  <a:gd name="T45" fmla="*/ 6 h 128"/>
                  <a:gd name="T46" fmla="*/ 3 w 146"/>
                  <a:gd name="T47" fmla="*/ 8 h 128"/>
                  <a:gd name="T48" fmla="*/ 2 w 146"/>
                  <a:gd name="T49" fmla="*/ 11 h 128"/>
                  <a:gd name="T50" fmla="*/ 2 w 146"/>
                  <a:gd name="T51" fmla="*/ 15 h 128"/>
                  <a:gd name="T52" fmla="*/ 4 w 146"/>
                  <a:gd name="T53" fmla="*/ 19 h 128"/>
                  <a:gd name="T54" fmla="*/ 9 w 146"/>
                  <a:gd name="T55" fmla="*/ 23 h 128"/>
                  <a:gd name="T56" fmla="*/ 11 w 146"/>
                  <a:gd name="T57" fmla="*/ 29 h 128"/>
                  <a:gd name="T58" fmla="*/ 15 w 146"/>
                  <a:gd name="T59" fmla="*/ 36 h 128"/>
                  <a:gd name="T60" fmla="*/ 17 w 146"/>
                  <a:gd name="T61" fmla="*/ 43 h 128"/>
                  <a:gd name="T62" fmla="*/ 20 w 146"/>
                  <a:gd name="T63" fmla="*/ 51 h 128"/>
                  <a:gd name="T64" fmla="*/ 22 w 146"/>
                  <a:gd name="T65" fmla="*/ 56 h 128"/>
                  <a:gd name="T66" fmla="*/ 26 w 146"/>
                  <a:gd name="T67" fmla="*/ 59 h 128"/>
                  <a:gd name="T68" fmla="*/ 32 w 146"/>
                  <a:gd name="T69" fmla="*/ 59 h 128"/>
                  <a:gd name="T70" fmla="*/ 39 w 146"/>
                  <a:gd name="T71" fmla="*/ 58 h 128"/>
                  <a:gd name="T72" fmla="*/ 44 w 146"/>
                  <a:gd name="T73" fmla="*/ 58 h 128"/>
                  <a:gd name="T74" fmla="*/ 50 w 146"/>
                  <a:gd name="T75" fmla="*/ 61 h 128"/>
                  <a:gd name="T76" fmla="*/ 54 w 146"/>
                  <a:gd name="T77" fmla="*/ 63 h 128"/>
                  <a:gd name="T78" fmla="*/ 65 w 146"/>
                  <a:gd name="T79" fmla="*/ 66 h 128"/>
                  <a:gd name="T80" fmla="*/ 77 w 146"/>
                  <a:gd name="T81" fmla="*/ 67 h 128"/>
                  <a:gd name="T82" fmla="*/ 86 w 146"/>
                  <a:gd name="T83" fmla="*/ 69 h 128"/>
                  <a:gd name="T84" fmla="*/ 106 w 146"/>
                  <a:gd name="T85" fmla="*/ 85 h 128"/>
                  <a:gd name="T86" fmla="*/ 135 w 146"/>
                  <a:gd name="T87" fmla="*/ 125 h 128"/>
                  <a:gd name="T88" fmla="*/ 146 w 146"/>
                  <a:gd name="T89" fmla="*/ 3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6" h="128">
                    <a:moveTo>
                      <a:pt x="146" y="33"/>
                    </a:moveTo>
                    <a:lnTo>
                      <a:pt x="141" y="30"/>
                    </a:lnTo>
                    <a:lnTo>
                      <a:pt x="132" y="26"/>
                    </a:lnTo>
                    <a:lnTo>
                      <a:pt x="124" y="22"/>
                    </a:lnTo>
                    <a:lnTo>
                      <a:pt x="116" y="19"/>
                    </a:lnTo>
                    <a:lnTo>
                      <a:pt x="108" y="17"/>
                    </a:lnTo>
                    <a:lnTo>
                      <a:pt x="101" y="17"/>
                    </a:lnTo>
                    <a:lnTo>
                      <a:pt x="97" y="17"/>
                    </a:lnTo>
                    <a:lnTo>
                      <a:pt x="93" y="18"/>
                    </a:lnTo>
                    <a:lnTo>
                      <a:pt x="90" y="21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8"/>
                    </a:lnTo>
                    <a:lnTo>
                      <a:pt x="87" y="32"/>
                    </a:lnTo>
                    <a:lnTo>
                      <a:pt x="86" y="36"/>
                    </a:lnTo>
                    <a:lnTo>
                      <a:pt x="84" y="41"/>
                    </a:lnTo>
                    <a:lnTo>
                      <a:pt x="83" y="45"/>
                    </a:lnTo>
                    <a:lnTo>
                      <a:pt x="80" y="48"/>
                    </a:lnTo>
                    <a:lnTo>
                      <a:pt x="77" y="51"/>
                    </a:lnTo>
                    <a:lnTo>
                      <a:pt x="73" y="51"/>
                    </a:lnTo>
                    <a:lnTo>
                      <a:pt x="68" y="51"/>
                    </a:lnTo>
                    <a:lnTo>
                      <a:pt x="64" y="51"/>
                    </a:lnTo>
                    <a:lnTo>
                      <a:pt x="60" y="50"/>
                    </a:lnTo>
                    <a:lnTo>
                      <a:pt x="57" y="48"/>
                    </a:lnTo>
                    <a:lnTo>
                      <a:pt x="53" y="45"/>
                    </a:lnTo>
                    <a:lnTo>
                      <a:pt x="50" y="43"/>
                    </a:lnTo>
                    <a:lnTo>
                      <a:pt x="49" y="40"/>
                    </a:lnTo>
                    <a:lnTo>
                      <a:pt x="46" y="36"/>
                    </a:lnTo>
                    <a:lnTo>
                      <a:pt x="44" y="32"/>
                    </a:lnTo>
                    <a:lnTo>
                      <a:pt x="43" y="28"/>
                    </a:lnTo>
                    <a:lnTo>
                      <a:pt x="42" y="23"/>
                    </a:lnTo>
                    <a:lnTo>
                      <a:pt x="40" y="21"/>
                    </a:lnTo>
                    <a:lnTo>
                      <a:pt x="39" y="18"/>
                    </a:lnTo>
                    <a:lnTo>
                      <a:pt x="39" y="17"/>
                    </a:lnTo>
                    <a:lnTo>
                      <a:pt x="39" y="15"/>
                    </a:lnTo>
                    <a:lnTo>
                      <a:pt x="38" y="14"/>
                    </a:lnTo>
                    <a:lnTo>
                      <a:pt x="35" y="11"/>
                    </a:lnTo>
                    <a:lnTo>
                      <a:pt x="32" y="8"/>
                    </a:lnTo>
                    <a:lnTo>
                      <a:pt x="26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3" y="17"/>
                    </a:lnTo>
                    <a:lnTo>
                      <a:pt x="4" y="19"/>
                    </a:lnTo>
                    <a:lnTo>
                      <a:pt x="7" y="21"/>
                    </a:lnTo>
                    <a:lnTo>
                      <a:pt x="9" y="23"/>
                    </a:lnTo>
                    <a:lnTo>
                      <a:pt x="10" y="26"/>
                    </a:lnTo>
                    <a:lnTo>
                      <a:pt x="11" y="29"/>
                    </a:lnTo>
                    <a:lnTo>
                      <a:pt x="14" y="33"/>
                    </a:lnTo>
                    <a:lnTo>
                      <a:pt x="15" y="36"/>
                    </a:lnTo>
                    <a:lnTo>
                      <a:pt x="15" y="40"/>
                    </a:lnTo>
                    <a:lnTo>
                      <a:pt x="17" y="43"/>
                    </a:lnTo>
                    <a:lnTo>
                      <a:pt x="18" y="47"/>
                    </a:lnTo>
                    <a:lnTo>
                      <a:pt x="20" y="51"/>
                    </a:lnTo>
                    <a:lnTo>
                      <a:pt x="20" y="54"/>
                    </a:lnTo>
                    <a:lnTo>
                      <a:pt x="22" y="56"/>
                    </a:lnTo>
                    <a:lnTo>
                      <a:pt x="24" y="59"/>
                    </a:lnTo>
                    <a:lnTo>
                      <a:pt x="26" y="59"/>
                    </a:lnTo>
                    <a:lnTo>
                      <a:pt x="29" y="59"/>
                    </a:lnTo>
                    <a:lnTo>
                      <a:pt x="32" y="59"/>
                    </a:lnTo>
                    <a:lnTo>
                      <a:pt x="35" y="58"/>
                    </a:lnTo>
                    <a:lnTo>
                      <a:pt x="39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7" y="59"/>
                    </a:lnTo>
                    <a:lnTo>
                      <a:pt x="50" y="61"/>
                    </a:lnTo>
                    <a:lnTo>
                      <a:pt x="51" y="62"/>
                    </a:lnTo>
                    <a:lnTo>
                      <a:pt x="54" y="63"/>
                    </a:lnTo>
                    <a:lnTo>
                      <a:pt x="60" y="65"/>
                    </a:lnTo>
                    <a:lnTo>
                      <a:pt x="65" y="66"/>
                    </a:lnTo>
                    <a:lnTo>
                      <a:pt x="71" y="67"/>
                    </a:lnTo>
                    <a:lnTo>
                      <a:pt x="77" y="67"/>
                    </a:lnTo>
                    <a:lnTo>
                      <a:pt x="82" y="69"/>
                    </a:lnTo>
                    <a:lnTo>
                      <a:pt x="86" y="69"/>
                    </a:lnTo>
                    <a:lnTo>
                      <a:pt x="87" y="69"/>
                    </a:lnTo>
                    <a:lnTo>
                      <a:pt x="106" y="85"/>
                    </a:lnTo>
                    <a:lnTo>
                      <a:pt x="117" y="107"/>
                    </a:lnTo>
                    <a:lnTo>
                      <a:pt x="135" y="125"/>
                    </a:lnTo>
                    <a:lnTo>
                      <a:pt x="142" y="128"/>
                    </a:lnTo>
                    <a:lnTo>
                      <a:pt x="146" y="3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6" name="Freeform 95"/>
              <p:cNvSpPr>
                <a:spLocks/>
              </p:cNvSpPr>
              <p:nvPr/>
            </p:nvSpPr>
            <p:spPr bwMode="auto">
              <a:xfrm>
                <a:off x="4703" y="2939"/>
                <a:ext cx="146" cy="128"/>
              </a:xfrm>
              <a:custGeom>
                <a:avLst/>
                <a:gdLst>
                  <a:gd name="T0" fmla="*/ 141 w 146"/>
                  <a:gd name="T1" fmla="*/ 30 h 128"/>
                  <a:gd name="T2" fmla="*/ 124 w 146"/>
                  <a:gd name="T3" fmla="*/ 22 h 128"/>
                  <a:gd name="T4" fmla="*/ 108 w 146"/>
                  <a:gd name="T5" fmla="*/ 17 h 128"/>
                  <a:gd name="T6" fmla="*/ 97 w 146"/>
                  <a:gd name="T7" fmla="*/ 17 h 128"/>
                  <a:gd name="T8" fmla="*/ 90 w 146"/>
                  <a:gd name="T9" fmla="*/ 21 h 128"/>
                  <a:gd name="T10" fmla="*/ 87 w 146"/>
                  <a:gd name="T11" fmla="*/ 25 h 128"/>
                  <a:gd name="T12" fmla="*/ 87 w 146"/>
                  <a:gd name="T13" fmla="*/ 32 h 128"/>
                  <a:gd name="T14" fmla="*/ 84 w 146"/>
                  <a:gd name="T15" fmla="*/ 41 h 128"/>
                  <a:gd name="T16" fmla="*/ 80 w 146"/>
                  <a:gd name="T17" fmla="*/ 48 h 128"/>
                  <a:gd name="T18" fmla="*/ 73 w 146"/>
                  <a:gd name="T19" fmla="*/ 51 h 128"/>
                  <a:gd name="T20" fmla="*/ 64 w 146"/>
                  <a:gd name="T21" fmla="*/ 51 h 128"/>
                  <a:gd name="T22" fmla="*/ 57 w 146"/>
                  <a:gd name="T23" fmla="*/ 48 h 128"/>
                  <a:gd name="T24" fmla="*/ 50 w 146"/>
                  <a:gd name="T25" fmla="*/ 43 h 128"/>
                  <a:gd name="T26" fmla="*/ 46 w 146"/>
                  <a:gd name="T27" fmla="*/ 36 h 128"/>
                  <a:gd name="T28" fmla="*/ 43 w 146"/>
                  <a:gd name="T29" fmla="*/ 28 h 128"/>
                  <a:gd name="T30" fmla="*/ 40 w 146"/>
                  <a:gd name="T31" fmla="*/ 21 h 128"/>
                  <a:gd name="T32" fmla="*/ 39 w 146"/>
                  <a:gd name="T33" fmla="*/ 17 h 128"/>
                  <a:gd name="T34" fmla="*/ 38 w 146"/>
                  <a:gd name="T35" fmla="*/ 14 h 128"/>
                  <a:gd name="T36" fmla="*/ 32 w 146"/>
                  <a:gd name="T37" fmla="*/ 8 h 128"/>
                  <a:gd name="T38" fmla="*/ 21 w 146"/>
                  <a:gd name="T39" fmla="*/ 1 h 128"/>
                  <a:gd name="T40" fmla="*/ 13 w 146"/>
                  <a:gd name="T41" fmla="*/ 0 h 128"/>
                  <a:gd name="T42" fmla="*/ 7 w 146"/>
                  <a:gd name="T43" fmla="*/ 3 h 128"/>
                  <a:gd name="T44" fmla="*/ 3 w 146"/>
                  <a:gd name="T45" fmla="*/ 7 h 128"/>
                  <a:gd name="T46" fmla="*/ 2 w 146"/>
                  <a:gd name="T47" fmla="*/ 10 h 128"/>
                  <a:gd name="T48" fmla="*/ 0 w 146"/>
                  <a:gd name="T49" fmla="*/ 12 h 128"/>
                  <a:gd name="T50" fmla="*/ 3 w 146"/>
                  <a:gd name="T51" fmla="*/ 17 h 128"/>
                  <a:gd name="T52" fmla="*/ 7 w 146"/>
                  <a:gd name="T53" fmla="*/ 21 h 128"/>
                  <a:gd name="T54" fmla="*/ 10 w 146"/>
                  <a:gd name="T55" fmla="*/ 26 h 128"/>
                  <a:gd name="T56" fmla="*/ 14 w 146"/>
                  <a:gd name="T57" fmla="*/ 33 h 128"/>
                  <a:gd name="T58" fmla="*/ 15 w 146"/>
                  <a:gd name="T59" fmla="*/ 40 h 128"/>
                  <a:gd name="T60" fmla="*/ 18 w 146"/>
                  <a:gd name="T61" fmla="*/ 47 h 128"/>
                  <a:gd name="T62" fmla="*/ 20 w 146"/>
                  <a:gd name="T63" fmla="*/ 54 h 128"/>
                  <a:gd name="T64" fmla="*/ 24 w 146"/>
                  <a:gd name="T65" fmla="*/ 59 h 128"/>
                  <a:gd name="T66" fmla="*/ 29 w 146"/>
                  <a:gd name="T67" fmla="*/ 59 h 128"/>
                  <a:gd name="T68" fmla="*/ 35 w 146"/>
                  <a:gd name="T69" fmla="*/ 58 h 128"/>
                  <a:gd name="T70" fmla="*/ 42 w 146"/>
                  <a:gd name="T71" fmla="*/ 58 h 128"/>
                  <a:gd name="T72" fmla="*/ 47 w 146"/>
                  <a:gd name="T73" fmla="*/ 59 h 128"/>
                  <a:gd name="T74" fmla="*/ 51 w 146"/>
                  <a:gd name="T75" fmla="*/ 62 h 128"/>
                  <a:gd name="T76" fmla="*/ 60 w 146"/>
                  <a:gd name="T77" fmla="*/ 65 h 128"/>
                  <a:gd name="T78" fmla="*/ 71 w 146"/>
                  <a:gd name="T79" fmla="*/ 67 h 128"/>
                  <a:gd name="T80" fmla="*/ 82 w 146"/>
                  <a:gd name="T81" fmla="*/ 69 h 128"/>
                  <a:gd name="T82" fmla="*/ 87 w 146"/>
                  <a:gd name="T83" fmla="*/ 69 h 128"/>
                  <a:gd name="T84" fmla="*/ 117 w 146"/>
                  <a:gd name="T85" fmla="*/ 107 h 128"/>
                  <a:gd name="T86" fmla="*/ 142 w 146"/>
                  <a:gd name="T87" fmla="*/ 12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6" h="128">
                    <a:moveTo>
                      <a:pt x="146" y="33"/>
                    </a:moveTo>
                    <a:lnTo>
                      <a:pt x="141" y="30"/>
                    </a:lnTo>
                    <a:lnTo>
                      <a:pt x="132" y="26"/>
                    </a:lnTo>
                    <a:lnTo>
                      <a:pt x="124" y="22"/>
                    </a:lnTo>
                    <a:lnTo>
                      <a:pt x="116" y="19"/>
                    </a:lnTo>
                    <a:lnTo>
                      <a:pt x="108" y="17"/>
                    </a:lnTo>
                    <a:lnTo>
                      <a:pt x="101" y="17"/>
                    </a:lnTo>
                    <a:lnTo>
                      <a:pt x="97" y="17"/>
                    </a:lnTo>
                    <a:lnTo>
                      <a:pt x="93" y="18"/>
                    </a:lnTo>
                    <a:lnTo>
                      <a:pt x="90" y="21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8"/>
                    </a:lnTo>
                    <a:lnTo>
                      <a:pt x="87" y="32"/>
                    </a:lnTo>
                    <a:lnTo>
                      <a:pt x="86" y="36"/>
                    </a:lnTo>
                    <a:lnTo>
                      <a:pt x="84" y="41"/>
                    </a:lnTo>
                    <a:lnTo>
                      <a:pt x="83" y="45"/>
                    </a:lnTo>
                    <a:lnTo>
                      <a:pt x="80" y="48"/>
                    </a:lnTo>
                    <a:lnTo>
                      <a:pt x="77" y="51"/>
                    </a:lnTo>
                    <a:lnTo>
                      <a:pt x="73" y="51"/>
                    </a:lnTo>
                    <a:lnTo>
                      <a:pt x="68" y="51"/>
                    </a:lnTo>
                    <a:lnTo>
                      <a:pt x="64" y="51"/>
                    </a:lnTo>
                    <a:lnTo>
                      <a:pt x="60" y="50"/>
                    </a:lnTo>
                    <a:lnTo>
                      <a:pt x="57" y="48"/>
                    </a:lnTo>
                    <a:lnTo>
                      <a:pt x="53" y="45"/>
                    </a:lnTo>
                    <a:lnTo>
                      <a:pt x="50" y="43"/>
                    </a:lnTo>
                    <a:lnTo>
                      <a:pt x="49" y="40"/>
                    </a:lnTo>
                    <a:lnTo>
                      <a:pt x="46" y="36"/>
                    </a:lnTo>
                    <a:lnTo>
                      <a:pt x="44" y="32"/>
                    </a:lnTo>
                    <a:lnTo>
                      <a:pt x="43" y="28"/>
                    </a:lnTo>
                    <a:lnTo>
                      <a:pt x="42" y="23"/>
                    </a:lnTo>
                    <a:lnTo>
                      <a:pt x="40" y="21"/>
                    </a:lnTo>
                    <a:lnTo>
                      <a:pt x="39" y="18"/>
                    </a:lnTo>
                    <a:lnTo>
                      <a:pt x="39" y="17"/>
                    </a:lnTo>
                    <a:lnTo>
                      <a:pt x="39" y="15"/>
                    </a:lnTo>
                    <a:lnTo>
                      <a:pt x="38" y="14"/>
                    </a:lnTo>
                    <a:lnTo>
                      <a:pt x="35" y="11"/>
                    </a:lnTo>
                    <a:lnTo>
                      <a:pt x="32" y="8"/>
                    </a:lnTo>
                    <a:lnTo>
                      <a:pt x="26" y="4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2" y="10"/>
                    </a:lnTo>
                    <a:lnTo>
                      <a:pt x="2" y="11"/>
                    </a:lnTo>
                    <a:lnTo>
                      <a:pt x="0" y="12"/>
                    </a:lnTo>
                    <a:lnTo>
                      <a:pt x="2" y="15"/>
                    </a:lnTo>
                    <a:lnTo>
                      <a:pt x="3" y="17"/>
                    </a:lnTo>
                    <a:lnTo>
                      <a:pt x="4" y="19"/>
                    </a:lnTo>
                    <a:lnTo>
                      <a:pt x="7" y="21"/>
                    </a:lnTo>
                    <a:lnTo>
                      <a:pt x="9" y="23"/>
                    </a:lnTo>
                    <a:lnTo>
                      <a:pt x="10" y="26"/>
                    </a:lnTo>
                    <a:lnTo>
                      <a:pt x="11" y="29"/>
                    </a:lnTo>
                    <a:lnTo>
                      <a:pt x="14" y="33"/>
                    </a:lnTo>
                    <a:lnTo>
                      <a:pt x="15" y="36"/>
                    </a:lnTo>
                    <a:lnTo>
                      <a:pt x="15" y="40"/>
                    </a:lnTo>
                    <a:lnTo>
                      <a:pt x="17" y="43"/>
                    </a:lnTo>
                    <a:lnTo>
                      <a:pt x="18" y="47"/>
                    </a:lnTo>
                    <a:lnTo>
                      <a:pt x="20" y="51"/>
                    </a:lnTo>
                    <a:lnTo>
                      <a:pt x="20" y="54"/>
                    </a:lnTo>
                    <a:lnTo>
                      <a:pt x="22" y="56"/>
                    </a:lnTo>
                    <a:lnTo>
                      <a:pt x="24" y="59"/>
                    </a:lnTo>
                    <a:lnTo>
                      <a:pt x="26" y="59"/>
                    </a:lnTo>
                    <a:lnTo>
                      <a:pt x="29" y="59"/>
                    </a:lnTo>
                    <a:lnTo>
                      <a:pt x="32" y="59"/>
                    </a:lnTo>
                    <a:lnTo>
                      <a:pt x="35" y="58"/>
                    </a:lnTo>
                    <a:lnTo>
                      <a:pt x="39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7" y="59"/>
                    </a:lnTo>
                    <a:lnTo>
                      <a:pt x="50" y="61"/>
                    </a:lnTo>
                    <a:lnTo>
                      <a:pt x="51" y="62"/>
                    </a:lnTo>
                    <a:lnTo>
                      <a:pt x="54" y="63"/>
                    </a:lnTo>
                    <a:lnTo>
                      <a:pt x="60" y="65"/>
                    </a:lnTo>
                    <a:lnTo>
                      <a:pt x="65" y="66"/>
                    </a:lnTo>
                    <a:lnTo>
                      <a:pt x="71" y="67"/>
                    </a:lnTo>
                    <a:lnTo>
                      <a:pt x="77" y="67"/>
                    </a:lnTo>
                    <a:lnTo>
                      <a:pt x="82" y="69"/>
                    </a:lnTo>
                    <a:lnTo>
                      <a:pt x="86" y="69"/>
                    </a:lnTo>
                    <a:lnTo>
                      <a:pt x="87" y="69"/>
                    </a:lnTo>
                    <a:lnTo>
                      <a:pt x="106" y="85"/>
                    </a:lnTo>
                    <a:lnTo>
                      <a:pt x="117" y="107"/>
                    </a:lnTo>
                    <a:lnTo>
                      <a:pt x="135" y="125"/>
                    </a:lnTo>
                    <a:lnTo>
                      <a:pt x="142" y="128"/>
                    </a:lnTo>
                    <a:lnTo>
                      <a:pt x="146" y="3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7" name="Freeform 96"/>
              <p:cNvSpPr>
                <a:spLocks/>
              </p:cNvSpPr>
              <p:nvPr/>
            </p:nvSpPr>
            <p:spPr bwMode="auto">
              <a:xfrm>
                <a:off x="4432" y="3151"/>
                <a:ext cx="606" cy="485"/>
              </a:xfrm>
              <a:custGeom>
                <a:avLst/>
                <a:gdLst>
                  <a:gd name="T0" fmla="*/ 124 w 606"/>
                  <a:gd name="T1" fmla="*/ 139 h 485"/>
                  <a:gd name="T2" fmla="*/ 137 w 606"/>
                  <a:gd name="T3" fmla="*/ 106 h 485"/>
                  <a:gd name="T4" fmla="*/ 154 w 606"/>
                  <a:gd name="T5" fmla="*/ 92 h 485"/>
                  <a:gd name="T6" fmla="*/ 174 w 606"/>
                  <a:gd name="T7" fmla="*/ 67 h 485"/>
                  <a:gd name="T8" fmla="*/ 204 w 606"/>
                  <a:gd name="T9" fmla="*/ 57 h 485"/>
                  <a:gd name="T10" fmla="*/ 223 w 606"/>
                  <a:gd name="T11" fmla="*/ 70 h 485"/>
                  <a:gd name="T12" fmla="*/ 237 w 606"/>
                  <a:gd name="T13" fmla="*/ 71 h 485"/>
                  <a:gd name="T14" fmla="*/ 237 w 606"/>
                  <a:gd name="T15" fmla="*/ 57 h 485"/>
                  <a:gd name="T16" fmla="*/ 242 w 606"/>
                  <a:gd name="T17" fmla="*/ 38 h 485"/>
                  <a:gd name="T18" fmla="*/ 271 w 606"/>
                  <a:gd name="T19" fmla="*/ 23 h 485"/>
                  <a:gd name="T20" fmla="*/ 277 w 606"/>
                  <a:gd name="T21" fmla="*/ 13 h 485"/>
                  <a:gd name="T22" fmla="*/ 273 w 606"/>
                  <a:gd name="T23" fmla="*/ 1 h 485"/>
                  <a:gd name="T24" fmla="*/ 295 w 606"/>
                  <a:gd name="T25" fmla="*/ 7 h 485"/>
                  <a:gd name="T26" fmla="*/ 296 w 606"/>
                  <a:gd name="T27" fmla="*/ 13 h 485"/>
                  <a:gd name="T28" fmla="*/ 303 w 606"/>
                  <a:gd name="T29" fmla="*/ 11 h 485"/>
                  <a:gd name="T30" fmla="*/ 310 w 606"/>
                  <a:gd name="T31" fmla="*/ 5 h 485"/>
                  <a:gd name="T32" fmla="*/ 320 w 606"/>
                  <a:gd name="T33" fmla="*/ 22 h 485"/>
                  <a:gd name="T34" fmla="*/ 353 w 606"/>
                  <a:gd name="T35" fmla="*/ 19 h 485"/>
                  <a:gd name="T36" fmla="*/ 359 w 606"/>
                  <a:gd name="T37" fmla="*/ 37 h 485"/>
                  <a:gd name="T38" fmla="*/ 342 w 606"/>
                  <a:gd name="T39" fmla="*/ 59 h 485"/>
                  <a:gd name="T40" fmla="*/ 386 w 606"/>
                  <a:gd name="T41" fmla="*/ 93 h 485"/>
                  <a:gd name="T42" fmla="*/ 405 w 606"/>
                  <a:gd name="T43" fmla="*/ 99 h 485"/>
                  <a:gd name="T44" fmla="*/ 423 w 606"/>
                  <a:gd name="T45" fmla="*/ 56 h 485"/>
                  <a:gd name="T46" fmla="*/ 428 w 606"/>
                  <a:gd name="T47" fmla="*/ 2 h 485"/>
                  <a:gd name="T48" fmla="*/ 450 w 606"/>
                  <a:gd name="T49" fmla="*/ 20 h 485"/>
                  <a:gd name="T50" fmla="*/ 449 w 606"/>
                  <a:gd name="T51" fmla="*/ 44 h 485"/>
                  <a:gd name="T52" fmla="*/ 468 w 606"/>
                  <a:gd name="T53" fmla="*/ 52 h 485"/>
                  <a:gd name="T54" fmla="*/ 482 w 606"/>
                  <a:gd name="T55" fmla="*/ 78 h 485"/>
                  <a:gd name="T56" fmla="*/ 493 w 606"/>
                  <a:gd name="T57" fmla="*/ 97 h 485"/>
                  <a:gd name="T58" fmla="*/ 512 w 606"/>
                  <a:gd name="T59" fmla="*/ 129 h 485"/>
                  <a:gd name="T60" fmla="*/ 584 w 606"/>
                  <a:gd name="T61" fmla="*/ 206 h 485"/>
                  <a:gd name="T62" fmla="*/ 604 w 606"/>
                  <a:gd name="T63" fmla="*/ 271 h 485"/>
                  <a:gd name="T64" fmla="*/ 604 w 606"/>
                  <a:gd name="T65" fmla="*/ 327 h 485"/>
                  <a:gd name="T66" fmla="*/ 571 w 606"/>
                  <a:gd name="T67" fmla="*/ 372 h 485"/>
                  <a:gd name="T68" fmla="*/ 552 w 606"/>
                  <a:gd name="T69" fmla="*/ 404 h 485"/>
                  <a:gd name="T70" fmla="*/ 551 w 606"/>
                  <a:gd name="T71" fmla="*/ 430 h 485"/>
                  <a:gd name="T72" fmla="*/ 542 w 606"/>
                  <a:gd name="T73" fmla="*/ 459 h 485"/>
                  <a:gd name="T74" fmla="*/ 496 w 606"/>
                  <a:gd name="T75" fmla="*/ 485 h 485"/>
                  <a:gd name="T76" fmla="*/ 472 w 606"/>
                  <a:gd name="T77" fmla="*/ 467 h 485"/>
                  <a:gd name="T78" fmla="*/ 454 w 606"/>
                  <a:gd name="T79" fmla="*/ 471 h 485"/>
                  <a:gd name="T80" fmla="*/ 412 w 606"/>
                  <a:gd name="T81" fmla="*/ 466 h 485"/>
                  <a:gd name="T82" fmla="*/ 394 w 606"/>
                  <a:gd name="T83" fmla="*/ 420 h 485"/>
                  <a:gd name="T84" fmla="*/ 303 w 606"/>
                  <a:gd name="T85" fmla="*/ 360 h 485"/>
                  <a:gd name="T86" fmla="*/ 234 w 606"/>
                  <a:gd name="T87" fmla="*/ 353 h 485"/>
                  <a:gd name="T88" fmla="*/ 160 w 606"/>
                  <a:gd name="T89" fmla="*/ 391 h 485"/>
                  <a:gd name="T90" fmla="*/ 137 w 606"/>
                  <a:gd name="T91" fmla="*/ 404 h 485"/>
                  <a:gd name="T92" fmla="*/ 94 w 606"/>
                  <a:gd name="T93" fmla="*/ 402 h 485"/>
                  <a:gd name="T94" fmla="*/ 79 w 606"/>
                  <a:gd name="T95" fmla="*/ 416 h 485"/>
                  <a:gd name="T96" fmla="*/ 54 w 606"/>
                  <a:gd name="T97" fmla="*/ 419 h 485"/>
                  <a:gd name="T98" fmla="*/ 39 w 606"/>
                  <a:gd name="T99" fmla="*/ 405 h 485"/>
                  <a:gd name="T100" fmla="*/ 25 w 606"/>
                  <a:gd name="T101" fmla="*/ 408 h 485"/>
                  <a:gd name="T102" fmla="*/ 36 w 606"/>
                  <a:gd name="T103" fmla="*/ 356 h 485"/>
                  <a:gd name="T104" fmla="*/ 24 w 606"/>
                  <a:gd name="T105" fmla="*/ 327 h 485"/>
                  <a:gd name="T106" fmla="*/ 9 w 606"/>
                  <a:gd name="T107" fmla="*/ 257 h 485"/>
                  <a:gd name="T108" fmla="*/ 6 w 606"/>
                  <a:gd name="T109" fmla="*/ 228 h 485"/>
                  <a:gd name="T110" fmla="*/ 10 w 606"/>
                  <a:gd name="T111" fmla="*/ 188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06" h="485">
                    <a:moveTo>
                      <a:pt x="36" y="163"/>
                    </a:moveTo>
                    <a:lnTo>
                      <a:pt x="72" y="162"/>
                    </a:lnTo>
                    <a:lnTo>
                      <a:pt x="109" y="155"/>
                    </a:lnTo>
                    <a:lnTo>
                      <a:pt x="110" y="155"/>
                    </a:lnTo>
                    <a:lnTo>
                      <a:pt x="113" y="152"/>
                    </a:lnTo>
                    <a:lnTo>
                      <a:pt x="116" y="148"/>
                    </a:lnTo>
                    <a:lnTo>
                      <a:pt x="120" y="143"/>
                    </a:lnTo>
                    <a:lnTo>
                      <a:pt x="124" y="139"/>
                    </a:lnTo>
                    <a:lnTo>
                      <a:pt x="128" y="133"/>
                    </a:lnTo>
                    <a:lnTo>
                      <a:pt x="130" y="129"/>
                    </a:lnTo>
                    <a:lnTo>
                      <a:pt x="131" y="125"/>
                    </a:lnTo>
                    <a:lnTo>
                      <a:pt x="131" y="121"/>
                    </a:lnTo>
                    <a:lnTo>
                      <a:pt x="131" y="117"/>
                    </a:lnTo>
                    <a:lnTo>
                      <a:pt x="132" y="112"/>
                    </a:lnTo>
                    <a:lnTo>
                      <a:pt x="134" y="110"/>
                    </a:lnTo>
                    <a:lnTo>
                      <a:pt x="137" y="106"/>
                    </a:lnTo>
                    <a:lnTo>
                      <a:pt x="139" y="103"/>
                    </a:lnTo>
                    <a:lnTo>
                      <a:pt x="143" y="101"/>
                    </a:lnTo>
                    <a:lnTo>
                      <a:pt x="148" y="101"/>
                    </a:lnTo>
                    <a:lnTo>
                      <a:pt x="153" y="101"/>
                    </a:lnTo>
                    <a:lnTo>
                      <a:pt x="153" y="101"/>
                    </a:lnTo>
                    <a:lnTo>
                      <a:pt x="153" y="99"/>
                    </a:lnTo>
                    <a:lnTo>
                      <a:pt x="153" y="96"/>
                    </a:lnTo>
                    <a:lnTo>
                      <a:pt x="154" y="92"/>
                    </a:lnTo>
                    <a:lnTo>
                      <a:pt x="154" y="89"/>
                    </a:lnTo>
                    <a:lnTo>
                      <a:pt x="157" y="86"/>
                    </a:lnTo>
                    <a:lnTo>
                      <a:pt x="160" y="84"/>
                    </a:lnTo>
                    <a:lnTo>
                      <a:pt x="164" y="82"/>
                    </a:lnTo>
                    <a:lnTo>
                      <a:pt x="164" y="81"/>
                    </a:lnTo>
                    <a:lnTo>
                      <a:pt x="167" y="78"/>
                    </a:lnTo>
                    <a:lnTo>
                      <a:pt x="170" y="73"/>
                    </a:lnTo>
                    <a:lnTo>
                      <a:pt x="174" y="67"/>
                    </a:lnTo>
                    <a:lnTo>
                      <a:pt x="179" y="62"/>
                    </a:lnTo>
                    <a:lnTo>
                      <a:pt x="186" y="57"/>
                    </a:lnTo>
                    <a:lnTo>
                      <a:pt x="190" y="56"/>
                    </a:lnTo>
                    <a:lnTo>
                      <a:pt x="194" y="56"/>
                    </a:lnTo>
                    <a:lnTo>
                      <a:pt x="197" y="56"/>
                    </a:lnTo>
                    <a:lnTo>
                      <a:pt x="201" y="57"/>
                    </a:lnTo>
                    <a:lnTo>
                      <a:pt x="203" y="57"/>
                    </a:lnTo>
                    <a:lnTo>
                      <a:pt x="204" y="57"/>
                    </a:lnTo>
                    <a:lnTo>
                      <a:pt x="205" y="59"/>
                    </a:lnTo>
                    <a:lnTo>
                      <a:pt x="208" y="60"/>
                    </a:lnTo>
                    <a:lnTo>
                      <a:pt x="211" y="62"/>
                    </a:lnTo>
                    <a:lnTo>
                      <a:pt x="214" y="63"/>
                    </a:lnTo>
                    <a:lnTo>
                      <a:pt x="216" y="64"/>
                    </a:lnTo>
                    <a:lnTo>
                      <a:pt x="218" y="66"/>
                    </a:lnTo>
                    <a:lnTo>
                      <a:pt x="220" y="68"/>
                    </a:lnTo>
                    <a:lnTo>
                      <a:pt x="223" y="70"/>
                    </a:lnTo>
                    <a:lnTo>
                      <a:pt x="226" y="70"/>
                    </a:lnTo>
                    <a:lnTo>
                      <a:pt x="229" y="71"/>
                    </a:lnTo>
                    <a:lnTo>
                      <a:pt x="231" y="71"/>
                    </a:lnTo>
                    <a:lnTo>
                      <a:pt x="233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6" y="73"/>
                    </a:lnTo>
                    <a:lnTo>
                      <a:pt x="237" y="71"/>
                    </a:lnTo>
                    <a:lnTo>
                      <a:pt x="238" y="70"/>
                    </a:lnTo>
                    <a:lnTo>
                      <a:pt x="240" y="68"/>
                    </a:lnTo>
                    <a:lnTo>
                      <a:pt x="241" y="67"/>
                    </a:lnTo>
                    <a:lnTo>
                      <a:pt x="242" y="66"/>
                    </a:lnTo>
                    <a:lnTo>
                      <a:pt x="242" y="63"/>
                    </a:lnTo>
                    <a:lnTo>
                      <a:pt x="241" y="62"/>
                    </a:lnTo>
                    <a:lnTo>
                      <a:pt x="238" y="60"/>
                    </a:lnTo>
                    <a:lnTo>
                      <a:pt x="237" y="57"/>
                    </a:lnTo>
                    <a:lnTo>
                      <a:pt x="236" y="56"/>
                    </a:lnTo>
                    <a:lnTo>
                      <a:pt x="234" y="53"/>
                    </a:lnTo>
                    <a:lnTo>
                      <a:pt x="234" y="52"/>
                    </a:lnTo>
                    <a:lnTo>
                      <a:pt x="234" y="51"/>
                    </a:lnTo>
                    <a:lnTo>
                      <a:pt x="237" y="49"/>
                    </a:lnTo>
                    <a:lnTo>
                      <a:pt x="240" y="48"/>
                    </a:lnTo>
                    <a:lnTo>
                      <a:pt x="242" y="40"/>
                    </a:lnTo>
                    <a:lnTo>
                      <a:pt x="242" y="38"/>
                    </a:lnTo>
                    <a:lnTo>
                      <a:pt x="242" y="37"/>
                    </a:lnTo>
                    <a:lnTo>
                      <a:pt x="242" y="34"/>
                    </a:lnTo>
                    <a:lnTo>
                      <a:pt x="242" y="33"/>
                    </a:lnTo>
                    <a:lnTo>
                      <a:pt x="244" y="30"/>
                    </a:lnTo>
                    <a:lnTo>
                      <a:pt x="247" y="27"/>
                    </a:lnTo>
                    <a:lnTo>
                      <a:pt x="249" y="24"/>
                    </a:lnTo>
                    <a:lnTo>
                      <a:pt x="253" y="23"/>
                    </a:lnTo>
                    <a:lnTo>
                      <a:pt x="271" y="23"/>
                    </a:lnTo>
                    <a:lnTo>
                      <a:pt x="271" y="22"/>
                    </a:lnTo>
                    <a:lnTo>
                      <a:pt x="273" y="22"/>
                    </a:lnTo>
                    <a:lnTo>
                      <a:pt x="274" y="20"/>
                    </a:lnTo>
                    <a:lnTo>
                      <a:pt x="275" y="19"/>
                    </a:lnTo>
                    <a:lnTo>
                      <a:pt x="275" y="18"/>
                    </a:lnTo>
                    <a:lnTo>
                      <a:pt x="277" y="16"/>
                    </a:lnTo>
                    <a:lnTo>
                      <a:pt x="277" y="15"/>
                    </a:lnTo>
                    <a:lnTo>
                      <a:pt x="277" y="13"/>
                    </a:lnTo>
                    <a:lnTo>
                      <a:pt x="264" y="13"/>
                    </a:lnTo>
                    <a:lnTo>
                      <a:pt x="264" y="12"/>
                    </a:lnTo>
                    <a:lnTo>
                      <a:pt x="264" y="11"/>
                    </a:lnTo>
                    <a:lnTo>
                      <a:pt x="266" y="9"/>
                    </a:lnTo>
                    <a:lnTo>
                      <a:pt x="266" y="7"/>
                    </a:lnTo>
                    <a:lnTo>
                      <a:pt x="267" y="5"/>
                    </a:lnTo>
                    <a:lnTo>
                      <a:pt x="270" y="2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80" y="1"/>
                    </a:lnTo>
                    <a:lnTo>
                      <a:pt x="284" y="0"/>
                    </a:lnTo>
                    <a:lnTo>
                      <a:pt x="288" y="0"/>
                    </a:lnTo>
                    <a:lnTo>
                      <a:pt x="291" y="1"/>
                    </a:lnTo>
                    <a:lnTo>
                      <a:pt x="293" y="1"/>
                    </a:lnTo>
                    <a:lnTo>
                      <a:pt x="295" y="4"/>
                    </a:lnTo>
                    <a:lnTo>
                      <a:pt x="295" y="7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1"/>
                    </a:lnTo>
                    <a:lnTo>
                      <a:pt x="292" y="12"/>
                    </a:lnTo>
                    <a:lnTo>
                      <a:pt x="292" y="12"/>
                    </a:lnTo>
                    <a:lnTo>
                      <a:pt x="293" y="13"/>
                    </a:lnTo>
                    <a:lnTo>
                      <a:pt x="296" y="13"/>
                    </a:lnTo>
                    <a:lnTo>
                      <a:pt x="300" y="13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2" y="13"/>
                    </a:lnTo>
                    <a:lnTo>
                      <a:pt x="302" y="13"/>
                    </a:lnTo>
                    <a:lnTo>
                      <a:pt x="303" y="12"/>
                    </a:lnTo>
                    <a:lnTo>
                      <a:pt x="303" y="12"/>
                    </a:lnTo>
                    <a:lnTo>
                      <a:pt x="303" y="11"/>
                    </a:lnTo>
                    <a:lnTo>
                      <a:pt x="303" y="9"/>
                    </a:lnTo>
                    <a:lnTo>
                      <a:pt x="303" y="8"/>
                    </a:lnTo>
                    <a:lnTo>
                      <a:pt x="303" y="7"/>
                    </a:lnTo>
                    <a:lnTo>
                      <a:pt x="303" y="5"/>
                    </a:lnTo>
                    <a:lnTo>
                      <a:pt x="304" y="4"/>
                    </a:lnTo>
                    <a:lnTo>
                      <a:pt x="306" y="4"/>
                    </a:lnTo>
                    <a:lnTo>
                      <a:pt x="307" y="5"/>
                    </a:lnTo>
                    <a:lnTo>
                      <a:pt x="310" y="5"/>
                    </a:lnTo>
                    <a:lnTo>
                      <a:pt x="311" y="8"/>
                    </a:lnTo>
                    <a:lnTo>
                      <a:pt x="314" y="11"/>
                    </a:lnTo>
                    <a:lnTo>
                      <a:pt x="315" y="13"/>
                    </a:lnTo>
                    <a:lnTo>
                      <a:pt x="317" y="16"/>
                    </a:lnTo>
                    <a:lnTo>
                      <a:pt x="318" y="18"/>
                    </a:lnTo>
                    <a:lnTo>
                      <a:pt x="318" y="20"/>
                    </a:lnTo>
                    <a:lnTo>
                      <a:pt x="320" y="22"/>
                    </a:lnTo>
                    <a:lnTo>
                      <a:pt x="320" y="22"/>
                    </a:lnTo>
                    <a:lnTo>
                      <a:pt x="320" y="23"/>
                    </a:lnTo>
                    <a:lnTo>
                      <a:pt x="335" y="18"/>
                    </a:lnTo>
                    <a:lnTo>
                      <a:pt x="335" y="18"/>
                    </a:lnTo>
                    <a:lnTo>
                      <a:pt x="337" y="18"/>
                    </a:lnTo>
                    <a:lnTo>
                      <a:pt x="340" y="18"/>
                    </a:lnTo>
                    <a:lnTo>
                      <a:pt x="344" y="18"/>
                    </a:lnTo>
                    <a:lnTo>
                      <a:pt x="348" y="18"/>
                    </a:lnTo>
                    <a:lnTo>
                      <a:pt x="353" y="19"/>
                    </a:lnTo>
                    <a:lnTo>
                      <a:pt x="357" y="22"/>
                    </a:lnTo>
                    <a:lnTo>
                      <a:pt x="359" y="24"/>
                    </a:lnTo>
                    <a:lnTo>
                      <a:pt x="361" y="29"/>
                    </a:lnTo>
                    <a:lnTo>
                      <a:pt x="361" y="31"/>
                    </a:lnTo>
                    <a:lnTo>
                      <a:pt x="362" y="33"/>
                    </a:lnTo>
                    <a:lnTo>
                      <a:pt x="361" y="35"/>
                    </a:lnTo>
                    <a:lnTo>
                      <a:pt x="361" y="37"/>
                    </a:lnTo>
                    <a:lnTo>
                      <a:pt x="359" y="37"/>
                    </a:lnTo>
                    <a:lnTo>
                      <a:pt x="358" y="38"/>
                    </a:lnTo>
                    <a:lnTo>
                      <a:pt x="357" y="40"/>
                    </a:lnTo>
                    <a:lnTo>
                      <a:pt x="354" y="41"/>
                    </a:lnTo>
                    <a:lnTo>
                      <a:pt x="353" y="42"/>
                    </a:lnTo>
                    <a:lnTo>
                      <a:pt x="348" y="46"/>
                    </a:lnTo>
                    <a:lnTo>
                      <a:pt x="346" y="51"/>
                    </a:lnTo>
                    <a:lnTo>
                      <a:pt x="344" y="55"/>
                    </a:lnTo>
                    <a:lnTo>
                      <a:pt x="342" y="59"/>
                    </a:lnTo>
                    <a:lnTo>
                      <a:pt x="342" y="62"/>
                    </a:lnTo>
                    <a:lnTo>
                      <a:pt x="342" y="63"/>
                    </a:lnTo>
                    <a:lnTo>
                      <a:pt x="344" y="66"/>
                    </a:lnTo>
                    <a:lnTo>
                      <a:pt x="350" y="71"/>
                    </a:lnTo>
                    <a:lnTo>
                      <a:pt x="358" y="77"/>
                    </a:lnTo>
                    <a:lnTo>
                      <a:pt x="368" y="82"/>
                    </a:lnTo>
                    <a:lnTo>
                      <a:pt x="377" y="89"/>
                    </a:lnTo>
                    <a:lnTo>
                      <a:pt x="386" y="93"/>
                    </a:lnTo>
                    <a:lnTo>
                      <a:pt x="391" y="97"/>
                    </a:lnTo>
                    <a:lnTo>
                      <a:pt x="392" y="99"/>
                    </a:lnTo>
                    <a:lnTo>
                      <a:pt x="394" y="99"/>
                    </a:lnTo>
                    <a:lnTo>
                      <a:pt x="395" y="99"/>
                    </a:lnTo>
                    <a:lnTo>
                      <a:pt x="397" y="100"/>
                    </a:lnTo>
                    <a:lnTo>
                      <a:pt x="399" y="100"/>
                    </a:lnTo>
                    <a:lnTo>
                      <a:pt x="402" y="100"/>
                    </a:lnTo>
                    <a:lnTo>
                      <a:pt x="405" y="99"/>
                    </a:lnTo>
                    <a:lnTo>
                      <a:pt x="408" y="97"/>
                    </a:lnTo>
                    <a:lnTo>
                      <a:pt x="410" y="93"/>
                    </a:lnTo>
                    <a:lnTo>
                      <a:pt x="413" y="89"/>
                    </a:lnTo>
                    <a:lnTo>
                      <a:pt x="414" y="84"/>
                    </a:lnTo>
                    <a:lnTo>
                      <a:pt x="417" y="75"/>
                    </a:lnTo>
                    <a:lnTo>
                      <a:pt x="419" y="68"/>
                    </a:lnTo>
                    <a:lnTo>
                      <a:pt x="421" y="62"/>
                    </a:lnTo>
                    <a:lnTo>
                      <a:pt x="423" y="56"/>
                    </a:lnTo>
                    <a:lnTo>
                      <a:pt x="423" y="52"/>
                    </a:lnTo>
                    <a:lnTo>
                      <a:pt x="423" y="51"/>
                    </a:lnTo>
                    <a:lnTo>
                      <a:pt x="427" y="13"/>
                    </a:lnTo>
                    <a:lnTo>
                      <a:pt x="427" y="13"/>
                    </a:lnTo>
                    <a:lnTo>
                      <a:pt x="427" y="11"/>
                    </a:lnTo>
                    <a:lnTo>
                      <a:pt x="427" y="8"/>
                    </a:lnTo>
                    <a:lnTo>
                      <a:pt x="427" y="5"/>
                    </a:lnTo>
                    <a:lnTo>
                      <a:pt x="428" y="2"/>
                    </a:lnTo>
                    <a:lnTo>
                      <a:pt x="430" y="1"/>
                    </a:lnTo>
                    <a:lnTo>
                      <a:pt x="434" y="0"/>
                    </a:lnTo>
                    <a:lnTo>
                      <a:pt x="438" y="1"/>
                    </a:lnTo>
                    <a:lnTo>
                      <a:pt x="443" y="2"/>
                    </a:lnTo>
                    <a:lnTo>
                      <a:pt x="446" y="7"/>
                    </a:lnTo>
                    <a:lnTo>
                      <a:pt x="449" y="11"/>
                    </a:lnTo>
                    <a:lnTo>
                      <a:pt x="450" y="16"/>
                    </a:lnTo>
                    <a:lnTo>
                      <a:pt x="450" y="20"/>
                    </a:lnTo>
                    <a:lnTo>
                      <a:pt x="450" y="24"/>
                    </a:lnTo>
                    <a:lnTo>
                      <a:pt x="449" y="26"/>
                    </a:lnTo>
                    <a:lnTo>
                      <a:pt x="449" y="27"/>
                    </a:lnTo>
                    <a:lnTo>
                      <a:pt x="449" y="29"/>
                    </a:lnTo>
                    <a:lnTo>
                      <a:pt x="449" y="31"/>
                    </a:lnTo>
                    <a:lnTo>
                      <a:pt x="449" y="35"/>
                    </a:lnTo>
                    <a:lnTo>
                      <a:pt x="449" y="40"/>
                    </a:lnTo>
                    <a:lnTo>
                      <a:pt x="449" y="44"/>
                    </a:lnTo>
                    <a:lnTo>
                      <a:pt x="450" y="48"/>
                    </a:lnTo>
                    <a:lnTo>
                      <a:pt x="452" y="51"/>
                    </a:lnTo>
                    <a:lnTo>
                      <a:pt x="454" y="51"/>
                    </a:lnTo>
                    <a:lnTo>
                      <a:pt x="457" y="51"/>
                    </a:lnTo>
                    <a:lnTo>
                      <a:pt x="460" y="51"/>
                    </a:lnTo>
                    <a:lnTo>
                      <a:pt x="463" y="51"/>
                    </a:lnTo>
                    <a:lnTo>
                      <a:pt x="465" y="51"/>
                    </a:lnTo>
                    <a:lnTo>
                      <a:pt x="468" y="52"/>
                    </a:lnTo>
                    <a:lnTo>
                      <a:pt x="469" y="53"/>
                    </a:lnTo>
                    <a:lnTo>
                      <a:pt x="471" y="56"/>
                    </a:lnTo>
                    <a:lnTo>
                      <a:pt x="472" y="60"/>
                    </a:lnTo>
                    <a:lnTo>
                      <a:pt x="474" y="64"/>
                    </a:lnTo>
                    <a:lnTo>
                      <a:pt x="475" y="68"/>
                    </a:lnTo>
                    <a:lnTo>
                      <a:pt x="478" y="73"/>
                    </a:lnTo>
                    <a:lnTo>
                      <a:pt x="480" y="75"/>
                    </a:lnTo>
                    <a:lnTo>
                      <a:pt x="482" y="78"/>
                    </a:lnTo>
                    <a:lnTo>
                      <a:pt x="485" y="79"/>
                    </a:lnTo>
                    <a:lnTo>
                      <a:pt x="486" y="81"/>
                    </a:lnTo>
                    <a:lnTo>
                      <a:pt x="486" y="81"/>
                    </a:lnTo>
                    <a:lnTo>
                      <a:pt x="486" y="82"/>
                    </a:lnTo>
                    <a:lnTo>
                      <a:pt x="487" y="85"/>
                    </a:lnTo>
                    <a:lnTo>
                      <a:pt x="489" y="88"/>
                    </a:lnTo>
                    <a:lnTo>
                      <a:pt x="490" y="93"/>
                    </a:lnTo>
                    <a:lnTo>
                      <a:pt x="493" y="97"/>
                    </a:lnTo>
                    <a:lnTo>
                      <a:pt x="494" y="103"/>
                    </a:lnTo>
                    <a:lnTo>
                      <a:pt x="496" y="106"/>
                    </a:lnTo>
                    <a:lnTo>
                      <a:pt x="496" y="108"/>
                    </a:lnTo>
                    <a:lnTo>
                      <a:pt x="497" y="112"/>
                    </a:lnTo>
                    <a:lnTo>
                      <a:pt x="500" y="115"/>
                    </a:lnTo>
                    <a:lnTo>
                      <a:pt x="504" y="121"/>
                    </a:lnTo>
                    <a:lnTo>
                      <a:pt x="508" y="125"/>
                    </a:lnTo>
                    <a:lnTo>
                      <a:pt x="512" y="129"/>
                    </a:lnTo>
                    <a:lnTo>
                      <a:pt x="516" y="132"/>
                    </a:lnTo>
                    <a:lnTo>
                      <a:pt x="519" y="134"/>
                    </a:lnTo>
                    <a:lnTo>
                      <a:pt x="520" y="136"/>
                    </a:lnTo>
                    <a:lnTo>
                      <a:pt x="541" y="162"/>
                    </a:lnTo>
                    <a:lnTo>
                      <a:pt x="541" y="172"/>
                    </a:lnTo>
                    <a:lnTo>
                      <a:pt x="579" y="202"/>
                    </a:lnTo>
                    <a:lnTo>
                      <a:pt x="581" y="203"/>
                    </a:lnTo>
                    <a:lnTo>
                      <a:pt x="584" y="206"/>
                    </a:lnTo>
                    <a:lnTo>
                      <a:pt x="586" y="210"/>
                    </a:lnTo>
                    <a:lnTo>
                      <a:pt x="591" y="217"/>
                    </a:lnTo>
                    <a:lnTo>
                      <a:pt x="595" y="224"/>
                    </a:lnTo>
                    <a:lnTo>
                      <a:pt x="599" y="232"/>
                    </a:lnTo>
                    <a:lnTo>
                      <a:pt x="602" y="240"/>
                    </a:lnTo>
                    <a:lnTo>
                      <a:pt x="603" y="250"/>
                    </a:lnTo>
                    <a:lnTo>
                      <a:pt x="603" y="260"/>
                    </a:lnTo>
                    <a:lnTo>
                      <a:pt x="604" y="271"/>
                    </a:lnTo>
                    <a:lnTo>
                      <a:pt x="604" y="283"/>
                    </a:lnTo>
                    <a:lnTo>
                      <a:pt x="604" y="295"/>
                    </a:lnTo>
                    <a:lnTo>
                      <a:pt x="606" y="306"/>
                    </a:lnTo>
                    <a:lnTo>
                      <a:pt x="606" y="315"/>
                    </a:lnTo>
                    <a:lnTo>
                      <a:pt x="606" y="321"/>
                    </a:lnTo>
                    <a:lnTo>
                      <a:pt x="606" y="323"/>
                    </a:lnTo>
                    <a:lnTo>
                      <a:pt x="606" y="324"/>
                    </a:lnTo>
                    <a:lnTo>
                      <a:pt x="604" y="327"/>
                    </a:lnTo>
                    <a:lnTo>
                      <a:pt x="603" y="330"/>
                    </a:lnTo>
                    <a:lnTo>
                      <a:pt x="600" y="335"/>
                    </a:lnTo>
                    <a:lnTo>
                      <a:pt x="596" y="339"/>
                    </a:lnTo>
                    <a:lnTo>
                      <a:pt x="592" y="343"/>
                    </a:lnTo>
                    <a:lnTo>
                      <a:pt x="586" y="347"/>
                    </a:lnTo>
                    <a:lnTo>
                      <a:pt x="581" y="350"/>
                    </a:lnTo>
                    <a:lnTo>
                      <a:pt x="571" y="371"/>
                    </a:lnTo>
                    <a:lnTo>
                      <a:pt x="571" y="372"/>
                    </a:lnTo>
                    <a:lnTo>
                      <a:pt x="570" y="375"/>
                    </a:lnTo>
                    <a:lnTo>
                      <a:pt x="568" y="379"/>
                    </a:lnTo>
                    <a:lnTo>
                      <a:pt x="567" y="385"/>
                    </a:lnTo>
                    <a:lnTo>
                      <a:pt x="564" y="391"/>
                    </a:lnTo>
                    <a:lnTo>
                      <a:pt x="562" y="396"/>
                    </a:lnTo>
                    <a:lnTo>
                      <a:pt x="559" y="400"/>
                    </a:lnTo>
                    <a:lnTo>
                      <a:pt x="556" y="402"/>
                    </a:lnTo>
                    <a:lnTo>
                      <a:pt x="552" y="404"/>
                    </a:lnTo>
                    <a:lnTo>
                      <a:pt x="551" y="405"/>
                    </a:lnTo>
                    <a:lnTo>
                      <a:pt x="548" y="408"/>
                    </a:lnTo>
                    <a:lnTo>
                      <a:pt x="548" y="409"/>
                    </a:lnTo>
                    <a:lnTo>
                      <a:pt x="546" y="412"/>
                    </a:lnTo>
                    <a:lnTo>
                      <a:pt x="546" y="416"/>
                    </a:lnTo>
                    <a:lnTo>
                      <a:pt x="548" y="420"/>
                    </a:lnTo>
                    <a:lnTo>
                      <a:pt x="549" y="426"/>
                    </a:lnTo>
                    <a:lnTo>
                      <a:pt x="551" y="430"/>
                    </a:lnTo>
                    <a:lnTo>
                      <a:pt x="552" y="435"/>
                    </a:lnTo>
                    <a:lnTo>
                      <a:pt x="553" y="440"/>
                    </a:lnTo>
                    <a:lnTo>
                      <a:pt x="555" y="444"/>
                    </a:lnTo>
                    <a:lnTo>
                      <a:pt x="555" y="446"/>
                    </a:lnTo>
                    <a:lnTo>
                      <a:pt x="553" y="451"/>
                    </a:lnTo>
                    <a:lnTo>
                      <a:pt x="551" y="453"/>
                    </a:lnTo>
                    <a:lnTo>
                      <a:pt x="548" y="456"/>
                    </a:lnTo>
                    <a:lnTo>
                      <a:pt x="542" y="459"/>
                    </a:lnTo>
                    <a:lnTo>
                      <a:pt x="535" y="464"/>
                    </a:lnTo>
                    <a:lnTo>
                      <a:pt x="527" y="468"/>
                    </a:lnTo>
                    <a:lnTo>
                      <a:pt x="518" y="474"/>
                    </a:lnTo>
                    <a:lnTo>
                      <a:pt x="509" y="478"/>
                    </a:lnTo>
                    <a:lnTo>
                      <a:pt x="502" y="481"/>
                    </a:lnTo>
                    <a:lnTo>
                      <a:pt x="497" y="484"/>
                    </a:lnTo>
                    <a:lnTo>
                      <a:pt x="496" y="485"/>
                    </a:lnTo>
                    <a:lnTo>
                      <a:pt x="496" y="485"/>
                    </a:lnTo>
                    <a:lnTo>
                      <a:pt x="493" y="484"/>
                    </a:lnTo>
                    <a:lnTo>
                      <a:pt x="491" y="482"/>
                    </a:lnTo>
                    <a:lnTo>
                      <a:pt x="487" y="481"/>
                    </a:lnTo>
                    <a:lnTo>
                      <a:pt x="485" y="479"/>
                    </a:lnTo>
                    <a:lnTo>
                      <a:pt x="480" y="477"/>
                    </a:lnTo>
                    <a:lnTo>
                      <a:pt x="478" y="474"/>
                    </a:lnTo>
                    <a:lnTo>
                      <a:pt x="475" y="470"/>
                    </a:lnTo>
                    <a:lnTo>
                      <a:pt x="472" y="467"/>
                    </a:lnTo>
                    <a:lnTo>
                      <a:pt x="469" y="466"/>
                    </a:lnTo>
                    <a:lnTo>
                      <a:pt x="468" y="464"/>
                    </a:lnTo>
                    <a:lnTo>
                      <a:pt x="467" y="466"/>
                    </a:lnTo>
                    <a:lnTo>
                      <a:pt x="464" y="466"/>
                    </a:lnTo>
                    <a:lnTo>
                      <a:pt x="463" y="467"/>
                    </a:lnTo>
                    <a:lnTo>
                      <a:pt x="460" y="468"/>
                    </a:lnTo>
                    <a:lnTo>
                      <a:pt x="457" y="470"/>
                    </a:lnTo>
                    <a:lnTo>
                      <a:pt x="454" y="471"/>
                    </a:lnTo>
                    <a:lnTo>
                      <a:pt x="450" y="473"/>
                    </a:lnTo>
                    <a:lnTo>
                      <a:pt x="446" y="471"/>
                    </a:lnTo>
                    <a:lnTo>
                      <a:pt x="443" y="471"/>
                    </a:lnTo>
                    <a:lnTo>
                      <a:pt x="439" y="470"/>
                    </a:lnTo>
                    <a:lnTo>
                      <a:pt x="438" y="468"/>
                    </a:lnTo>
                    <a:lnTo>
                      <a:pt x="435" y="467"/>
                    </a:lnTo>
                    <a:lnTo>
                      <a:pt x="435" y="467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0" y="462"/>
                    </a:lnTo>
                    <a:lnTo>
                      <a:pt x="408" y="456"/>
                    </a:lnTo>
                    <a:lnTo>
                      <a:pt x="403" y="451"/>
                    </a:lnTo>
                    <a:lnTo>
                      <a:pt x="401" y="444"/>
                    </a:lnTo>
                    <a:lnTo>
                      <a:pt x="398" y="437"/>
                    </a:lnTo>
                    <a:lnTo>
                      <a:pt x="395" y="429"/>
                    </a:lnTo>
                    <a:lnTo>
                      <a:pt x="394" y="420"/>
                    </a:lnTo>
                    <a:lnTo>
                      <a:pt x="377" y="397"/>
                    </a:lnTo>
                    <a:lnTo>
                      <a:pt x="350" y="396"/>
                    </a:lnTo>
                    <a:lnTo>
                      <a:pt x="326" y="378"/>
                    </a:lnTo>
                    <a:lnTo>
                      <a:pt x="326" y="376"/>
                    </a:lnTo>
                    <a:lnTo>
                      <a:pt x="324" y="374"/>
                    </a:lnTo>
                    <a:lnTo>
                      <a:pt x="318" y="369"/>
                    </a:lnTo>
                    <a:lnTo>
                      <a:pt x="313" y="364"/>
                    </a:lnTo>
                    <a:lnTo>
                      <a:pt x="303" y="360"/>
                    </a:lnTo>
                    <a:lnTo>
                      <a:pt x="292" y="354"/>
                    </a:lnTo>
                    <a:lnTo>
                      <a:pt x="278" y="350"/>
                    </a:lnTo>
                    <a:lnTo>
                      <a:pt x="262" y="347"/>
                    </a:lnTo>
                    <a:lnTo>
                      <a:pt x="260" y="347"/>
                    </a:lnTo>
                    <a:lnTo>
                      <a:pt x="256" y="349"/>
                    </a:lnTo>
                    <a:lnTo>
                      <a:pt x="249" y="350"/>
                    </a:lnTo>
                    <a:lnTo>
                      <a:pt x="242" y="352"/>
                    </a:lnTo>
                    <a:lnTo>
                      <a:pt x="234" y="353"/>
                    </a:lnTo>
                    <a:lnTo>
                      <a:pt x="226" y="356"/>
                    </a:lnTo>
                    <a:lnTo>
                      <a:pt x="219" y="358"/>
                    </a:lnTo>
                    <a:lnTo>
                      <a:pt x="212" y="363"/>
                    </a:lnTo>
                    <a:lnTo>
                      <a:pt x="171" y="386"/>
                    </a:lnTo>
                    <a:lnTo>
                      <a:pt x="161" y="386"/>
                    </a:lnTo>
                    <a:lnTo>
                      <a:pt x="161" y="387"/>
                    </a:lnTo>
                    <a:lnTo>
                      <a:pt x="160" y="389"/>
                    </a:lnTo>
                    <a:lnTo>
                      <a:pt x="160" y="391"/>
                    </a:lnTo>
                    <a:lnTo>
                      <a:pt x="159" y="394"/>
                    </a:lnTo>
                    <a:lnTo>
                      <a:pt x="156" y="397"/>
                    </a:lnTo>
                    <a:lnTo>
                      <a:pt x="154" y="400"/>
                    </a:lnTo>
                    <a:lnTo>
                      <a:pt x="152" y="402"/>
                    </a:lnTo>
                    <a:lnTo>
                      <a:pt x="149" y="404"/>
                    </a:lnTo>
                    <a:lnTo>
                      <a:pt x="145" y="405"/>
                    </a:lnTo>
                    <a:lnTo>
                      <a:pt x="141" y="405"/>
                    </a:lnTo>
                    <a:lnTo>
                      <a:pt x="137" y="404"/>
                    </a:lnTo>
                    <a:lnTo>
                      <a:pt x="132" y="404"/>
                    </a:lnTo>
                    <a:lnTo>
                      <a:pt x="128" y="404"/>
                    </a:lnTo>
                    <a:lnTo>
                      <a:pt x="126" y="402"/>
                    </a:lnTo>
                    <a:lnTo>
                      <a:pt x="124" y="402"/>
                    </a:lnTo>
                    <a:lnTo>
                      <a:pt x="123" y="402"/>
                    </a:lnTo>
                    <a:lnTo>
                      <a:pt x="95" y="401"/>
                    </a:lnTo>
                    <a:lnTo>
                      <a:pt x="95" y="401"/>
                    </a:lnTo>
                    <a:lnTo>
                      <a:pt x="94" y="402"/>
                    </a:lnTo>
                    <a:lnTo>
                      <a:pt x="93" y="402"/>
                    </a:lnTo>
                    <a:lnTo>
                      <a:pt x="90" y="404"/>
                    </a:lnTo>
                    <a:lnTo>
                      <a:pt x="88" y="405"/>
                    </a:lnTo>
                    <a:lnTo>
                      <a:pt x="86" y="408"/>
                    </a:lnTo>
                    <a:lnTo>
                      <a:pt x="83" y="409"/>
                    </a:lnTo>
                    <a:lnTo>
                      <a:pt x="82" y="412"/>
                    </a:lnTo>
                    <a:lnTo>
                      <a:pt x="80" y="415"/>
                    </a:lnTo>
                    <a:lnTo>
                      <a:pt x="79" y="416"/>
                    </a:lnTo>
                    <a:lnTo>
                      <a:pt x="76" y="418"/>
                    </a:lnTo>
                    <a:lnTo>
                      <a:pt x="75" y="419"/>
                    </a:lnTo>
                    <a:lnTo>
                      <a:pt x="72" y="419"/>
                    </a:lnTo>
                    <a:lnTo>
                      <a:pt x="69" y="419"/>
                    </a:lnTo>
                    <a:lnTo>
                      <a:pt x="66" y="419"/>
                    </a:lnTo>
                    <a:lnTo>
                      <a:pt x="62" y="419"/>
                    </a:lnTo>
                    <a:lnTo>
                      <a:pt x="58" y="419"/>
                    </a:lnTo>
                    <a:lnTo>
                      <a:pt x="54" y="419"/>
                    </a:lnTo>
                    <a:lnTo>
                      <a:pt x="50" y="419"/>
                    </a:lnTo>
                    <a:lnTo>
                      <a:pt x="46" y="418"/>
                    </a:lnTo>
                    <a:lnTo>
                      <a:pt x="42" y="416"/>
                    </a:lnTo>
                    <a:lnTo>
                      <a:pt x="40" y="415"/>
                    </a:lnTo>
                    <a:lnTo>
                      <a:pt x="39" y="413"/>
                    </a:lnTo>
                    <a:lnTo>
                      <a:pt x="39" y="411"/>
                    </a:lnTo>
                    <a:lnTo>
                      <a:pt x="39" y="408"/>
                    </a:lnTo>
                    <a:lnTo>
                      <a:pt x="39" y="405"/>
                    </a:lnTo>
                    <a:lnTo>
                      <a:pt x="38" y="405"/>
                    </a:lnTo>
                    <a:lnTo>
                      <a:pt x="36" y="405"/>
                    </a:lnTo>
                    <a:lnTo>
                      <a:pt x="35" y="407"/>
                    </a:lnTo>
                    <a:lnTo>
                      <a:pt x="32" y="407"/>
                    </a:lnTo>
                    <a:lnTo>
                      <a:pt x="31" y="408"/>
                    </a:lnTo>
                    <a:lnTo>
                      <a:pt x="29" y="409"/>
                    </a:lnTo>
                    <a:lnTo>
                      <a:pt x="28" y="409"/>
                    </a:lnTo>
                    <a:lnTo>
                      <a:pt x="25" y="408"/>
                    </a:lnTo>
                    <a:lnTo>
                      <a:pt x="22" y="405"/>
                    </a:lnTo>
                    <a:lnTo>
                      <a:pt x="21" y="402"/>
                    </a:lnTo>
                    <a:lnTo>
                      <a:pt x="20" y="400"/>
                    </a:lnTo>
                    <a:lnTo>
                      <a:pt x="21" y="396"/>
                    </a:lnTo>
                    <a:lnTo>
                      <a:pt x="24" y="391"/>
                    </a:lnTo>
                    <a:lnTo>
                      <a:pt x="31" y="387"/>
                    </a:lnTo>
                    <a:lnTo>
                      <a:pt x="36" y="357"/>
                    </a:lnTo>
                    <a:lnTo>
                      <a:pt x="36" y="356"/>
                    </a:lnTo>
                    <a:lnTo>
                      <a:pt x="36" y="353"/>
                    </a:lnTo>
                    <a:lnTo>
                      <a:pt x="35" y="349"/>
                    </a:lnTo>
                    <a:lnTo>
                      <a:pt x="32" y="345"/>
                    </a:lnTo>
                    <a:lnTo>
                      <a:pt x="31" y="339"/>
                    </a:lnTo>
                    <a:lnTo>
                      <a:pt x="29" y="335"/>
                    </a:lnTo>
                    <a:lnTo>
                      <a:pt x="27" y="332"/>
                    </a:lnTo>
                    <a:lnTo>
                      <a:pt x="25" y="330"/>
                    </a:lnTo>
                    <a:lnTo>
                      <a:pt x="24" y="327"/>
                    </a:lnTo>
                    <a:lnTo>
                      <a:pt x="21" y="320"/>
                    </a:lnTo>
                    <a:lnTo>
                      <a:pt x="17" y="309"/>
                    </a:lnTo>
                    <a:lnTo>
                      <a:pt x="13" y="298"/>
                    </a:lnTo>
                    <a:lnTo>
                      <a:pt x="9" y="286"/>
                    </a:lnTo>
                    <a:lnTo>
                      <a:pt x="7" y="275"/>
                    </a:lnTo>
                    <a:lnTo>
                      <a:pt x="6" y="265"/>
                    </a:lnTo>
                    <a:lnTo>
                      <a:pt x="6" y="260"/>
                    </a:lnTo>
                    <a:lnTo>
                      <a:pt x="9" y="257"/>
                    </a:lnTo>
                    <a:lnTo>
                      <a:pt x="10" y="253"/>
                    </a:lnTo>
                    <a:lnTo>
                      <a:pt x="10" y="249"/>
                    </a:lnTo>
                    <a:lnTo>
                      <a:pt x="10" y="243"/>
                    </a:lnTo>
                    <a:lnTo>
                      <a:pt x="10" y="239"/>
                    </a:lnTo>
                    <a:lnTo>
                      <a:pt x="9" y="235"/>
                    </a:lnTo>
                    <a:lnTo>
                      <a:pt x="7" y="232"/>
                    </a:lnTo>
                    <a:lnTo>
                      <a:pt x="6" y="231"/>
                    </a:lnTo>
                    <a:lnTo>
                      <a:pt x="6" y="228"/>
                    </a:lnTo>
                    <a:lnTo>
                      <a:pt x="4" y="224"/>
                    </a:lnTo>
                    <a:lnTo>
                      <a:pt x="3" y="218"/>
                    </a:lnTo>
                    <a:lnTo>
                      <a:pt x="2" y="211"/>
                    </a:lnTo>
                    <a:lnTo>
                      <a:pt x="0" y="206"/>
                    </a:lnTo>
                    <a:lnTo>
                      <a:pt x="2" y="200"/>
                    </a:lnTo>
                    <a:lnTo>
                      <a:pt x="3" y="195"/>
                    </a:lnTo>
                    <a:lnTo>
                      <a:pt x="6" y="191"/>
                    </a:lnTo>
                    <a:lnTo>
                      <a:pt x="10" y="188"/>
                    </a:lnTo>
                    <a:lnTo>
                      <a:pt x="15" y="184"/>
                    </a:lnTo>
                    <a:lnTo>
                      <a:pt x="20" y="180"/>
                    </a:lnTo>
                    <a:lnTo>
                      <a:pt x="25" y="174"/>
                    </a:lnTo>
                    <a:lnTo>
                      <a:pt x="29" y="170"/>
                    </a:lnTo>
                    <a:lnTo>
                      <a:pt x="33" y="167"/>
                    </a:lnTo>
                    <a:lnTo>
                      <a:pt x="36" y="165"/>
                    </a:lnTo>
                    <a:lnTo>
                      <a:pt x="36" y="163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8" name="Freeform 97"/>
              <p:cNvSpPr>
                <a:spLocks/>
              </p:cNvSpPr>
              <p:nvPr/>
            </p:nvSpPr>
            <p:spPr bwMode="auto">
              <a:xfrm>
                <a:off x="4432" y="3151"/>
                <a:ext cx="606" cy="485"/>
              </a:xfrm>
              <a:custGeom>
                <a:avLst/>
                <a:gdLst>
                  <a:gd name="T0" fmla="*/ 120 w 606"/>
                  <a:gd name="T1" fmla="*/ 143 h 485"/>
                  <a:gd name="T2" fmla="*/ 132 w 606"/>
                  <a:gd name="T3" fmla="*/ 112 h 485"/>
                  <a:gd name="T4" fmla="*/ 153 w 606"/>
                  <a:gd name="T5" fmla="*/ 99 h 485"/>
                  <a:gd name="T6" fmla="*/ 164 w 606"/>
                  <a:gd name="T7" fmla="*/ 81 h 485"/>
                  <a:gd name="T8" fmla="*/ 194 w 606"/>
                  <a:gd name="T9" fmla="*/ 56 h 485"/>
                  <a:gd name="T10" fmla="*/ 211 w 606"/>
                  <a:gd name="T11" fmla="*/ 62 h 485"/>
                  <a:gd name="T12" fmla="*/ 229 w 606"/>
                  <a:gd name="T13" fmla="*/ 71 h 485"/>
                  <a:gd name="T14" fmla="*/ 240 w 606"/>
                  <a:gd name="T15" fmla="*/ 68 h 485"/>
                  <a:gd name="T16" fmla="*/ 236 w 606"/>
                  <a:gd name="T17" fmla="*/ 56 h 485"/>
                  <a:gd name="T18" fmla="*/ 242 w 606"/>
                  <a:gd name="T19" fmla="*/ 38 h 485"/>
                  <a:gd name="T20" fmla="*/ 253 w 606"/>
                  <a:gd name="T21" fmla="*/ 23 h 485"/>
                  <a:gd name="T22" fmla="*/ 277 w 606"/>
                  <a:gd name="T23" fmla="*/ 16 h 485"/>
                  <a:gd name="T24" fmla="*/ 266 w 606"/>
                  <a:gd name="T25" fmla="*/ 7 h 485"/>
                  <a:gd name="T26" fmla="*/ 288 w 606"/>
                  <a:gd name="T27" fmla="*/ 0 h 485"/>
                  <a:gd name="T28" fmla="*/ 293 w 606"/>
                  <a:gd name="T29" fmla="*/ 13 h 485"/>
                  <a:gd name="T30" fmla="*/ 303 w 606"/>
                  <a:gd name="T31" fmla="*/ 8 h 485"/>
                  <a:gd name="T32" fmla="*/ 311 w 606"/>
                  <a:gd name="T33" fmla="*/ 8 h 485"/>
                  <a:gd name="T34" fmla="*/ 320 w 606"/>
                  <a:gd name="T35" fmla="*/ 23 h 485"/>
                  <a:gd name="T36" fmla="*/ 357 w 606"/>
                  <a:gd name="T37" fmla="*/ 22 h 485"/>
                  <a:gd name="T38" fmla="*/ 359 w 606"/>
                  <a:gd name="T39" fmla="*/ 37 h 485"/>
                  <a:gd name="T40" fmla="*/ 344 w 606"/>
                  <a:gd name="T41" fmla="*/ 55 h 485"/>
                  <a:gd name="T42" fmla="*/ 368 w 606"/>
                  <a:gd name="T43" fmla="*/ 82 h 485"/>
                  <a:gd name="T44" fmla="*/ 397 w 606"/>
                  <a:gd name="T45" fmla="*/ 100 h 485"/>
                  <a:gd name="T46" fmla="*/ 414 w 606"/>
                  <a:gd name="T47" fmla="*/ 84 h 485"/>
                  <a:gd name="T48" fmla="*/ 427 w 606"/>
                  <a:gd name="T49" fmla="*/ 13 h 485"/>
                  <a:gd name="T50" fmla="*/ 438 w 606"/>
                  <a:gd name="T51" fmla="*/ 1 h 485"/>
                  <a:gd name="T52" fmla="*/ 449 w 606"/>
                  <a:gd name="T53" fmla="*/ 26 h 485"/>
                  <a:gd name="T54" fmla="*/ 450 w 606"/>
                  <a:gd name="T55" fmla="*/ 48 h 485"/>
                  <a:gd name="T56" fmla="*/ 468 w 606"/>
                  <a:gd name="T57" fmla="*/ 52 h 485"/>
                  <a:gd name="T58" fmla="*/ 480 w 606"/>
                  <a:gd name="T59" fmla="*/ 75 h 485"/>
                  <a:gd name="T60" fmla="*/ 490 w 606"/>
                  <a:gd name="T61" fmla="*/ 93 h 485"/>
                  <a:gd name="T62" fmla="*/ 504 w 606"/>
                  <a:gd name="T63" fmla="*/ 121 h 485"/>
                  <a:gd name="T64" fmla="*/ 541 w 606"/>
                  <a:gd name="T65" fmla="*/ 172 h 485"/>
                  <a:gd name="T66" fmla="*/ 599 w 606"/>
                  <a:gd name="T67" fmla="*/ 232 h 485"/>
                  <a:gd name="T68" fmla="*/ 606 w 606"/>
                  <a:gd name="T69" fmla="*/ 306 h 485"/>
                  <a:gd name="T70" fmla="*/ 600 w 606"/>
                  <a:gd name="T71" fmla="*/ 335 h 485"/>
                  <a:gd name="T72" fmla="*/ 570 w 606"/>
                  <a:gd name="T73" fmla="*/ 375 h 485"/>
                  <a:gd name="T74" fmla="*/ 552 w 606"/>
                  <a:gd name="T75" fmla="*/ 404 h 485"/>
                  <a:gd name="T76" fmla="*/ 549 w 606"/>
                  <a:gd name="T77" fmla="*/ 426 h 485"/>
                  <a:gd name="T78" fmla="*/ 551 w 606"/>
                  <a:gd name="T79" fmla="*/ 453 h 485"/>
                  <a:gd name="T80" fmla="*/ 502 w 606"/>
                  <a:gd name="T81" fmla="*/ 481 h 485"/>
                  <a:gd name="T82" fmla="*/ 480 w 606"/>
                  <a:gd name="T83" fmla="*/ 477 h 485"/>
                  <a:gd name="T84" fmla="*/ 464 w 606"/>
                  <a:gd name="T85" fmla="*/ 466 h 485"/>
                  <a:gd name="T86" fmla="*/ 443 w 606"/>
                  <a:gd name="T87" fmla="*/ 471 h 485"/>
                  <a:gd name="T88" fmla="*/ 408 w 606"/>
                  <a:gd name="T89" fmla="*/ 456 h 485"/>
                  <a:gd name="T90" fmla="*/ 350 w 606"/>
                  <a:gd name="T91" fmla="*/ 396 h 485"/>
                  <a:gd name="T92" fmla="*/ 292 w 606"/>
                  <a:gd name="T93" fmla="*/ 354 h 485"/>
                  <a:gd name="T94" fmla="*/ 234 w 606"/>
                  <a:gd name="T95" fmla="*/ 353 h 485"/>
                  <a:gd name="T96" fmla="*/ 160 w 606"/>
                  <a:gd name="T97" fmla="*/ 389 h 485"/>
                  <a:gd name="T98" fmla="*/ 145 w 606"/>
                  <a:gd name="T99" fmla="*/ 405 h 485"/>
                  <a:gd name="T100" fmla="*/ 123 w 606"/>
                  <a:gd name="T101" fmla="*/ 402 h 485"/>
                  <a:gd name="T102" fmla="*/ 83 w 606"/>
                  <a:gd name="T103" fmla="*/ 409 h 485"/>
                  <a:gd name="T104" fmla="*/ 69 w 606"/>
                  <a:gd name="T105" fmla="*/ 419 h 485"/>
                  <a:gd name="T106" fmla="*/ 42 w 606"/>
                  <a:gd name="T107" fmla="*/ 416 h 485"/>
                  <a:gd name="T108" fmla="*/ 36 w 606"/>
                  <a:gd name="T109" fmla="*/ 405 h 485"/>
                  <a:gd name="T110" fmla="*/ 22 w 606"/>
                  <a:gd name="T111" fmla="*/ 405 h 485"/>
                  <a:gd name="T112" fmla="*/ 36 w 606"/>
                  <a:gd name="T113" fmla="*/ 356 h 485"/>
                  <a:gd name="T114" fmla="*/ 25 w 606"/>
                  <a:gd name="T115" fmla="*/ 330 h 485"/>
                  <a:gd name="T116" fmla="*/ 6 w 606"/>
                  <a:gd name="T117" fmla="*/ 265 h 485"/>
                  <a:gd name="T118" fmla="*/ 9 w 606"/>
                  <a:gd name="T119" fmla="*/ 235 h 485"/>
                  <a:gd name="T120" fmla="*/ 0 w 606"/>
                  <a:gd name="T121" fmla="*/ 206 h 485"/>
                  <a:gd name="T122" fmla="*/ 25 w 606"/>
                  <a:gd name="T123" fmla="*/ 174 h 4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6" h="485">
                    <a:moveTo>
                      <a:pt x="36" y="163"/>
                    </a:moveTo>
                    <a:lnTo>
                      <a:pt x="72" y="162"/>
                    </a:lnTo>
                    <a:lnTo>
                      <a:pt x="109" y="155"/>
                    </a:lnTo>
                    <a:lnTo>
                      <a:pt x="110" y="155"/>
                    </a:lnTo>
                    <a:lnTo>
                      <a:pt x="113" y="152"/>
                    </a:lnTo>
                    <a:lnTo>
                      <a:pt x="116" y="148"/>
                    </a:lnTo>
                    <a:lnTo>
                      <a:pt x="120" y="143"/>
                    </a:lnTo>
                    <a:lnTo>
                      <a:pt x="124" y="139"/>
                    </a:lnTo>
                    <a:lnTo>
                      <a:pt x="128" y="133"/>
                    </a:lnTo>
                    <a:lnTo>
                      <a:pt x="130" y="129"/>
                    </a:lnTo>
                    <a:lnTo>
                      <a:pt x="131" y="125"/>
                    </a:lnTo>
                    <a:lnTo>
                      <a:pt x="131" y="121"/>
                    </a:lnTo>
                    <a:lnTo>
                      <a:pt x="131" y="117"/>
                    </a:lnTo>
                    <a:lnTo>
                      <a:pt x="132" y="112"/>
                    </a:lnTo>
                    <a:lnTo>
                      <a:pt x="134" y="110"/>
                    </a:lnTo>
                    <a:lnTo>
                      <a:pt x="137" y="106"/>
                    </a:lnTo>
                    <a:lnTo>
                      <a:pt x="139" y="103"/>
                    </a:lnTo>
                    <a:lnTo>
                      <a:pt x="143" y="101"/>
                    </a:lnTo>
                    <a:lnTo>
                      <a:pt x="148" y="101"/>
                    </a:lnTo>
                    <a:lnTo>
                      <a:pt x="153" y="101"/>
                    </a:lnTo>
                    <a:lnTo>
                      <a:pt x="153" y="99"/>
                    </a:lnTo>
                    <a:lnTo>
                      <a:pt x="153" y="96"/>
                    </a:lnTo>
                    <a:lnTo>
                      <a:pt x="154" y="92"/>
                    </a:lnTo>
                    <a:lnTo>
                      <a:pt x="154" y="89"/>
                    </a:lnTo>
                    <a:lnTo>
                      <a:pt x="157" y="86"/>
                    </a:lnTo>
                    <a:lnTo>
                      <a:pt x="160" y="84"/>
                    </a:lnTo>
                    <a:lnTo>
                      <a:pt x="164" y="82"/>
                    </a:lnTo>
                    <a:lnTo>
                      <a:pt x="164" y="81"/>
                    </a:lnTo>
                    <a:lnTo>
                      <a:pt x="167" y="78"/>
                    </a:lnTo>
                    <a:lnTo>
                      <a:pt x="170" y="73"/>
                    </a:lnTo>
                    <a:lnTo>
                      <a:pt x="174" y="67"/>
                    </a:lnTo>
                    <a:lnTo>
                      <a:pt x="179" y="62"/>
                    </a:lnTo>
                    <a:lnTo>
                      <a:pt x="186" y="57"/>
                    </a:lnTo>
                    <a:lnTo>
                      <a:pt x="190" y="56"/>
                    </a:lnTo>
                    <a:lnTo>
                      <a:pt x="194" y="56"/>
                    </a:lnTo>
                    <a:lnTo>
                      <a:pt x="197" y="56"/>
                    </a:lnTo>
                    <a:lnTo>
                      <a:pt x="201" y="57"/>
                    </a:lnTo>
                    <a:lnTo>
                      <a:pt x="203" y="57"/>
                    </a:lnTo>
                    <a:lnTo>
                      <a:pt x="204" y="57"/>
                    </a:lnTo>
                    <a:lnTo>
                      <a:pt x="205" y="59"/>
                    </a:lnTo>
                    <a:lnTo>
                      <a:pt x="208" y="60"/>
                    </a:lnTo>
                    <a:lnTo>
                      <a:pt x="211" y="62"/>
                    </a:lnTo>
                    <a:lnTo>
                      <a:pt x="214" y="63"/>
                    </a:lnTo>
                    <a:lnTo>
                      <a:pt x="216" y="64"/>
                    </a:lnTo>
                    <a:lnTo>
                      <a:pt x="218" y="66"/>
                    </a:lnTo>
                    <a:lnTo>
                      <a:pt x="220" y="68"/>
                    </a:lnTo>
                    <a:lnTo>
                      <a:pt x="223" y="70"/>
                    </a:lnTo>
                    <a:lnTo>
                      <a:pt x="226" y="70"/>
                    </a:lnTo>
                    <a:lnTo>
                      <a:pt x="229" y="71"/>
                    </a:lnTo>
                    <a:lnTo>
                      <a:pt x="231" y="71"/>
                    </a:lnTo>
                    <a:lnTo>
                      <a:pt x="233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7" y="71"/>
                    </a:lnTo>
                    <a:lnTo>
                      <a:pt x="238" y="70"/>
                    </a:lnTo>
                    <a:lnTo>
                      <a:pt x="240" y="68"/>
                    </a:lnTo>
                    <a:lnTo>
                      <a:pt x="241" y="67"/>
                    </a:lnTo>
                    <a:lnTo>
                      <a:pt x="242" y="66"/>
                    </a:lnTo>
                    <a:lnTo>
                      <a:pt x="242" y="63"/>
                    </a:lnTo>
                    <a:lnTo>
                      <a:pt x="241" y="62"/>
                    </a:lnTo>
                    <a:lnTo>
                      <a:pt x="238" y="60"/>
                    </a:lnTo>
                    <a:lnTo>
                      <a:pt x="237" y="57"/>
                    </a:lnTo>
                    <a:lnTo>
                      <a:pt x="236" y="56"/>
                    </a:lnTo>
                    <a:lnTo>
                      <a:pt x="234" y="53"/>
                    </a:lnTo>
                    <a:lnTo>
                      <a:pt x="234" y="52"/>
                    </a:lnTo>
                    <a:lnTo>
                      <a:pt x="234" y="51"/>
                    </a:lnTo>
                    <a:lnTo>
                      <a:pt x="237" y="49"/>
                    </a:lnTo>
                    <a:lnTo>
                      <a:pt x="240" y="48"/>
                    </a:lnTo>
                    <a:lnTo>
                      <a:pt x="242" y="40"/>
                    </a:lnTo>
                    <a:lnTo>
                      <a:pt x="242" y="38"/>
                    </a:lnTo>
                    <a:lnTo>
                      <a:pt x="242" y="37"/>
                    </a:lnTo>
                    <a:lnTo>
                      <a:pt x="242" y="34"/>
                    </a:lnTo>
                    <a:lnTo>
                      <a:pt x="242" y="33"/>
                    </a:lnTo>
                    <a:lnTo>
                      <a:pt x="244" y="30"/>
                    </a:lnTo>
                    <a:lnTo>
                      <a:pt x="247" y="27"/>
                    </a:lnTo>
                    <a:lnTo>
                      <a:pt x="249" y="24"/>
                    </a:lnTo>
                    <a:lnTo>
                      <a:pt x="253" y="23"/>
                    </a:lnTo>
                    <a:lnTo>
                      <a:pt x="271" y="23"/>
                    </a:lnTo>
                    <a:lnTo>
                      <a:pt x="271" y="22"/>
                    </a:lnTo>
                    <a:lnTo>
                      <a:pt x="273" y="22"/>
                    </a:lnTo>
                    <a:lnTo>
                      <a:pt x="274" y="20"/>
                    </a:lnTo>
                    <a:lnTo>
                      <a:pt x="275" y="19"/>
                    </a:lnTo>
                    <a:lnTo>
                      <a:pt x="275" y="18"/>
                    </a:lnTo>
                    <a:lnTo>
                      <a:pt x="277" y="16"/>
                    </a:lnTo>
                    <a:lnTo>
                      <a:pt x="277" y="15"/>
                    </a:lnTo>
                    <a:lnTo>
                      <a:pt x="277" y="13"/>
                    </a:lnTo>
                    <a:lnTo>
                      <a:pt x="264" y="13"/>
                    </a:lnTo>
                    <a:lnTo>
                      <a:pt x="264" y="12"/>
                    </a:lnTo>
                    <a:lnTo>
                      <a:pt x="264" y="11"/>
                    </a:lnTo>
                    <a:lnTo>
                      <a:pt x="266" y="9"/>
                    </a:lnTo>
                    <a:lnTo>
                      <a:pt x="266" y="7"/>
                    </a:lnTo>
                    <a:lnTo>
                      <a:pt x="267" y="5"/>
                    </a:lnTo>
                    <a:lnTo>
                      <a:pt x="270" y="2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80" y="1"/>
                    </a:lnTo>
                    <a:lnTo>
                      <a:pt x="284" y="0"/>
                    </a:lnTo>
                    <a:lnTo>
                      <a:pt x="288" y="0"/>
                    </a:lnTo>
                    <a:lnTo>
                      <a:pt x="291" y="1"/>
                    </a:lnTo>
                    <a:lnTo>
                      <a:pt x="293" y="1"/>
                    </a:lnTo>
                    <a:lnTo>
                      <a:pt x="295" y="4"/>
                    </a:lnTo>
                    <a:lnTo>
                      <a:pt x="295" y="7"/>
                    </a:lnTo>
                    <a:lnTo>
                      <a:pt x="292" y="11"/>
                    </a:lnTo>
                    <a:lnTo>
                      <a:pt x="292" y="12"/>
                    </a:lnTo>
                    <a:lnTo>
                      <a:pt x="293" y="13"/>
                    </a:lnTo>
                    <a:lnTo>
                      <a:pt x="296" y="13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3" y="12"/>
                    </a:lnTo>
                    <a:lnTo>
                      <a:pt x="303" y="11"/>
                    </a:lnTo>
                    <a:lnTo>
                      <a:pt x="303" y="9"/>
                    </a:lnTo>
                    <a:lnTo>
                      <a:pt x="303" y="8"/>
                    </a:lnTo>
                    <a:lnTo>
                      <a:pt x="303" y="7"/>
                    </a:lnTo>
                    <a:lnTo>
                      <a:pt x="303" y="5"/>
                    </a:lnTo>
                    <a:lnTo>
                      <a:pt x="304" y="4"/>
                    </a:lnTo>
                    <a:lnTo>
                      <a:pt x="306" y="4"/>
                    </a:lnTo>
                    <a:lnTo>
                      <a:pt x="307" y="5"/>
                    </a:lnTo>
                    <a:lnTo>
                      <a:pt x="310" y="5"/>
                    </a:lnTo>
                    <a:lnTo>
                      <a:pt x="311" y="8"/>
                    </a:lnTo>
                    <a:lnTo>
                      <a:pt x="314" y="11"/>
                    </a:lnTo>
                    <a:lnTo>
                      <a:pt x="315" y="13"/>
                    </a:lnTo>
                    <a:lnTo>
                      <a:pt x="317" y="16"/>
                    </a:lnTo>
                    <a:lnTo>
                      <a:pt x="318" y="18"/>
                    </a:lnTo>
                    <a:lnTo>
                      <a:pt x="318" y="20"/>
                    </a:lnTo>
                    <a:lnTo>
                      <a:pt x="320" y="22"/>
                    </a:lnTo>
                    <a:lnTo>
                      <a:pt x="320" y="23"/>
                    </a:lnTo>
                    <a:lnTo>
                      <a:pt x="335" y="18"/>
                    </a:lnTo>
                    <a:lnTo>
                      <a:pt x="337" y="18"/>
                    </a:lnTo>
                    <a:lnTo>
                      <a:pt x="340" y="18"/>
                    </a:lnTo>
                    <a:lnTo>
                      <a:pt x="344" y="18"/>
                    </a:lnTo>
                    <a:lnTo>
                      <a:pt x="348" y="18"/>
                    </a:lnTo>
                    <a:lnTo>
                      <a:pt x="353" y="19"/>
                    </a:lnTo>
                    <a:lnTo>
                      <a:pt x="357" y="22"/>
                    </a:lnTo>
                    <a:lnTo>
                      <a:pt x="359" y="24"/>
                    </a:lnTo>
                    <a:lnTo>
                      <a:pt x="361" y="29"/>
                    </a:lnTo>
                    <a:lnTo>
                      <a:pt x="361" y="31"/>
                    </a:lnTo>
                    <a:lnTo>
                      <a:pt x="362" y="33"/>
                    </a:lnTo>
                    <a:lnTo>
                      <a:pt x="361" y="35"/>
                    </a:lnTo>
                    <a:lnTo>
                      <a:pt x="361" y="37"/>
                    </a:lnTo>
                    <a:lnTo>
                      <a:pt x="359" y="37"/>
                    </a:lnTo>
                    <a:lnTo>
                      <a:pt x="358" y="38"/>
                    </a:lnTo>
                    <a:lnTo>
                      <a:pt x="357" y="40"/>
                    </a:lnTo>
                    <a:lnTo>
                      <a:pt x="354" y="41"/>
                    </a:lnTo>
                    <a:lnTo>
                      <a:pt x="353" y="42"/>
                    </a:lnTo>
                    <a:lnTo>
                      <a:pt x="348" y="46"/>
                    </a:lnTo>
                    <a:lnTo>
                      <a:pt x="346" y="51"/>
                    </a:lnTo>
                    <a:lnTo>
                      <a:pt x="344" y="55"/>
                    </a:lnTo>
                    <a:lnTo>
                      <a:pt x="342" y="59"/>
                    </a:lnTo>
                    <a:lnTo>
                      <a:pt x="342" y="62"/>
                    </a:lnTo>
                    <a:lnTo>
                      <a:pt x="342" y="63"/>
                    </a:lnTo>
                    <a:lnTo>
                      <a:pt x="344" y="66"/>
                    </a:lnTo>
                    <a:lnTo>
                      <a:pt x="350" y="71"/>
                    </a:lnTo>
                    <a:lnTo>
                      <a:pt x="358" y="77"/>
                    </a:lnTo>
                    <a:lnTo>
                      <a:pt x="368" y="82"/>
                    </a:lnTo>
                    <a:lnTo>
                      <a:pt x="377" y="89"/>
                    </a:lnTo>
                    <a:lnTo>
                      <a:pt x="386" y="93"/>
                    </a:lnTo>
                    <a:lnTo>
                      <a:pt x="391" y="97"/>
                    </a:lnTo>
                    <a:lnTo>
                      <a:pt x="392" y="99"/>
                    </a:lnTo>
                    <a:lnTo>
                      <a:pt x="394" y="99"/>
                    </a:lnTo>
                    <a:lnTo>
                      <a:pt x="395" y="99"/>
                    </a:lnTo>
                    <a:lnTo>
                      <a:pt x="397" y="100"/>
                    </a:lnTo>
                    <a:lnTo>
                      <a:pt x="399" y="100"/>
                    </a:lnTo>
                    <a:lnTo>
                      <a:pt x="402" y="100"/>
                    </a:lnTo>
                    <a:lnTo>
                      <a:pt x="405" y="99"/>
                    </a:lnTo>
                    <a:lnTo>
                      <a:pt x="408" y="97"/>
                    </a:lnTo>
                    <a:lnTo>
                      <a:pt x="410" y="93"/>
                    </a:lnTo>
                    <a:lnTo>
                      <a:pt x="413" y="89"/>
                    </a:lnTo>
                    <a:lnTo>
                      <a:pt x="414" y="84"/>
                    </a:lnTo>
                    <a:lnTo>
                      <a:pt x="417" y="75"/>
                    </a:lnTo>
                    <a:lnTo>
                      <a:pt x="419" y="68"/>
                    </a:lnTo>
                    <a:lnTo>
                      <a:pt x="421" y="62"/>
                    </a:lnTo>
                    <a:lnTo>
                      <a:pt x="423" y="56"/>
                    </a:lnTo>
                    <a:lnTo>
                      <a:pt x="423" y="52"/>
                    </a:lnTo>
                    <a:lnTo>
                      <a:pt x="423" y="51"/>
                    </a:lnTo>
                    <a:lnTo>
                      <a:pt x="427" y="13"/>
                    </a:lnTo>
                    <a:lnTo>
                      <a:pt x="427" y="11"/>
                    </a:lnTo>
                    <a:lnTo>
                      <a:pt x="427" y="8"/>
                    </a:lnTo>
                    <a:lnTo>
                      <a:pt x="427" y="5"/>
                    </a:lnTo>
                    <a:lnTo>
                      <a:pt x="428" y="2"/>
                    </a:lnTo>
                    <a:lnTo>
                      <a:pt x="430" y="1"/>
                    </a:lnTo>
                    <a:lnTo>
                      <a:pt x="434" y="0"/>
                    </a:lnTo>
                    <a:lnTo>
                      <a:pt x="438" y="1"/>
                    </a:lnTo>
                    <a:lnTo>
                      <a:pt x="443" y="2"/>
                    </a:lnTo>
                    <a:lnTo>
                      <a:pt x="446" y="7"/>
                    </a:lnTo>
                    <a:lnTo>
                      <a:pt x="449" y="11"/>
                    </a:lnTo>
                    <a:lnTo>
                      <a:pt x="450" y="16"/>
                    </a:lnTo>
                    <a:lnTo>
                      <a:pt x="450" y="20"/>
                    </a:lnTo>
                    <a:lnTo>
                      <a:pt x="450" y="24"/>
                    </a:lnTo>
                    <a:lnTo>
                      <a:pt x="449" y="26"/>
                    </a:lnTo>
                    <a:lnTo>
                      <a:pt x="449" y="27"/>
                    </a:lnTo>
                    <a:lnTo>
                      <a:pt x="449" y="29"/>
                    </a:lnTo>
                    <a:lnTo>
                      <a:pt x="449" y="31"/>
                    </a:lnTo>
                    <a:lnTo>
                      <a:pt x="449" y="35"/>
                    </a:lnTo>
                    <a:lnTo>
                      <a:pt x="449" y="40"/>
                    </a:lnTo>
                    <a:lnTo>
                      <a:pt x="449" y="44"/>
                    </a:lnTo>
                    <a:lnTo>
                      <a:pt x="450" y="48"/>
                    </a:lnTo>
                    <a:lnTo>
                      <a:pt x="452" y="51"/>
                    </a:lnTo>
                    <a:lnTo>
                      <a:pt x="454" y="51"/>
                    </a:lnTo>
                    <a:lnTo>
                      <a:pt x="457" y="51"/>
                    </a:lnTo>
                    <a:lnTo>
                      <a:pt x="460" y="51"/>
                    </a:lnTo>
                    <a:lnTo>
                      <a:pt x="463" y="51"/>
                    </a:lnTo>
                    <a:lnTo>
                      <a:pt x="465" y="51"/>
                    </a:lnTo>
                    <a:lnTo>
                      <a:pt x="468" y="52"/>
                    </a:lnTo>
                    <a:lnTo>
                      <a:pt x="469" y="53"/>
                    </a:lnTo>
                    <a:lnTo>
                      <a:pt x="471" y="56"/>
                    </a:lnTo>
                    <a:lnTo>
                      <a:pt x="472" y="60"/>
                    </a:lnTo>
                    <a:lnTo>
                      <a:pt x="474" y="64"/>
                    </a:lnTo>
                    <a:lnTo>
                      <a:pt x="475" y="68"/>
                    </a:lnTo>
                    <a:lnTo>
                      <a:pt x="478" y="73"/>
                    </a:lnTo>
                    <a:lnTo>
                      <a:pt x="480" y="75"/>
                    </a:lnTo>
                    <a:lnTo>
                      <a:pt x="482" y="78"/>
                    </a:lnTo>
                    <a:lnTo>
                      <a:pt x="485" y="79"/>
                    </a:lnTo>
                    <a:lnTo>
                      <a:pt x="486" y="81"/>
                    </a:lnTo>
                    <a:lnTo>
                      <a:pt x="486" y="82"/>
                    </a:lnTo>
                    <a:lnTo>
                      <a:pt x="487" y="85"/>
                    </a:lnTo>
                    <a:lnTo>
                      <a:pt x="489" y="88"/>
                    </a:lnTo>
                    <a:lnTo>
                      <a:pt x="490" y="93"/>
                    </a:lnTo>
                    <a:lnTo>
                      <a:pt x="493" y="97"/>
                    </a:lnTo>
                    <a:lnTo>
                      <a:pt x="494" y="103"/>
                    </a:lnTo>
                    <a:lnTo>
                      <a:pt x="496" y="106"/>
                    </a:lnTo>
                    <a:lnTo>
                      <a:pt x="496" y="108"/>
                    </a:lnTo>
                    <a:lnTo>
                      <a:pt x="497" y="112"/>
                    </a:lnTo>
                    <a:lnTo>
                      <a:pt x="500" y="115"/>
                    </a:lnTo>
                    <a:lnTo>
                      <a:pt x="504" y="121"/>
                    </a:lnTo>
                    <a:lnTo>
                      <a:pt x="508" y="125"/>
                    </a:lnTo>
                    <a:lnTo>
                      <a:pt x="512" y="129"/>
                    </a:lnTo>
                    <a:lnTo>
                      <a:pt x="516" y="132"/>
                    </a:lnTo>
                    <a:lnTo>
                      <a:pt x="519" y="134"/>
                    </a:lnTo>
                    <a:lnTo>
                      <a:pt x="520" y="136"/>
                    </a:lnTo>
                    <a:lnTo>
                      <a:pt x="541" y="162"/>
                    </a:lnTo>
                    <a:lnTo>
                      <a:pt x="541" y="172"/>
                    </a:lnTo>
                    <a:lnTo>
                      <a:pt x="579" y="202"/>
                    </a:lnTo>
                    <a:lnTo>
                      <a:pt x="581" y="203"/>
                    </a:lnTo>
                    <a:lnTo>
                      <a:pt x="584" y="206"/>
                    </a:lnTo>
                    <a:lnTo>
                      <a:pt x="586" y="210"/>
                    </a:lnTo>
                    <a:lnTo>
                      <a:pt x="591" y="217"/>
                    </a:lnTo>
                    <a:lnTo>
                      <a:pt x="595" y="224"/>
                    </a:lnTo>
                    <a:lnTo>
                      <a:pt x="599" y="232"/>
                    </a:lnTo>
                    <a:lnTo>
                      <a:pt x="602" y="240"/>
                    </a:lnTo>
                    <a:lnTo>
                      <a:pt x="603" y="250"/>
                    </a:lnTo>
                    <a:lnTo>
                      <a:pt x="603" y="260"/>
                    </a:lnTo>
                    <a:lnTo>
                      <a:pt x="604" y="271"/>
                    </a:lnTo>
                    <a:lnTo>
                      <a:pt x="604" y="283"/>
                    </a:lnTo>
                    <a:lnTo>
                      <a:pt x="604" y="295"/>
                    </a:lnTo>
                    <a:lnTo>
                      <a:pt x="606" y="306"/>
                    </a:lnTo>
                    <a:lnTo>
                      <a:pt x="606" y="315"/>
                    </a:lnTo>
                    <a:lnTo>
                      <a:pt x="606" y="321"/>
                    </a:lnTo>
                    <a:lnTo>
                      <a:pt x="606" y="323"/>
                    </a:lnTo>
                    <a:lnTo>
                      <a:pt x="606" y="324"/>
                    </a:lnTo>
                    <a:lnTo>
                      <a:pt x="604" y="327"/>
                    </a:lnTo>
                    <a:lnTo>
                      <a:pt x="603" y="330"/>
                    </a:lnTo>
                    <a:lnTo>
                      <a:pt x="600" y="335"/>
                    </a:lnTo>
                    <a:lnTo>
                      <a:pt x="596" y="339"/>
                    </a:lnTo>
                    <a:lnTo>
                      <a:pt x="592" y="343"/>
                    </a:lnTo>
                    <a:lnTo>
                      <a:pt x="586" y="347"/>
                    </a:lnTo>
                    <a:lnTo>
                      <a:pt x="581" y="350"/>
                    </a:lnTo>
                    <a:lnTo>
                      <a:pt x="571" y="371"/>
                    </a:lnTo>
                    <a:lnTo>
                      <a:pt x="571" y="372"/>
                    </a:lnTo>
                    <a:lnTo>
                      <a:pt x="570" y="375"/>
                    </a:lnTo>
                    <a:lnTo>
                      <a:pt x="568" y="379"/>
                    </a:lnTo>
                    <a:lnTo>
                      <a:pt x="567" y="385"/>
                    </a:lnTo>
                    <a:lnTo>
                      <a:pt x="564" y="391"/>
                    </a:lnTo>
                    <a:lnTo>
                      <a:pt x="562" y="396"/>
                    </a:lnTo>
                    <a:lnTo>
                      <a:pt x="559" y="400"/>
                    </a:lnTo>
                    <a:lnTo>
                      <a:pt x="556" y="402"/>
                    </a:lnTo>
                    <a:lnTo>
                      <a:pt x="552" y="404"/>
                    </a:lnTo>
                    <a:lnTo>
                      <a:pt x="551" y="405"/>
                    </a:lnTo>
                    <a:lnTo>
                      <a:pt x="548" y="408"/>
                    </a:lnTo>
                    <a:lnTo>
                      <a:pt x="548" y="409"/>
                    </a:lnTo>
                    <a:lnTo>
                      <a:pt x="546" y="412"/>
                    </a:lnTo>
                    <a:lnTo>
                      <a:pt x="546" y="416"/>
                    </a:lnTo>
                    <a:lnTo>
                      <a:pt x="548" y="420"/>
                    </a:lnTo>
                    <a:lnTo>
                      <a:pt x="549" y="426"/>
                    </a:lnTo>
                    <a:lnTo>
                      <a:pt x="551" y="430"/>
                    </a:lnTo>
                    <a:lnTo>
                      <a:pt x="552" y="435"/>
                    </a:lnTo>
                    <a:lnTo>
                      <a:pt x="553" y="440"/>
                    </a:lnTo>
                    <a:lnTo>
                      <a:pt x="555" y="444"/>
                    </a:lnTo>
                    <a:lnTo>
                      <a:pt x="555" y="446"/>
                    </a:lnTo>
                    <a:lnTo>
                      <a:pt x="553" y="451"/>
                    </a:lnTo>
                    <a:lnTo>
                      <a:pt x="551" y="453"/>
                    </a:lnTo>
                    <a:lnTo>
                      <a:pt x="548" y="456"/>
                    </a:lnTo>
                    <a:lnTo>
                      <a:pt x="542" y="459"/>
                    </a:lnTo>
                    <a:lnTo>
                      <a:pt x="535" y="464"/>
                    </a:lnTo>
                    <a:lnTo>
                      <a:pt x="527" y="468"/>
                    </a:lnTo>
                    <a:lnTo>
                      <a:pt x="518" y="474"/>
                    </a:lnTo>
                    <a:lnTo>
                      <a:pt x="509" y="478"/>
                    </a:lnTo>
                    <a:lnTo>
                      <a:pt x="502" y="481"/>
                    </a:lnTo>
                    <a:lnTo>
                      <a:pt x="497" y="484"/>
                    </a:lnTo>
                    <a:lnTo>
                      <a:pt x="496" y="485"/>
                    </a:lnTo>
                    <a:lnTo>
                      <a:pt x="493" y="484"/>
                    </a:lnTo>
                    <a:lnTo>
                      <a:pt x="491" y="482"/>
                    </a:lnTo>
                    <a:lnTo>
                      <a:pt x="487" y="481"/>
                    </a:lnTo>
                    <a:lnTo>
                      <a:pt x="485" y="479"/>
                    </a:lnTo>
                    <a:lnTo>
                      <a:pt x="480" y="477"/>
                    </a:lnTo>
                    <a:lnTo>
                      <a:pt x="478" y="474"/>
                    </a:lnTo>
                    <a:lnTo>
                      <a:pt x="475" y="470"/>
                    </a:lnTo>
                    <a:lnTo>
                      <a:pt x="472" y="467"/>
                    </a:lnTo>
                    <a:lnTo>
                      <a:pt x="469" y="466"/>
                    </a:lnTo>
                    <a:lnTo>
                      <a:pt x="468" y="464"/>
                    </a:lnTo>
                    <a:lnTo>
                      <a:pt x="467" y="466"/>
                    </a:lnTo>
                    <a:lnTo>
                      <a:pt x="464" y="466"/>
                    </a:lnTo>
                    <a:lnTo>
                      <a:pt x="463" y="467"/>
                    </a:lnTo>
                    <a:lnTo>
                      <a:pt x="460" y="468"/>
                    </a:lnTo>
                    <a:lnTo>
                      <a:pt x="457" y="470"/>
                    </a:lnTo>
                    <a:lnTo>
                      <a:pt x="454" y="471"/>
                    </a:lnTo>
                    <a:lnTo>
                      <a:pt x="450" y="473"/>
                    </a:lnTo>
                    <a:lnTo>
                      <a:pt x="446" y="471"/>
                    </a:lnTo>
                    <a:lnTo>
                      <a:pt x="443" y="471"/>
                    </a:lnTo>
                    <a:lnTo>
                      <a:pt x="439" y="470"/>
                    </a:lnTo>
                    <a:lnTo>
                      <a:pt x="438" y="468"/>
                    </a:lnTo>
                    <a:lnTo>
                      <a:pt x="435" y="467"/>
                    </a:lnTo>
                    <a:lnTo>
                      <a:pt x="412" y="466"/>
                    </a:lnTo>
                    <a:lnTo>
                      <a:pt x="412" y="464"/>
                    </a:lnTo>
                    <a:lnTo>
                      <a:pt x="410" y="462"/>
                    </a:lnTo>
                    <a:lnTo>
                      <a:pt x="408" y="456"/>
                    </a:lnTo>
                    <a:lnTo>
                      <a:pt x="403" y="451"/>
                    </a:lnTo>
                    <a:lnTo>
                      <a:pt x="401" y="444"/>
                    </a:lnTo>
                    <a:lnTo>
                      <a:pt x="398" y="437"/>
                    </a:lnTo>
                    <a:lnTo>
                      <a:pt x="395" y="429"/>
                    </a:lnTo>
                    <a:lnTo>
                      <a:pt x="394" y="420"/>
                    </a:lnTo>
                    <a:lnTo>
                      <a:pt x="377" y="397"/>
                    </a:lnTo>
                    <a:lnTo>
                      <a:pt x="350" y="396"/>
                    </a:lnTo>
                    <a:lnTo>
                      <a:pt x="326" y="378"/>
                    </a:lnTo>
                    <a:lnTo>
                      <a:pt x="326" y="376"/>
                    </a:lnTo>
                    <a:lnTo>
                      <a:pt x="324" y="374"/>
                    </a:lnTo>
                    <a:lnTo>
                      <a:pt x="318" y="369"/>
                    </a:lnTo>
                    <a:lnTo>
                      <a:pt x="313" y="364"/>
                    </a:lnTo>
                    <a:lnTo>
                      <a:pt x="303" y="360"/>
                    </a:lnTo>
                    <a:lnTo>
                      <a:pt x="292" y="354"/>
                    </a:lnTo>
                    <a:lnTo>
                      <a:pt x="278" y="350"/>
                    </a:lnTo>
                    <a:lnTo>
                      <a:pt x="262" y="347"/>
                    </a:lnTo>
                    <a:lnTo>
                      <a:pt x="260" y="347"/>
                    </a:lnTo>
                    <a:lnTo>
                      <a:pt x="256" y="349"/>
                    </a:lnTo>
                    <a:lnTo>
                      <a:pt x="249" y="350"/>
                    </a:lnTo>
                    <a:lnTo>
                      <a:pt x="242" y="352"/>
                    </a:lnTo>
                    <a:lnTo>
                      <a:pt x="234" y="353"/>
                    </a:lnTo>
                    <a:lnTo>
                      <a:pt x="226" y="356"/>
                    </a:lnTo>
                    <a:lnTo>
                      <a:pt x="219" y="358"/>
                    </a:lnTo>
                    <a:lnTo>
                      <a:pt x="212" y="363"/>
                    </a:lnTo>
                    <a:lnTo>
                      <a:pt x="171" y="386"/>
                    </a:lnTo>
                    <a:lnTo>
                      <a:pt x="161" y="386"/>
                    </a:lnTo>
                    <a:lnTo>
                      <a:pt x="161" y="387"/>
                    </a:lnTo>
                    <a:lnTo>
                      <a:pt x="160" y="389"/>
                    </a:lnTo>
                    <a:lnTo>
                      <a:pt x="160" y="391"/>
                    </a:lnTo>
                    <a:lnTo>
                      <a:pt x="159" y="394"/>
                    </a:lnTo>
                    <a:lnTo>
                      <a:pt x="156" y="397"/>
                    </a:lnTo>
                    <a:lnTo>
                      <a:pt x="154" y="400"/>
                    </a:lnTo>
                    <a:lnTo>
                      <a:pt x="152" y="402"/>
                    </a:lnTo>
                    <a:lnTo>
                      <a:pt x="149" y="404"/>
                    </a:lnTo>
                    <a:lnTo>
                      <a:pt x="145" y="405"/>
                    </a:lnTo>
                    <a:lnTo>
                      <a:pt x="141" y="405"/>
                    </a:lnTo>
                    <a:lnTo>
                      <a:pt x="137" y="404"/>
                    </a:lnTo>
                    <a:lnTo>
                      <a:pt x="132" y="404"/>
                    </a:lnTo>
                    <a:lnTo>
                      <a:pt x="128" y="404"/>
                    </a:lnTo>
                    <a:lnTo>
                      <a:pt x="126" y="402"/>
                    </a:lnTo>
                    <a:lnTo>
                      <a:pt x="124" y="402"/>
                    </a:lnTo>
                    <a:lnTo>
                      <a:pt x="123" y="402"/>
                    </a:lnTo>
                    <a:lnTo>
                      <a:pt x="95" y="401"/>
                    </a:lnTo>
                    <a:lnTo>
                      <a:pt x="94" y="402"/>
                    </a:lnTo>
                    <a:lnTo>
                      <a:pt x="93" y="402"/>
                    </a:lnTo>
                    <a:lnTo>
                      <a:pt x="90" y="404"/>
                    </a:lnTo>
                    <a:lnTo>
                      <a:pt x="88" y="405"/>
                    </a:lnTo>
                    <a:lnTo>
                      <a:pt x="86" y="408"/>
                    </a:lnTo>
                    <a:lnTo>
                      <a:pt x="83" y="409"/>
                    </a:lnTo>
                    <a:lnTo>
                      <a:pt x="82" y="412"/>
                    </a:lnTo>
                    <a:lnTo>
                      <a:pt x="80" y="415"/>
                    </a:lnTo>
                    <a:lnTo>
                      <a:pt x="79" y="416"/>
                    </a:lnTo>
                    <a:lnTo>
                      <a:pt x="76" y="418"/>
                    </a:lnTo>
                    <a:lnTo>
                      <a:pt x="75" y="419"/>
                    </a:lnTo>
                    <a:lnTo>
                      <a:pt x="72" y="419"/>
                    </a:lnTo>
                    <a:lnTo>
                      <a:pt x="69" y="419"/>
                    </a:lnTo>
                    <a:lnTo>
                      <a:pt x="66" y="419"/>
                    </a:lnTo>
                    <a:lnTo>
                      <a:pt x="62" y="419"/>
                    </a:lnTo>
                    <a:lnTo>
                      <a:pt x="58" y="419"/>
                    </a:lnTo>
                    <a:lnTo>
                      <a:pt x="54" y="419"/>
                    </a:lnTo>
                    <a:lnTo>
                      <a:pt x="50" y="419"/>
                    </a:lnTo>
                    <a:lnTo>
                      <a:pt x="46" y="418"/>
                    </a:lnTo>
                    <a:lnTo>
                      <a:pt x="42" y="416"/>
                    </a:lnTo>
                    <a:lnTo>
                      <a:pt x="40" y="415"/>
                    </a:lnTo>
                    <a:lnTo>
                      <a:pt x="39" y="413"/>
                    </a:lnTo>
                    <a:lnTo>
                      <a:pt x="39" y="411"/>
                    </a:lnTo>
                    <a:lnTo>
                      <a:pt x="39" y="408"/>
                    </a:lnTo>
                    <a:lnTo>
                      <a:pt x="39" y="405"/>
                    </a:lnTo>
                    <a:lnTo>
                      <a:pt x="38" y="405"/>
                    </a:lnTo>
                    <a:lnTo>
                      <a:pt x="36" y="405"/>
                    </a:lnTo>
                    <a:lnTo>
                      <a:pt x="35" y="407"/>
                    </a:lnTo>
                    <a:lnTo>
                      <a:pt x="32" y="407"/>
                    </a:lnTo>
                    <a:lnTo>
                      <a:pt x="31" y="408"/>
                    </a:lnTo>
                    <a:lnTo>
                      <a:pt x="29" y="409"/>
                    </a:lnTo>
                    <a:lnTo>
                      <a:pt x="28" y="409"/>
                    </a:lnTo>
                    <a:lnTo>
                      <a:pt x="25" y="408"/>
                    </a:lnTo>
                    <a:lnTo>
                      <a:pt x="22" y="405"/>
                    </a:lnTo>
                    <a:lnTo>
                      <a:pt x="21" y="402"/>
                    </a:lnTo>
                    <a:lnTo>
                      <a:pt x="20" y="400"/>
                    </a:lnTo>
                    <a:lnTo>
                      <a:pt x="21" y="396"/>
                    </a:lnTo>
                    <a:lnTo>
                      <a:pt x="24" y="391"/>
                    </a:lnTo>
                    <a:lnTo>
                      <a:pt x="31" y="387"/>
                    </a:lnTo>
                    <a:lnTo>
                      <a:pt x="36" y="357"/>
                    </a:lnTo>
                    <a:lnTo>
                      <a:pt x="36" y="356"/>
                    </a:lnTo>
                    <a:lnTo>
                      <a:pt x="36" y="353"/>
                    </a:lnTo>
                    <a:lnTo>
                      <a:pt x="35" y="349"/>
                    </a:lnTo>
                    <a:lnTo>
                      <a:pt x="32" y="345"/>
                    </a:lnTo>
                    <a:lnTo>
                      <a:pt x="31" y="339"/>
                    </a:lnTo>
                    <a:lnTo>
                      <a:pt x="29" y="335"/>
                    </a:lnTo>
                    <a:lnTo>
                      <a:pt x="27" y="332"/>
                    </a:lnTo>
                    <a:lnTo>
                      <a:pt x="25" y="330"/>
                    </a:lnTo>
                    <a:lnTo>
                      <a:pt x="24" y="327"/>
                    </a:lnTo>
                    <a:lnTo>
                      <a:pt x="21" y="320"/>
                    </a:lnTo>
                    <a:lnTo>
                      <a:pt x="17" y="309"/>
                    </a:lnTo>
                    <a:lnTo>
                      <a:pt x="13" y="298"/>
                    </a:lnTo>
                    <a:lnTo>
                      <a:pt x="9" y="286"/>
                    </a:lnTo>
                    <a:lnTo>
                      <a:pt x="7" y="275"/>
                    </a:lnTo>
                    <a:lnTo>
                      <a:pt x="6" y="265"/>
                    </a:lnTo>
                    <a:lnTo>
                      <a:pt x="6" y="260"/>
                    </a:lnTo>
                    <a:lnTo>
                      <a:pt x="9" y="257"/>
                    </a:lnTo>
                    <a:lnTo>
                      <a:pt x="10" y="253"/>
                    </a:lnTo>
                    <a:lnTo>
                      <a:pt x="10" y="249"/>
                    </a:lnTo>
                    <a:lnTo>
                      <a:pt x="10" y="243"/>
                    </a:lnTo>
                    <a:lnTo>
                      <a:pt x="10" y="239"/>
                    </a:lnTo>
                    <a:lnTo>
                      <a:pt x="9" y="235"/>
                    </a:lnTo>
                    <a:lnTo>
                      <a:pt x="7" y="232"/>
                    </a:lnTo>
                    <a:lnTo>
                      <a:pt x="6" y="231"/>
                    </a:lnTo>
                    <a:lnTo>
                      <a:pt x="6" y="228"/>
                    </a:lnTo>
                    <a:lnTo>
                      <a:pt x="4" y="224"/>
                    </a:lnTo>
                    <a:lnTo>
                      <a:pt x="3" y="218"/>
                    </a:lnTo>
                    <a:lnTo>
                      <a:pt x="2" y="211"/>
                    </a:lnTo>
                    <a:lnTo>
                      <a:pt x="0" y="206"/>
                    </a:lnTo>
                    <a:lnTo>
                      <a:pt x="2" y="200"/>
                    </a:lnTo>
                    <a:lnTo>
                      <a:pt x="3" y="195"/>
                    </a:lnTo>
                    <a:lnTo>
                      <a:pt x="6" y="191"/>
                    </a:lnTo>
                    <a:lnTo>
                      <a:pt x="10" y="188"/>
                    </a:lnTo>
                    <a:lnTo>
                      <a:pt x="15" y="184"/>
                    </a:lnTo>
                    <a:lnTo>
                      <a:pt x="20" y="180"/>
                    </a:lnTo>
                    <a:lnTo>
                      <a:pt x="25" y="174"/>
                    </a:lnTo>
                    <a:lnTo>
                      <a:pt x="29" y="170"/>
                    </a:lnTo>
                    <a:lnTo>
                      <a:pt x="33" y="167"/>
                    </a:lnTo>
                    <a:lnTo>
                      <a:pt x="36" y="165"/>
                    </a:lnTo>
                    <a:lnTo>
                      <a:pt x="36" y="163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89" name="Freeform 98"/>
              <p:cNvSpPr>
                <a:spLocks/>
              </p:cNvSpPr>
              <p:nvPr/>
            </p:nvSpPr>
            <p:spPr bwMode="auto">
              <a:xfrm>
                <a:off x="4643" y="2896"/>
                <a:ext cx="16" cy="42"/>
              </a:xfrm>
              <a:custGeom>
                <a:avLst/>
                <a:gdLst>
                  <a:gd name="T0" fmla="*/ 8 w 16"/>
                  <a:gd name="T1" fmla="*/ 0 h 42"/>
                  <a:gd name="T2" fmla="*/ 11 w 16"/>
                  <a:gd name="T3" fmla="*/ 0 h 42"/>
                  <a:gd name="T4" fmla="*/ 12 w 16"/>
                  <a:gd name="T5" fmla="*/ 2 h 42"/>
                  <a:gd name="T6" fmla="*/ 14 w 16"/>
                  <a:gd name="T7" fmla="*/ 3 h 42"/>
                  <a:gd name="T8" fmla="*/ 15 w 16"/>
                  <a:gd name="T9" fmla="*/ 6 h 42"/>
                  <a:gd name="T10" fmla="*/ 15 w 16"/>
                  <a:gd name="T11" fmla="*/ 10 h 42"/>
                  <a:gd name="T12" fmla="*/ 16 w 16"/>
                  <a:gd name="T13" fmla="*/ 13 h 42"/>
                  <a:gd name="T14" fmla="*/ 16 w 16"/>
                  <a:gd name="T15" fmla="*/ 17 h 42"/>
                  <a:gd name="T16" fmla="*/ 16 w 16"/>
                  <a:gd name="T17" fmla="*/ 21 h 42"/>
                  <a:gd name="T18" fmla="*/ 16 w 16"/>
                  <a:gd name="T19" fmla="*/ 25 h 42"/>
                  <a:gd name="T20" fmla="*/ 16 w 16"/>
                  <a:gd name="T21" fmla="*/ 29 h 42"/>
                  <a:gd name="T22" fmla="*/ 15 w 16"/>
                  <a:gd name="T23" fmla="*/ 32 h 42"/>
                  <a:gd name="T24" fmla="*/ 15 w 16"/>
                  <a:gd name="T25" fmla="*/ 36 h 42"/>
                  <a:gd name="T26" fmla="*/ 14 w 16"/>
                  <a:gd name="T27" fmla="*/ 39 h 42"/>
                  <a:gd name="T28" fmla="*/ 12 w 16"/>
                  <a:gd name="T29" fmla="*/ 40 h 42"/>
                  <a:gd name="T30" fmla="*/ 11 w 16"/>
                  <a:gd name="T31" fmla="*/ 42 h 42"/>
                  <a:gd name="T32" fmla="*/ 8 w 16"/>
                  <a:gd name="T33" fmla="*/ 42 h 42"/>
                  <a:gd name="T34" fmla="*/ 7 w 16"/>
                  <a:gd name="T35" fmla="*/ 42 h 42"/>
                  <a:gd name="T36" fmla="*/ 5 w 16"/>
                  <a:gd name="T37" fmla="*/ 40 h 42"/>
                  <a:gd name="T38" fmla="*/ 4 w 16"/>
                  <a:gd name="T39" fmla="*/ 39 h 42"/>
                  <a:gd name="T40" fmla="*/ 3 w 16"/>
                  <a:gd name="T41" fmla="*/ 36 h 42"/>
                  <a:gd name="T42" fmla="*/ 1 w 16"/>
                  <a:gd name="T43" fmla="*/ 32 h 42"/>
                  <a:gd name="T44" fmla="*/ 1 w 16"/>
                  <a:gd name="T45" fmla="*/ 29 h 42"/>
                  <a:gd name="T46" fmla="*/ 1 w 16"/>
                  <a:gd name="T47" fmla="*/ 25 h 42"/>
                  <a:gd name="T48" fmla="*/ 0 w 16"/>
                  <a:gd name="T49" fmla="*/ 21 h 42"/>
                  <a:gd name="T50" fmla="*/ 1 w 16"/>
                  <a:gd name="T51" fmla="*/ 17 h 42"/>
                  <a:gd name="T52" fmla="*/ 1 w 16"/>
                  <a:gd name="T53" fmla="*/ 13 h 42"/>
                  <a:gd name="T54" fmla="*/ 1 w 16"/>
                  <a:gd name="T55" fmla="*/ 10 h 42"/>
                  <a:gd name="T56" fmla="*/ 3 w 16"/>
                  <a:gd name="T57" fmla="*/ 6 h 42"/>
                  <a:gd name="T58" fmla="*/ 4 w 16"/>
                  <a:gd name="T59" fmla="*/ 3 h 42"/>
                  <a:gd name="T60" fmla="*/ 5 w 16"/>
                  <a:gd name="T61" fmla="*/ 2 h 42"/>
                  <a:gd name="T62" fmla="*/ 7 w 16"/>
                  <a:gd name="T63" fmla="*/ 0 h 42"/>
                  <a:gd name="T64" fmla="*/ 8 w 16"/>
                  <a:gd name="T6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2">
                    <a:moveTo>
                      <a:pt x="8" y="0"/>
                    </a:moveTo>
                    <a:lnTo>
                      <a:pt x="11" y="0"/>
                    </a:lnTo>
                    <a:lnTo>
                      <a:pt x="12" y="2"/>
                    </a:lnTo>
                    <a:lnTo>
                      <a:pt x="14" y="3"/>
                    </a:lnTo>
                    <a:lnTo>
                      <a:pt x="15" y="6"/>
                    </a:lnTo>
                    <a:lnTo>
                      <a:pt x="15" y="10"/>
                    </a:lnTo>
                    <a:lnTo>
                      <a:pt x="16" y="13"/>
                    </a:lnTo>
                    <a:lnTo>
                      <a:pt x="16" y="17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5" y="36"/>
                    </a:lnTo>
                    <a:lnTo>
                      <a:pt x="14" y="39"/>
                    </a:lnTo>
                    <a:lnTo>
                      <a:pt x="12" y="40"/>
                    </a:lnTo>
                    <a:lnTo>
                      <a:pt x="11" y="42"/>
                    </a:lnTo>
                    <a:lnTo>
                      <a:pt x="8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4" y="39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1" y="29"/>
                    </a:lnTo>
                    <a:lnTo>
                      <a:pt x="1" y="25"/>
                    </a:lnTo>
                    <a:lnTo>
                      <a:pt x="0" y="21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3" y="6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0" name="Freeform 99"/>
              <p:cNvSpPr>
                <a:spLocks/>
              </p:cNvSpPr>
              <p:nvPr/>
            </p:nvSpPr>
            <p:spPr bwMode="auto">
              <a:xfrm>
                <a:off x="4643" y="2896"/>
                <a:ext cx="16" cy="42"/>
              </a:xfrm>
              <a:custGeom>
                <a:avLst/>
                <a:gdLst>
                  <a:gd name="T0" fmla="*/ 8 w 16"/>
                  <a:gd name="T1" fmla="*/ 0 h 42"/>
                  <a:gd name="T2" fmla="*/ 11 w 16"/>
                  <a:gd name="T3" fmla="*/ 0 h 42"/>
                  <a:gd name="T4" fmla="*/ 12 w 16"/>
                  <a:gd name="T5" fmla="*/ 2 h 42"/>
                  <a:gd name="T6" fmla="*/ 14 w 16"/>
                  <a:gd name="T7" fmla="*/ 3 h 42"/>
                  <a:gd name="T8" fmla="*/ 15 w 16"/>
                  <a:gd name="T9" fmla="*/ 6 h 42"/>
                  <a:gd name="T10" fmla="*/ 15 w 16"/>
                  <a:gd name="T11" fmla="*/ 10 h 42"/>
                  <a:gd name="T12" fmla="*/ 16 w 16"/>
                  <a:gd name="T13" fmla="*/ 13 h 42"/>
                  <a:gd name="T14" fmla="*/ 16 w 16"/>
                  <a:gd name="T15" fmla="*/ 17 h 42"/>
                  <a:gd name="T16" fmla="*/ 16 w 16"/>
                  <a:gd name="T17" fmla="*/ 21 h 42"/>
                  <a:gd name="T18" fmla="*/ 16 w 16"/>
                  <a:gd name="T19" fmla="*/ 25 h 42"/>
                  <a:gd name="T20" fmla="*/ 16 w 16"/>
                  <a:gd name="T21" fmla="*/ 29 h 42"/>
                  <a:gd name="T22" fmla="*/ 15 w 16"/>
                  <a:gd name="T23" fmla="*/ 32 h 42"/>
                  <a:gd name="T24" fmla="*/ 15 w 16"/>
                  <a:gd name="T25" fmla="*/ 36 h 42"/>
                  <a:gd name="T26" fmla="*/ 14 w 16"/>
                  <a:gd name="T27" fmla="*/ 39 h 42"/>
                  <a:gd name="T28" fmla="*/ 12 w 16"/>
                  <a:gd name="T29" fmla="*/ 40 h 42"/>
                  <a:gd name="T30" fmla="*/ 11 w 16"/>
                  <a:gd name="T31" fmla="*/ 42 h 42"/>
                  <a:gd name="T32" fmla="*/ 8 w 16"/>
                  <a:gd name="T33" fmla="*/ 42 h 42"/>
                  <a:gd name="T34" fmla="*/ 7 w 16"/>
                  <a:gd name="T35" fmla="*/ 42 h 42"/>
                  <a:gd name="T36" fmla="*/ 5 w 16"/>
                  <a:gd name="T37" fmla="*/ 40 h 42"/>
                  <a:gd name="T38" fmla="*/ 4 w 16"/>
                  <a:gd name="T39" fmla="*/ 39 h 42"/>
                  <a:gd name="T40" fmla="*/ 3 w 16"/>
                  <a:gd name="T41" fmla="*/ 36 h 42"/>
                  <a:gd name="T42" fmla="*/ 1 w 16"/>
                  <a:gd name="T43" fmla="*/ 32 h 42"/>
                  <a:gd name="T44" fmla="*/ 1 w 16"/>
                  <a:gd name="T45" fmla="*/ 29 h 42"/>
                  <a:gd name="T46" fmla="*/ 1 w 16"/>
                  <a:gd name="T47" fmla="*/ 25 h 42"/>
                  <a:gd name="T48" fmla="*/ 0 w 16"/>
                  <a:gd name="T49" fmla="*/ 21 h 42"/>
                  <a:gd name="T50" fmla="*/ 1 w 16"/>
                  <a:gd name="T51" fmla="*/ 17 h 42"/>
                  <a:gd name="T52" fmla="*/ 1 w 16"/>
                  <a:gd name="T53" fmla="*/ 13 h 42"/>
                  <a:gd name="T54" fmla="*/ 1 w 16"/>
                  <a:gd name="T55" fmla="*/ 10 h 42"/>
                  <a:gd name="T56" fmla="*/ 3 w 16"/>
                  <a:gd name="T57" fmla="*/ 6 h 42"/>
                  <a:gd name="T58" fmla="*/ 4 w 16"/>
                  <a:gd name="T59" fmla="*/ 3 h 42"/>
                  <a:gd name="T60" fmla="*/ 5 w 16"/>
                  <a:gd name="T61" fmla="*/ 2 h 42"/>
                  <a:gd name="T62" fmla="*/ 7 w 16"/>
                  <a:gd name="T63" fmla="*/ 0 h 42"/>
                  <a:gd name="T64" fmla="*/ 8 w 16"/>
                  <a:gd name="T65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" h="42">
                    <a:moveTo>
                      <a:pt x="8" y="0"/>
                    </a:moveTo>
                    <a:lnTo>
                      <a:pt x="11" y="0"/>
                    </a:lnTo>
                    <a:lnTo>
                      <a:pt x="12" y="2"/>
                    </a:lnTo>
                    <a:lnTo>
                      <a:pt x="14" y="3"/>
                    </a:lnTo>
                    <a:lnTo>
                      <a:pt x="15" y="6"/>
                    </a:lnTo>
                    <a:lnTo>
                      <a:pt x="15" y="10"/>
                    </a:lnTo>
                    <a:lnTo>
                      <a:pt x="16" y="13"/>
                    </a:lnTo>
                    <a:lnTo>
                      <a:pt x="16" y="17"/>
                    </a:lnTo>
                    <a:lnTo>
                      <a:pt x="16" y="21"/>
                    </a:lnTo>
                    <a:lnTo>
                      <a:pt x="16" y="25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5" y="36"/>
                    </a:lnTo>
                    <a:lnTo>
                      <a:pt x="14" y="39"/>
                    </a:lnTo>
                    <a:lnTo>
                      <a:pt x="12" y="40"/>
                    </a:lnTo>
                    <a:lnTo>
                      <a:pt x="11" y="42"/>
                    </a:lnTo>
                    <a:lnTo>
                      <a:pt x="8" y="42"/>
                    </a:lnTo>
                    <a:lnTo>
                      <a:pt x="7" y="42"/>
                    </a:lnTo>
                    <a:lnTo>
                      <a:pt x="5" y="40"/>
                    </a:lnTo>
                    <a:lnTo>
                      <a:pt x="4" y="39"/>
                    </a:lnTo>
                    <a:lnTo>
                      <a:pt x="3" y="36"/>
                    </a:lnTo>
                    <a:lnTo>
                      <a:pt x="1" y="32"/>
                    </a:lnTo>
                    <a:lnTo>
                      <a:pt x="1" y="29"/>
                    </a:lnTo>
                    <a:lnTo>
                      <a:pt x="1" y="25"/>
                    </a:lnTo>
                    <a:lnTo>
                      <a:pt x="0" y="21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1" y="10"/>
                    </a:lnTo>
                    <a:lnTo>
                      <a:pt x="3" y="6"/>
                    </a:lnTo>
                    <a:lnTo>
                      <a:pt x="4" y="3"/>
                    </a:lnTo>
                    <a:lnTo>
                      <a:pt x="5" y="2"/>
                    </a:lnTo>
                    <a:lnTo>
                      <a:pt x="7" y="0"/>
                    </a:lnTo>
                    <a:lnTo>
                      <a:pt x="8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1" name="Freeform 100"/>
              <p:cNvSpPr>
                <a:spLocks/>
              </p:cNvSpPr>
              <p:nvPr/>
            </p:nvSpPr>
            <p:spPr bwMode="auto">
              <a:xfrm>
                <a:off x="4699" y="2877"/>
                <a:ext cx="17" cy="15"/>
              </a:xfrm>
              <a:custGeom>
                <a:avLst/>
                <a:gdLst>
                  <a:gd name="T0" fmla="*/ 8 w 17"/>
                  <a:gd name="T1" fmla="*/ 15 h 15"/>
                  <a:gd name="T2" fmla="*/ 10 w 17"/>
                  <a:gd name="T3" fmla="*/ 15 h 15"/>
                  <a:gd name="T4" fmla="*/ 11 w 17"/>
                  <a:gd name="T5" fmla="*/ 15 h 15"/>
                  <a:gd name="T6" fmla="*/ 13 w 17"/>
                  <a:gd name="T7" fmla="*/ 14 h 15"/>
                  <a:gd name="T8" fmla="*/ 14 w 17"/>
                  <a:gd name="T9" fmla="*/ 14 h 15"/>
                  <a:gd name="T10" fmla="*/ 15 w 17"/>
                  <a:gd name="T11" fmla="*/ 13 h 15"/>
                  <a:gd name="T12" fmla="*/ 17 w 17"/>
                  <a:gd name="T13" fmla="*/ 11 h 15"/>
                  <a:gd name="T14" fmla="*/ 17 w 17"/>
                  <a:gd name="T15" fmla="*/ 10 h 15"/>
                  <a:gd name="T16" fmla="*/ 17 w 17"/>
                  <a:gd name="T17" fmla="*/ 8 h 15"/>
                  <a:gd name="T18" fmla="*/ 17 w 17"/>
                  <a:gd name="T19" fmla="*/ 7 h 15"/>
                  <a:gd name="T20" fmla="*/ 17 w 17"/>
                  <a:gd name="T21" fmla="*/ 6 h 15"/>
                  <a:gd name="T22" fmla="*/ 15 w 17"/>
                  <a:gd name="T23" fmla="*/ 4 h 15"/>
                  <a:gd name="T24" fmla="*/ 14 w 17"/>
                  <a:gd name="T25" fmla="*/ 3 h 15"/>
                  <a:gd name="T26" fmla="*/ 13 w 17"/>
                  <a:gd name="T27" fmla="*/ 2 h 15"/>
                  <a:gd name="T28" fmla="*/ 11 w 17"/>
                  <a:gd name="T29" fmla="*/ 2 h 15"/>
                  <a:gd name="T30" fmla="*/ 10 w 17"/>
                  <a:gd name="T31" fmla="*/ 0 h 15"/>
                  <a:gd name="T32" fmla="*/ 8 w 17"/>
                  <a:gd name="T33" fmla="*/ 0 h 15"/>
                  <a:gd name="T34" fmla="*/ 7 w 17"/>
                  <a:gd name="T35" fmla="*/ 0 h 15"/>
                  <a:gd name="T36" fmla="*/ 6 w 17"/>
                  <a:gd name="T37" fmla="*/ 2 h 15"/>
                  <a:gd name="T38" fmla="*/ 4 w 17"/>
                  <a:gd name="T39" fmla="*/ 2 h 15"/>
                  <a:gd name="T40" fmla="*/ 3 w 17"/>
                  <a:gd name="T41" fmla="*/ 3 h 15"/>
                  <a:gd name="T42" fmla="*/ 2 w 17"/>
                  <a:gd name="T43" fmla="*/ 4 h 15"/>
                  <a:gd name="T44" fmla="*/ 0 w 17"/>
                  <a:gd name="T45" fmla="*/ 6 h 15"/>
                  <a:gd name="T46" fmla="*/ 0 w 17"/>
                  <a:gd name="T47" fmla="*/ 7 h 15"/>
                  <a:gd name="T48" fmla="*/ 0 w 17"/>
                  <a:gd name="T49" fmla="*/ 8 h 15"/>
                  <a:gd name="T50" fmla="*/ 0 w 17"/>
                  <a:gd name="T51" fmla="*/ 10 h 15"/>
                  <a:gd name="T52" fmla="*/ 0 w 17"/>
                  <a:gd name="T53" fmla="*/ 11 h 15"/>
                  <a:gd name="T54" fmla="*/ 2 w 17"/>
                  <a:gd name="T55" fmla="*/ 13 h 15"/>
                  <a:gd name="T56" fmla="*/ 3 w 17"/>
                  <a:gd name="T57" fmla="*/ 14 h 15"/>
                  <a:gd name="T58" fmla="*/ 4 w 17"/>
                  <a:gd name="T59" fmla="*/ 14 h 15"/>
                  <a:gd name="T60" fmla="*/ 6 w 17"/>
                  <a:gd name="T61" fmla="*/ 15 h 15"/>
                  <a:gd name="T62" fmla="*/ 7 w 17"/>
                  <a:gd name="T63" fmla="*/ 15 h 15"/>
                  <a:gd name="T64" fmla="*/ 8 w 17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15">
                    <a:moveTo>
                      <a:pt x="8" y="15"/>
                    </a:move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4" y="14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8" y="15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2" name="Freeform 101"/>
              <p:cNvSpPr>
                <a:spLocks/>
              </p:cNvSpPr>
              <p:nvPr/>
            </p:nvSpPr>
            <p:spPr bwMode="auto">
              <a:xfrm>
                <a:off x="4699" y="2877"/>
                <a:ext cx="17" cy="15"/>
              </a:xfrm>
              <a:custGeom>
                <a:avLst/>
                <a:gdLst>
                  <a:gd name="T0" fmla="*/ 8 w 17"/>
                  <a:gd name="T1" fmla="*/ 15 h 15"/>
                  <a:gd name="T2" fmla="*/ 10 w 17"/>
                  <a:gd name="T3" fmla="*/ 15 h 15"/>
                  <a:gd name="T4" fmla="*/ 11 w 17"/>
                  <a:gd name="T5" fmla="*/ 15 h 15"/>
                  <a:gd name="T6" fmla="*/ 13 w 17"/>
                  <a:gd name="T7" fmla="*/ 14 h 15"/>
                  <a:gd name="T8" fmla="*/ 14 w 17"/>
                  <a:gd name="T9" fmla="*/ 14 h 15"/>
                  <a:gd name="T10" fmla="*/ 15 w 17"/>
                  <a:gd name="T11" fmla="*/ 13 h 15"/>
                  <a:gd name="T12" fmla="*/ 17 w 17"/>
                  <a:gd name="T13" fmla="*/ 11 h 15"/>
                  <a:gd name="T14" fmla="*/ 17 w 17"/>
                  <a:gd name="T15" fmla="*/ 10 h 15"/>
                  <a:gd name="T16" fmla="*/ 17 w 17"/>
                  <a:gd name="T17" fmla="*/ 8 h 15"/>
                  <a:gd name="T18" fmla="*/ 17 w 17"/>
                  <a:gd name="T19" fmla="*/ 7 h 15"/>
                  <a:gd name="T20" fmla="*/ 17 w 17"/>
                  <a:gd name="T21" fmla="*/ 6 h 15"/>
                  <a:gd name="T22" fmla="*/ 15 w 17"/>
                  <a:gd name="T23" fmla="*/ 4 h 15"/>
                  <a:gd name="T24" fmla="*/ 14 w 17"/>
                  <a:gd name="T25" fmla="*/ 3 h 15"/>
                  <a:gd name="T26" fmla="*/ 13 w 17"/>
                  <a:gd name="T27" fmla="*/ 2 h 15"/>
                  <a:gd name="T28" fmla="*/ 11 w 17"/>
                  <a:gd name="T29" fmla="*/ 2 h 15"/>
                  <a:gd name="T30" fmla="*/ 10 w 17"/>
                  <a:gd name="T31" fmla="*/ 0 h 15"/>
                  <a:gd name="T32" fmla="*/ 8 w 17"/>
                  <a:gd name="T33" fmla="*/ 0 h 15"/>
                  <a:gd name="T34" fmla="*/ 7 w 17"/>
                  <a:gd name="T35" fmla="*/ 0 h 15"/>
                  <a:gd name="T36" fmla="*/ 6 w 17"/>
                  <a:gd name="T37" fmla="*/ 2 h 15"/>
                  <a:gd name="T38" fmla="*/ 4 w 17"/>
                  <a:gd name="T39" fmla="*/ 2 h 15"/>
                  <a:gd name="T40" fmla="*/ 3 w 17"/>
                  <a:gd name="T41" fmla="*/ 3 h 15"/>
                  <a:gd name="T42" fmla="*/ 2 w 17"/>
                  <a:gd name="T43" fmla="*/ 4 h 15"/>
                  <a:gd name="T44" fmla="*/ 0 w 17"/>
                  <a:gd name="T45" fmla="*/ 6 h 15"/>
                  <a:gd name="T46" fmla="*/ 0 w 17"/>
                  <a:gd name="T47" fmla="*/ 7 h 15"/>
                  <a:gd name="T48" fmla="*/ 0 w 17"/>
                  <a:gd name="T49" fmla="*/ 8 h 15"/>
                  <a:gd name="T50" fmla="*/ 0 w 17"/>
                  <a:gd name="T51" fmla="*/ 10 h 15"/>
                  <a:gd name="T52" fmla="*/ 0 w 17"/>
                  <a:gd name="T53" fmla="*/ 11 h 15"/>
                  <a:gd name="T54" fmla="*/ 2 w 17"/>
                  <a:gd name="T55" fmla="*/ 13 h 15"/>
                  <a:gd name="T56" fmla="*/ 3 w 17"/>
                  <a:gd name="T57" fmla="*/ 14 h 15"/>
                  <a:gd name="T58" fmla="*/ 4 w 17"/>
                  <a:gd name="T59" fmla="*/ 14 h 15"/>
                  <a:gd name="T60" fmla="*/ 6 w 17"/>
                  <a:gd name="T61" fmla="*/ 15 h 15"/>
                  <a:gd name="T62" fmla="*/ 7 w 17"/>
                  <a:gd name="T63" fmla="*/ 15 h 15"/>
                  <a:gd name="T64" fmla="*/ 8 w 17"/>
                  <a:gd name="T6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" h="15">
                    <a:moveTo>
                      <a:pt x="8" y="15"/>
                    </a:moveTo>
                    <a:lnTo>
                      <a:pt x="10" y="15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4" y="14"/>
                    </a:lnTo>
                    <a:lnTo>
                      <a:pt x="15" y="13"/>
                    </a:lnTo>
                    <a:lnTo>
                      <a:pt x="17" y="11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11"/>
                    </a:lnTo>
                    <a:lnTo>
                      <a:pt x="2" y="13"/>
                    </a:lnTo>
                    <a:lnTo>
                      <a:pt x="3" y="14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8" y="15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3" name="Freeform 102"/>
              <p:cNvSpPr>
                <a:spLocks/>
              </p:cNvSpPr>
              <p:nvPr/>
            </p:nvSpPr>
            <p:spPr bwMode="auto">
              <a:xfrm>
                <a:off x="4721" y="2830"/>
                <a:ext cx="21" cy="10"/>
              </a:xfrm>
              <a:custGeom>
                <a:avLst/>
                <a:gdLst>
                  <a:gd name="T0" fmla="*/ 10 w 21"/>
                  <a:gd name="T1" fmla="*/ 10 h 10"/>
                  <a:gd name="T2" fmla="*/ 13 w 21"/>
                  <a:gd name="T3" fmla="*/ 10 h 10"/>
                  <a:gd name="T4" fmla="*/ 14 w 21"/>
                  <a:gd name="T5" fmla="*/ 10 h 10"/>
                  <a:gd name="T6" fmla="*/ 15 w 21"/>
                  <a:gd name="T7" fmla="*/ 10 h 10"/>
                  <a:gd name="T8" fmla="*/ 17 w 21"/>
                  <a:gd name="T9" fmla="*/ 9 h 10"/>
                  <a:gd name="T10" fmla="*/ 18 w 21"/>
                  <a:gd name="T11" fmla="*/ 9 h 10"/>
                  <a:gd name="T12" fmla="*/ 20 w 21"/>
                  <a:gd name="T13" fmla="*/ 7 h 10"/>
                  <a:gd name="T14" fmla="*/ 21 w 21"/>
                  <a:gd name="T15" fmla="*/ 7 h 10"/>
                  <a:gd name="T16" fmla="*/ 21 w 21"/>
                  <a:gd name="T17" fmla="*/ 6 h 10"/>
                  <a:gd name="T18" fmla="*/ 21 w 21"/>
                  <a:gd name="T19" fmla="*/ 5 h 10"/>
                  <a:gd name="T20" fmla="*/ 20 w 21"/>
                  <a:gd name="T21" fmla="*/ 3 h 10"/>
                  <a:gd name="T22" fmla="*/ 18 w 21"/>
                  <a:gd name="T23" fmla="*/ 3 h 10"/>
                  <a:gd name="T24" fmla="*/ 17 w 21"/>
                  <a:gd name="T25" fmla="*/ 2 h 10"/>
                  <a:gd name="T26" fmla="*/ 15 w 21"/>
                  <a:gd name="T27" fmla="*/ 2 h 10"/>
                  <a:gd name="T28" fmla="*/ 14 w 21"/>
                  <a:gd name="T29" fmla="*/ 0 h 10"/>
                  <a:gd name="T30" fmla="*/ 13 w 21"/>
                  <a:gd name="T31" fmla="*/ 0 h 10"/>
                  <a:gd name="T32" fmla="*/ 10 w 21"/>
                  <a:gd name="T33" fmla="*/ 0 h 10"/>
                  <a:gd name="T34" fmla="*/ 8 w 21"/>
                  <a:gd name="T35" fmla="*/ 0 h 10"/>
                  <a:gd name="T36" fmla="*/ 6 w 21"/>
                  <a:gd name="T37" fmla="*/ 0 h 10"/>
                  <a:gd name="T38" fmla="*/ 4 w 21"/>
                  <a:gd name="T39" fmla="*/ 2 h 10"/>
                  <a:gd name="T40" fmla="*/ 3 w 21"/>
                  <a:gd name="T41" fmla="*/ 2 h 10"/>
                  <a:gd name="T42" fmla="*/ 2 w 21"/>
                  <a:gd name="T43" fmla="*/ 3 h 10"/>
                  <a:gd name="T44" fmla="*/ 2 w 21"/>
                  <a:gd name="T45" fmla="*/ 3 h 10"/>
                  <a:gd name="T46" fmla="*/ 0 w 21"/>
                  <a:gd name="T47" fmla="*/ 5 h 10"/>
                  <a:gd name="T48" fmla="*/ 0 w 21"/>
                  <a:gd name="T49" fmla="*/ 6 h 10"/>
                  <a:gd name="T50" fmla="*/ 0 w 21"/>
                  <a:gd name="T51" fmla="*/ 7 h 10"/>
                  <a:gd name="T52" fmla="*/ 2 w 21"/>
                  <a:gd name="T53" fmla="*/ 7 h 10"/>
                  <a:gd name="T54" fmla="*/ 2 w 21"/>
                  <a:gd name="T55" fmla="*/ 9 h 10"/>
                  <a:gd name="T56" fmla="*/ 3 w 21"/>
                  <a:gd name="T57" fmla="*/ 9 h 10"/>
                  <a:gd name="T58" fmla="*/ 4 w 21"/>
                  <a:gd name="T59" fmla="*/ 10 h 10"/>
                  <a:gd name="T60" fmla="*/ 6 w 21"/>
                  <a:gd name="T61" fmla="*/ 10 h 10"/>
                  <a:gd name="T62" fmla="*/ 8 w 21"/>
                  <a:gd name="T63" fmla="*/ 10 h 10"/>
                  <a:gd name="T64" fmla="*/ 10 w 21"/>
                  <a:gd name="T6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1" h="10">
                    <a:moveTo>
                      <a:pt x="10" y="10"/>
                    </a:moveTo>
                    <a:lnTo>
                      <a:pt x="13" y="10"/>
                    </a:lnTo>
                    <a:lnTo>
                      <a:pt x="14" y="10"/>
                    </a:lnTo>
                    <a:lnTo>
                      <a:pt x="15" y="10"/>
                    </a:lnTo>
                    <a:lnTo>
                      <a:pt x="17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4" name="Freeform 103"/>
              <p:cNvSpPr>
                <a:spLocks/>
              </p:cNvSpPr>
              <p:nvPr/>
            </p:nvSpPr>
            <p:spPr bwMode="auto">
              <a:xfrm>
                <a:off x="4721" y="2830"/>
                <a:ext cx="21" cy="10"/>
              </a:xfrm>
              <a:custGeom>
                <a:avLst/>
                <a:gdLst>
                  <a:gd name="T0" fmla="*/ 10 w 21"/>
                  <a:gd name="T1" fmla="*/ 10 h 10"/>
                  <a:gd name="T2" fmla="*/ 13 w 21"/>
                  <a:gd name="T3" fmla="*/ 10 h 10"/>
                  <a:gd name="T4" fmla="*/ 14 w 21"/>
                  <a:gd name="T5" fmla="*/ 10 h 10"/>
                  <a:gd name="T6" fmla="*/ 15 w 21"/>
                  <a:gd name="T7" fmla="*/ 10 h 10"/>
                  <a:gd name="T8" fmla="*/ 17 w 21"/>
                  <a:gd name="T9" fmla="*/ 9 h 10"/>
                  <a:gd name="T10" fmla="*/ 18 w 21"/>
                  <a:gd name="T11" fmla="*/ 9 h 10"/>
                  <a:gd name="T12" fmla="*/ 20 w 21"/>
                  <a:gd name="T13" fmla="*/ 7 h 10"/>
                  <a:gd name="T14" fmla="*/ 21 w 21"/>
                  <a:gd name="T15" fmla="*/ 7 h 10"/>
                  <a:gd name="T16" fmla="*/ 21 w 21"/>
                  <a:gd name="T17" fmla="*/ 6 h 10"/>
                  <a:gd name="T18" fmla="*/ 21 w 21"/>
                  <a:gd name="T19" fmla="*/ 5 h 10"/>
                  <a:gd name="T20" fmla="*/ 20 w 21"/>
                  <a:gd name="T21" fmla="*/ 3 h 10"/>
                  <a:gd name="T22" fmla="*/ 18 w 21"/>
                  <a:gd name="T23" fmla="*/ 3 h 10"/>
                  <a:gd name="T24" fmla="*/ 17 w 21"/>
                  <a:gd name="T25" fmla="*/ 2 h 10"/>
                  <a:gd name="T26" fmla="*/ 15 w 21"/>
                  <a:gd name="T27" fmla="*/ 2 h 10"/>
                  <a:gd name="T28" fmla="*/ 14 w 21"/>
                  <a:gd name="T29" fmla="*/ 0 h 10"/>
                  <a:gd name="T30" fmla="*/ 13 w 21"/>
                  <a:gd name="T31" fmla="*/ 0 h 10"/>
                  <a:gd name="T32" fmla="*/ 10 w 21"/>
                  <a:gd name="T33" fmla="*/ 0 h 10"/>
                  <a:gd name="T34" fmla="*/ 8 w 21"/>
                  <a:gd name="T35" fmla="*/ 0 h 10"/>
                  <a:gd name="T36" fmla="*/ 6 w 21"/>
                  <a:gd name="T37" fmla="*/ 0 h 10"/>
                  <a:gd name="T38" fmla="*/ 4 w 21"/>
                  <a:gd name="T39" fmla="*/ 2 h 10"/>
                  <a:gd name="T40" fmla="*/ 3 w 21"/>
                  <a:gd name="T41" fmla="*/ 2 h 10"/>
                  <a:gd name="T42" fmla="*/ 2 w 21"/>
                  <a:gd name="T43" fmla="*/ 3 h 10"/>
                  <a:gd name="T44" fmla="*/ 0 w 21"/>
                  <a:gd name="T45" fmla="*/ 5 h 10"/>
                  <a:gd name="T46" fmla="*/ 0 w 21"/>
                  <a:gd name="T47" fmla="*/ 6 h 10"/>
                  <a:gd name="T48" fmla="*/ 0 w 21"/>
                  <a:gd name="T49" fmla="*/ 7 h 10"/>
                  <a:gd name="T50" fmla="*/ 2 w 21"/>
                  <a:gd name="T51" fmla="*/ 7 h 10"/>
                  <a:gd name="T52" fmla="*/ 2 w 21"/>
                  <a:gd name="T53" fmla="*/ 9 h 10"/>
                  <a:gd name="T54" fmla="*/ 3 w 21"/>
                  <a:gd name="T55" fmla="*/ 9 h 10"/>
                  <a:gd name="T56" fmla="*/ 4 w 21"/>
                  <a:gd name="T57" fmla="*/ 10 h 10"/>
                  <a:gd name="T58" fmla="*/ 6 w 21"/>
                  <a:gd name="T59" fmla="*/ 10 h 10"/>
                  <a:gd name="T60" fmla="*/ 8 w 21"/>
                  <a:gd name="T61" fmla="*/ 10 h 10"/>
                  <a:gd name="T62" fmla="*/ 10 w 21"/>
                  <a:gd name="T6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" h="10">
                    <a:moveTo>
                      <a:pt x="10" y="10"/>
                    </a:moveTo>
                    <a:lnTo>
                      <a:pt x="13" y="10"/>
                    </a:lnTo>
                    <a:lnTo>
                      <a:pt x="14" y="10"/>
                    </a:lnTo>
                    <a:lnTo>
                      <a:pt x="15" y="10"/>
                    </a:lnTo>
                    <a:lnTo>
                      <a:pt x="17" y="9"/>
                    </a:lnTo>
                    <a:lnTo>
                      <a:pt x="18" y="9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1" y="6"/>
                    </a:lnTo>
                    <a:lnTo>
                      <a:pt x="21" y="5"/>
                    </a:lnTo>
                    <a:lnTo>
                      <a:pt x="20" y="3"/>
                    </a:lnTo>
                    <a:lnTo>
                      <a:pt x="18" y="3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4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3" y="9"/>
                    </a:lnTo>
                    <a:lnTo>
                      <a:pt x="4" y="10"/>
                    </a:lnTo>
                    <a:lnTo>
                      <a:pt x="6" y="10"/>
                    </a:lnTo>
                    <a:lnTo>
                      <a:pt x="8" y="10"/>
                    </a:lnTo>
                    <a:lnTo>
                      <a:pt x="10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5" name="Freeform 104"/>
              <p:cNvSpPr>
                <a:spLocks/>
              </p:cNvSpPr>
              <p:nvPr/>
            </p:nvSpPr>
            <p:spPr bwMode="auto">
              <a:xfrm>
                <a:off x="4769" y="2788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9 w 14"/>
                  <a:gd name="T3" fmla="*/ 12 h 14"/>
                  <a:gd name="T4" fmla="*/ 10 w 14"/>
                  <a:gd name="T5" fmla="*/ 12 h 14"/>
                  <a:gd name="T6" fmla="*/ 11 w 14"/>
                  <a:gd name="T7" fmla="*/ 12 h 14"/>
                  <a:gd name="T8" fmla="*/ 13 w 14"/>
                  <a:gd name="T9" fmla="*/ 11 h 14"/>
                  <a:gd name="T10" fmla="*/ 13 w 14"/>
                  <a:gd name="T11" fmla="*/ 10 h 14"/>
                  <a:gd name="T12" fmla="*/ 14 w 14"/>
                  <a:gd name="T13" fmla="*/ 8 h 14"/>
                  <a:gd name="T14" fmla="*/ 14 w 14"/>
                  <a:gd name="T15" fmla="*/ 8 h 14"/>
                  <a:gd name="T16" fmla="*/ 14 w 14"/>
                  <a:gd name="T17" fmla="*/ 7 h 14"/>
                  <a:gd name="T18" fmla="*/ 14 w 14"/>
                  <a:gd name="T19" fmla="*/ 5 h 14"/>
                  <a:gd name="T20" fmla="*/ 14 w 14"/>
                  <a:gd name="T21" fmla="*/ 4 h 14"/>
                  <a:gd name="T22" fmla="*/ 13 w 14"/>
                  <a:gd name="T23" fmla="*/ 3 h 14"/>
                  <a:gd name="T24" fmla="*/ 13 w 14"/>
                  <a:gd name="T25" fmla="*/ 1 h 14"/>
                  <a:gd name="T26" fmla="*/ 11 w 14"/>
                  <a:gd name="T27" fmla="*/ 0 h 14"/>
                  <a:gd name="T28" fmla="*/ 10 w 14"/>
                  <a:gd name="T29" fmla="*/ 0 h 14"/>
                  <a:gd name="T30" fmla="*/ 9 w 14"/>
                  <a:gd name="T31" fmla="*/ 0 h 14"/>
                  <a:gd name="T32" fmla="*/ 7 w 14"/>
                  <a:gd name="T33" fmla="*/ 0 h 14"/>
                  <a:gd name="T34" fmla="*/ 6 w 14"/>
                  <a:gd name="T35" fmla="*/ 0 h 14"/>
                  <a:gd name="T36" fmla="*/ 5 w 14"/>
                  <a:gd name="T37" fmla="*/ 0 h 14"/>
                  <a:gd name="T38" fmla="*/ 3 w 14"/>
                  <a:gd name="T39" fmla="*/ 0 h 14"/>
                  <a:gd name="T40" fmla="*/ 3 w 14"/>
                  <a:gd name="T41" fmla="*/ 1 h 14"/>
                  <a:gd name="T42" fmla="*/ 2 w 14"/>
                  <a:gd name="T43" fmla="*/ 3 h 14"/>
                  <a:gd name="T44" fmla="*/ 2 w 14"/>
                  <a:gd name="T45" fmla="*/ 4 h 14"/>
                  <a:gd name="T46" fmla="*/ 0 w 14"/>
                  <a:gd name="T47" fmla="*/ 5 h 14"/>
                  <a:gd name="T48" fmla="*/ 0 w 14"/>
                  <a:gd name="T49" fmla="*/ 7 h 14"/>
                  <a:gd name="T50" fmla="*/ 0 w 14"/>
                  <a:gd name="T51" fmla="*/ 8 h 14"/>
                  <a:gd name="T52" fmla="*/ 2 w 14"/>
                  <a:gd name="T53" fmla="*/ 8 h 14"/>
                  <a:gd name="T54" fmla="*/ 2 w 14"/>
                  <a:gd name="T55" fmla="*/ 10 h 14"/>
                  <a:gd name="T56" fmla="*/ 3 w 14"/>
                  <a:gd name="T57" fmla="*/ 11 h 14"/>
                  <a:gd name="T58" fmla="*/ 3 w 14"/>
                  <a:gd name="T59" fmla="*/ 12 h 14"/>
                  <a:gd name="T60" fmla="*/ 5 w 14"/>
                  <a:gd name="T61" fmla="*/ 12 h 14"/>
                  <a:gd name="T62" fmla="*/ 6 w 14"/>
                  <a:gd name="T63" fmla="*/ 12 h 14"/>
                  <a:gd name="T64" fmla="*/ 7 w 14"/>
                  <a:gd name="T6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9" y="12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6" name="Freeform 105"/>
              <p:cNvSpPr>
                <a:spLocks/>
              </p:cNvSpPr>
              <p:nvPr/>
            </p:nvSpPr>
            <p:spPr bwMode="auto">
              <a:xfrm>
                <a:off x="4769" y="2788"/>
                <a:ext cx="14" cy="14"/>
              </a:xfrm>
              <a:custGeom>
                <a:avLst/>
                <a:gdLst>
                  <a:gd name="T0" fmla="*/ 7 w 14"/>
                  <a:gd name="T1" fmla="*/ 14 h 14"/>
                  <a:gd name="T2" fmla="*/ 9 w 14"/>
                  <a:gd name="T3" fmla="*/ 12 h 14"/>
                  <a:gd name="T4" fmla="*/ 10 w 14"/>
                  <a:gd name="T5" fmla="*/ 12 h 14"/>
                  <a:gd name="T6" fmla="*/ 11 w 14"/>
                  <a:gd name="T7" fmla="*/ 12 h 14"/>
                  <a:gd name="T8" fmla="*/ 13 w 14"/>
                  <a:gd name="T9" fmla="*/ 11 h 14"/>
                  <a:gd name="T10" fmla="*/ 13 w 14"/>
                  <a:gd name="T11" fmla="*/ 10 h 14"/>
                  <a:gd name="T12" fmla="*/ 14 w 14"/>
                  <a:gd name="T13" fmla="*/ 8 h 14"/>
                  <a:gd name="T14" fmla="*/ 14 w 14"/>
                  <a:gd name="T15" fmla="*/ 7 h 14"/>
                  <a:gd name="T16" fmla="*/ 14 w 14"/>
                  <a:gd name="T17" fmla="*/ 5 h 14"/>
                  <a:gd name="T18" fmla="*/ 14 w 14"/>
                  <a:gd name="T19" fmla="*/ 4 h 14"/>
                  <a:gd name="T20" fmla="*/ 13 w 14"/>
                  <a:gd name="T21" fmla="*/ 3 h 14"/>
                  <a:gd name="T22" fmla="*/ 13 w 14"/>
                  <a:gd name="T23" fmla="*/ 1 h 14"/>
                  <a:gd name="T24" fmla="*/ 11 w 14"/>
                  <a:gd name="T25" fmla="*/ 0 h 14"/>
                  <a:gd name="T26" fmla="*/ 10 w 14"/>
                  <a:gd name="T27" fmla="*/ 0 h 14"/>
                  <a:gd name="T28" fmla="*/ 9 w 14"/>
                  <a:gd name="T29" fmla="*/ 0 h 14"/>
                  <a:gd name="T30" fmla="*/ 7 w 14"/>
                  <a:gd name="T31" fmla="*/ 0 h 14"/>
                  <a:gd name="T32" fmla="*/ 6 w 14"/>
                  <a:gd name="T33" fmla="*/ 0 h 14"/>
                  <a:gd name="T34" fmla="*/ 5 w 14"/>
                  <a:gd name="T35" fmla="*/ 0 h 14"/>
                  <a:gd name="T36" fmla="*/ 3 w 14"/>
                  <a:gd name="T37" fmla="*/ 0 h 14"/>
                  <a:gd name="T38" fmla="*/ 3 w 14"/>
                  <a:gd name="T39" fmla="*/ 1 h 14"/>
                  <a:gd name="T40" fmla="*/ 2 w 14"/>
                  <a:gd name="T41" fmla="*/ 3 h 14"/>
                  <a:gd name="T42" fmla="*/ 2 w 14"/>
                  <a:gd name="T43" fmla="*/ 4 h 14"/>
                  <a:gd name="T44" fmla="*/ 0 w 14"/>
                  <a:gd name="T45" fmla="*/ 5 h 14"/>
                  <a:gd name="T46" fmla="*/ 0 w 14"/>
                  <a:gd name="T47" fmla="*/ 7 h 14"/>
                  <a:gd name="T48" fmla="*/ 0 w 14"/>
                  <a:gd name="T49" fmla="*/ 8 h 14"/>
                  <a:gd name="T50" fmla="*/ 2 w 14"/>
                  <a:gd name="T51" fmla="*/ 8 h 14"/>
                  <a:gd name="T52" fmla="*/ 2 w 14"/>
                  <a:gd name="T53" fmla="*/ 10 h 14"/>
                  <a:gd name="T54" fmla="*/ 3 w 14"/>
                  <a:gd name="T55" fmla="*/ 11 h 14"/>
                  <a:gd name="T56" fmla="*/ 3 w 14"/>
                  <a:gd name="T57" fmla="*/ 12 h 14"/>
                  <a:gd name="T58" fmla="*/ 5 w 14"/>
                  <a:gd name="T59" fmla="*/ 12 h 14"/>
                  <a:gd name="T60" fmla="*/ 6 w 14"/>
                  <a:gd name="T61" fmla="*/ 12 h 14"/>
                  <a:gd name="T62" fmla="*/ 7 w 14"/>
                  <a:gd name="T6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4" h="14">
                    <a:moveTo>
                      <a:pt x="7" y="14"/>
                    </a:moveTo>
                    <a:lnTo>
                      <a:pt x="9" y="12"/>
                    </a:lnTo>
                    <a:lnTo>
                      <a:pt x="10" y="12"/>
                    </a:lnTo>
                    <a:lnTo>
                      <a:pt x="11" y="12"/>
                    </a:lnTo>
                    <a:lnTo>
                      <a:pt x="13" y="11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3" y="3"/>
                    </a:lnTo>
                    <a:lnTo>
                      <a:pt x="13" y="1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3" y="11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7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7" name="Freeform 106"/>
              <p:cNvSpPr>
                <a:spLocks/>
              </p:cNvSpPr>
              <p:nvPr/>
            </p:nvSpPr>
            <p:spPr bwMode="auto">
              <a:xfrm>
                <a:off x="4654" y="2971"/>
                <a:ext cx="33" cy="22"/>
              </a:xfrm>
              <a:custGeom>
                <a:avLst/>
                <a:gdLst>
                  <a:gd name="T0" fmla="*/ 16 w 33"/>
                  <a:gd name="T1" fmla="*/ 22 h 22"/>
                  <a:gd name="T2" fmla="*/ 20 w 33"/>
                  <a:gd name="T3" fmla="*/ 20 h 22"/>
                  <a:gd name="T4" fmla="*/ 23 w 33"/>
                  <a:gd name="T5" fmla="*/ 20 h 22"/>
                  <a:gd name="T6" fmla="*/ 26 w 33"/>
                  <a:gd name="T7" fmla="*/ 19 h 22"/>
                  <a:gd name="T8" fmla="*/ 29 w 33"/>
                  <a:gd name="T9" fmla="*/ 18 h 22"/>
                  <a:gd name="T10" fmla="*/ 30 w 33"/>
                  <a:gd name="T11" fmla="*/ 16 h 22"/>
                  <a:gd name="T12" fmla="*/ 31 w 33"/>
                  <a:gd name="T13" fmla="*/ 15 h 22"/>
                  <a:gd name="T14" fmla="*/ 33 w 33"/>
                  <a:gd name="T15" fmla="*/ 12 h 22"/>
                  <a:gd name="T16" fmla="*/ 33 w 33"/>
                  <a:gd name="T17" fmla="*/ 11 h 22"/>
                  <a:gd name="T18" fmla="*/ 33 w 33"/>
                  <a:gd name="T19" fmla="*/ 8 h 22"/>
                  <a:gd name="T20" fmla="*/ 31 w 33"/>
                  <a:gd name="T21" fmla="*/ 5 h 22"/>
                  <a:gd name="T22" fmla="*/ 30 w 33"/>
                  <a:gd name="T23" fmla="*/ 4 h 22"/>
                  <a:gd name="T24" fmla="*/ 29 w 33"/>
                  <a:gd name="T25" fmla="*/ 2 h 22"/>
                  <a:gd name="T26" fmla="*/ 26 w 33"/>
                  <a:gd name="T27" fmla="*/ 1 h 22"/>
                  <a:gd name="T28" fmla="*/ 23 w 33"/>
                  <a:gd name="T29" fmla="*/ 0 h 22"/>
                  <a:gd name="T30" fmla="*/ 20 w 33"/>
                  <a:gd name="T31" fmla="*/ 0 h 22"/>
                  <a:gd name="T32" fmla="*/ 16 w 33"/>
                  <a:gd name="T33" fmla="*/ 0 h 22"/>
                  <a:gd name="T34" fmla="*/ 14 w 33"/>
                  <a:gd name="T35" fmla="*/ 0 h 22"/>
                  <a:gd name="T36" fmla="*/ 9 w 33"/>
                  <a:gd name="T37" fmla="*/ 0 h 22"/>
                  <a:gd name="T38" fmla="*/ 7 w 33"/>
                  <a:gd name="T39" fmla="*/ 1 h 22"/>
                  <a:gd name="T40" fmla="*/ 5 w 33"/>
                  <a:gd name="T41" fmla="*/ 2 h 22"/>
                  <a:gd name="T42" fmla="*/ 3 w 33"/>
                  <a:gd name="T43" fmla="*/ 4 h 22"/>
                  <a:gd name="T44" fmla="*/ 1 w 33"/>
                  <a:gd name="T45" fmla="*/ 5 h 22"/>
                  <a:gd name="T46" fmla="*/ 0 w 33"/>
                  <a:gd name="T47" fmla="*/ 8 h 22"/>
                  <a:gd name="T48" fmla="*/ 0 w 33"/>
                  <a:gd name="T49" fmla="*/ 11 h 22"/>
                  <a:gd name="T50" fmla="*/ 0 w 33"/>
                  <a:gd name="T51" fmla="*/ 12 h 22"/>
                  <a:gd name="T52" fmla="*/ 1 w 33"/>
                  <a:gd name="T53" fmla="*/ 15 h 22"/>
                  <a:gd name="T54" fmla="*/ 3 w 33"/>
                  <a:gd name="T55" fmla="*/ 16 h 22"/>
                  <a:gd name="T56" fmla="*/ 5 w 33"/>
                  <a:gd name="T57" fmla="*/ 18 h 22"/>
                  <a:gd name="T58" fmla="*/ 7 w 33"/>
                  <a:gd name="T59" fmla="*/ 19 h 22"/>
                  <a:gd name="T60" fmla="*/ 9 w 33"/>
                  <a:gd name="T61" fmla="*/ 20 h 22"/>
                  <a:gd name="T62" fmla="*/ 14 w 33"/>
                  <a:gd name="T63" fmla="*/ 20 h 22"/>
                  <a:gd name="T64" fmla="*/ 16 w 33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22">
                    <a:moveTo>
                      <a:pt x="16" y="22"/>
                    </a:moveTo>
                    <a:lnTo>
                      <a:pt x="20" y="20"/>
                    </a:lnTo>
                    <a:lnTo>
                      <a:pt x="23" y="20"/>
                    </a:lnTo>
                    <a:lnTo>
                      <a:pt x="26" y="19"/>
                    </a:lnTo>
                    <a:lnTo>
                      <a:pt x="29" y="18"/>
                    </a:lnTo>
                    <a:lnTo>
                      <a:pt x="30" y="16"/>
                    </a:lnTo>
                    <a:lnTo>
                      <a:pt x="31" y="15"/>
                    </a:lnTo>
                    <a:lnTo>
                      <a:pt x="33" y="12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9" y="20"/>
                    </a:lnTo>
                    <a:lnTo>
                      <a:pt x="14" y="20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8" name="Freeform 107"/>
              <p:cNvSpPr>
                <a:spLocks/>
              </p:cNvSpPr>
              <p:nvPr/>
            </p:nvSpPr>
            <p:spPr bwMode="auto">
              <a:xfrm>
                <a:off x="4654" y="2971"/>
                <a:ext cx="33" cy="22"/>
              </a:xfrm>
              <a:custGeom>
                <a:avLst/>
                <a:gdLst>
                  <a:gd name="T0" fmla="*/ 16 w 33"/>
                  <a:gd name="T1" fmla="*/ 22 h 22"/>
                  <a:gd name="T2" fmla="*/ 20 w 33"/>
                  <a:gd name="T3" fmla="*/ 20 h 22"/>
                  <a:gd name="T4" fmla="*/ 23 w 33"/>
                  <a:gd name="T5" fmla="*/ 20 h 22"/>
                  <a:gd name="T6" fmla="*/ 26 w 33"/>
                  <a:gd name="T7" fmla="*/ 19 h 22"/>
                  <a:gd name="T8" fmla="*/ 29 w 33"/>
                  <a:gd name="T9" fmla="*/ 18 h 22"/>
                  <a:gd name="T10" fmla="*/ 30 w 33"/>
                  <a:gd name="T11" fmla="*/ 16 h 22"/>
                  <a:gd name="T12" fmla="*/ 31 w 33"/>
                  <a:gd name="T13" fmla="*/ 15 h 22"/>
                  <a:gd name="T14" fmla="*/ 33 w 33"/>
                  <a:gd name="T15" fmla="*/ 12 h 22"/>
                  <a:gd name="T16" fmla="*/ 33 w 33"/>
                  <a:gd name="T17" fmla="*/ 11 h 22"/>
                  <a:gd name="T18" fmla="*/ 33 w 33"/>
                  <a:gd name="T19" fmla="*/ 8 h 22"/>
                  <a:gd name="T20" fmla="*/ 31 w 33"/>
                  <a:gd name="T21" fmla="*/ 5 h 22"/>
                  <a:gd name="T22" fmla="*/ 30 w 33"/>
                  <a:gd name="T23" fmla="*/ 4 h 22"/>
                  <a:gd name="T24" fmla="*/ 29 w 33"/>
                  <a:gd name="T25" fmla="*/ 2 h 22"/>
                  <a:gd name="T26" fmla="*/ 26 w 33"/>
                  <a:gd name="T27" fmla="*/ 1 h 22"/>
                  <a:gd name="T28" fmla="*/ 23 w 33"/>
                  <a:gd name="T29" fmla="*/ 0 h 22"/>
                  <a:gd name="T30" fmla="*/ 20 w 33"/>
                  <a:gd name="T31" fmla="*/ 0 h 22"/>
                  <a:gd name="T32" fmla="*/ 16 w 33"/>
                  <a:gd name="T33" fmla="*/ 0 h 22"/>
                  <a:gd name="T34" fmla="*/ 14 w 33"/>
                  <a:gd name="T35" fmla="*/ 0 h 22"/>
                  <a:gd name="T36" fmla="*/ 9 w 33"/>
                  <a:gd name="T37" fmla="*/ 0 h 22"/>
                  <a:gd name="T38" fmla="*/ 7 w 33"/>
                  <a:gd name="T39" fmla="*/ 1 h 22"/>
                  <a:gd name="T40" fmla="*/ 5 w 33"/>
                  <a:gd name="T41" fmla="*/ 2 h 22"/>
                  <a:gd name="T42" fmla="*/ 3 w 33"/>
                  <a:gd name="T43" fmla="*/ 4 h 22"/>
                  <a:gd name="T44" fmla="*/ 1 w 33"/>
                  <a:gd name="T45" fmla="*/ 5 h 22"/>
                  <a:gd name="T46" fmla="*/ 0 w 33"/>
                  <a:gd name="T47" fmla="*/ 8 h 22"/>
                  <a:gd name="T48" fmla="*/ 0 w 33"/>
                  <a:gd name="T49" fmla="*/ 11 h 22"/>
                  <a:gd name="T50" fmla="*/ 0 w 33"/>
                  <a:gd name="T51" fmla="*/ 12 h 22"/>
                  <a:gd name="T52" fmla="*/ 1 w 33"/>
                  <a:gd name="T53" fmla="*/ 15 h 22"/>
                  <a:gd name="T54" fmla="*/ 3 w 33"/>
                  <a:gd name="T55" fmla="*/ 16 h 22"/>
                  <a:gd name="T56" fmla="*/ 5 w 33"/>
                  <a:gd name="T57" fmla="*/ 18 h 22"/>
                  <a:gd name="T58" fmla="*/ 7 w 33"/>
                  <a:gd name="T59" fmla="*/ 19 h 22"/>
                  <a:gd name="T60" fmla="*/ 9 w 33"/>
                  <a:gd name="T61" fmla="*/ 20 h 22"/>
                  <a:gd name="T62" fmla="*/ 14 w 33"/>
                  <a:gd name="T63" fmla="*/ 20 h 22"/>
                  <a:gd name="T64" fmla="*/ 16 w 33"/>
                  <a:gd name="T6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22">
                    <a:moveTo>
                      <a:pt x="16" y="22"/>
                    </a:moveTo>
                    <a:lnTo>
                      <a:pt x="20" y="20"/>
                    </a:lnTo>
                    <a:lnTo>
                      <a:pt x="23" y="20"/>
                    </a:lnTo>
                    <a:lnTo>
                      <a:pt x="26" y="19"/>
                    </a:lnTo>
                    <a:lnTo>
                      <a:pt x="29" y="18"/>
                    </a:lnTo>
                    <a:lnTo>
                      <a:pt x="30" y="16"/>
                    </a:lnTo>
                    <a:lnTo>
                      <a:pt x="31" y="15"/>
                    </a:lnTo>
                    <a:lnTo>
                      <a:pt x="33" y="12"/>
                    </a:lnTo>
                    <a:lnTo>
                      <a:pt x="33" y="11"/>
                    </a:lnTo>
                    <a:lnTo>
                      <a:pt x="33" y="8"/>
                    </a:lnTo>
                    <a:lnTo>
                      <a:pt x="31" y="5"/>
                    </a:lnTo>
                    <a:lnTo>
                      <a:pt x="30" y="4"/>
                    </a:lnTo>
                    <a:lnTo>
                      <a:pt x="29" y="2"/>
                    </a:lnTo>
                    <a:lnTo>
                      <a:pt x="26" y="1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3" y="4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6"/>
                    </a:lnTo>
                    <a:lnTo>
                      <a:pt x="5" y="18"/>
                    </a:lnTo>
                    <a:lnTo>
                      <a:pt x="7" y="19"/>
                    </a:lnTo>
                    <a:lnTo>
                      <a:pt x="9" y="20"/>
                    </a:lnTo>
                    <a:lnTo>
                      <a:pt x="14" y="20"/>
                    </a:lnTo>
                    <a:lnTo>
                      <a:pt x="16" y="22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9" name="Freeform 108"/>
              <p:cNvSpPr>
                <a:spLocks/>
              </p:cNvSpPr>
              <p:nvPr/>
            </p:nvSpPr>
            <p:spPr bwMode="auto">
              <a:xfrm>
                <a:off x="4589" y="2965"/>
                <a:ext cx="44" cy="10"/>
              </a:xfrm>
              <a:custGeom>
                <a:avLst/>
                <a:gdLst>
                  <a:gd name="T0" fmla="*/ 22 w 44"/>
                  <a:gd name="T1" fmla="*/ 10 h 10"/>
                  <a:gd name="T2" fmla="*/ 26 w 44"/>
                  <a:gd name="T3" fmla="*/ 10 h 10"/>
                  <a:gd name="T4" fmla="*/ 30 w 44"/>
                  <a:gd name="T5" fmla="*/ 10 h 10"/>
                  <a:gd name="T6" fmla="*/ 35 w 44"/>
                  <a:gd name="T7" fmla="*/ 10 h 10"/>
                  <a:gd name="T8" fmla="*/ 37 w 44"/>
                  <a:gd name="T9" fmla="*/ 8 h 10"/>
                  <a:gd name="T10" fmla="*/ 40 w 44"/>
                  <a:gd name="T11" fmla="*/ 8 h 10"/>
                  <a:gd name="T12" fmla="*/ 43 w 44"/>
                  <a:gd name="T13" fmla="*/ 7 h 10"/>
                  <a:gd name="T14" fmla="*/ 44 w 44"/>
                  <a:gd name="T15" fmla="*/ 6 h 10"/>
                  <a:gd name="T16" fmla="*/ 44 w 44"/>
                  <a:gd name="T17" fmla="*/ 6 h 10"/>
                  <a:gd name="T18" fmla="*/ 44 w 44"/>
                  <a:gd name="T19" fmla="*/ 4 h 10"/>
                  <a:gd name="T20" fmla="*/ 43 w 44"/>
                  <a:gd name="T21" fmla="*/ 3 h 10"/>
                  <a:gd name="T22" fmla="*/ 40 w 44"/>
                  <a:gd name="T23" fmla="*/ 2 h 10"/>
                  <a:gd name="T24" fmla="*/ 37 w 44"/>
                  <a:gd name="T25" fmla="*/ 2 h 10"/>
                  <a:gd name="T26" fmla="*/ 35 w 44"/>
                  <a:gd name="T27" fmla="*/ 0 h 10"/>
                  <a:gd name="T28" fmla="*/ 30 w 44"/>
                  <a:gd name="T29" fmla="*/ 0 h 10"/>
                  <a:gd name="T30" fmla="*/ 26 w 44"/>
                  <a:gd name="T31" fmla="*/ 0 h 10"/>
                  <a:gd name="T32" fmla="*/ 22 w 44"/>
                  <a:gd name="T33" fmla="*/ 0 h 10"/>
                  <a:gd name="T34" fmla="*/ 18 w 44"/>
                  <a:gd name="T35" fmla="*/ 0 h 10"/>
                  <a:gd name="T36" fmla="*/ 14 w 44"/>
                  <a:gd name="T37" fmla="*/ 0 h 10"/>
                  <a:gd name="T38" fmla="*/ 10 w 44"/>
                  <a:gd name="T39" fmla="*/ 0 h 10"/>
                  <a:gd name="T40" fmla="*/ 7 w 44"/>
                  <a:gd name="T41" fmla="*/ 2 h 10"/>
                  <a:gd name="T42" fmla="*/ 4 w 44"/>
                  <a:gd name="T43" fmla="*/ 2 h 10"/>
                  <a:gd name="T44" fmla="*/ 2 w 44"/>
                  <a:gd name="T45" fmla="*/ 3 h 10"/>
                  <a:gd name="T46" fmla="*/ 0 w 44"/>
                  <a:gd name="T47" fmla="*/ 4 h 10"/>
                  <a:gd name="T48" fmla="*/ 0 w 44"/>
                  <a:gd name="T49" fmla="*/ 6 h 10"/>
                  <a:gd name="T50" fmla="*/ 0 w 44"/>
                  <a:gd name="T51" fmla="*/ 6 h 10"/>
                  <a:gd name="T52" fmla="*/ 2 w 44"/>
                  <a:gd name="T53" fmla="*/ 7 h 10"/>
                  <a:gd name="T54" fmla="*/ 4 w 44"/>
                  <a:gd name="T55" fmla="*/ 8 h 10"/>
                  <a:gd name="T56" fmla="*/ 7 w 44"/>
                  <a:gd name="T57" fmla="*/ 8 h 10"/>
                  <a:gd name="T58" fmla="*/ 10 w 44"/>
                  <a:gd name="T59" fmla="*/ 10 h 10"/>
                  <a:gd name="T60" fmla="*/ 14 w 44"/>
                  <a:gd name="T61" fmla="*/ 10 h 10"/>
                  <a:gd name="T62" fmla="*/ 18 w 44"/>
                  <a:gd name="T63" fmla="*/ 10 h 10"/>
                  <a:gd name="T64" fmla="*/ 22 w 44"/>
                  <a:gd name="T6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10">
                    <a:moveTo>
                      <a:pt x="22" y="10"/>
                    </a:moveTo>
                    <a:lnTo>
                      <a:pt x="26" y="10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8"/>
                    </a:lnTo>
                    <a:lnTo>
                      <a:pt x="40" y="8"/>
                    </a:lnTo>
                    <a:lnTo>
                      <a:pt x="43" y="7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3" y="3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22" y="1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0" name="Freeform 109"/>
              <p:cNvSpPr>
                <a:spLocks/>
              </p:cNvSpPr>
              <p:nvPr/>
            </p:nvSpPr>
            <p:spPr bwMode="auto">
              <a:xfrm>
                <a:off x="4589" y="2965"/>
                <a:ext cx="44" cy="10"/>
              </a:xfrm>
              <a:custGeom>
                <a:avLst/>
                <a:gdLst>
                  <a:gd name="T0" fmla="*/ 22 w 44"/>
                  <a:gd name="T1" fmla="*/ 10 h 10"/>
                  <a:gd name="T2" fmla="*/ 26 w 44"/>
                  <a:gd name="T3" fmla="*/ 10 h 10"/>
                  <a:gd name="T4" fmla="*/ 30 w 44"/>
                  <a:gd name="T5" fmla="*/ 10 h 10"/>
                  <a:gd name="T6" fmla="*/ 35 w 44"/>
                  <a:gd name="T7" fmla="*/ 10 h 10"/>
                  <a:gd name="T8" fmla="*/ 37 w 44"/>
                  <a:gd name="T9" fmla="*/ 8 h 10"/>
                  <a:gd name="T10" fmla="*/ 40 w 44"/>
                  <a:gd name="T11" fmla="*/ 8 h 10"/>
                  <a:gd name="T12" fmla="*/ 43 w 44"/>
                  <a:gd name="T13" fmla="*/ 7 h 10"/>
                  <a:gd name="T14" fmla="*/ 44 w 44"/>
                  <a:gd name="T15" fmla="*/ 6 h 10"/>
                  <a:gd name="T16" fmla="*/ 44 w 44"/>
                  <a:gd name="T17" fmla="*/ 4 h 10"/>
                  <a:gd name="T18" fmla="*/ 43 w 44"/>
                  <a:gd name="T19" fmla="*/ 3 h 10"/>
                  <a:gd name="T20" fmla="*/ 40 w 44"/>
                  <a:gd name="T21" fmla="*/ 2 h 10"/>
                  <a:gd name="T22" fmla="*/ 37 w 44"/>
                  <a:gd name="T23" fmla="*/ 2 h 10"/>
                  <a:gd name="T24" fmla="*/ 35 w 44"/>
                  <a:gd name="T25" fmla="*/ 0 h 10"/>
                  <a:gd name="T26" fmla="*/ 30 w 44"/>
                  <a:gd name="T27" fmla="*/ 0 h 10"/>
                  <a:gd name="T28" fmla="*/ 26 w 44"/>
                  <a:gd name="T29" fmla="*/ 0 h 10"/>
                  <a:gd name="T30" fmla="*/ 22 w 44"/>
                  <a:gd name="T31" fmla="*/ 0 h 10"/>
                  <a:gd name="T32" fmla="*/ 18 w 44"/>
                  <a:gd name="T33" fmla="*/ 0 h 10"/>
                  <a:gd name="T34" fmla="*/ 14 w 44"/>
                  <a:gd name="T35" fmla="*/ 0 h 10"/>
                  <a:gd name="T36" fmla="*/ 10 w 44"/>
                  <a:gd name="T37" fmla="*/ 0 h 10"/>
                  <a:gd name="T38" fmla="*/ 7 w 44"/>
                  <a:gd name="T39" fmla="*/ 2 h 10"/>
                  <a:gd name="T40" fmla="*/ 4 w 44"/>
                  <a:gd name="T41" fmla="*/ 2 h 10"/>
                  <a:gd name="T42" fmla="*/ 2 w 44"/>
                  <a:gd name="T43" fmla="*/ 3 h 10"/>
                  <a:gd name="T44" fmla="*/ 0 w 44"/>
                  <a:gd name="T45" fmla="*/ 4 h 10"/>
                  <a:gd name="T46" fmla="*/ 0 w 44"/>
                  <a:gd name="T47" fmla="*/ 6 h 10"/>
                  <a:gd name="T48" fmla="*/ 2 w 44"/>
                  <a:gd name="T49" fmla="*/ 7 h 10"/>
                  <a:gd name="T50" fmla="*/ 4 w 44"/>
                  <a:gd name="T51" fmla="*/ 8 h 10"/>
                  <a:gd name="T52" fmla="*/ 7 w 44"/>
                  <a:gd name="T53" fmla="*/ 8 h 10"/>
                  <a:gd name="T54" fmla="*/ 10 w 44"/>
                  <a:gd name="T55" fmla="*/ 10 h 10"/>
                  <a:gd name="T56" fmla="*/ 14 w 44"/>
                  <a:gd name="T57" fmla="*/ 10 h 10"/>
                  <a:gd name="T58" fmla="*/ 18 w 44"/>
                  <a:gd name="T59" fmla="*/ 10 h 10"/>
                  <a:gd name="T60" fmla="*/ 22 w 44"/>
                  <a:gd name="T6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4" h="10">
                    <a:moveTo>
                      <a:pt x="22" y="10"/>
                    </a:moveTo>
                    <a:lnTo>
                      <a:pt x="26" y="10"/>
                    </a:lnTo>
                    <a:lnTo>
                      <a:pt x="30" y="10"/>
                    </a:lnTo>
                    <a:lnTo>
                      <a:pt x="35" y="10"/>
                    </a:lnTo>
                    <a:lnTo>
                      <a:pt x="37" y="8"/>
                    </a:lnTo>
                    <a:lnTo>
                      <a:pt x="40" y="8"/>
                    </a:lnTo>
                    <a:lnTo>
                      <a:pt x="43" y="7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3" y="3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7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22" y="1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1" name="Freeform 110"/>
              <p:cNvSpPr>
                <a:spLocks/>
              </p:cNvSpPr>
              <p:nvPr/>
            </p:nvSpPr>
            <p:spPr bwMode="auto">
              <a:xfrm>
                <a:off x="4628" y="2990"/>
                <a:ext cx="23" cy="14"/>
              </a:xfrm>
              <a:custGeom>
                <a:avLst/>
                <a:gdLst>
                  <a:gd name="T0" fmla="*/ 12 w 23"/>
                  <a:gd name="T1" fmla="*/ 14 h 14"/>
                  <a:gd name="T2" fmla="*/ 15 w 23"/>
                  <a:gd name="T3" fmla="*/ 12 h 14"/>
                  <a:gd name="T4" fmla="*/ 16 w 23"/>
                  <a:gd name="T5" fmla="*/ 12 h 14"/>
                  <a:gd name="T6" fmla="*/ 19 w 23"/>
                  <a:gd name="T7" fmla="*/ 12 h 14"/>
                  <a:gd name="T8" fmla="*/ 20 w 23"/>
                  <a:gd name="T9" fmla="*/ 11 h 14"/>
                  <a:gd name="T10" fmla="*/ 22 w 23"/>
                  <a:gd name="T11" fmla="*/ 10 h 14"/>
                  <a:gd name="T12" fmla="*/ 23 w 23"/>
                  <a:gd name="T13" fmla="*/ 8 h 14"/>
                  <a:gd name="T14" fmla="*/ 23 w 23"/>
                  <a:gd name="T15" fmla="*/ 7 h 14"/>
                  <a:gd name="T16" fmla="*/ 23 w 23"/>
                  <a:gd name="T17" fmla="*/ 7 h 14"/>
                  <a:gd name="T18" fmla="*/ 23 w 23"/>
                  <a:gd name="T19" fmla="*/ 4 h 14"/>
                  <a:gd name="T20" fmla="*/ 23 w 23"/>
                  <a:gd name="T21" fmla="*/ 4 h 14"/>
                  <a:gd name="T22" fmla="*/ 22 w 23"/>
                  <a:gd name="T23" fmla="*/ 3 h 14"/>
                  <a:gd name="T24" fmla="*/ 20 w 23"/>
                  <a:gd name="T25" fmla="*/ 1 h 14"/>
                  <a:gd name="T26" fmla="*/ 19 w 23"/>
                  <a:gd name="T27" fmla="*/ 0 h 14"/>
                  <a:gd name="T28" fmla="*/ 16 w 23"/>
                  <a:gd name="T29" fmla="*/ 0 h 14"/>
                  <a:gd name="T30" fmla="*/ 15 w 23"/>
                  <a:gd name="T31" fmla="*/ 0 h 14"/>
                  <a:gd name="T32" fmla="*/ 12 w 23"/>
                  <a:gd name="T33" fmla="*/ 0 h 14"/>
                  <a:gd name="T34" fmla="*/ 9 w 23"/>
                  <a:gd name="T35" fmla="*/ 0 h 14"/>
                  <a:gd name="T36" fmla="*/ 7 w 23"/>
                  <a:gd name="T37" fmla="*/ 0 h 14"/>
                  <a:gd name="T38" fmla="*/ 5 w 23"/>
                  <a:gd name="T39" fmla="*/ 0 h 14"/>
                  <a:gd name="T40" fmla="*/ 4 w 23"/>
                  <a:gd name="T41" fmla="*/ 1 h 14"/>
                  <a:gd name="T42" fmla="*/ 2 w 23"/>
                  <a:gd name="T43" fmla="*/ 3 h 14"/>
                  <a:gd name="T44" fmla="*/ 1 w 23"/>
                  <a:gd name="T45" fmla="*/ 4 h 14"/>
                  <a:gd name="T46" fmla="*/ 0 w 23"/>
                  <a:gd name="T47" fmla="*/ 4 h 14"/>
                  <a:gd name="T48" fmla="*/ 0 w 23"/>
                  <a:gd name="T49" fmla="*/ 7 h 14"/>
                  <a:gd name="T50" fmla="*/ 0 w 23"/>
                  <a:gd name="T51" fmla="*/ 7 h 14"/>
                  <a:gd name="T52" fmla="*/ 1 w 23"/>
                  <a:gd name="T53" fmla="*/ 8 h 14"/>
                  <a:gd name="T54" fmla="*/ 2 w 23"/>
                  <a:gd name="T55" fmla="*/ 10 h 14"/>
                  <a:gd name="T56" fmla="*/ 4 w 23"/>
                  <a:gd name="T57" fmla="*/ 11 h 14"/>
                  <a:gd name="T58" fmla="*/ 5 w 23"/>
                  <a:gd name="T59" fmla="*/ 12 h 14"/>
                  <a:gd name="T60" fmla="*/ 7 w 23"/>
                  <a:gd name="T61" fmla="*/ 12 h 14"/>
                  <a:gd name="T62" fmla="*/ 9 w 23"/>
                  <a:gd name="T63" fmla="*/ 12 h 14"/>
                  <a:gd name="T64" fmla="*/ 12 w 23"/>
                  <a:gd name="T6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2" y="14"/>
                    </a:moveTo>
                    <a:lnTo>
                      <a:pt x="15" y="12"/>
                    </a:lnTo>
                    <a:lnTo>
                      <a:pt x="16" y="12"/>
                    </a:lnTo>
                    <a:lnTo>
                      <a:pt x="19" y="12"/>
                    </a:lnTo>
                    <a:lnTo>
                      <a:pt x="20" y="11"/>
                    </a:lnTo>
                    <a:lnTo>
                      <a:pt x="22" y="10"/>
                    </a:lnTo>
                    <a:lnTo>
                      <a:pt x="23" y="8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2" name="Freeform 111"/>
              <p:cNvSpPr>
                <a:spLocks/>
              </p:cNvSpPr>
              <p:nvPr/>
            </p:nvSpPr>
            <p:spPr bwMode="auto">
              <a:xfrm>
                <a:off x="4628" y="2990"/>
                <a:ext cx="23" cy="14"/>
              </a:xfrm>
              <a:custGeom>
                <a:avLst/>
                <a:gdLst>
                  <a:gd name="T0" fmla="*/ 12 w 23"/>
                  <a:gd name="T1" fmla="*/ 14 h 14"/>
                  <a:gd name="T2" fmla="*/ 15 w 23"/>
                  <a:gd name="T3" fmla="*/ 12 h 14"/>
                  <a:gd name="T4" fmla="*/ 16 w 23"/>
                  <a:gd name="T5" fmla="*/ 12 h 14"/>
                  <a:gd name="T6" fmla="*/ 19 w 23"/>
                  <a:gd name="T7" fmla="*/ 12 h 14"/>
                  <a:gd name="T8" fmla="*/ 20 w 23"/>
                  <a:gd name="T9" fmla="*/ 11 h 14"/>
                  <a:gd name="T10" fmla="*/ 22 w 23"/>
                  <a:gd name="T11" fmla="*/ 10 h 14"/>
                  <a:gd name="T12" fmla="*/ 23 w 23"/>
                  <a:gd name="T13" fmla="*/ 8 h 14"/>
                  <a:gd name="T14" fmla="*/ 23 w 23"/>
                  <a:gd name="T15" fmla="*/ 7 h 14"/>
                  <a:gd name="T16" fmla="*/ 23 w 23"/>
                  <a:gd name="T17" fmla="*/ 4 h 14"/>
                  <a:gd name="T18" fmla="*/ 22 w 23"/>
                  <a:gd name="T19" fmla="*/ 3 h 14"/>
                  <a:gd name="T20" fmla="*/ 20 w 23"/>
                  <a:gd name="T21" fmla="*/ 1 h 14"/>
                  <a:gd name="T22" fmla="*/ 19 w 23"/>
                  <a:gd name="T23" fmla="*/ 0 h 14"/>
                  <a:gd name="T24" fmla="*/ 16 w 23"/>
                  <a:gd name="T25" fmla="*/ 0 h 14"/>
                  <a:gd name="T26" fmla="*/ 15 w 23"/>
                  <a:gd name="T27" fmla="*/ 0 h 14"/>
                  <a:gd name="T28" fmla="*/ 12 w 23"/>
                  <a:gd name="T29" fmla="*/ 0 h 14"/>
                  <a:gd name="T30" fmla="*/ 9 w 23"/>
                  <a:gd name="T31" fmla="*/ 0 h 14"/>
                  <a:gd name="T32" fmla="*/ 7 w 23"/>
                  <a:gd name="T33" fmla="*/ 0 h 14"/>
                  <a:gd name="T34" fmla="*/ 5 w 23"/>
                  <a:gd name="T35" fmla="*/ 0 h 14"/>
                  <a:gd name="T36" fmla="*/ 4 w 23"/>
                  <a:gd name="T37" fmla="*/ 1 h 14"/>
                  <a:gd name="T38" fmla="*/ 2 w 23"/>
                  <a:gd name="T39" fmla="*/ 3 h 14"/>
                  <a:gd name="T40" fmla="*/ 1 w 23"/>
                  <a:gd name="T41" fmla="*/ 4 h 14"/>
                  <a:gd name="T42" fmla="*/ 0 w 23"/>
                  <a:gd name="T43" fmla="*/ 4 h 14"/>
                  <a:gd name="T44" fmla="*/ 0 w 23"/>
                  <a:gd name="T45" fmla="*/ 7 h 14"/>
                  <a:gd name="T46" fmla="*/ 1 w 23"/>
                  <a:gd name="T47" fmla="*/ 8 h 14"/>
                  <a:gd name="T48" fmla="*/ 2 w 23"/>
                  <a:gd name="T49" fmla="*/ 10 h 14"/>
                  <a:gd name="T50" fmla="*/ 4 w 23"/>
                  <a:gd name="T51" fmla="*/ 11 h 14"/>
                  <a:gd name="T52" fmla="*/ 5 w 23"/>
                  <a:gd name="T53" fmla="*/ 12 h 14"/>
                  <a:gd name="T54" fmla="*/ 7 w 23"/>
                  <a:gd name="T55" fmla="*/ 12 h 14"/>
                  <a:gd name="T56" fmla="*/ 9 w 23"/>
                  <a:gd name="T57" fmla="*/ 12 h 14"/>
                  <a:gd name="T58" fmla="*/ 12 w 23"/>
                  <a:gd name="T5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" h="14">
                    <a:moveTo>
                      <a:pt x="12" y="14"/>
                    </a:moveTo>
                    <a:lnTo>
                      <a:pt x="15" y="12"/>
                    </a:lnTo>
                    <a:lnTo>
                      <a:pt x="16" y="12"/>
                    </a:lnTo>
                    <a:lnTo>
                      <a:pt x="19" y="12"/>
                    </a:lnTo>
                    <a:lnTo>
                      <a:pt x="20" y="11"/>
                    </a:lnTo>
                    <a:lnTo>
                      <a:pt x="22" y="10"/>
                    </a:lnTo>
                    <a:lnTo>
                      <a:pt x="23" y="8"/>
                    </a:lnTo>
                    <a:lnTo>
                      <a:pt x="23" y="7"/>
                    </a:lnTo>
                    <a:lnTo>
                      <a:pt x="23" y="4"/>
                    </a:lnTo>
                    <a:lnTo>
                      <a:pt x="22" y="3"/>
                    </a:ln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2" y="10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12"/>
                    </a:lnTo>
                    <a:lnTo>
                      <a:pt x="12" y="14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3" name="Freeform 112"/>
              <p:cNvSpPr>
                <a:spLocks/>
              </p:cNvSpPr>
              <p:nvPr/>
            </p:nvSpPr>
            <p:spPr bwMode="auto">
              <a:xfrm>
                <a:off x="4595" y="2987"/>
                <a:ext cx="12" cy="11"/>
              </a:xfrm>
              <a:custGeom>
                <a:avLst/>
                <a:gdLst>
                  <a:gd name="T0" fmla="*/ 5 w 12"/>
                  <a:gd name="T1" fmla="*/ 11 h 11"/>
                  <a:gd name="T2" fmla="*/ 7 w 12"/>
                  <a:gd name="T3" fmla="*/ 10 h 11"/>
                  <a:gd name="T4" fmla="*/ 8 w 12"/>
                  <a:gd name="T5" fmla="*/ 10 h 11"/>
                  <a:gd name="T6" fmla="*/ 9 w 12"/>
                  <a:gd name="T7" fmla="*/ 10 h 11"/>
                  <a:gd name="T8" fmla="*/ 11 w 12"/>
                  <a:gd name="T9" fmla="*/ 10 h 11"/>
                  <a:gd name="T10" fmla="*/ 11 w 12"/>
                  <a:gd name="T11" fmla="*/ 8 h 11"/>
                  <a:gd name="T12" fmla="*/ 12 w 12"/>
                  <a:gd name="T13" fmla="*/ 7 h 11"/>
                  <a:gd name="T14" fmla="*/ 12 w 12"/>
                  <a:gd name="T15" fmla="*/ 7 h 11"/>
                  <a:gd name="T16" fmla="*/ 12 w 12"/>
                  <a:gd name="T17" fmla="*/ 6 h 11"/>
                  <a:gd name="T18" fmla="*/ 12 w 12"/>
                  <a:gd name="T19" fmla="*/ 4 h 11"/>
                  <a:gd name="T20" fmla="*/ 12 w 12"/>
                  <a:gd name="T21" fmla="*/ 4 h 11"/>
                  <a:gd name="T22" fmla="*/ 11 w 12"/>
                  <a:gd name="T23" fmla="*/ 3 h 11"/>
                  <a:gd name="T24" fmla="*/ 11 w 12"/>
                  <a:gd name="T25" fmla="*/ 2 h 11"/>
                  <a:gd name="T26" fmla="*/ 9 w 12"/>
                  <a:gd name="T27" fmla="*/ 2 h 11"/>
                  <a:gd name="T28" fmla="*/ 8 w 12"/>
                  <a:gd name="T29" fmla="*/ 0 h 11"/>
                  <a:gd name="T30" fmla="*/ 7 w 12"/>
                  <a:gd name="T31" fmla="*/ 0 h 11"/>
                  <a:gd name="T32" fmla="*/ 5 w 12"/>
                  <a:gd name="T33" fmla="*/ 0 h 11"/>
                  <a:gd name="T34" fmla="*/ 4 w 12"/>
                  <a:gd name="T35" fmla="*/ 0 h 11"/>
                  <a:gd name="T36" fmla="*/ 2 w 12"/>
                  <a:gd name="T37" fmla="*/ 0 h 11"/>
                  <a:gd name="T38" fmla="*/ 2 w 12"/>
                  <a:gd name="T39" fmla="*/ 2 h 11"/>
                  <a:gd name="T40" fmla="*/ 1 w 12"/>
                  <a:gd name="T41" fmla="*/ 2 h 11"/>
                  <a:gd name="T42" fmla="*/ 0 w 12"/>
                  <a:gd name="T43" fmla="*/ 3 h 11"/>
                  <a:gd name="T44" fmla="*/ 0 w 12"/>
                  <a:gd name="T45" fmla="*/ 4 h 11"/>
                  <a:gd name="T46" fmla="*/ 0 w 12"/>
                  <a:gd name="T47" fmla="*/ 4 h 11"/>
                  <a:gd name="T48" fmla="*/ 0 w 12"/>
                  <a:gd name="T49" fmla="*/ 6 h 11"/>
                  <a:gd name="T50" fmla="*/ 0 w 12"/>
                  <a:gd name="T51" fmla="*/ 7 h 11"/>
                  <a:gd name="T52" fmla="*/ 0 w 12"/>
                  <a:gd name="T53" fmla="*/ 7 h 11"/>
                  <a:gd name="T54" fmla="*/ 0 w 12"/>
                  <a:gd name="T55" fmla="*/ 8 h 11"/>
                  <a:gd name="T56" fmla="*/ 1 w 12"/>
                  <a:gd name="T57" fmla="*/ 10 h 11"/>
                  <a:gd name="T58" fmla="*/ 2 w 12"/>
                  <a:gd name="T59" fmla="*/ 10 h 11"/>
                  <a:gd name="T60" fmla="*/ 2 w 12"/>
                  <a:gd name="T61" fmla="*/ 10 h 11"/>
                  <a:gd name="T62" fmla="*/ 4 w 12"/>
                  <a:gd name="T63" fmla="*/ 10 h 11"/>
                  <a:gd name="T64" fmla="*/ 5 w 12"/>
                  <a:gd name="T6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7" y="10"/>
                    </a:ln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4" name="Freeform 113"/>
              <p:cNvSpPr>
                <a:spLocks/>
              </p:cNvSpPr>
              <p:nvPr/>
            </p:nvSpPr>
            <p:spPr bwMode="auto">
              <a:xfrm>
                <a:off x="4595" y="2987"/>
                <a:ext cx="12" cy="11"/>
              </a:xfrm>
              <a:custGeom>
                <a:avLst/>
                <a:gdLst>
                  <a:gd name="T0" fmla="*/ 5 w 12"/>
                  <a:gd name="T1" fmla="*/ 11 h 11"/>
                  <a:gd name="T2" fmla="*/ 7 w 12"/>
                  <a:gd name="T3" fmla="*/ 10 h 11"/>
                  <a:gd name="T4" fmla="*/ 8 w 12"/>
                  <a:gd name="T5" fmla="*/ 10 h 11"/>
                  <a:gd name="T6" fmla="*/ 9 w 12"/>
                  <a:gd name="T7" fmla="*/ 10 h 11"/>
                  <a:gd name="T8" fmla="*/ 11 w 12"/>
                  <a:gd name="T9" fmla="*/ 10 h 11"/>
                  <a:gd name="T10" fmla="*/ 11 w 12"/>
                  <a:gd name="T11" fmla="*/ 8 h 11"/>
                  <a:gd name="T12" fmla="*/ 12 w 12"/>
                  <a:gd name="T13" fmla="*/ 7 h 11"/>
                  <a:gd name="T14" fmla="*/ 12 w 12"/>
                  <a:gd name="T15" fmla="*/ 6 h 11"/>
                  <a:gd name="T16" fmla="*/ 12 w 12"/>
                  <a:gd name="T17" fmla="*/ 4 h 11"/>
                  <a:gd name="T18" fmla="*/ 11 w 12"/>
                  <a:gd name="T19" fmla="*/ 3 h 11"/>
                  <a:gd name="T20" fmla="*/ 11 w 12"/>
                  <a:gd name="T21" fmla="*/ 2 h 11"/>
                  <a:gd name="T22" fmla="*/ 9 w 12"/>
                  <a:gd name="T23" fmla="*/ 2 h 11"/>
                  <a:gd name="T24" fmla="*/ 8 w 12"/>
                  <a:gd name="T25" fmla="*/ 0 h 11"/>
                  <a:gd name="T26" fmla="*/ 7 w 12"/>
                  <a:gd name="T27" fmla="*/ 0 h 11"/>
                  <a:gd name="T28" fmla="*/ 5 w 12"/>
                  <a:gd name="T29" fmla="*/ 0 h 11"/>
                  <a:gd name="T30" fmla="*/ 4 w 12"/>
                  <a:gd name="T31" fmla="*/ 0 h 11"/>
                  <a:gd name="T32" fmla="*/ 2 w 12"/>
                  <a:gd name="T33" fmla="*/ 0 h 11"/>
                  <a:gd name="T34" fmla="*/ 2 w 12"/>
                  <a:gd name="T35" fmla="*/ 2 h 11"/>
                  <a:gd name="T36" fmla="*/ 1 w 12"/>
                  <a:gd name="T37" fmla="*/ 2 h 11"/>
                  <a:gd name="T38" fmla="*/ 0 w 12"/>
                  <a:gd name="T39" fmla="*/ 3 h 11"/>
                  <a:gd name="T40" fmla="*/ 0 w 12"/>
                  <a:gd name="T41" fmla="*/ 4 h 11"/>
                  <a:gd name="T42" fmla="*/ 0 w 12"/>
                  <a:gd name="T43" fmla="*/ 6 h 11"/>
                  <a:gd name="T44" fmla="*/ 0 w 12"/>
                  <a:gd name="T45" fmla="*/ 7 h 11"/>
                  <a:gd name="T46" fmla="*/ 0 w 12"/>
                  <a:gd name="T47" fmla="*/ 8 h 11"/>
                  <a:gd name="T48" fmla="*/ 1 w 12"/>
                  <a:gd name="T49" fmla="*/ 10 h 11"/>
                  <a:gd name="T50" fmla="*/ 2 w 12"/>
                  <a:gd name="T51" fmla="*/ 10 h 11"/>
                  <a:gd name="T52" fmla="*/ 4 w 12"/>
                  <a:gd name="T53" fmla="*/ 10 h 11"/>
                  <a:gd name="T54" fmla="*/ 5 w 12"/>
                  <a:gd name="T5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7" y="10"/>
                    </a:lnTo>
                    <a:lnTo>
                      <a:pt x="8" y="10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2" y="7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4" y="10"/>
                    </a:lnTo>
                    <a:lnTo>
                      <a:pt x="5" y="11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5" name="Freeform 114"/>
              <p:cNvSpPr>
                <a:spLocks/>
              </p:cNvSpPr>
              <p:nvPr/>
            </p:nvSpPr>
            <p:spPr bwMode="auto">
              <a:xfrm>
                <a:off x="4514" y="2899"/>
                <a:ext cx="97" cy="116"/>
              </a:xfrm>
              <a:custGeom>
                <a:avLst/>
                <a:gdLst>
                  <a:gd name="T0" fmla="*/ 12 w 97"/>
                  <a:gd name="T1" fmla="*/ 107 h 116"/>
                  <a:gd name="T2" fmla="*/ 9 w 97"/>
                  <a:gd name="T3" fmla="*/ 98 h 116"/>
                  <a:gd name="T4" fmla="*/ 9 w 97"/>
                  <a:gd name="T5" fmla="*/ 84 h 116"/>
                  <a:gd name="T6" fmla="*/ 13 w 97"/>
                  <a:gd name="T7" fmla="*/ 76 h 116"/>
                  <a:gd name="T8" fmla="*/ 13 w 97"/>
                  <a:gd name="T9" fmla="*/ 69 h 116"/>
                  <a:gd name="T10" fmla="*/ 9 w 97"/>
                  <a:gd name="T11" fmla="*/ 63 h 116"/>
                  <a:gd name="T12" fmla="*/ 4 w 97"/>
                  <a:gd name="T13" fmla="*/ 62 h 116"/>
                  <a:gd name="T14" fmla="*/ 1 w 97"/>
                  <a:gd name="T15" fmla="*/ 59 h 116"/>
                  <a:gd name="T16" fmla="*/ 2 w 97"/>
                  <a:gd name="T17" fmla="*/ 51 h 116"/>
                  <a:gd name="T18" fmla="*/ 6 w 97"/>
                  <a:gd name="T19" fmla="*/ 41 h 116"/>
                  <a:gd name="T20" fmla="*/ 9 w 97"/>
                  <a:gd name="T21" fmla="*/ 37 h 116"/>
                  <a:gd name="T22" fmla="*/ 8 w 97"/>
                  <a:gd name="T23" fmla="*/ 33 h 116"/>
                  <a:gd name="T24" fmla="*/ 9 w 97"/>
                  <a:gd name="T25" fmla="*/ 25 h 116"/>
                  <a:gd name="T26" fmla="*/ 16 w 97"/>
                  <a:gd name="T27" fmla="*/ 19 h 116"/>
                  <a:gd name="T28" fmla="*/ 17 w 97"/>
                  <a:gd name="T29" fmla="*/ 21 h 116"/>
                  <a:gd name="T30" fmla="*/ 20 w 97"/>
                  <a:gd name="T31" fmla="*/ 19 h 116"/>
                  <a:gd name="T32" fmla="*/ 23 w 97"/>
                  <a:gd name="T33" fmla="*/ 15 h 116"/>
                  <a:gd name="T34" fmla="*/ 30 w 97"/>
                  <a:gd name="T35" fmla="*/ 8 h 116"/>
                  <a:gd name="T36" fmla="*/ 44 w 97"/>
                  <a:gd name="T37" fmla="*/ 2 h 116"/>
                  <a:gd name="T38" fmla="*/ 53 w 97"/>
                  <a:gd name="T39" fmla="*/ 0 h 116"/>
                  <a:gd name="T40" fmla="*/ 66 w 97"/>
                  <a:gd name="T41" fmla="*/ 0 h 116"/>
                  <a:gd name="T42" fmla="*/ 81 w 97"/>
                  <a:gd name="T43" fmla="*/ 6 h 116"/>
                  <a:gd name="T44" fmla="*/ 83 w 97"/>
                  <a:gd name="T45" fmla="*/ 7 h 116"/>
                  <a:gd name="T46" fmla="*/ 89 w 97"/>
                  <a:gd name="T47" fmla="*/ 7 h 116"/>
                  <a:gd name="T48" fmla="*/ 92 w 97"/>
                  <a:gd name="T49" fmla="*/ 6 h 116"/>
                  <a:gd name="T50" fmla="*/ 96 w 97"/>
                  <a:gd name="T51" fmla="*/ 11 h 116"/>
                  <a:gd name="T52" fmla="*/ 96 w 97"/>
                  <a:gd name="T53" fmla="*/ 21 h 116"/>
                  <a:gd name="T54" fmla="*/ 85 w 97"/>
                  <a:gd name="T55" fmla="*/ 28 h 116"/>
                  <a:gd name="T56" fmla="*/ 77 w 97"/>
                  <a:gd name="T57" fmla="*/ 22 h 116"/>
                  <a:gd name="T58" fmla="*/ 71 w 97"/>
                  <a:gd name="T59" fmla="*/ 15 h 116"/>
                  <a:gd name="T60" fmla="*/ 63 w 97"/>
                  <a:gd name="T61" fmla="*/ 10 h 116"/>
                  <a:gd name="T62" fmla="*/ 50 w 97"/>
                  <a:gd name="T63" fmla="*/ 7 h 116"/>
                  <a:gd name="T64" fmla="*/ 38 w 97"/>
                  <a:gd name="T65" fmla="*/ 15 h 116"/>
                  <a:gd name="T66" fmla="*/ 30 w 97"/>
                  <a:gd name="T67" fmla="*/ 21 h 116"/>
                  <a:gd name="T68" fmla="*/ 26 w 97"/>
                  <a:gd name="T69" fmla="*/ 26 h 116"/>
                  <a:gd name="T70" fmla="*/ 26 w 97"/>
                  <a:gd name="T71" fmla="*/ 36 h 116"/>
                  <a:gd name="T72" fmla="*/ 23 w 97"/>
                  <a:gd name="T73" fmla="*/ 43 h 116"/>
                  <a:gd name="T74" fmla="*/ 27 w 97"/>
                  <a:gd name="T75" fmla="*/ 46 h 116"/>
                  <a:gd name="T76" fmla="*/ 39 w 97"/>
                  <a:gd name="T77" fmla="*/ 43 h 116"/>
                  <a:gd name="T78" fmla="*/ 49 w 97"/>
                  <a:gd name="T79" fmla="*/ 40 h 116"/>
                  <a:gd name="T80" fmla="*/ 52 w 97"/>
                  <a:gd name="T81" fmla="*/ 36 h 116"/>
                  <a:gd name="T82" fmla="*/ 57 w 97"/>
                  <a:gd name="T83" fmla="*/ 35 h 116"/>
                  <a:gd name="T84" fmla="*/ 63 w 97"/>
                  <a:gd name="T85" fmla="*/ 35 h 116"/>
                  <a:gd name="T86" fmla="*/ 63 w 97"/>
                  <a:gd name="T87" fmla="*/ 36 h 116"/>
                  <a:gd name="T88" fmla="*/ 63 w 97"/>
                  <a:gd name="T89" fmla="*/ 41 h 116"/>
                  <a:gd name="T90" fmla="*/ 59 w 97"/>
                  <a:gd name="T91" fmla="*/ 46 h 116"/>
                  <a:gd name="T92" fmla="*/ 49 w 97"/>
                  <a:gd name="T93" fmla="*/ 48 h 116"/>
                  <a:gd name="T94" fmla="*/ 39 w 97"/>
                  <a:gd name="T95" fmla="*/ 52 h 116"/>
                  <a:gd name="T96" fmla="*/ 38 w 97"/>
                  <a:gd name="T97" fmla="*/ 54 h 116"/>
                  <a:gd name="T98" fmla="*/ 37 w 97"/>
                  <a:gd name="T99" fmla="*/ 57 h 116"/>
                  <a:gd name="T100" fmla="*/ 39 w 97"/>
                  <a:gd name="T101" fmla="*/ 61 h 116"/>
                  <a:gd name="T102" fmla="*/ 48 w 97"/>
                  <a:gd name="T103" fmla="*/ 65 h 116"/>
                  <a:gd name="T104" fmla="*/ 53 w 97"/>
                  <a:gd name="T105" fmla="*/ 76 h 116"/>
                  <a:gd name="T106" fmla="*/ 55 w 97"/>
                  <a:gd name="T107" fmla="*/ 83 h 116"/>
                  <a:gd name="T108" fmla="*/ 53 w 97"/>
                  <a:gd name="T109" fmla="*/ 110 h 116"/>
                  <a:gd name="T110" fmla="*/ 39 w 97"/>
                  <a:gd name="T111" fmla="*/ 77 h 116"/>
                  <a:gd name="T112" fmla="*/ 27 w 97"/>
                  <a:gd name="T113" fmla="*/ 6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7" h="116">
                    <a:moveTo>
                      <a:pt x="20" y="106"/>
                    </a:moveTo>
                    <a:lnTo>
                      <a:pt x="12" y="109"/>
                    </a:lnTo>
                    <a:lnTo>
                      <a:pt x="12" y="107"/>
                    </a:lnTo>
                    <a:lnTo>
                      <a:pt x="11" y="105"/>
                    </a:lnTo>
                    <a:lnTo>
                      <a:pt x="11" y="102"/>
                    </a:lnTo>
                    <a:lnTo>
                      <a:pt x="9" y="98"/>
                    </a:lnTo>
                    <a:lnTo>
                      <a:pt x="9" y="94"/>
                    </a:lnTo>
                    <a:lnTo>
                      <a:pt x="9" y="90"/>
                    </a:lnTo>
                    <a:lnTo>
                      <a:pt x="9" y="84"/>
                    </a:lnTo>
                    <a:lnTo>
                      <a:pt x="12" y="81"/>
                    </a:lnTo>
                    <a:lnTo>
                      <a:pt x="12" y="79"/>
                    </a:lnTo>
                    <a:lnTo>
                      <a:pt x="13" y="76"/>
                    </a:lnTo>
                    <a:lnTo>
                      <a:pt x="13" y="73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2" y="66"/>
                    </a:lnTo>
                    <a:lnTo>
                      <a:pt x="11" y="65"/>
                    </a:lnTo>
                    <a:lnTo>
                      <a:pt x="9" y="63"/>
                    </a:lnTo>
                    <a:lnTo>
                      <a:pt x="6" y="63"/>
                    </a:lnTo>
                    <a:lnTo>
                      <a:pt x="5" y="62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1" y="61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1" y="54"/>
                    </a:lnTo>
                    <a:lnTo>
                      <a:pt x="2" y="51"/>
                    </a:lnTo>
                    <a:lnTo>
                      <a:pt x="4" y="47"/>
                    </a:lnTo>
                    <a:lnTo>
                      <a:pt x="5" y="44"/>
                    </a:lnTo>
                    <a:lnTo>
                      <a:pt x="6" y="41"/>
                    </a:lnTo>
                    <a:lnTo>
                      <a:pt x="6" y="40"/>
                    </a:lnTo>
                    <a:lnTo>
                      <a:pt x="8" y="37"/>
                    </a:lnTo>
                    <a:lnTo>
                      <a:pt x="9" y="37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8" y="33"/>
                    </a:lnTo>
                    <a:lnTo>
                      <a:pt x="8" y="32"/>
                    </a:lnTo>
                    <a:lnTo>
                      <a:pt x="9" y="29"/>
                    </a:lnTo>
                    <a:lnTo>
                      <a:pt x="9" y="25"/>
                    </a:lnTo>
                    <a:lnTo>
                      <a:pt x="11" y="24"/>
                    </a:lnTo>
                    <a:lnTo>
                      <a:pt x="13" y="21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7" y="21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19" y="21"/>
                    </a:lnTo>
                    <a:lnTo>
                      <a:pt x="20" y="19"/>
                    </a:lnTo>
                    <a:lnTo>
                      <a:pt x="22" y="19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4"/>
                    </a:lnTo>
                    <a:lnTo>
                      <a:pt x="27" y="11"/>
                    </a:lnTo>
                    <a:lnTo>
                      <a:pt x="30" y="8"/>
                    </a:lnTo>
                    <a:lnTo>
                      <a:pt x="33" y="6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1" y="2"/>
                    </a:lnTo>
                    <a:lnTo>
                      <a:pt x="77" y="3"/>
                    </a:lnTo>
                    <a:lnTo>
                      <a:pt x="81" y="6"/>
                    </a:lnTo>
                    <a:lnTo>
                      <a:pt x="81" y="6"/>
                    </a:lnTo>
                    <a:lnTo>
                      <a:pt x="82" y="6"/>
                    </a:lnTo>
                    <a:lnTo>
                      <a:pt x="83" y="7"/>
                    </a:lnTo>
                    <a:lnTo>
                      <a:pt x="86" y="7"/>
                    </a:lnTo>
                    <a:lnTo>
                      <a:pt x="88" y="8"/>
                    </a:lnTo>
                    <a:lnTo>
                      <a:pt x="89" y="7"/>
                    </a:lnTo>
                    <a:lnTo>
                      <a:pt x="90" y="7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3" y="7"/>
                    </a:lnTo>
                    <a:lnTo>
                      <a:pt x="94" y="8"/>
                    </a:lnTo>
                    <a:lnTo>
                      <a:pt x="96" y="11"/>
                    </a:lnTo>
                    <a:lnTo>
                      <a:pt x="97" y="15"/>
                    </a:lnTo>
                    <a:lnTo>
                      <a:pt x="97" y="18"/>
                    </a:lnTo>
                    <a:lnTo>
                      <a:pt x="96" y="21"/>
                    </a:lnTo>
                    <a:lnTo>
                      <a:pt x="93" y="25"/>
                    </a:lnTo>
                    <a:lnTo>
                      <a:pt x="89" y="26"/>
                    </a:lnTo>
                    <a:lnTo>
                      <a:pt x="85" y="28"/>
                    </a:lnTo>
                    <a:lnTo>
                      <a:pt x="82" y="26"/>
                    </a:lnTo>
                    <a:lnTo>
                      <a:pt x="79" y="24"/>
                    </a:lnTo>
                    <a:lnTo>
                      <a:pt x="77" y="22"/>
                    </a:lnTo>
                    <a:lnTo>
                      <a:pt x="75" y="19"/>
                    </a:lnTo>
                    <a:lnTo>
                      <a:pt x="74" y="17"/>
                    </a:lnTo>
                    <a:lnTo>
                      <a:pt x="71" y="15"/>
                    </a:lnTo>
                    <a:lnTo>
                      <a:pt x="68" y="14"/>
                    </a:lnTo>
                    <a:lnTo>
                      <a:pt x="66" y="11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0" y="7"/>
                    </a:lnTo>
                    <a:lnTo>
                      <a:pt x="46" y="8"/>
                    </a:lnTo>
                    <a:lnTo>
                      <a:pt x="42" y="11"/>
                    </a:lnTo>
                    <a:lnTo>
                      <a:pt x="38" y="15"/>
                    </a:lnTo>
                    <a:lnTo>
                      <a:pt x="35" y="17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27" y="22"/>
                    </a:lnTo>
                    <a:lnTo>
                      <a:pt x="26" y="25"/>
                    </a:lnTo>
                    <a:lnTo>
                      <a:pt x="26" y="26"/>
                    </a:lnTo>
                    <a:lnTo>
                      <a:pt x="26" y="29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24" y="39"/>
                    </a:lnTo>
                    <a:lnTo>
                      <a:pt x="23" y="41"/>
                    </a:lnTo>
                    <a:lnTo>
                      <a:pt x="23" y="43"/>
                    </a:lnTo>
                    <a:lnTo>
                      <a:pt x="23" y="44"/>
                    </a:lnTo>
                    <a:lnTo>
                      <a:pt x="24" y="46"/>
                    </a:lnTo>
                    <a:lnTo>
                      <a:pt x="27" y="46"/>
                    </a:lnTo>
                    <a:lnTo>
                      <a:pt x="31" y="44"/>
                    </a:lnTo>
                    <a:lnTo>
                      <a:pt x="35" y="43"/>
                    </a:lnTo>
                    <a:lnTo>
                      <a:pt x="39" y="43"/>
                    </a:lnTo>
                    <a:lnTo>
                      <a:pt x="44" y="43"/>
                    </a:lnTo>
                    <a:lnTo>
                      <a:pt x="46" y="41"/>
                    </a:lnTo>
                    <a:lnTo>
                      <a:pt x="49" y="40"/>
                    </a:lnTo>
                    <a:lnTo>
                      <a:pt x="52" y="39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3" y="35"/>
                    </a:lnTo>
                    <a:lnTo>
                      <a:pt x="56" y="35"/>
                    </a:lnTo>
                    <a:lnTo>
                      <a:pt x="57" y="35"/>
                    </a:lnTo>
                    <a:lnTo>
                      <a:pt x="60" y="35"/>
                    </a:lnTo>
                    <a:lnTo>
                      <a:pt x="61" y="35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3" y="36"/>
                    </a:lnTo>
                    <a:lnTo>
                      <a:pt x="64" y="37"/>
                    </a:lnTo>
                    <a:lnTo>
                      <a:pt x="64" y="40"/>
                    </a:lnTo>
                    <a:lnTo>
                      <a:pt x="63" y="41"/>
                    </a:lnTo>
                    <a:lnTo>
                      <a:pt x="63" y="44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6" y="47"/>
                    </a:lnTo>
                    <a:lnTo>
                      <a:pt x="53" y="47"/>
                    </a:lnTo>
                    <a:lnTo>
                      <a:pt x="49" y="48"/>
                    </a:lnTo>
                    <a:lnTo>
                      <a:pt x="46" y="50"/>
                    </a:lnTo>
                    <a:lnTo>
                      <a:pt x="42" y="51"/>
                    </a:lnTo>
                    <a:lnTo>
                      <a:pt x="39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7" y="54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8"/>
                    </a:lnTo>
                    <a:lnTo>
                      <a:pt x="38" y="59"/>
                    </a:lnTo>
                    <a:lnTo>
                      <a:pt x="39" y="61"/>
                    </a:lnTo>
                    <a:lnTo>
                      <a:pt x="42" y="62"/>
                    </a:lnTo>
                    <a:lnTo>
                      <a:pt x="46" y="63"/>
                    </a:lnTo>
                    <a:lnTo>
                      <a:pt x="48" y="65"/>
                    </a:lnTo>
                    <a:lnTo>
                      <a:pt x="50" y="69"/>
                    </a:lnTo>
                    <a:lnTo>
                      <a:pt x="52" y="73"/>
                    </a:lnTo>
                    <a:lnTo>
                      <a:pt x="53" y="76"/>
                    </a:lnTo>
                    <a:lnTo>
                      <a:pt x="53" y="80"/>
                    </a:lnTo>
                    <a:lnTo>
                      <a:pt x="55" y="81"/>
                    </a:lnTo>
                    <a:lnTo>
                      <a:pt x="55" y="83"/>
                    </a:lnTo>
                    <a:lnTo>
                      <a:pt x="68" y="91"/>
                    </a:lnTo>
                    <a:lnTo>
                      <a:pt x="72" y="107"/>
                    </a:lnTo>
                    <a:lnTo>
                      <a:pt x="53" y="110"/>
                    </a:lnTo>
                    <a:lnTo>
                      <a:pt x="44" y="116"/>
                    </a:lnTo>
                    <a:lnTo>
                      <a:pt x="41" y="95"/>
                    </a:lnTo>
                    <a:lnTo>
                      <a:pt x="39" y="77"/>
                    </a:lnTo>
                    <a:lnTo>
                      <a:pt x="38" y="73"/>
                    </a:lnTo>
                    <a:lnTo>
                      <a:pt x="33" y="68"/>
                    </a:lnTo>
                    <a:lnTo>
                      <a:pt x="27" y="69"/>
                    </a:lnTo>
                    <a:lnTo>
                      <a:pt x="27" y="94"/>
                    </a:lnTo>
                    <a:lnTo>
                      <a:pt x="20" y="106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6" name="Freeform 115"/>
              <p:cNvSpPr>
                <a:spLocks/>
              </p:cNvSpPr>
              <p:nvPr/>
            </p:nvSpPr>
            <p:spPr bwMode="auto">
              <a:xfrm>
                <a:off x="4514" y="2899"/>
                <a:ext cx="97" cy="116"/>
              </a:xfrm>
              <a:custGeom>
                <a:avLst/>
                <a:gdLst>
                  <a:gd name="T0" fmla="*/ 12 w 97"/>
                  <a:gd name="T1" fmla="*/ 107 h 116"/>
                  <a:gd name="T2" fmla="*/ 9 w 97"/>
                  <a:gd name="T3" fmla="*/ 98 h 116"/>
                  <a:gd name="T4" fmla="*/ 9 w 97"/>
                  <a:gd name="T5" fmla="*/ 84 h 116"/>
                  <a:gd name="T6" fmla="*/ 13 w 97"/>
                  <a:gd name="T7" fmla="*/ 76 h 116"/>
                  <a:gd name="T8" fmla="*/ 13 w 97"/>
                  <a:gd name="T9" fmla="*/ 69 h 116"/>
                  <a:gd name="T10" fmla="*/ 9 w 97"/>
                  <a:gd name="T11" fmla="*/ 63 h 116"/>
                  <a:gd name="T12" fmla="*/ 4 w 97"/>
                  <a:gd name="T13" fmla="*/ 62 h 116"/>
                  <a:gd name="T14" fmla="*/ 1 w 97"/>
                  <a:gd name="T15" fmla="*/ 59 h 116"/>
                  <a:gd name="T16" fmla="*/ 2 w 97"/>
                  <a:gd name="T17" fmla="*/ 51 h 116"/>
                  <a:gd name="T18" fmla="*/ 6 w 97"/>
                  <a:gd name="T19" fmla="*/ 41 h 116"/>
                  <a:gd name="T20" fmla="*/ 9 w 97"/>
                  <a:gd name="T21" fmla="*/ 37 h 116"/>
                  <a:gd name="T22" fmla="*/ 8 w 97"/>
                  <a:gd name="T23" fmla="*/ 32 h 116"/>
                  <a:gd name="T24" fmla="*/ 11 w 97"/>
                  <a:gd name="T25" fmla="*/ 24 h 116"/>
                  <a:gd name="T26" fmla="*/ 17 w 97"/>
                  <a:gd name="T27" fmla="*/ 21 h 116"/>
                  <a:gd name="T28" fmla="*/ 22 w 97"/>
                  <a:gd name="T29" fmla="*/ 19 h 116"/>
                  <a:gd name="T30" fmla="*/ 24 w 97"/>
                  <a:gd name="T31" fmla="*/ 14 h 116"/>
                  <a:gd name="T32" fmla="*/ 33 w 97"/>
                  <a:gd name="T33" fmla="*/ 6 h 116"/>
                  <a:gd name="T34" fmla="*/ 50 w 97"/>
                  <a:gd name="T35" fmla="*/ 0 h 116"/>
                  <a:gd name="T36" fmla="*/ 60 w 97"/>
                  <a:gd name="T37" fmla="*/ 0 h 116"/>
                  <a:gd name="T38" fmla="*/ 77 w 97"/>
                  <a:gd name="T39" fmla="*/ 3 h 116"/>
                  <a:gd name="T40" fmla="*/ 83 w 97"/>
                  <a:gd name="T41" fmla="*/ 7 h 116"/>
                  <a:gd name="T42" fmla="*/ 89 w 97"/>
                  <a:gd name="T43" fmla="*/ 7 h 116"/>
                  <a:gd name="T44" fmla="*/ 92 w 97"/>
                  <a:gd name="T45" fmla="*/ 6 h 116"/>
                  <a:gd name="T46" fmla="*/ 96 w 97"/>
                  <a:gd name="T47" fmla="*/ 11 h 116"/>
                  <a:gd name="T48" fmla="*/ 96 w 97"/>
                  <a:gd name="T49" fmla="*/ 21 h 116"/>
                  <a:gd name="T50" fmla="*/ 85 w 97"/>
                  <a:gd name="T51" fmla="*/ 28 h 116"/>
                  <a:gd name="T52" fmla="*/ 77 w 97"/>
                  <a:gd name="T53" fmla="*/ 22 h 116"/>
                  <a:gd name="T54" fmla="*/ 71 w 97"/>
                  <a:gd name="T55" fmla="*/ 15 h 116"/>
                  <a:gd name="T56" fmla="*/ 63 w 97"/>
                  <a:gd name="T57" fmla="*/ 10 h 116"/>
                  <a:gd name="T58" fmla="*/ 50 w 97"/>
                  <a:gd name="T59" fmla="*/ 7 h 116"/>
                  <a:gd name="T60" fmla="*/ 38 w 97"/>
                  <a:gd name="T61" fmla="*/ 15 h 116"/>
                  <a:gd name="T62" fmla="*/ 30 w 97"/>
                  <a:gd name="T63" fmla="*/ 21 h 116"/>
                  <a:gd name="T64" fmla="*/ 26 w 97"/>
                  <a:gd name="T65" fmla="*/ 26 h 116"/>
                  <a:gd name="T66" fmla="*/ 26 w 97"/>
                  <a:gd name="T67" fmla="*/ 36 h 116"/>
                  <a:gd name="T68" fmla="*/ 23 w 97"/>
                  <a:gd name="T69" fmla="*/ 43 h 116"/>
                  <a:gd name="T70" fmla="*/ 27 w 97"/>
                  <a:gd name="T71" fmla="*/ 46 h 116"/>
                  <a:gd name="T72" fmla="*/ 39 w 97"/>
                  <a:gd name="T73" fmla="*/ 43 h 116"/>
                  <a:gd name="T74" fmla="*/ 49 w 97"/>
                  <a:gd name="T75" fmla="*/ 40 h 116"/>
                  <a:gd name="T76" fmla="*/ 52 w 97"/>
                  <a:gd name="T77" fmla="*/ 36 h 116"/>
                  <a:gd name="T78" fmla="*/ 57 w 97"/>
                  <a:gd name="T79" fmla="*/ 35 h 116"/>
                  <a:gd name="T80" fmla="*/ 63 w 97"/>
                  <a:gd name="T81" fmla="*/ 35 h 116"/>
                  <a:gd name="T82" fmla="*/ 64 w 97"/>
                  <a:gd name="T83" fmla="*/ 40 h 116"/>
                  <a:gd name="T84" fmla="*/ 61 w 97"/>
                  <a:gd name="T85" fmla="*/ 46 h 116"/>
                  <a:gd name="T86" fmla="*/ 53 w 97"/>
                  <a:gd name="T87" fmla="*/ 47 h 116"/>
                  <a:gd name="T88" fmla="*/ 42 w 97"/>
                  <a:gd name="T89" fmla="*/ 51 h 116"/>
                  <a:gd name="T90" fmla="*/ 38 w 97"/>
                  <a:gd name="T91" fmla="*/ 54 h 116"/>
                  <a:gd name="T92" fmla="*/ 37 w 97"/>
                  <a:gd name="T93" fmla="*/ 57 h 116"/>
                  <a:gd name="T94" fmla="*/ 39 w 97"/>
                  <a:gd name="T95" fmla="*/ 61 h 116"/>
                  <a:gd name="T96" fmla="*/ 48 w 97"/>
                  <a:gd name="T97" fmla="*/ 65 h 116"/>
                  <a:gd name="T98" fmla="*/ 53 w 97"/>
                  <a:gd name="T99" fmla="*/ 76 h 116"/>
                  <a:gd name="T100" fmla="*/ 55 w 97"/>
                  <a:gd name="T101" fmla="*/ 83 h 116"/>
                  <a:gd name="T102" fmla="*/ 53 w 97"/>
                  <a:gd name="T103" fmla="*/ 110 h 116"/>
                  <a:gd name="T104" fmla="*/ 39 w 97"/>
                  <a:gd name="T105" fmla="*/ 77 h 116"/>
                  <a:gd name="T106" fmla="*/ 27 w 97"/>
                  <a:gd name="T107" fmla="*/ 6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7" h="116">
                    <a:moveTo>
                      <a:pt x="20" y="106"/>
                    </a:moveTo>
                    <a:lnTo>
                      <a:pt x="12" y="109"/>
                    </a:lnTo>
                    <a:lnTo>
                      <a:pt x="12" y="107"/>
                    </a:lnTo>
                    <a:lnTo>
                      <a:pt x="11" y="105"/>
                    </a:lnTo>
                    <a:lnTo>
                      <a:pt x="11" y="102"/>
                    </a:lnTo>
                    <a:lnTo>
                      <a:pt x="9" y="98"/>
                    </a:lnTo>
                    <a:lnTo>
                      <a:pt x="9" y="94"/>
                    </a:lnTo>
                    <a:lnTo>
                      <a:pt x="9" y="90"/>
                    </a:lnTo>
                    <a:lnTo>
                      <a:pt x="9" y="84"/>
                    </a:lnTo>
                    <a:lnTo>
                      <a:pt x="12" y="81"/>
                    </a:lnTo>
                    <a:lnTo>
                      <a:pt x="12" y="79"/>
                    </a:lnTo>
                    <a:lnTo>
                      <a:pt x="13" y="76"/>
                    </a:lnTo>
                    <a:lnTo>
                      <a:pt x="13" y="73"/>
                    </a:lnTo>
                    <a:lnTo>
                      <a:pt x="13" y="70"/>
                    </a:lnTo>
                    <a:lnTo>
                      <a:pt x="13" y="69"/>
                    </a:lnTo>
                    <a:lnTo>
                      <a:pt x="12" y="66"/>
                    </a:lnTo>
                    <a:lnTo>
                      <a:pt x="11" y="65"/>
                    </a:lnTo>
                    <a:lnTo>
                      <a:pt x="9" y="63"/>
                    </a:lnTo>
                    <a:lnTo>
                      <a:pt x="6" y="63"/>
                    </a:lnTo>
                    <a:lnTo>
                      <a:pt x="5" y="62"/>
                    </a:lnTo>
                    <a:lnTo>
                      <a:pt x="4" y="62"/>
                    </a:lnTo>
                    <a:lnTo>
                      <a:pt x="2" y="62"/>
                    </a:lnTo>
                    <a:lnTo>
                      <a:pt x="1" y="61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1" y="54"/>
                    </a:lnTo>
                    <a:lnTo>
                      <a:pt x="2" y="51"/>
                    </a:lnTo>
                    <a:lnTo>
                      <a:pt x="4" y="47"/>
                    </a:lnTo>
                    <a:lnTo>
                      <a:pt x="5" y="44"/>
                    </a:lnTo>
                    <a:lnTo>
                      <a:pt x="6" y="41"/>
                    </a:lnTo>
                    <a:lnTo>
                      <a:pt x="6" y="40"/>
                    </a:lnTo>
                    <a:lnTo>
                      <a:pt x="8" y="37"/>
                    </a:lnTo>
                    <a:lnTo>
                      <a:pt x="9" y="37"/>
                    </a:lnTo>
                    <a:lnTo>
                      <a:pt x="9" y="36"/>
                    </a:lnTo>
                    <a:lnTo>
                      <a:pt x="8" y="33"/>
                    </a:lnTo>
                    <a:lnTo>
                      <a:pt x="8" y="32"/>
                    </a:lnTo>
                    <a:lnTo>
                      <a:pt x="9" y="29"/>
                    </a:lnTo>
                    <a:lnTo>
                      <a:pt x="9" y="25"/>
                    </a:lnTo>
                    <a:lnTo>
                      <a:pt x="11" y="24"/>
                    </a:lnTo>
                    <a:lnTo>
                      <a:pt x="13" y="21"/>
                    </a:lnTo>
                    <a:lnTo>
                      <a:pt x="16" y="19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20" y="19"/>
                    </a:lnTo>
                    <a:lnTo>
                      <a:pt x="22" y="19"/>
                    </a:lnTo>
                    <a:lnTo>
                      <a:pt x="23" y="18"/>
                    </a:lnTo>
                    <a:lnTo>
                      <a:pt x="23" y="15"/>
                    </a:lnTo>
                    <a:lnTo>
                      <a:pt x="24" y="14"/>
                    </a:lnTo>
                    <a:lnTo>
                      <a:pt x="27" y="11"/>
                    </a:lnTo>
                    <a:lnTo>
                      <a:pt x="30" y="8"/>
                    </a:lnTo>
                    <a:lnTo>
                      <a:pt x="33" y="6"/>
                    </a:lnTo>
                    <a:lnTo>
                      <a:pt x="37" y="3"/>
                    </a:lnTo>
                    <a:lnTo>
                      <a:pt x="44" y="2"/>
                    </a:lnTo>
                    <a:lnTo>
                      <a:pt x="50" y="0"/>
                    </a:lnTo>
                    <a:lnTo>
                      <a:pt x="53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6" y="0"/>
                    </a:lnTo>
                    <a:lnTo>
                      <a:pt x="71" y="2"/>
                    </a:lnTo>
                    <a:lnTo>
                      <a:pt x="77" y="3"/>
                    </a:lnTo>
                    <a:lnTo>
                      <a:pt x="81" y="6"/>
                    </a:lnTo>
                    <a:lnTo>
                      <a:pt x="82" y="6"/>
                    </a:lnTo>
                    <a:lnTo>
                      <a:pt x="83" y="7"/>
                    </a:lnTo>
                    <a:lnTo>
                      <a:pt x="86" y="7"/>
                    </a:lnTo>
                    <a:lnTo>
                      <a:pt x="88" y="8"/>
                    </a:lnTo>
                    <a:lnTo>
                      <a:pt x="89" y="7"/>
                    </a:lnTo>
                    <a:lnTo>
                      <a:pt x="90" y="7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3" y="7"/>
                    </a:lnTo>
                    <a:lnTo>
                      <a:pt x="94" y="8"/>
                    </a:lnTo>
                    <a:lnTo>
                      <a:pt x="96" y="11"/>
                    </a:lnTo>
                    <a:lnTo>
                      <a:pt x="97" y="15"/>
                    </a:lnTo>
                    <a:lnTo>
                      <a:pt x="97" y="18"/>
                    </a:lnTo>
                    <a:lnTo>
                      <a:pt x="96" y="21"/>
                    </a:lnTo>
                    <a:lnTo>
                      <a:pt x="93" y="25"/>
                    </a:lnTo>
                    <a:lnTo>
                      <a:pt x="89" y="26"/>
                    </a:lnTo>
                    <a:lnTo>
                      <a:pt x="85" y="28"/>
                    </a:lnTo>
                    <a:lnTo>
                      <a:pt x="82" y="26"/>
                    </a:lnTo>
                    <a:lnTo>
                      <a:pt x="79" y="24"/>
                    </a:lnTo>
                    <a:lnTo>
                      <a:pt x="77" y="22"/>
                    </a:lnTo>
                    <a:lnTo>
                      <a:pt x="75" y="19"/>
                    </a:lnTo>
                    <a:lnTo>
                      <a:pt x="74" y="17"/>
                    </a:lnTo>
                    <a:lnTo>
                      <a:pt x="71" y="15"/>
                    </a:lnTo>
                    <a:lnTo>
                      <a:pt x="68" y="14"/>
                    </a:lnTo>
                    <a:lnTo>
                      <a:pt x="66" y="11"/>
                    </a:lnTo>
                    <a:lnTo>
                      <a:pt x="63" y="10"/>
                    </a:lnTo>
                    <a:lnTo>
                      <a:pt x="59" y="8"/>
                    </a:lnTo>
                    <a:lnTo>
                      <a:pt x="55" y="7"/>
                    </a:lnTo>
                    <a:lnTo>
                      <a:pt x="50" y="7"/>
                    </a:lnTo>
                    <a:lnTo>
                      <a:pt x="46" y="8"/>
                    </a:lnTo>
                    <a:lnTo>
                      <a:pt x="42" y="11"/>
                    </a:lnTo>
                    <a:lnTo>
                      <a:pt x="38" y="15"/>
                    </a:lnTo>
                    <a:lnTo>
                      <a:pt x="35" y="17"/>
                    </a:lnTo>
                    <a:lnTo>
                      <a:pt x="31" y="19"/>
                    </a:lnTo>
                    <a:lnTo>
                      <a:pt x="30" y="21"/>
                    </a:lnTo>
                    <a:lnTo>
                      <a:pt x="27" y="22"/>
                    </a:lnTo>
                    <a:lnTo>
                      <a:pt x="26" y="25"/>
                    </a:lnTo>
                    <a:lnTo>
                      <a:pt x="26" y="26"/>
                    </a:lnTo>
                    <a:lnTo>
                      <a:pt x="26" y="29"/>
                    </a:lnTo>
                    <a:lnTo>
                      <a:pt x="26" y="33"/>
                    </a:lnTo>
                    <a:lnTo>
                      <a:pt x="26" y="36"/>
                    </a:lnTo>
                    <a:lnTo>
                      <a:pt x="24" y="39"/>
                    </a:lnTo>
                    <a:lnTo>
                      <a:pt x="23" y="41"/>
                    </a:lnTo>
                    <a:lnTo>
                      <a:pt x="23" y="43"/>
                    </a:lnTo>
                    <a:lnTo>
                      <a:pt x="23" y="44"/>
                    </a:lnTo>
                    <a:lnTo>
                      <a:pt x="24" y="46"/>
                    </a:lnTo>
                    <a:lnTo>
                      <a:pt x="27" y="46"/>
                    </a:lnTo>
                    <a:lnTo>
                      <a:pt x="31" y="44"/>
                    </a:lnTo>
                    <a:lnTo>
                      <a:pt x="35" y="43"/>
                    </a:lnTo>
                    <a:lnTo>
                      <a:pt x="39" y="43"/>
                    </a:lnTo>
                    <a:lnTo>
                      <a:pt x="44" y="43"/>
                    </a:lnTo>
                    <a:lnTo>
                      <a:pt x="46" y="41"/>
                    </a:lnTo>
                    <a:lnTo>
                      <a:pt x="49" y="40"/>
                    </a:lnTo>
                    <a:lnTo>
                      <a:pt x="52" y="39"/>
                    </a:lnTo>
                    <a:lnTo>
                      <a:pt x="52" y="37"/>
                    </a:lnTo>
                    <a:lnTo>
                      <a:pt x="52" y="36"/>
                    </a:lnTo>
                    <a:lnTo>
                      <a:pt x="53" y="35"/>
                    </a:lnTo>
                    <a:lnTo>
                      <a:pt x="56" y="35"/>
                    </a:lnTo>
                    <a:lnTo>
                      <a:pt x="57" y="35"/>
                    </a:lnTo>
                    <a:lnTo>
                      <a:pt x="60" y="35"/>
                    </a:lnTo>
                    <a:lnTo>
                      <a:pt x="61" y="35"/>
                    </a:lnTo>
                    <a:lnTo>
                      <a:pt x="63" y="35"/>
                    </a:lnTo>
                    <a:lnTo>
                      <a:pt x="63" y="36"/>
                    </a:lnTo>
                    <a:lnTo>
                      <a:pt x="64" y="37"/>
                    </a:lnTo>
                    <a:lnTo>
                      <a:pt x="64" y="40"/>
                    </a:lnTo>
                    <a:lnTo>
                      <a:pt x="63" y="41"/>
                    </a:lnTo>
                    <a:lnTo>
                      <a:pt x="63" y="44"/>
                    </a:lnTo>
                    <a:lnTo>
                      <a:pt x="61" y="46"/>
                    </a:lnTo>
                    <a:lnTo>
                      <a:pt x="59" y="46"/>
                    </a:lnTo>
                    <a:lnTo>
                      <a:pt x="56" y="47"/>
                    </a:lnTo>
                    <a:lnTo>
                      <a:pt x="53" y="47"/>
                    </a:lnTo>
                    <a:lnTo>
                      <a:pt x="49" y="48"/>
                    </a:lnTo>
                    <a:lnTo>
                      <a:pt x="46" y="50"/>
                    </a:lnTo>
                    <a:lnTo>
                      <a:pt x="42" y="51"/>
                    </a:lnTo>
                    <a:lnTo>
                      <a:pt x="39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7" y="54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8"/>
                    </a:lnTo>
                    <a:lnTo>
                      <a:pt x="38" y="59"/>
                    </a:lnTo>
                    <a:lnTo>
                      <a:pt x="39" y="61"/>
                    </a:lnTo>
                    <a:lnTo>
                      <a:pt x="42" y="62"/>
                    </a:lnTo>
                    <a:lnTo>
                      <a:pt x="46" y="63"/>
                    </a:lnTo>
                    <a:lnTo>
                      <a:pt x="48" y="65"/>
                    </a:lnTo>
                    <a:lnTo>
                      <a:pt x="50" y="69"/>
                    </a:lnTo>
                    <a:lnTo>
                      <a:pt x="52" y="73"/>
                    </a:lnTo>
                    <a:lnTo>
                      <a:pt x="53" y="76"/>
                    </a:lnTo>
                    <a:lnTo>
                      <a:pt x="53" y="80"/>
                    </a:lnTo>
                    <a:lnTo>
                      <a:pt x="55" y="81"/>
                    </a:lnTo>
                    <a:lnTo>
                      <a:pt x="55" y="83"/>
                    </a:lnTo>
                    <a:lnTo>
                      <a:pt x="68" y="91"/>
                    </a:lnTo>
                    <a:lnTo>
                      <a:pt x="72" y="107"/>
                    </a:lnTo>
                    <a:lnTo>
                      <a:pt x="53" y="110"/>
                    </a:lnTo>
                    <a:lnTo>
                      <a:pt x="44" y="116"/>
                    </a:lnTo>
                    <a:lnTo>
                      <a:pt x="41" y="95"/>
                    </a:lnTo>
                    <a:lnTo>
                      <a:pt x="39" y="77"/>
                    </a:lnTo>
                    <a:lnTo>
                      <a:pt x="38" y="73"/>
                    </a:lnTo>
                    <a:lnTo>
                      <a:pt x="33" y="68"/>
                    </a:lnTo>
                    <a:lnTo>
                      <a:pt x="27" y="69"/>
                    </a:lnTo>
                    <a:lnTo>
                      <a:pt x="27" y="94"/>
                    </a:lnTo>
                    <a:lnTo>
                      <a:pt x="20" y="106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7" name="Freeform 116"/>
              <p:cNvSpPr>
                <a:spLocks/>
              </p:cNvSpPr>
              <p:nvPr/>
            </p:nvSpPr>
            <p:spPr bwMode="auto">
              <a:xfrm>
                <a:off x="4453" y="3056"/>
                <a:ext cx="23" cy="14"/>
              </a:xfrm>
              <a:custGeom>
                <a:avLst/>
                <a:gdLst>
                  <a:gd name="T0" fmla="*/ 11 w 23"/>
                  <a:gd name="T1" fmla="*/ 0 h 14"/>
                  <a:gd name="T2" fmla="*/ 14 w 23"/>
                  <a:gd name="T3" fmla="*/ 0 h 14"/>
                  <a:gd name="T4" fmla="*/ 17 w 23"/>
                  <a:gd name="T5" fmla="*/ 0 h 14"/>
                  <a:gd name="T6" fmla="*/ 18 w 23"/>
                  <a:gd name="T7" fmla="*/ 1 h 14"/>
                  <a:gd name="T8" fmla="*/ 21 w 23"/>
                  <a:gd name="T9" fmla="*/ 1 h 14"/>
                  <a:gd name="T10" fmla="*/ 22 w 23"/>
                  <a:gd name="T11" fmla="*/ 3 h 14"/>
                  <a:gd name="T12" fmla="*/ 23 w 23"/>
                  <a:gd name="T13" fmla="*/ 4 h 14"/>
                  <a:gd name="T14" fmla="*/ 23 w 23"/>
                  <a:gd name="T15" fmla="*/ 5 h 14"/>
                  <a:gd name="T16" fmla="*/ 23 w 23"/>
                  <a:gd name="T17" fmla="*/ 7 h 14"/>
                  <a:gd name="T18" fmla="*/ 23 w 23"/>
                  <a:gd name="T19" fmla="*/ 8 h 14"/>
                  <a:gd name="T20" fmla="*/ 23 w 23"/>
                  <a:gd name="T21" fmla="*/ 10 h 14"/>
                  <a:gd name="T22" fmla="*/ 22 w 23"/>
                  <a:gd name="T23" fmla="*/ 11 h 14"/>
                  <a:gd name="T24" fmla="*/ 21 w 23"/>
                  <a:gd name="T25" fmla="*/ 12 h 14"/>
                  <a:gd name="T26" fmla="*/ 18 w 23"/>
                  <a:gd name="T27" fmla="*/ 12 h 14"/>
                  <a:gd name="T28" fmla="*/ 17 w 23"/>
                  <a:gd name="T29" fmla="*/ 14 h 14"/>
                  <a:gd name="T30" fmla="*/ 14 w 23"/>
                  <a:gd name="T31" fmla="*/ 14 h 14"/>
                  <a:gd name="T32" fmla="*/ 11 w 23"/>
                  <a:gd name="T33" fmla="*/ 14 h 14"/>
                  <a:gd name="T34" fmla="*/ 10 w 23"/>
                  <a:gd name="T35" fmla="*/ 14 h 14"/>
                  <a:gd name="T36" fmla="*/ 7 w 23"/>
                  <a:gd name="T37" fmla="*/ 14 h 14"/>
                  <a:gd name="T38" fmla="*/ 6 w 23"/>
                  <a:gd name="T39" fmla="*/ 12 h 14"/>
                  <a:gd name="T40" fmla="*/ 4 w 23"/>
                  <a:gd name="T41" fmla="*/ 12 h 14"/>
                  <a:gd name="T42" fmla="*/ 1 w 23"/>
                  <a:gd name="T43" fmla="*/ 11 h 14"/>
                  <a:gd name="T44" fmla="*/ 1 w 23"/>
                  <a:gd name="T45" fmla="*/ 10 h 14"/>
                  <a:gd name="T46" fmla="*/ 0 w 23"/>
                  <a:gd name="T47" fmla="*/ 8 h 14"/>
                  <a:gd name="T48" fmla="*/ 0 w 23"/>
                  <a:gd name="T49" fmla="*/ 7 h 14"/>
                  <a:gd name="T50" fmla="*/ 0 w 23"/>
                  <a:gd name="T51" fmla="*/ 5 h 14"/>
                  <a:gd name="T52" fmla="*/ 1 w 23"/>
                  <a:gd name="T53" fmla="*/ 4 h 14"/>
                  <a:gd name="T54" fmla="*/ 1 w 23"/>
                  <a:gd name="T55" fmla="*/ 3 h 14"/>
                  <a:gd name="T56" fmla="*/ 4 w 23"/>
                  <a:gd name="T57" fmla="*/ 1 h 14"/>
                  <a:gd name="T58" fmla="*/ 6 w 23"/>
                  <a:gd name="T59" fmla="*/ 1 h 14"/>
                  <a:gd name="T60" fmla="*/ 7 w 23"/>
                  <a:gd name="T61" fmla="*/ 0 h 14"/>
                  <a:gd name="T62" fmla="*/ 10 w 23"/>
                  <a:gd name="T63" fmla="*/ 0 h 14"/>
                  <a:gd name="T64" fmla="*/ 11 w 23"/>
                  <a:gd name="T6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1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3" y="5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0" y="14"/>
                    </a:lnTo>
                    <a:lnTo>
                      <a:pt x="7" y="14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8" name="Freeform 117"/>
              <p:cNvSpPr>
                <a:spLocks/>
              </p:cNvSpPr>
              <p:nvPr/>
            </p:nvSpPr>
            <p:spPr bwMode="auto">
              <a:xfrm>
                <a:off x="4453" y="3056"/>
                <a:ext cx="23" cy="14"/>
              </a:xfrm>
              <a:custGeom>
                <a:avLst/>
                <a:gdLst>
                  <a:gd name="T0" fmla="*/ 11 w 23"/>
                  <a:gd name="T1" fmla="*/ 0 h 14"/>
                  <a:gd name="T2" fmla="*/ 14 w 23"/>
                  <a:gd name="T3" fmla="*/ 0 h 14"/>
                  <a:gd name="T4" fmla="*/ 17 w 23"/>
                  <a:gd name="T5" fmla="*/ 0 h 14"/>
                  <a:gd name="T6" fmla="*/ 18 w 23"/>
                  <a:gd name="T7" fmla="*/ 1 h 14"/>
                  <a:gd name="T8" fmla="*/ 21 w 23"/>
                  <a:gd name="T9" fmla="*/ 1 h 14"/>
                  <a:gd name="T10" fmla="*/ 22 w 23"/>
                  <a:gd name="T11" fmla="*/ 3 h 14"/>
                  <a:gd name="T12" fmla="*/ 23 w 23"/>
                  <a:gd name="T13" fmla="*/ 4 h 14"/>
                  <a:gd name="T14" fmla="*/ 23 w 23"/>
                  <a:gd name="T15" fmla="*/ 5 h 14"/>
                  <a:gd name="T16" fmla="*/ 23 w 23"/>
                  <a:gd name="T17" fmla="*/ 7 h 14"/>
                  <a:gd name="T18" fmla="*/ 23 w 23"/>
                  <a:gd name="T19" fmla="*/ 8 h 14"/>
                  <a:gd name="T20" fmla="*/ 23 w 23"/>
                  <a:gd name="T21" fmla="*/ 10 h 14"/>
                  <a:gd name="T22" fmla="*/ 22 w 23"/>
                  <a:gd name="T23" fmla="*/ 11 h 14"/>
                  <a:gd name="T24" fmla="*/ 21 w 23"/>
                  <a:gd name="T25" fmla="*/ 12 h 14"/>
                  <a:gd name="T26" fmla="*/ 18 w 23"/>
                  <a:gd name="T27" fmla="*/ 12 h 14"/>
                  <a:gd name="T28" fmla="*/ 17 w 23"/>
                  <a:gd name="T29" fmla="*/ 14 h 14"/>
                  <a:gd name="T30" fmla="*/ 14 w 23"/>
                  <a:gd name="T31" fmla="*/ 14 h 14"/>
                  <a:gd name="T32" fmla="*/ 11 w 23"/>
                  <a:gd name="T33" fmla="*/ 14 h 14"/>
                  <a:gd name="T34" fmla="*/ 10 w 23"/>
                  <a:gd name="T35" fmla="*/ 14 h 14"/>
                  <a:gd name="T36" fmla="*/ 7 w 23"/>
                  <a:gd name="T37" fmla="*/ 14 h 14"/>
                  <a:gd name="T38" fmla="*/ 6 w 23"/>
                  <a:gd name="T39" fmla="*/ 12 h 14"/>
                  <a:gd name="T40" fmla="*/ 4 w 23"/>
                  <a:gd name="T41" fmla="*/ 12 h 14"/>
                  <a:gd name="T42" fmla="*/ 1 w 23"/>
                  <a:gd name="T43" fmla="*/ 11 h 14"/>
                  <a:gd name="T44" fmla="*/ 1 w 23"/>
                  <a:gd name="T45" fmla="*/ 10 h 14"/>
                  <a:gd name="T46" fmla="*/ 0 w 23"/>
                  <a:gd name="T47" fmla="*/ 8 h 14"/>
                  <a:gd name="T48" fmla="*/ 0 w 23"/>
                  <a:gd name="T49" fmla="*/ 7 h 14"/>
                  <a:gd name="T50" fmla="*/ 0 w 23"/>
                  <a:gd name="T51" fmla="*/ 5 h 14"/>
                  <a:gd name="T52" fmla="*/ 1 w 23"/>
                  <a:gd name="T53" fmla="*/ 4 h 14"/>
                  <a:gd name="T54" fmla="*/ 1 w 23"/>
                  <a:gd name="T55" fmla="*/ 3 h 14"/>
                  <a:gd name="T56" fmla="*/ 4 w 23"/>
                  <a:gd name="T57" fmla="*/ 1 h 14"/>
                  <a:gd name="T58" fmla="*/ 6 w 23"/>
                  <a:gd name="T59" fmla="*/ 1 h 14"/>
                  <a:gd name="T60" fmla="*/ 7 w 23"/>
                  <a:gd name="T61" fmla="*/ 0 h 14"/>
                  <a:gd name="T62" fmla="*/ 10 w 23"/>
                  <a:gd name="T63" fmla="*/ 0 h 14"/>
                  <a:gd name="T64" fmla="*/ 11 w 23"/>
                  <a:gd name="T6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3" h="14">
                    <a:moveTo>
                      <a:pt x="11" y="0"/>
                    </a:moveTo>
                    <a:lnTo>
                      <a:pt x="14" y="0"/>
                    </a:lnTo>
                    <a:lnTo>
                      <a:pt x="17" y="0"/>
                    </a:lnTo>
                    <a:lnTo>
                      <a:pt x="18" y="1"/>
                    </a:lnTo>
                    <a:lnTo>
                      <a:pt x="21" y="1"/>
                    </a:lnTo>
                    <a:lnTo>
                      <a:pt x="22" y="3"/>
                    </a:lnTo>
                    <a:lnTo>
                      <a:pt x="23" y="4"/>
                    </a:lnTo>
                    <a:lnTo>
                      <a:pt x="23" y="5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2" y="11"/>
                    </a:lnTo>
                    <a:lnTo>
                      <a:pt x="21" y="12"/>
                    </a:lnTo>
                    <a:lnTo>
                      <a:pt x="18" y="12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1" y="14"/>
                    </a:lnTo>
                    <a:lnTo>
                      <a:pt x="10" y="14"/>
                    </a:lnTo>
                    <a:lnTo>
                      <a:pt x="7" y="14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1" y="11"/>
                    </a:lnTo>
                    <a:lnTo>
                      <a:pt x="1" y="10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09" name="Freeform 118"/>
              <p:cNvSpPr>
                <a:spLocks/>
              </p:cNvSpPr>
              <p:nvPr/>
            </p:nvSpPr>
            <p:spPr bwMode="auto">
              <a:xfrm>
                <a:off x="4494" y="3060"/>
                <a:ext cx="22" cy="10"/>
              </a:xfrm>
              <a:custGeom>
                <a:avLst/>
                <a:gdLst>
                  <a:gd name="T0" fmla="*/ 11 w 22"/>
                  <a:gd name="T1" fmla="*/ 0 h 10"/>
                  <a:gd name="T2" fmla="*/ 14 w 22"/>
                  <a:gd name="T3" fmla="*/ 0 h 10"/>
                  <a:gd name="T4" fmla="*/ 15 w 22"/>
                  <a:gd name="T5" fmla="*/ 0 h 10"/>
                  <a:gd name="T6" fmla="*/ 18 w 22"/>
                  <a:gd name="T7" fmla="*/ 1 h 10"/>
                  <a:gd name="T8" fmla="*/ 20 w 22"/>
                  <a:gd name="T9" fmla="*/ 1 h 10"/>
                  <a:gd name="T10" fmla="*/ 21 w 22"/>
                  <a:gd name="T11" fmla="*/ 3 h 10"/>
                  <a:gd name="T12" fmla="*/ 22 w 22"/>
                  <a:gd name="T13" fmla="*/ 3 h 10"/>
                  <a:gd name="T14" fmla="*/ 22 w 22"/>
                  <a:gd name="T15" fmla="*/ 4 h 10"/>
                  <a:gd name="T16" fmla="*/ 22 w 22"/>
                  <a:gd name="T17" fmla="*/ 6 h 10"/>
                  <a:gd name="T18" fmla="*/ 22 w 22"/>
                  <a:gd name="T19" fmla="*/ 7 h 10"/>
                  <a:gd name="T20" fmla="*/ 22 w 22"/>
                  <a:gd name="T21" fmla="*/ 7 h 10"/>
                  <a:gd name="T22" fmla="*/ 21 w 22"/>
                  <a:gd name="T23" fmla="*/ 8 h 10"/>
                  <a:gd name="T24" fmla="*/ 20 w 22"/>
                  <a:gd name="T25" fmla="*/ 8 h 10"/>
                  <a:gd name="T26" fmla="*/ 18 w 22"/>
                  <a:gd name="T27" fmla="*/ 10 h 10"/>
                  <a:gd name="T28" fmla="*/ 15 w 22"/>
                  <a:gd name="T29" fmla="*/ 10 h 10"/>
                  <a:gd name="T30" fmla="*/ 14 w 22"/>
                  <a:gd name="T31" fmla="*/ 10 h 10"/>
                  <a:gd name="T32" fmla="*/ 11 w 22"/>
                  <a:gd name="T33" fmla="*/ 10 h 10"/>
                  <a:gd name="T34" fmla="*/ 10 w 22"/>
                  <a:gd name="T35" fmla="*/ 10 h 10"/>
                  <a:gd name="T36" fmla="*/ 7 w 22"/>
                  <a:gd name="T37" fmla="*/ 10 h 10"/>
                  <a:gd name="T38" fmla="*/ 6 w 22"/>
                  <a:gd name="T39" fmla="*/ 10 h 10"/>
                  <a:gd name="T40" fmla="*/ 4 w 22"/>
                  <a:gd name="T41" fmla="*/ 8 h 10"/>
                  <a:gd name="T42" fmla="*/ 3 w 22"/>
                  <a:gd name="T43" fmla="*/ 8 h 10"/>
                  <a:gd name="T44" fmla="*/ 2 w 22"/>
                  <a:gd name="T45" fmla="*/ 7 h 10"/>
                  <a:gd name="T46" fmla="*/ 2 w 22"/>
                  <a:gd name="T47" fmla="*/ 7 h 10"/>
                  <a:gd name="T48" fmla="*/ 0 w 22"/>
                  <a:gd name="T49" fmla="*/ 6 h 10"/>
                  <a:gd name="T50" fmla="*/ 2 w 22"/>
                  <a:gd name="T51" fmla="*/ 4 h 10"/>
                  <a:gd name="T52" fmla="*/ 2 w 22"/>
                  <a:gd name="T53" fmla="*/ 3 h 10"/>
                  <a:gd name="T54" fmla="*/ 3 w 22"/>
                  <a:gd name="T55" fmla="*/ 3 h 10"/>
                  <a:gd name="T56" fmla="*/ 4 w 22"/>
                  <a:gd name="T57" fmla="*/ 1 h 10"/>
                  <a:gd name="T58" fmla="*/ 6 w 22"/>
                  <a:gd name="T59" fmla="*/ 1 h 10"/>
                  <a:gd name="T60" fmla="*/ 7 w 22"/>
                  <a:gd name="T61" fmla="*/ 0 h 10"/>
                  <a:gd name="T62" fmla="*/ 10 w 22"/>
                  <a:gd name="T63" fmla="*/ 0 h 10"/>
                  <a:gd name="T64" fmla="*/ 11 w 22"/>
                  <a:gd name="T6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" h="10">
                    <a:moveTo>
                      <a:pt x="11" y="0"/>
                    </a:moveTo>
                    <a:lnTo>
                      <a:pt x="14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1" y="3"/>
                    </a:lnTo>
                    <a:lnTo>
                      <a:pt x="22" y="3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7"/>
                    </a:lnTo>
                    <a:lnTo>
                      <a:pt x="22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5" y="10"/>
                    </a:lnTo>
                    <a:lnTo>
                      <a:pt x="14" y="10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0" name="Freeform 119"/>
              <p:cNvSpPr>
                <a:spLocks/>
              </p:cNvSpPr>
              <p:nvPr/>
            </p:nvSpPr>
            <p:spPr bwMode="auto">
              <a:xfrm>
                <a:off x="4494" y="3060"/>
                <a:ext cx="22" cy="10"/>
              </a:xfrm>
              <a:custGeom>
                <a:avLst/>
                <a:gdLst>
                  <a:gd name="T0" fmla="*/ 11 w 22"/>
                  <a:gd name="T1" fmla="*/ 0 h 10"/>
                  <a:gd name="T2" fmla="*/ 14 w 22"/>
                  <a:gd name="T3" fmla="*/ 0 h 10"/>
                  <a:gd name="T4" fmla="*/ 15 w 22"/>
                  <a:gd name="T5" fmla="*/ 0 h 10"/>
                  <a:gd name="T6" fmla="*/ 18 w 22"/>
                  <a:gd name="T7" fmla="*/ 1 h 10"/>
                  <a:gd name="T8" fmla="*/ 20 w 22"/>
                  <a:gd name="T9" fmla="*/ 1 h 10"/>
                  <a:gd name="T10" fmla="*/ 21 w 22"/>
                  <a:gd name="T11" fmla="*/ 3 h 10"/>
                  <a:gd name="T12" fmla="*/ 22 w 22"/>
                  <a:gd name="T13" fmla="*/ 3 h 10"/>
                  <a:gd name="T14" fmla="*/ 22 w 22"/>
                  <a:gd name="T15" fmla="*/ 4 h 10"/>
                  <a:gd name="T16" fmla="*/ 22 w 22"/>
                  <a:gd name="T17" fmla="*/ 6 h 10"/>
                  <a:gd name="T18" fmla="*/ 22 w 22"/>
                  <a:gd name="T19" fmla="*/ 7 h 10"/>
                  <a:gd name="T20" fmla="*/ 21 w 22"/>
                  <a:gd name="T21" fmla="*/ 8 h 10"/>
                  <a:gd name="T22" fmla="*/ 20 w 22"/>
                  <a:gd name="T23" fmla="*/ 8 h 10"/>
                  <a:gd name="T24" fmla="*/ 18 w 22"/>
                  <a:gd name="T25" fmla="*/ 10 h 10"/>
                  <a:gd name="T26" fmla="*/ 15 w 22"/>
                  <a:gd name="T27" fmla="*/ 10 h 10"/>
                  <a:gd name="T28" fmla="*/ 14 w 22"/>
                  <a:gd name="T29" fmla="*/ 10 h 10"/>
                  <a:gd name="T30" fmla="*/ 11 w 22"/>
                  <a:gd name="T31" fmla="*/ 10 h 10"/>
                  <a:gd name="T32" fmla="*/ 10 w 22"/>
                  <a:gd name="T33" fmla="*/ 10 h 10"/>
                  <a:gd name="T34" fmla="*/ 7 w 22"/>
                  <a:gd name="T35" fmla="*/ 10 h 10"/>
                  <a:gd name="T36" fmla="*/ 6 w 22"/>
                  <a:gd name="T37" fmla="*/ 10 h 10"/>
                  <a:gd name="T38" fmla="*/ 4 w 22"/>
                  <a:gd name="T39" fmla="*/ 8 h 10"/>
                  <a:gd name="T40" fmla="*/ 3 w 22"/>
                  <a:gd name="T41" fmla="*/ 8 h 10"/>
                  <a:gd name="T42" fmla="*/ 2 w 22"/>
                  <a:gd name="T43" fmla="*/ 7 h 10"/>
                  <a:gd name="T44" fmla="*/ 0 w 22"/>
                  <a:gd name="T45" fmla="*/ 6 h 10"/>
                  <a:gd name="T46" fmla="*/ 2 w 22"/>
                  <a:gd name="T47" fmla="*/ 4 h 10"/>
                  <a:gd name="T48" fmla="*/ 2 w 22"/>
                  <a:gd name="T49" fmla="*/ 3 h 10"/>
                  <a:gd name="T50" fmla="*/ 3 w 22"/>
                  <a:gd name="T51" fmla="*/ 3 h 10"/>
                  <a:gd name="T52" fmla="*/ 4 w 22"/>
                  <a:gd name="T53" fmla="*/ 1 h 10"/>
                  <a:gd name="T54" fmla="*/ 6 w 22"/>
                  <a:gd name="T55" fmla="*/ 1 h 10"/>
                  <a:gd name="T56" fmla="*/ 7 w 22"/>
                  <a:gd name="T57" fmla="*/ 0 h 10"/>
                  <a:gd name="T58" fmla="*/ 10 w 22"/>
                  <a:gd name="T59" fmla="*/ 0 h 10"/>
                  <a:gd name="T60" fmla="*/ 11 w 22"/>
                  <a:gd name="T6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2" h="10">
                    <a:moveTo>
                      <a:pt x="11" y="0"/>
                    </a:moveTo>
                    <a:lnTo>
                      <a:pt x="14" y="0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1" y="3"/>
                    </a:lnTo>
                    <a:lnTo>
                      <a:pt x="22" y="3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7"/>
                    </a:lnTo>
                    <a:lnTo>
                      <a:pt x="21" y="8"/>
                    </a:lnTo>
                    <a:lnTo>
                      <a:pt x="20" y="8"/>
                    </a:lnTo>
                    <a:lnTo>
                      <a:pt x="18" y="10"/>
                    </a:lnTo>
                    <a:lnTo>
                      <a:pt x="15" y="10"/>
                    </a:lnTo>
                    <a:lnTo>
                      <a:pt x="14" y="10"/>
                    </a:lnTo>
                    <a:lnTo>
                      <a:pt x="11" y="10"/>
                    </a:lnTo>
                    <a:lnTo>
                      <a:pt x="10" y="10"/>
                    </a:lnTo>
                    <a:lnTo>
                      <a:pt x="7" y="10"/>
                    </a:lnTo>
                    <a:lnTo>
                      <a:pt x="6" y="10"/>
                    </a:lnTo>
                    <a:lnTo>
                      <a:pt x="4" y="8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1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10" y="0"/>
                    </a:lnTo>
                    <a:lnTo>
                      <a:pt x="1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1" name="Freeform 120"/>
              <p:cNvSpPr>
                <a:spLocks/>
              </p:cNvSpPr>
              <p:nvPr/>
            </p:nvSpPr>
            <p:spPr bwMode="auto">
              <a:xfrm>
                <a:off x="4519" y="3074"/>
                <a:ext cx="15" cy="26"/>
              </a:xfrm>
              <a:custGeom>
                <a:avLst/>
                <a:gdLst>
                  <a:gd name="T0" fmla="*/ 7 w 15"/>
                  <a:gd name="T1" fmla="*/ 0 h 26"/>
                  <a:gd name="T2" fmla="*/ 6 w 15"/>
                  <a:gd name="T3" fmla="*/ 1 h 26"/>
                  <a:gd name="T4" fmla="*/ 4 w 15"/>
                  <a:gd name="T5" fmla="*/ 1 h 26"/>
                  <a:gd name="T6" fmla="*/ 3 w 15"/>
                  <a:gd name="T7" fmla="*/ 3 h 26"/>
                  <a:gd name="T8" fmla="*/ 1 w 15"/>
                  <a:gd name="T9" fmla="*/ 4 h 26"/>
                  <a:gd name="T10" fmla="*/ 1 w 15"/>
                  <a:gd name="T11" fmla="*/ 7 h 26"/>
                  <a:gd name="T12" fmla="*/ 0 w 15"/>
                  <a:gd name="T13" fmla="*/ 8 h 26"/>
                  <a:gd name="T14" fmla="*/ 0 w 15"/>
                  <a:gd name="T15" fmla="*/ 11 h 26"/>
                  <a:gd name="T16" fmla="*/ 0 w 15"/>
                  <a:gd name="T17" fmla="*/ 14 h 26"/>
                  <a:gd name="T18" fmla="*/ 0 w 15"/>
                  <a:gd name="T19" fmla="*/ 16 h 26"/>
                  <a:gd name="T20" fmla="*/ 0 w 15"/>
                  <a:gd name="T21" fmla="*/ 18 h 26"/>
                  <a:gd name="T22" fmla="*/ 1 w 15"/>
                  <a:gd name="T23" fmla="*/ 20 h 26"/>
                  <a:gd name="T24" fmla="*/ 1 w 15"/>
                  <a:gd name="T25" fmla="*/ 22 h 26"/>
                  <a:gd name="T26" fmla="*/ 3 w 15"/>
                  <a:gd name="T27" fmla="*/ 23 h 26"/>
                  <a:gd name="T28" fmla="*/ 4 w 15"/>
                  <a:gd name="T29" fmla="*/ 25 h 26"/>
                  <a:gd name="T30" fmla="*/ 6 w 15"/>
                  <a:gd name="T31" fmla="*/ 26 h 26"/>
                  <a:gd name="T32" fmla="*/ 7 w 15"/>
                  <a:gd name="T33" fmla="*/ 26 h 26"/>
                  <a:gd name="T34" fmla="*/ 8 w 15"/>
                  <a:gd name="T35" fmla="*/ 26 h 26"/>
                  <a:gd name="T36" fmla="*/ 10 w 15"/>
                  <a:gd name="T37" fmla="*/ 25 h 26"/>
                  <a:gd name="T38" fmla="*/ 11 w 15"/>
                  <a:gd name="T39" fmla="*/ 23 h 26"/>
                  <a:gd name="T40" fmla="*/ 12 w 15"/>
                  <a:gd name="T41" fmla="*/ 22 h 26"/>
                  <a:gd name="T42" fmla="*/ 14 w 15"/>
                  <a:gd name="T43" fmla="*/ 20 h 26"/>
                  <a:gd name="T44" fmla="*/ 14 w 15"/>
                  <a:gd name="T45" fmla="*/ 18 h 26"/>
                  <a:gd name="T46" fmla="*/ 15 w 15"/>
                  <a:gd name="T47" fmla="*/ 16 h 26"/>
                  <a:gd name="T48" fmla="*/ 15 w 15"/>
                  <a:gd name="T49" fmla="*/ 14 h 26"/>
                  <a:gd name="T50" fmla="*/ 15 w 15"/>
                  <a:gd name="T51" fmla="*/ 11 h 26"/>
                  <a:gd name="T52" fmla="*/ 14 w 15"/>
                  <a:gd name="T53" fmla="*/ 8 h 26"/>
                  <a:gd name="T54" fmla="*/ 14 w 15"/>
                  <a:gd name="T55" fmla="*/ 7 h 26"/>
                  <a:gd name="T56" fmla="*/ 12 w 15"/>
                  <a:gd name="T57" fmla="*/ 4 h 26"/>
                  <a:gd name="T58" fmla="*/ 11 w 15"/>
                  <a:gd name="T59" fmla="*/ 3 h 26"/>
                  <a:gd name="T60" fmla="*/ 10 w 15"/>
                  <a:gd name="T61" fmla="*/ 1 h 26"/>
                  <a:gd name="T62" fmla="*/ 8 w 15"/>
                  <a:gd name="T63" fmla="*/ 1 h 26"/>
                  <a:gd name="T64" fmla="*/ 7 w 15"/>
                  <a:gd name="T6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26">
                    <a:moveTo>
                      <a:pt x="7" y="0"/>
                    </a:moveTo>
                    <a:lnTo>
                      <a:pt x="6" y="1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8" y="26"/>
                    </a:lnTo>
                    <a:lnTo>
                      <a:pt x="10" y="25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2" name="Freeform 121"/>
              <p:cNvSpPr>
                <a:spLocks/>
              </p:cNvSpPr>
              <p:nvPr/>
            </p:nvSpPr>
            <p:spPr bwMode="auto">
              <a:xfrm>
                <a:off x="4519" y="3074"/>
                <a:ext cx="15" cy="26"/>
              </a:xfrm>
              <a:custGeom>
                <a:avLst/>
                <a:gdLst>
                  <a:gd name="T0" fmla="*/ 7 w 15"/>
                  <a:gd name="T1" fmla="*/ 0 h 26"/>
                  <a:gd name="T2" fmla="*/ 6 w 15"/>
                  <a:gd name="T3" fmla="*/ 1 h 26"/>
                  <a:gd name="T4" fmla="*/ 4 w 15"/>
                  <a:gd name="T5" fmla="*/ 1 h 26"/>
                  <a:gd name="T6" fmla="*/ 3 w 15"/>
                  <a:gd name="T7" fmla="*/ 3 h 26"/>
                  <a:gd name="T8" fmla="*/ 1 w 15"/>
                  <a:gd name="T9" fmla="*/ 4 h 26"/>
                  <a:gd name="T10" fmla="*/ 1 w 15"/>
                  <a:gd name="T11" fmla="*/ 7 h 26"/>
                  <a:gd name="T12" fmla="*/ 0 w 15"/>
                  <a:gd name="T13" fmla="*/ 8 h 26"/>
                  <a:gd name="T14" fmla="*/ 0 w 15"/>
                  <a:gd name="T15" fmla="*/ 11 h 26"/>
                  <a:gd name="T16" fmla="*/ 0 w 15"/>
                  <a:gd name="T17" fmla="*/ 14 h 26"/>
                  <a:gd name="T18" fmla="*/ 0 w 15"/>
                  <a:gd name="T19" fmla="*/ 16 h 26"/>
                  <a:gd name="T20" fmla="*/ 0 w 15"/>
                  <a:gd name="T21" fmla="*/ 18 h 26"/>
                  <a:gd name="T22" fmla="*/ 1 w 15"/>
                  <a:gd name="T23" fmla="*/ 20 h 26"/>
                  <a:gd name="T24" fmla="*/ 1 w 15"/>
                  <a:gd name="T25" fmla="*/ 22 h 26"/>
                  <a:gd name="T26" fmla="*/ 3 w 15"/>
                  <a:gd name="T27" fmla="*/ 23 h 26"/>
                  <a:gd name="T28" fmla="*/ 4 w 15"/>
                  <a:gd name="T29" fmla="*/ 25 h 26"/>
                  <a:gd name="T30" fmla="*/ 6 w 15"/>
                  <a:gd name="T31" fmla="*/ 26 h 26"/>
                  <a:gd name="T32" fmla="*/ 7 w 15"/>
                  <a:gd name="T33" fmla="*/ 26 h 26"/>
                  <a:gd name="T34" fmla="*/ 8 w 15"/>
                  <a:gd name="T35" fmla="*/ 26 h 26"/>
                  <a:gd name="T36" fmla="*/ 10 w 15"/>
                  <a:gd name="T37" fmla="*/ 25 h 26"/>
                  <a:gd name="T38" fmla="*/ 11 w 15"/>
                  <a:gd name="T39" fmla="*/ 23 h 26"/>
                  <a:gd name="T40" fmla="*/ 12 w 15"/>
                  <a:gd name="T41" fmla="*/ 22 h 26"/>
                  <a:gd name="T42" fmla="*/ 14 w 15"/>
                  <a:gd name="T43" fmla="*/ 20 h 26"/>
                  <a:gd name="T44" fmla="*/ 14 w 15"/>
                  <a:gd name="T45" fmla="*/ 18 h 26"/>
                  <a:gd name="T46" fmla="*/ 15 w 15"/>
                  <a:gd name="T47" fmla="*/ 16 h 26"/>
                  <a:gd name="T48" fmla="*/ 15 w 15"/>
                  <a:gd name="T49" fmla="*/ 14 h 26"/>
                  <a:gd name="T50" fmla="*/ 15 w 15"/>
                  <a:gd name="T51" fmla="*/ 11 h 26"/>
                  <a:gd name="T52" fmla="*/ 14 w 15"/>
                  <a:gd name="T53" fmla="*/ 8 h 26"/>
                  <a:gd name="T54" fmla="*/ 14 w 15"/>
                  <a:gd name="T55" fmla="*/ 7 h 26"/>
                  <a:gd name="T56" fmla="*/ 12 w 15"/>
                  <a:gd name="T57" fmla="*/ 4 h 26"/>
                  <a:gd name="T58" fmla="*/ 11 w 15"/>
                  <a:gd name="T59" fmla="*/ 3 h 26"/>
                  <a:gd name="T60" fmla="*/ 10 w 15"/>
                  <a:gd name="T61" fmla="*/ 1 h 26"/>
                  <a:gd name="T62" fmla="*/ 8 w 15"/>
                  <a:gd name="T63" fmla="*/ 1 h 26"/>
                  <a:gd name="T64" fmla="*/ 7 w 15"/>
                  <a:gd name="T6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" h="26">
                    <a:moveTo>
                      <a:pt x="7" y="0"/>
                    </a:moveTo>
                    <a:lnTo>
                      <a:pt x="6" y="1"/>
                    </a:lnTo>
                    <a:lnTo>
                      <a:pt x="4" y="1"/>
                    </a:lnTo>
                    <a:lnTo>
                      <a:pt x="3" y="3"/>
                    </a:lnTo>
                    <a:lnTo>
                      <a:pt x="1" y="4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4" y="25"/>
                    </a:lnTo>
                    <a:lnTo>
                      <a:pt x="6" y="26"/>
                    </a:lnTo>
                    <a:lnTo>
                      <a:pt x="7" y="26"/>
                    </a:lnTo>
                    <a:lnTo>
                      <a:pt x="8" y="26"/>
                    </a:lnTo>
                    <a:lnTo>
                      <a:pt x="10" y="25"/>
                    </a:lnTo>
                    <a:lnTo>
                      <a:pt x="11" y="23"/>
                    </a:lnTo>
                    <a:lnTo>
                      <a:pt x="12" y="22"/>
                    </a:lnTo>
                    <a:lnTo>
                      <a:pt x="14" y="20"/>
                    </a:lnTo>
                    <a:lnTo>
                      <a:pt x="14" y="18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1"/>
                    </a:lnTo>
                    <a:lnTo>
                      <a:pt x="14" y="8"/>
                    </a:lnTo>
                    <a:lnTo>
                      <a:pt x="14" y="7"/>
                    </a:lnTo>
                    <a:lnTo>
                      <a:pt x="12" y="4"/>
                    </a:lnTo>
                    <a:lnTo>
                      <a:pt x="11" y="3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7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3" name="Freeform 122"/>
              <p:cNvSpPr>
                <a:spLocks/>
              </p:cNvSpPr>
              <p:nvPr/>
            </p:nvSpPr>
            <p:spPr bwMode="auto">
              <a:xfrm>
                <a:off x="4526" y="3052"/>
                <a:ext cx="45" cy="20"/>
              </a:xfrm>
              <a:custGeom>
                <a:avLst/>
                <a:gdLst>
                  <a:gd name="T0" fmla="*/ 23 w 45"/>
                  <a:gd name="T1" fmla="*/ 20 h 20"/>
                  <a:gd name="T2" fmla="*/ 27 w 45"/>
                  <a:gd name="T3" fmla="*/ 20 h 20"/>
                  <a:gd name="T4" fmla="*/ 32 w 45"/>
                  <a:gd name="T5" fmla="*/ 20 h 20"/>
                  <a:gd name="T6" fmla="*/ 36 w 45"/>
                  <a:gd name="T7" fmla="*/ 19 h 20"/>
                  <a:gd name="T8" fmla="*/ 38 w 45"/>
                  <a:gd name="T9" fmla="*/ 18 h 20"/>
                  <a:gd name="T10" fmla="*/ 41 w 45"/>
                  <a:gd name="T11" fmla="*/ 16 h 20"/>
                  <a:gd name="T12" fmla="*/ 44 w 45"/>
                  <a:gd name="T13" fmla="*/ 15 h 20"/>
                  <a:gd name="T14" fmla="*/ 45 w 45"/>
                  <a:gd name="T15" fmla="*/ 12 h 20"/>
                  <a:gd name="T16" fmla="*/ 45 w 45"/>
                  <a:gd name="T17" fmla="*/ 11 h 20"/>
                  <a:gd name="T18" fmla="*/ 45 w 45"/>
                  <a:gd name="T19" fmla="*/ 8 h 20"/>
                  <a:gd name="T20" fmla="*/ 44 w 45"/>
                  <a:gd name="T21" fmla="*/ 7 h 20"/>
                  <a:gd name="T22" fmla="*/ 41 w 45"/>
                  <a:gd name="T23" fmla="*/ 5 h 20"/>
                  <a:gd name="T24" fmla="*/ 38 w 45"/>
                  <a:gd name="T25" fmla="*/ 4 h 20"/>
                  <a:gd name="T26" fmla="*/ 36 w 45"/>
                  <a:gd name="T27" fmla="*/ 3 h 20"/>
                  <a:gd name="T28" fmla="*/ 32 w 45"/>
                  <a:gd name="T29" fmla="*/ 1 h 20"/>
                  <a:gd name="T30" fmla="*/ 27 w 45"/>
                  <a:gd name="T31" fmla="*/ 1 h 20"/>
                  <a:gd name="T32" fmla="*/ 23 w 45"/>
                  <a:gd name="T33" fmla="*/ 0 h 20"/>
                  <a:gd name="T34" fmla="*/ 18 w 45"/>
                  <a:gd name="T35" fmla="*/ 1 h 20"/>
                  <a:gd name="T36" fmla="*/ 14 w 45"/>
                  <a:gd name="T37" fmla="*/ 1 h 20"/>
                  <a:gd name="T38" fmla="*/ 11 w 45"/>
                  <a:gd name="T39" fmla="*/ 3 h 20"/>
                  <a:gd name="T40" fmla="*/ 7 w 45"/>
                  <a:gd name="T41" fmla="*/ 4 h 20"/>
                  <a:gd name="T42" fmla="*/ 4 w 45"/>
                  <a:gd name="T43" fmla="*/ 5 h 20"/>
                  <a:gd name="T44" fmla="*/ 3 w 45"/>
                  <a:gd name="T45" fmla="*/ 7 h 20"/>
                  <a:gd name="T46" fmla="*/ 1 w 45"/>
                  <a:gd name="T47" fmla="*/ 8 h 20"/>
                  <a:gd name="T48" fmla="*/ 0 w 45"/>
                  <a:gd name="T49" fmla="*/ 11 h 20"/>
                  <a:gd name="T50" fmla="*/ 1 w 45"/>
                  <a:gd name="T51" fmla="*/ 12 h 20"/>
                  <a:gd name="T52" fmla="*/ 3 w 45"/>
                  <a:gd name="T53" fmla="*/ 15 h 20"/>
                  <a:gd name="T54" fmla="*/ 4 w 45"/>
                  <a:gd name="T55" fmla="*/ 16 h 20"/>
                  <a:gd name="T56" fmla="*/ 7 w 45"/>
                  <a:gd name="T57" fmla="*/ 18 h 20"/>
                  <a:gd name="T58" fmla="*/ 11 w 45"/>
                  <a:gd name="T59" fmla="*/ 19 h 20"/>
                  <a:gd name="T60" fmla="*/ 14 w 45"/>
                  <a:gd name="T61" fmla="*/ 20 h 20"/>
                  <a:gd name="T62" fmla="*/ 18 w 45"/>
                  <a:gd name="T63" fmla="*/ 20 h 20"/>
                  <a:gd name="T64" fmla="*/ 23 w 45"/>
                  <a:gd name="T6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20">
                    <a:moveTo>
                      <a:pt x="23" y="20"/>
                    </a:moveTo>
                    <a:lnTo>
                      <a:pt x="27" y="20"/>
                    </a:lnTo>
                    <a:lnTo>
                      <a:pt x="32" y="20"/>
                    </a:lnTo>
                    <a:lnTo>
                      <a:pt x="36" y="19"/>
                    </a:lnTo>
                    <a:lnTo>
                      <a:pt x="38" y="18"/>
                    </a:lnTo>
                    <a:lnTo>
                      <a:pt x="41" y="16"/>
                    </a:lnTo>
                    <a:lnTo>
                      <a:pt x="44" y="15"/>
                    </a:lnTo>
                    <a:lnTo>
                      <a:pt x="45" y="12"/>
                    </a:lnTo>
                    <a:lnTo>
                      <a:pt x="45" y="11"/>
                    </a:lnTo>
                    <a:lnTo>
                      <a:pt x="45" y="8"/>
                    </a:lnTo>
                    <a:lnTo>
                      <a:pt x="44" y="7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3"/>
                    </a:lnTo>
                    <a:lnTo>
                      <a:pt x="32" y="1"/>
                    </a:lnTo>
                    <a:lnTo>
                      <a:pt x="27" y="1"/>
                    </a:lnTo>
                    <a:lnTo>
                      <a:pt x="23" y="0"/>
                    </a:lnTo>
                    <a:lnTo>
                      <a:pt x="18" y="1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7" y="4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11" y="19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3" y="2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4" name="Freeform 123"/>
              <p:cNvSpPr>
                <a:spLocks/>
              </p:cNvSpPr>
              <p:nvPr/>
            </p:nvSpPr>
            <p:spPr bwMode="auto">
              <a:xfrm>
                <a:off x="4526" y="3052"/>
                <a:ext cx="45" cy="20"/>
              </a:xfrm>
              <a:custGeom>
                <a:avLst/>
                <a:gdLst>
                  <a:gd name="T0" fmla="*/ 23 w 45"/>
                  <a:gd name="T1" fmla="*/ 20 h 20"/>
                  <a:gd name="T2" fmla="*/ 27 w 45"/>
                  <a:gd name="T3" fmla="*/ 20 h 20"/>
                  <a:gd name="T4" fmla="*/ 32 w 45"/>
                  <a:gd name="T5" fmla="*/ 20 h 20"/>
                  <a:gd name="T6" fmla="*/ 36 w 45"/>
                  <a:gd name="T7" fmla="*/ 19 h 20"/>
                  <a:gd name="T8" fmla="*/ 38 w 45"/>
                  <a:gd name="T9" fmla="*/ 18 h 20"/>
                  <a:gd name="T10" fmla="*/ 41 w 45"/>
                  <a:gd name="T11" fmla="*/ 16 h 20"/>
                  <a:gd name="T12" fmla="*/ 44 w 45"/>
                  <a:gd name="T13" fmla="*/ 15 h 20"/>
                  <a:gd name="T14" fmla="*/ 45 w 45"/>
                  <a:gd name="T15" fmla="*/ 12 h 20"/>
                  <a:gd name="T16" fmla="*/ 45 w 45"/>
                  <a:gd name="T17" fmla="*/ 11 h 20"/>
                  <a:gd name="T18" fmla="*/ 45 w 45"/>
                  <a:gd name="T19" fmla="*/ 8 h 20"/>
                  <a:gd name="T20" fmla="*/ 44 w 45"/>
                  <a:gd name="T21" fmla="*/ 7 h 20"/>
                  <a:gd name="T22" fmla="*/ 41 w 45"/>
                  <a:gd name="T23" fmla="*/ 5 h 20"/>
                  <a:gd name="T24" fmla="*/ 38 w 45"/>
                  <a:gd name="T25" fmla="*/ 4 h 20"/>
                  <a:gd name="T26" fmla="*/ 36 w 45"/>
                  <a:gd name="T27" fmla="*/ 3 h 20"/>
                  <a:gd name="T28" fmla="*/ 32 w 45"/>
                  <a:gd name="T29" fmla="*/ 1 h 20"/>
                  <a:gd name="T30" fmla="*/ 27 w 45"/>
                  <a:gd name="T31" fmla="*/ 1 h 20"/>
                  <a:gd name="T32" fmla="*/ 23 w 45"/>
                  <a:gd name="T33" fmla="*/ 0 h 20"/>
                  <a:gd name="T34" fmla="*/ 18 w 45"/>
                  <a:gd name="T35" fmla="*/ 1 h 20"/>
                  <a:gd name="T36" fmla="*/ 14 w 45"/>
                  <a:gd name="T37" fmla="*/ 1 h 20"/>
                  <a:gd name="T38" fmla="*/ 11 w 45"/>
                  <a:gd name="T39" fmla="*/ 3 h 20"/>
                  <a:gd name="T40" fmla="*/ 7 w 45"/>
                  <a:gd name="T41" fmla="*/ 4 h 20"/>
                  <a:gd name="T42" fmla="*/ 4 w 45"/>
                  <a:gd name="T43" fmla="*/ 5 h 20"/>
                  <a:gd name="T44" fmla="*/ 3 w 45"/>
                  <a:gd name="T45" fmla="*/ 7 h 20"/>
                  <a:gd name="T46" fmla="*/ 1 w 45"/>
                  <a:gd name="T47" fmla="*/ 8 h 20"/>
                  <a:gd name="T48" fmla="*/ 0 w 45"/>
                  <a:gd name="T49" fmla="*/ 11 h 20"/>
                  <a:gd name="T50" fmla="*/ 1 w 45"/>
                  <a:gd name="T51" fmla="*/ 12 h 20"/>
                  <a:gd name="T52" fmla="*/ 3 w 45"/>
                  <a:gd name="T53" fmla="*/ 15 h 20"/>
                  <a:gd name="T54" fmla="*/ 4 w 45"/>
                  <a:gd name="T55" fmla="*/ 16 h 20"/>
                  <a:gd name="T56" fmla="*/ 7 w 45"/>
                  <a:gd name="T57" fmla="*/ 18 h 20"/>
                  <a:gd name="T58" fmla="*/ 11 w 45"/>
                  <a:gd name="T59" fmla="*/ 19 h 20"/>
                  <a:gd name="T60" fmla="*/ 14 w 45"/>
                  <a:gd name="T61" fmla="*/ 20 h 20"/>
                  <a:gd name="T62" fmla="*/ 18 w 45"/>
                  <a:gd name="T63" fmla="*/ 20 h 20"/>
                  <a:gd name="T64" fmla="*/ 23 w 45"/>
                  <a:gd name="T6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" h="20">
                    <a:moveTo>
                      <a:pt x="23" y="20"/>
                    </a:moveTo>
                    <a:lnTo>
                      <a:pt x="27" y="20"/>
                    </a:lnTo>
                    <a:lnTo>
                      <a:pt x="32" y="20"/>
                    </a:lnTo>
                    <a:lnTo>
                      <a:pt x="36" y="19"/>
                    </a:lnTo>
                    <a:lnTo>
                      <a:pt x="38" y="18"/>
                    </a:lnTo>
                    <a:lnTo>
                      <a:pt x="41" y="16"/>
                    </a:lnTo>
                    <a:lnTo>
                      <a:pt x="44" y="15"/>
                    </a:lnTo>
                    <a:lnTo>
                      <a:pt x="45" y="12"/>
                    </a:lnTo>
                    <a:lnTo>
                      <a:pt x="45" y="11"/>
                    </a:lnTo>
                    <a:lnTo>
                      <a:pt x="45" y="8"/>
                    </a:lnTo>
                    <a:lnTo>
                      <a:pt x="44" y="7"/>
                    </a:lnTo>
                    <a:lnTo>
                      <a:pt x="41" y="5"/>
                    </a:lnTo>
                    <a:lnTo>
                      <a:pt x="38" y="4"/>
                    </a:lnTo>
                    <a:lnTo>
                      <a:pt x="36" y="3"/>
                    </a:lnTo>
                    <a:lnTo>
                      <a:pt x="32" y="1"/>
                    </a:lnTo>
                    <a:lnTo>
                      <a:pt x="27" y="1"/>
                    </a:lnTo>
                    <a:lnTo>
                      <a:pt x="23" y="0"/>
                    </a:lnTo>
                    <a:lnTo>
                      <a:pt x="18" y="1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7" y="4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3" y="15"/>
                    </a:lnTo>
                    <a:lnTo>
                      <a:pt x="4" y="16"/>
                    </a:lnTo>
                    <a:lnTo>
                      <a:pt x="7" y="18"/>
                    </a:lnTo>
                    <a:lnTo>
                      <a:pt x="11" y="19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23" y="2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5" name="Freeform 124"/>
              <p:cNvSpPr>
                <a:spLocks/>
              </p:cNvSpPr>
              <p:nvPr/>
            </p:nvSpPr>
            <p:spPr bwMode="auto">
              <a:xfrm>
                <a:off x="4149" y="2850"/>
                <a:ext cx="162" cy="176"/>
              </a:xfrm>
              <a:custGeom>
                <a:avLst/>
                <a:gdLst>
                  <a:gd name="T0" fmla="*/ 3 w 162"/>
                  <a:gd name="T1" fmla="*/ 0 h 176"/>
                  <a:gd name="T2" fmla="*/ 5 w 162"/>
                  <a:gd name="T3" fmla="*/ 1 h 176"/>
                  <a:gd name="T4" fmla="*/ 11 w 162"/>
                  <a:gd name="T5" fmla="*/ 2 h 176"/>
                  <a:gd name="T6" fmla="*/ 18 w 162"/>
                  <a:gd name="T7" fmla="*/ 4 h 176"/>
                  <a:gd name="T8" fmla="*/ 23 w 162"/>
                  <a:gd name="T9" fmla="*/ 1 h 176"/>
                  <a:gd name="T10" fmla="*/ 29 w 162"/>
                  <a:gd name="T11" fmla="*/ 0 h 176"/>
                  <a:gd name="T12" fmla="*/ 34 w 162"/>
                  <a:gd name="T13" fmla="*/ 1 h 176"/>
                  <a:gd name="T14" fmla="*/ 40 w 162"/>
                  <a:gd name="T15" fmla="*/ 5 h 176"/>
                  <a:gd name="T16" fmla="*/ 47 w 162"/>
                  <a:gd name="T17" fmla="*/ 13 h 176"/>
                  <a:gd name="T18" fmla="*/ 50 w 162"/>
                  <a:gd name="T19" fmla="*/ 19 h 176"/>
                  <a:gd name="T20" fmla="*/ 51 w 162"/>
                  <a:gd name="T21" fmla="*/ 23 h 176"/>
                  <a:gd name="T22" fmla="*/ 51 w 162"/>
                  <a:gd name="T23" fmla="*/ 23 h 176"/>
                  <a:gd name="T24" fmla="*/ 80 w 162"/>
                  <a:gd name="T25" fmla="*/ 49 h 176"/>
                  <a:gd name="T26" fmla="*/ 84 w 162"/>
                  <a:gd name="T27" fmla="*/ 48 h 176"/>
                  <a:gd name="T28" fmla="*/ 96 w 162"/>
                  <a:gd name="T29" fmla="*/ 57 h 176"/>
                  <a:gd name="T30" fmla="*/ 113 w 162"/>
                  <a:gd name="T31" fmla="*/ 71 h 176"/>
                  <a:gd name="T32" fmla="*/ 127 w 162"/>
                  <a:gd name="T33" fmla="*/ 84 h 176"/>
                  <a:gd name="T34" fmla="*/ 131 w 162"/>
                  <a:gd name="T35" fmla="*/ 86 h 176"/>
                  <a:gd name="T36" fmla="*/ 127 w 162"/>
                  <a:gd name="T37" fmla="*/ 88 h 176"/>
                  <a:gd name="T38" fmla="*/ 124 w 162"/>
                  <a:gd name="T39" fmla="*/ 89 h 176"/>
                  <a:gd name="T40" fmla="*/ 124 w 162"/>
                  <a:gd name="T41" fmla="*/ 93 h 176"/>
                  <a:gd name="T42" fmla="*/ 136 w 162"/>
                  <a:gd name="T43" fmla="*/ 104 h 176"/>
                  <a:gd name="T44" fmla="*/ 150 w 162"/>
                  <a:gd name="T45" fmla="*/ 117 h 176"/>
                  <a:gd name="T46" fmla="*/ 151 w 162"/>
                  <a:gd name="T47" fmla="*/ 119 h 176"/>
                  <a:gd name="T48" fmla="*/ 155 w 162"/>
                  <a:gd name="T49" fmla="*/ 123 h 176"/>
                  <a:gd name="T50" fmla="*/ 158 w 162"/>
                  <a:gd name="T51" fmla="*/ 130 h 176"/>
                  <a:gd name="T52" fmla="*/ 162 w 162"/>
                  <a:gd name="T53" fmla="*/ 137 h 176"/>
                  <a:gd name="T54" fmla="*/ 161 w 162"/>
                  <a:gd name="T55" fmla="*/ 137 h 176"/>
                  <a:gd name="T56" fmla="*/ 160 w 162"/>
                  <a:gd name="T57" fmla="*/ 140 h 176"/>
                  <a:gd name="T58" fmla="*/ 160 w 162"/>
                  <a:gd name="T59" fmla="*/ 144 h 176"/>
                  <a:gd name="T60" fmla="*/ 161 w 162"/>
                  <a:gd name="T61" fmla="*/ 151 h 176"/>
                  <a:gd name="T62" fmla="*/ 162 w 162"/>
                  <a:gd name="T63" fmla="*/ 154 h 176"/>
                  <a:gd name="T64" fmla="*/ 162 w 162"/>
                  <a:gd name="T65" fmla="*/ 158 h 176"/>
                  <a:gd name="T66" fmla="*/ 162 w 162"/>
                  <a:gd name="T67" fmla="*/ 165 h 176"/>
                  <a:gd name="T68" fmla="*/ 160 w 162"/>
                  <a:gd name="T69" fmla="*/ 170 h 176"/>
                  <a:gd name="T70" fmla="*/ 157 w 162"/>
                  <a:gd name="T71" fmla="*/ 173 h 176"/>
                  <a:gd name="T72" fmla="*/ 151 w 162"/>
                  <a:gd name="T73" fmla="*/ 174 h 176"/>
                  <a:gd name="T74" fmla="*/ 147 w 162"/>
                  <a:gd name="T75" fmla="*/ 176 h 176"/>
                  <a:gd name="T76" fmla="*/ 146 w 162"/>
                  <a:gd name="T77" fmla="*/ 176 h 176"/>
                  <a:gd name="T78" fmla="*/ 121 w 162"/>
                  <a:gd name="T79" fmla="*/ 165 h 176"/>
                  <a:gd name="T80" fmla="*/ 107 w 162"/>
                  <a:gd name="T81" fmla="*/ 148 h 176"/>
                  <a:gd name="T82" fmla="*/ 89 w 162"/>
                  <a:gd name="T83" fmla="*/ 125 h 176"/>
                  <a:gd name="T84" fmla="*/ 73 w 162"/>
                  <a:gd name="T85" fmla="*/ 101 h 176"/>
                  <a:gd name="T86" fmla="*/ 63 w 162"/>
                  <a:gd name="T87" fmla="*/ 79 h 176"/>
                  <a:gd name="T88" fmla="*/ 52 w 162"/>
                  <a:gd name="T89" fmla="*/ 71 h 176"/>
                  <a:gd name="T90" fmla="*/ 51 w 162"/>
                  <a:gd name="T91" fmla="*/ 66 h 176"/>
                  <a:gd name="T92" fmla="*/ 47 w 162"/>
                  <a:gd name="T93" fmla="*/ 59 h 176"/>
                  <a:gd name="T94" fmla="*/ 41 w 162"/>
                  <a:gd name="T95" fmla="*/ 52 h 176"/>
                  <a:gd name="T96" fmla="*/ 18 w 162"/>
                  <a:gd name="T97" fmla="*/ 20 h 176"/>
                  <a:gd name="T98" fmla="*/ 15 w 162"/>
                  <a:gd name="T99" fmla="*/ 18 h 176"/>
                  <a:gd name="T100" fmla="*/ 7 w 162"/>
                  <a:gd name="T101" fmla="*/ 12 h 176"/>
                  <a:gd name="T102" fmla="*/ 1 w 162"/>
                  <a:gd name="T103" fmla="*/ 5 h 176"/>
                  <a:gd name="T104" fmla="*/ 1 w 162"/>
                  <a:gd name="T105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2" h="176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5" y="4"/>
                    </a:lnTo>
                    <a:lnTo>
                      <a:pt x="18" y="4"/>
                    </a:lnTo>
                    <a:lnTo>
                      <a:pt x="21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4" y="9"/>
                    </a:lnTo>
                    <a:lnTo>
                      <a:pt x="47" y="13"/>
                    </a:lnTo>
                    <a:lnTo>
                      <a:pt x="48" y="18"/>
                    </a:lnTo>
                    <a:lnTo>
                      <a:pt x="50" y="19"/>
                    </a:lnTo>
                    <a:lnTo>
                      <a:pt x="50" y="22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51" y="23"/>
                    </a:lnTo>
                    <a:lnTo>
                      <a:pt x="80" y="49"/>
                    </a:lnTo>
                    <a:lnTo>
                      <a:pt x="83" y="46"/>
                    </a:lnTo>
                    <a:lnTo>
                      <a:pt x="84" y="48"/>
                    </a:lnTo>
                    <a:lnTo>
                      <a:pt x="89" y="52"/>
                    </a:lnTo>
                    <a:lnTo>
                      <a:pt x="96" y="57"/>
                    </a:lnTo>
                    <a:lnTo>
                      <a:pt x="105" y="64"/>
                    </a:lnTo>
                    <a:lnTo>
                      <a:pt x="113" y="71"/>
                    </a:lnTo>
                    <a:lnTo>
                      <a:pt x="121" y="78"/>
                    </a:lnTo>
                    <a:lnTo>
                      <a:pt x="127" y="84"/>
                    </a:lnTo>
                    <a:lnTo>
                      <a:pt x="131" y="86"/>
                    </a:lnTo>
                    <a:lnTo>
                      <a:pt x="131" y="86"/>
                    </a:lnTo>
                    <a:lnTo>
                      <a:pt x="128" y="86"/>
                    </a:lnTo>
                    <a:lnTo>
                      <a:pt x="127" y="88"/>
                    </a:lnTo>
                    <a:lnTo>
                      <a:pt x="125" y="88"/>
                    </a:lnTo>
                    <a:lnTo>
                      <a:pt x="124" y="89"/>
                    </a:lnTo>
                    <a:lnTo>
                      <a:pt x="122" y="90"/>
                    </a:lnTo>
                    <a:lnTo>
                      <a:pt x="124" y="93"/>
                    </a:lnTo>
                    <a:lnTo>
                      <a:pt x="127" y="96"/>
                    </a:lnTo>
                    <a:lnTo>
                      <a:pt x="136" y="104"/>
                    </a:lnTo>
                    <a:lnTo>
                      <a:pt x="136" y="118"/>
                    </a:lnTo>
                    <a:lnTo>
                      <a:pt x="150" y="117"/>
                    </a:lnTo>
                    <a:lnTo>
                      <a:pt x="151" y="118"/>
                    </a:lnTo>
                    <a:lnTo>
                      <a:pt x="151" y="119"/>
                    </a:lnTo>
                    <a:lnTo>
                      <a:pt x="153" y="121"/>
                    </a:lnTo>
                    <a:lnTo>
                      <a:pt x="155" y="123"/>
                    </a:lnTo>
                    <a:lnTo>
                      <a:pt x="157" y="126"/>
                    </a:lnTo>
                    <a:lnTo>
                      <a:pt x="158" y="130"/>
                    </a:lnTo>
                    <a:lnTo>
                      <a:pt x="161" y="133"/>
                    </a:lnTo>
                    <a:lnTo>
                      <a:pt x="162" y="137"/>
                    </a:lnTo>
                    <a:lnTo>
                      <a:pt x="162" y="137"/>
                    </a:lnTo>
                    <a:lnTo>
                      <a:pt x="161" y="137"/>
                    </a:lnTo>
                    <a:lnTo>
                      <a:pt x="160" y="139"/>
                    </a:lnTo>
                    <a:lnTo>
                      <a:pt x="160" y="140"/>
                    </a:lnTo>
                    <a:lnTo>
                      <a:pt x="160" y="141"/>
                    </a:lnTo>
                    <a:lnTo>
                      <a:pt x="160" y="144"/>
                    </a:lnTo>
                    <a:lnTo>
                      <a:pt x="160" y="147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2" y="154"/>
                    </a:lnTo>
                    <a:lnTo>
                      <a:pt x="162" y="155"/>
                    </a:lnTo>
                    <a:lnTo>
                      <a:pt x="162" y="158"/>
                    </a:lnTo>
                    <a:lnTo>
                      <a:pt x="162" y="162"/>
                    </a:lnTo>
                    <a:lnTo>
                      <a:pt x="162" y="165"/>
                    </a:lnTo>
                    <a:lnTo>
                      <a:pt x="161" y="167"/>
                    </a:lnTo>
                    <a:lnTo>
                      <a:pt x="160" y="170"/>
                    </a:lnTo>
                    <a:lnTo>
                      <a:pt x="158" y="172"/>
                    </a:lnTo>
                    <a:lnTo>
                      <a:pt x="157" y="173"/>
                    </a:lnTo>
                    <a:lnTo>
                      <a:pt x="154" y="174"/>
                    </a:lnTo>
                    <a:lnTo>
                      <a:pt x="151" y="174"/>
                    </a:lnTo>
                    <a:lnTo>
                      <a:pt x="150" y="176"/>
                    </a:lnTo>
                    <a:lnTo>
                      <a:pt x="147" y="176"/>
                    </a:lnTo>
                    <a:lnTo>
                      <a:pt x="146" y="176"/>
                    </a:lnTo>
                    <a:lnTo>
                      <a:pt x="146" y="176"/>
                    </a:lnTo>
                    <a:lnTo>
                      <a:pt x="122" y="167"/>
                    </a:lnTo>
                    <a:lnTo>
                      <a:pt x="121" y="165"/>
                    </a:lnTo>
                    <a:lnTo>
                      <a:pt x="116" y="158"/>
                    </a:lnTo>
                    <a:lnTo>
                      <a:pt x="107" y="148"/>
                    </a:lnTo>
                    <a:lnTo>
                      <a:pt x="99" y="137"/>
                    </a:lnTo>
                    <a:lnTo>
                      <a:pt x="89" y="125"/>
                    </a:lnTo>
                    <a:lnTo>
                      <a:pt x="80" y="112"/>
                    </a:lnTo>
                    <a:lnTo>
                      <a:pt x="73" y="101"/>
                    </a:lnTo>
                    <a:lnTo>
                      <a:pt x="67" y="93"/>
                    </a:lnTo>
                    <a:lnTo>
                      <a:pt x="63" y="79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2" y="70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7" y="59"/>
                    </a:lnTo>
                    <a:lnTo>
                      <a:pt x="44" y="55"/>
                    </a:lnTo>
                    <a:lnTo>
                      <a:pt x="41" y="52"/>
                    </a:lnTo>
                    <a:lnTo>
                      <a:pt x="39" y="49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5" y="18"/>
                    </a:lnTo>
                    <a:lnTo>
                      <a:pt x="11" y="15"/>
                    </a:lnTo>
                    <a:lnTo>
                      <a:pt x="7" y="12"/>
                    </a:lnTo>
                    <a:lnTo>
                      <a:pt x="3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6" name="Freeform 125"/>
              <p:cNvSpPr>
                <a:spLocks/>
              </p:cNvSpPr>
              <p:nvPr/>
            </p:nvSpPr>
            <p:spPr bwMode="auto">
              <a:xfrm>
                <a:off x="4149" y="2850"/>
                <a:ext cx="162" cy="176"/>
              </a:xfrm>
              <a:custGeom>
                <a:avLst/>
                <a:gdLst>
                  <a:gd name="T0" fmla="*/ 3 w 162"/>
                  <a:gd name="T1" fmla="*/ 0 h 176"/>
                  <a:gd name="T2" fmla="*/ 5 w 162"/>
                  <a:gd name="T3" fmla="*/ 1 h 176"/>
                  <a:gd name="T4" fmla="*/ 11 w 162"/>
                  <a:gd name="T5" fmla="*/ 2 h 176"/>
                  <a:gd name="T6" fmla="*/ 18 w 162"/>
                  <a:gd name="T7" fmla="*/ 4 h 176"/>
                  <a:gd name="T8" fmla="*/ 23 w 162"/>
                  <a:gd name="T9" fmla="*/ 1 h 176"/>
                  <a:gd name="T10" fmla="*/ 29 w 162"/>
                  <a:gd name="T11" fmla="*/ 0 h 176"/>
                  <a:gd name="T12" fmla="*/ 34 w 162"/>
                  <a:gd name="T13" fmla="*/ 1 h 176"/>
                  <a:gd name="T14" fmla="*/ 40 w 162"/>
                  <a:gd name="T15" fmla="*/ 5 h 176"/>
                  <a:gd name="T16" fmla="*/ 47 w 162"/>
                  <a:gd name="T17" fmla="*/ 13 h 176"/>
                  <a:gd name="T18" fmla="*/ 50 w 162"/>
                  <a:gd name="T19" fmla="*/ 19 h 176"/>
                  <a:gd name="T20" fmla="*/ 51 w 162"/>
                  <a:gd name="T21" fmla="*/ 23 h 176"/>
                  <a:gd name="T22" fmla="*/ 83 w 162"/>
                  <a:gd name="T23" fmla="*/ 46 h 176"/>
                  <a:gd name="T24" fmla="*/ 89 w 162"/>
                  <a:gd name="T25" fmla="*/ 52 h 176"/>
                  <a:gd name="T26" fmla="*/ 105 w 162"/>
                  <a:gd name="T27" fmla="*/ 64 h 176"/>
                  <a:gd name="T28" fmla="*/ 121 w 162"/>
                  <a:gd name="T29" fmla="*/ 78 h 176"/>
                  <a:gd name="T30" fmla="*/ 131 w 162"/>
                  <a:gd name="T31" fmla="*/ 86 h 176"/>
                  <a:gd name="T32" fmla="*/ 127 w 162"/>
                  <a:gd name="T33" fmla="*/ 88 h 176"/>
                  <a:gd name="T34" fmla="*/ 124 w 162"/>
                  <a:gd name="T35" fmla="*/ 89 h 176"/>
                  <a:gd name="T36" fmla="*/ 124 w 162"/>
                  <a:gd name="T37" fmla="*/ 93 h 176"/>
                  <a:gd name="T38" fmla="*/ 136 w 162"/>
                  <a:gd name="T39" fmla="*/ 104 h 176"/>
                  <a:gd name="T40" fmla="*/ 150 w 162"/>
                  <a:gd name="T41" fmla="*/ 117 h 176"/>
                  <a:gd name="T42" fmla="*/ 151 w 162"/>
                  <a:gd name="T43" fmla="*/ 119 h 176"/>
                  <a:gd name="T44" fmla="*/ 155 w 162"/>
                  <a:gd name="T45" fmla="*/ 123 h 176"/>
                  <a:gd name="T46" fmla="*/ 158 w 162"/>
                  <a:gd name="T47" fmla="*/ 130 h 176"/>
                  <a:gd name="T48" fmla="*/ 162 w 162"/>
                  <a:gd name="T49" fmla="*/ 137 h 176"/>
                  <a:gd name="T50" fmla="*/ 160 w 162"/>
                  <a:gd name="T51" fmla="*/ 139 h 176"/>
                  <a:gd name="T52" fmla="*/ 160 w 162"/>
                  <a:gd name="T53" fmla="*/ 141 h 176"/>
                  <a:gd name="T54" fmla="*/ 160 w 162"/>
                  <a:gd name="T55" fmla="*/ 147 h 176"/>
                  <a:gd name="T56" fmla="*/ 162 w 162"/>
                  <a:gd name="T57" fmla="*/ 154 h 176"/>
                  <a:gd name="T58" fmla="*/ 162 w 162"/>
                  <a:gd name="T59" fmla="*/ 158 h 176"/>
                  <a:gd name="T60" fmla="*/ 162 w 162"/>
                  <a:gd name="T61" fmla="*/ 165 h 176"/>
                  <a:gd name="T62" fmla="*/ 160 w 162"/>
                  <a:gd name="T63" fmla="*/ 170 h 176"/>
                  <a:gd name="T64" fmla="*/ 157 w 162"/>
                  <a:gd name="T65" fmla="*/ 173 h 176"/>
                  <a:gd name="T66" fmla="*/ 151 w 162"/>
                  <a:gd name="T67" fmla="*/ 174 h 176"/>
                  <a:gd name="T68" fmla="*/ 147 w 162"/>
                  <a:gd name="T69" fmla="*/ 176 h 176"/>
                  <a:gd name="T70" fmla="*/ 122 w 162"/>
                  <a:gd name="T71" fmla="*/ 167 h 176"/>
                  <a:gd name="T72" fmla="*/ 116 w 162"/>
                  <a:gd name="T73" fmla="*/ 158 h 176"/>
                  <a:gd name="T74" fmla="*/ 99 w 162"/>
                  <a:gd name="T75" fmla="*/ 137 h 176"/>
                  <a:gd name="T76" fmla="*/ 80 w 162"/>
                  <a:gd name="T77" fmla="*/ 112 h 176"/>
                  <a:gd name="T78" fmla="*/ 67 w 162"/>
                  <a:gd name="T79" fmla="*/ 93 h 176"/>
                  <a:gd name="T80" fmla="*/ 54 w 162"/>
                  <a:gd name="T81" fmla="*/ 73 h 176"/>
                  <a:gd name="T82" fmla="*/ 52 w 162"/>
                  <a:gd name="T83" fmla="*/ 70 h 176"/>
                  <a:gd name="T84" fmla="*/ 48 w 162"/>
                  <a:gd name="T85" fmla="*/ 63 h 176"/>
                  <a:gd name="T86" fmla="*/ 44 w 162"/>
                  <a:gd name="T87" fmla="*/ 55 h 176"/>
                  <a:gd name="T88" fmla="*/ 39 w 162"/>
                  <a:gd name="T89" fmla="*/ 49 h 176"/>
                  <a:gd name="T90" fmla="*/ 17 w 162"/>
                  <a:gd name="T91" fmla="*/ 19 h 176"/>
                  <a:gd name="T92" fmla="*/ 11 w 162"/>
                  <a:gd name="T93" fmla="*/ 15 h 176"/>
                  <a:gd name="T94" fmla="*/ 3 w 162"/>
                  <a:gd name="T95" fmla="*/ 9 h 176"/>
                  <a:gd name="T96" fmla="*/ 0 w 162"/>
                  <a:gd name="T97" fmla="*/ 2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2" h="176">
                    <a:moveTo>
                      <a:pt x="1" y="0"/>
                    </a:moveTo>
                    <a:lnTo>
                      <a:pt x="3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8" y="2"/>
                    </a:lnTo>
                    <a:lnTo>
                      <a:pt x="11" y="2"/>
                    </a:lnTo>
                    <a:lnTo>
                      <a:pt x="15" y="4"/>
                    </a:lnTo>
                    <a:lnTo>
                      <a:pt x="18" y="4"/>
                    </a:lnTo>
                    <a:lnTo>
                      <a:pt x="21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9" y="0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7" y="2"/>
                    </a:lnTo>
                    <a:lnTo>
                      <a:pt x="40" y="5"/>
                    </a:lnTo>
                    <a:lnTo>
                      <a:pt x="44" y="9"/>
                    </a:lnTo>
                    <a:lnTo>
                      <a:pt x="47" y="13"/>
                    </a:lnTo>
                    <a:lnTo>
                      <a:pt x="48" y="18"/>
                    </a:lnTo>
                    <a:lnTo>
                      <a:pt x="50" y="19"/>
                    </a:lnTo>
                    <a:lnTo>
                      <a:pt x="50" y="22"/>
                    </a:lnTo>
                    <a:lnTo>
                      <a:pt x="51" y="23"/>
                    </a:lnTo>
                    <a:lnTo>
                      <a:pt x="80" y="49"/>
                    </a:lnTo>
                    <a:lnTo>
                      <a:pt x="83" y="46"/>
                    </a:lnTo>
                    <a:lnTo>
                      <a:pt x="84" y="48"/>
                    </a:lnTo>
                    <a:lnTo>
                      <a:pt x="89" y="52"/>
                    </a:lnTo>
                    <a:lnTo>
                      <a:pt x="96" y="57"/>
                    </a:lnTo>
                    <a:lnTo>
                      <a:pt x="105" y="64"/>
                    </a:lnTo>
                    <a:lnTo>
                      <a:pt x="113" y="71"/>
                    </a:lnTo>
                    <a:lnTo>
                      <a:pt x="121" y="78"/>
                    </a:lnTo>
                    <a:lnTo>
                      <a:pt x="127" y="84"/>
                    </a:lnTo>
                    <a:lnTo>
                      <a:pt x="131" y="86"/>
                    </a:lnTo>
                    <a:lnTo>
                      <a:pt x="128" y="86"/>
                    </a:lnTo>
                    <a:lnTo>
                      <a:pt x="127" y="88"/>
                    </a:lnTo>
                    <a:lnTo>
                      <a:pt x="125" y="88"/>
                    </a:lnTo>
                    <a:lnTo>
                      <a:pt x="124" y="89"/>
                    </a:lnTo>
                    <a:lnTo>
                      <a:pt x="122" y="90"/>
                    </a:lnTo>
                    <a:lnTo>
                      <a:pt x="124" y="93"/>
                    </a:lnTo>
                    <a:lnTo>
                      <a:pt x="127" y="96"/>
                    </a:lnTo>
                    <a:lnTo>
                      <a:pt x="136" y="104"/>
                    </a:lnTo>
                    <a:lnTo>
                      <a:pt x="136" y="118"/>
                    </a:lnTo>
                    <a:lnTo>
                      <a:pt x="150" y="117"/>
                    </a:lnTo>
                    <a:lnTo>
                      <a:pt x="151" y="118"/>
                    </a:lnTo>
                    <a:lnTo>
                      <a:pt x="151" y="119"/>
                    </a:lnTo>
                    <a:lnTo>
                      <a:pt x="153" y="121"/>
                    </a:lnTo>
                    <a:lnTo>
                      <a:pt x="155" y="123"/>
                    </a:lnTo>
                    <a:lnTo>
                      <a:pt x="157" y="126"/>
                    </a:lnTo>
                    <a:lnTo>
                      <a:pt x="158" y="130"/>
                    </a:lnTo>
                    <a:lnTo>
                      <a:pt x="161" y="133"/>
                    </a:lnTo>
                    <a:lnTo>
                      <a:pt x="162" y="137"/>
                    </a:lnTo>
                    <a:lnTo>
                      <a:pt x="161" y="137"/>
                    </a:lnTo>
                    <a:lnTo>
                      <a:pt x="160" y="139"/>
                    </a:lnTo>
                    <a:lnTo>
                      <a:pt x="160" y="140"/>
                    </a:lnTo>
                    <a:lnTo>
                      <a:pt x="160" y="141"/>
                    </a:lnTo>
                    <a:lnTo>
                      <a:pt x="160" y="144"/>
                    </a:lnTo>
                    <a:lnTo>
                      <a:pt x="160" y="147"/>
                    </a:lnTo>
                    <a:lnTo>
                      <a:pt x="161" y="151"/>
                    </a:lnTo>
                    <a:lnTo>
                      <a:pt x="162" y="154"/>
                    </a:lnTo>
                    <a:lnTo>
                      <a:pt x="162" y="155"/>
                    </a:lnTo>
                    <a:lnTo>
                      <a:pt x="162" y="158"/>
                    </a:lnTo>
                    <a:lnTo>
                      <a:pt x="162" y="162"/>
                    </a:lnTo>
                    <a:lnTo>
                      <a:pt x="162" y="165"/>
                    </a:lnTo>
                    <a:lnTo>
                      <a:pt x="161" y="167"/>
                    </a:lnTo>
                    <a:lnTo>
                      <a:pt x="160" y="170"/>
                    </a:lnTo>
                    <a:lnTo>
                      <a:pt x="158" y="172"/>
                    </a:lnTo>
                    <a:lnTo>
                      <a:pt x="157" y="173"/>
                    </a:lnTo>
                    <a:lnTo>
                      <a:pt x="154" y="174"/>
                    </a:lnTo>
                    <a:lnTo>
                      <a:pt x="151" y="174"/>
                    </a:lnTo>
                    <a:lnTo>
                      <a:pt x="150" y="176"/>
                    </a:lnTo>
                    <a:lnTo>
                      <a:pt x="147" y="176"/>
                    </a:lnTo>
                    <a:lnTo>
                      <a:pt x="146" y="176"/>
                    </a:lnTo>
                    <a:lnTo>
                      <a:pt x="122" y="167"/>
                    </a:lnTo>
                    <a:lnTo>
                      <a:pt x="121" y="165"/>
                    </a:lnTo>
                    <a:lnTo>
                      <a:pt x="116" y="158"/>
                    </a:lnTo>
                    <a:lnTo>
                      <a:pt x="107" y="148"/>
                    </a:lnTo>
                    <a:lnTo>
                      <a:pt x="99" y="137"/>
                    </a:lnTo>
                    <a:lnTo>
                      <a:pt x="89" y="125"/>
                    </a:lnTo>
                    <a:lnTo>
                      <a:pt x="80" y="112"/>
                    </a:lnTo>
                    <a:lnTo>
                      <a:pt x="73" y="101"/>
                    </a:lnTo>
                    <a:lnTo>
                      <a:pt x="67" y="93"/>
                    </a:lnTo>
                    <a:lnTo>
                      <a:pt x="63" y="79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2" y="70"/>
                    </a:lnTo>
                    <a:lnTo>
                      <a:pt x="51" y="66"/>
                    </a:lnTo>
                    <a:lnTo>
                      <a:pt x="48" y="63"/>
                    </a:lnTo>
                    <a:lnTo>
                      <a:pt x="47" y="59"/>
                    </a:lnTo>
                    <a:lnTo>
                      <a:pt x="44" y="55"/>
                    </a:lnTo>
                    <a:lnTo>
                      <a:pt x="41" y="52"/>
                    </a:lnTo>
                    <a:lnTo>
                      <a:pt x="39" y="49"/>
                    </a:lnTo>
                    <a:lnTo>
                      <a:pt x="18" y="20"/>
                    </a:lnTo>
                    <a:lnTo>
                      <a:pt x="17" y="19"/>
                    </a:lnTo>
                    <a:lnTo>
                      <a:pt x="15" y="18"/>
                    </a:lnTo>
                    <a:lnTo>
                      <a:pt x="11" y="15"/>
                    </a:lnTo>
                    <a:lnTo>
                      <a:pt x="7" y="12"/>
                    </a:lnTo>
                    <a:lnTo>
                      <a:pt x="3" y="9"/>
                    </a:lnTo>
                    <a:lnTo>
                      <a:pt x="1" y="5"/>
                    </a:lnTo>
                    <a:lnTo>
                      <a:pt x="0" y="2"/>
                    </a:lnTo>
                    <a:lnTo>
                      <a:pt x="1" y="0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7" name="Freeform 126"/>
              <p:cNvSpPr>
                <a:spLocks/>
              </p:cNvSpPr>
              <p:nvPr/>
            </p:nvSpPr>
            <p:spPr bwMode="auto">
              <a:xfrm>
                <a:off x="4307" y="3028"/>
                <a:ext cx="136" cy="40"/>
              </a:xfrm>
              <a:custGeom>
                <a:avLst/>
                <a:gdLst>
                  <a:gd name="T0" fmla="*/ 59 w 136"/>
                  <a:gd name="T1" fmla="*/ 28 h 40"/>
                  <a:gd name="T2" fmla="*/ 26 w 136"/>
                  <a:gd name="T3" fmla="*/ 28 h 40"/>
                  <a:gd name="T4" fmla="*/ 0 w 136"/>
                  <a:gd name="T5" fmla="*/ 14 h 40"/>
                  <a:gd name="T6" fmla="*/ 2 w 136"/>
                  <a:gd name="T7" fmla="*/ 6 h 40"/>
                  <a:gd name="T8" fmla="*/ 3 w 136"/>
                  <a:gd name="T9" fmla="*/ 6 h 40"/>
                  <a:gd name="T10" fmla="*/ 4 w 136"/>
                  <a:gd name="T11" fmla="*/ 5 h 40"/>
                  <a:gd name="T12" fmla="*/ 7 w 136"/>
                  <a:gd name="T13" fmla="*/ 3 h 40"/>
                  <a:gd name="T14" fmla="*/ 11 w 136"/>
                  <a:gd name="T15" fmla="*/ 2 h 40"/>
                  <a:gd name="T16" fmla="*/ 15 w 136"/>
                  <a:gd name="T17" fmla="*/ 2 h 40"/>
                  <a:gd name="T18" fmla="*/ 19 w 136"/>
                  <a:gd name="T19" fmla="*/ 0 h 40"/>
                  <a:gd name="T20" fmla="*/ 25 w 136"/>
                  <a:gd name="T21" fmla="*/ 0 h 40"/>
                  <a:gd name="T22" fmla="*/ 29 w 136"/>
                  <a:gd name="T23" fmla="*/ 2 h 40"/>
                  <a:gd name="T24" fmla="*/ 68 w 136"/>
                  <a:gd name="T25" fmla="*/ 10 h 40"/>
                  <a:gd name="T26" fmla="*/ 68 w 136"/>
                  <a:gd name="T27" fmla="*/ 10 h 40"/>
                  <a:gd name="T28" fmla="*/ 70 w 136"/>
                  <a:gd name="T29" fmla="*/ 10 h 40"/>
                  <a:gd name="T30" fmla="*/ 74 w 136"/>
                  <a:gd name="T31" fmla="*/ 10 h 40"/>
                  <a:gd name="T32" fmla="*/ 79 w 136"/>
                  <a:gd name="T33" fmla="*/ 9 h 40"/>
                  <a:gd name="T34" fmla="*/ 84 w 136"/>
                  <a:gd name="T35" fmla="*/ 9 h 40"/>
                  <a:gd name="T36" fmla="*/ 90 w 136"/>
                  <a:gd name="T37" fmla="*/ 9 h 40"/>
                  <a:gd name="T38" fmla="*/ 95 w 136"/>
                  <a:gd name="T39" fmla="*/ 10 h 40"/>
                  <a:gd name="T40" fmla="*/ 101 w 136"/>
                  <a:gd name="T41" fmla="*/ 11 h 40"/>
                  <a:gd name="T42" fmla="*/ 106 w 136"/>
                  <a:gd name="T43" fmla="*/ 14 h 40"/>
                  <a:gd name="T44" fmla="*/ 112 w 136"/>
                  <a:gd name="T45" fmla="*/ 17 h 40"/>
                  <a:gd name="T46" fmla="*/ 117 w 136"/>
                  <a:gd name="T47" fmla="*/ 18 h 40"/>
                  <a:gd name="T48" fmla="*/ 121 w 136"/>
                  <a:gd name="T49" fmla="*/ 21 h 40"/>
                  <a:gd name="T50" fmla="*/ 127 w 136"/>
                  <a:gd name="T51" fmla="*/ 22 h 40"/>
                  <a:gd name="T52" fmla="*/ 129 w 136"/>
                  <a:gd name="T53" fmla="*/ 24 h 40"/>
                  <a:gd name="T54" fmla="*/ 132 w 136"/>
                  <a:gd name="T55" fmla="*/ 25 h 40"/>
                  <a:gd name="T56" fmla="*/ 132 w 136"/>
                  <a:gd name="T57" fmla="*/ 25 h 40"/>
                  <a:gd name="T58" fmla="*/ 134 w 136"/>
                  <a:gd name="T59" fmla="*/ 25 h 40"/>
                  <a:gd name="T60" fmla="*/ 134 w 136"/>
                  <a:gd name="T61" fmla="*/ 28 h 40"/>
                  <a:gd name="T62" fmla="*/ 135 w 136"/>
                  <a:gd name="T63" fmla="*/ 31 h 40"/>
                  <a:gd name="T64" fmla="*/ 136 w 136"/>
                  <a:gd name="T65" fmla="*/ 33 h 40"/>
                  <a:gd name="T66" fmla="*/ 136 w 136"/>
                  <a:gd name="T67" fmla="*/ 36 h 40"/>
                  <a:gd name="T68" fmla="*/ 136 w 136"/>
                  <a:gd name="T69" fmla="*/ 39 h 40"/>
                  <a:gd name="T70" fmla="*/ 134 w 136"/>
                  <a:gd name="T71" fmla="*/ 40 h 40"/>
                  <a:gd name="T72" fmla="*/ 129 w 136"/>
                  <a:gd name="T73" fmla="*/ 40 h 40"/>
                  <a:gd name="T74" fmla="*/ 125 w 136"/>
                  <a:gd name="T75" fmla="*/ 40 h 40"/>
                  <a:gd name="T76" fmla="*/ 118 w 136"/>
                  <a:gd name="T77" fmla="*/ 40 h 40"/>
                  <a:gd name="T78" fmla="*/ 112 w 136"/>
                  <a:gd name="T79" fmla="*/ 39 h 40"/>
                  <a:gd name="T80" fmla="*/ 103 w 136"/>
                  <a:gd name="T81" fmla="*/ 39 h 40"/>
                  <a:gd name="T82" fmla="*/ 96 w 136"/>
                  <a:gd name="T83" fmla="*/ 38 h 40"/>
                  <a:gd name="T84" fmla="*/ 91 w 136"/>
                  <a:gd name="T85" fmla="*/ 36 h 40"/>
                  <a:gd name="T86" fmla="*/ 87 w 136"/>
                  <a:gd name="T87" fmla="*/ 36 h 40"/>
                  <a:gd name="T88" fmla="*/ 85 w 136"/>
                  <a:gd name="T89" fmla="*/ 36 h 40"/>
                  <a:gd name="T90" fmla="*/ 59 w 136"/>
                  <a:gd name="T91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6" h="40">
                    <a:moveTo>
                      <a:pt x="59" y="28"/>
                    </a:moveTo>
                    <a:lnTo>
                      <a:pt x="26" y="28"/>
                    </a:lnTo>
                    <a:lnTo>
                      <a:pt x="0" y="14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9" y="0"/>
                    </a:lnTo>
                    <a:lnTo>
                      <a:pt x="25" y="0"/>
                    </a:lnTo>
                    <a:lnTo>
                      <a:pt x="29" y="2"/>
                    </a:lnTo>
                    <a:lnTo>
                      <a:pt x="68" y="10"/>
                    </a:lnTo>
                    <a:lnTo>
                      <a:pt x="68" y="10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9" y="9"/>
                    </a:lnTo>
                    <a:lnTo>
                      <a:pt x="84" y="9"/>
                    </a:lnTo>
                    <a:lnTo>
                      <a:pt x="90" y="9"/>
                    </a:lnTo>
                    <a:lnTo>
                      <a:pt x="95" y="10"/>
                    </a:lnTo>
                    <a:lnTo>
                      <a:pt x="101" y="11"/>
                    </a:lnTo>
                    <a:lnTo>
                      <a:pt x="106" y="14"/>
                    </a:lnTo>
                    <a:lnTo>
                      <a:pt x="112" y="17"/>
                    </a:lnTo>
                    <a:lnTo>
                      <a:pt x="117" y="18"/>
                    </a:lnTo>
                    <a:lnTo>
                      <a:pt x="121" y="21"/>
                    </a:lnTo>
                    <a:lnTo>
                      <a:pt x="127" y="22"/>
                    </a:lnTo>
                    <a:lnTo>
                      <a:pt x="129" y="24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4" y="25"/>
                    </a:lnTo>
                    <a:lnTo>
                      <a:pt x="134" y="28"/>
                    </a:lnTo>
                    <a:lnTo>
                      <a:pt x="135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6" y="39"/>
                    </a:lnTo>
                    <a:lnTo>
                      <a:pt x="134" y="40"/>
                    </a:lnTo>
                    <a:lnTo>
                      <a:pt x="129" y="40"/>
                    </a:lnTo>
                    <a:lnTo>
                      <a:pt x="125" y="40"/>
                    </a:lnTo>
                    <a:lnTo>
                      <a:pt x="118" y="40"/>
                    </a:lnTo>
                    <a:lnTo>
                      <a:pt x="112" y="39"/>
                    </a:lnTo>
                    <a:lnTo>
                      <a:pt x="103" y="39"/>
                    </a:lnTo>
                    <a:lnTo>
                      <a:pt x="96" y="38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5" y="36"/>
                    </a:lnTo>
                    <a:lnTo>
                      <a:pt x="59" y="28"/>
                    </a:lnTo>
                    <a:close/>
                  </a:path>
                </a:pathLst>
              </a:custGeom>
              <a:grpFill/>
              <a:ln w="9525">
                <a:solidFill>
                  <a:srgbClr val="087AC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8" name="Freeform 127"/>
              <p:cNvSpPr>
                <a:spLocks/>
              </p:cNvSpPr>
              <p:nvPr/>
            </p:nvSpPr>
            <p:spPr bwMode="auto">
              <a:xfrm>
                <a:off x="4307" y="3028"/>
                <a:ext cx="136" cy="40"/>
              </a:xfrm>
              <a:custGeom>
                <a:avLst/>
                <a:gdLst>
                  <a:gd name="T0" fmla="*/ 59 w 136"/>
                  <a:gd name="T1" fmla="*/ 28 h 40"/>
                  <a:gd name="T2" fmla="*/ 26 w 136"/>
                  <a:gd name="T3" fmla="*/ 28 h 40"/>
                  <a:gd name="T4" fmla="*/ 0 w 136"/>
                  <a:gd name="T5" fmla="*/ 14 h 40"/>
                  <a:gd name="T6" fmla="*/ 2 w 136"/>
                  <a:gd name="T7" fmla="*/ 6 h 40"/>
                  <a:gd name="T8" fmla="*/ 3 w 136"/>
                  <a:gd name="T9" fmla="*/ 6 h 40"/>
                  <a:gd name="T10" fmla="*/ 4 w 136"/>
                  <a:gd name="T11" fmla="*/ 5 h 40"/>
                  <a:gd name="T12" fmla="*/ 7 w 136"/>
                  <a:gd name="T13" fmla="*/ 3 h 40"/>
                  <a:gd name="T14" fmla="*/ 11 w 136"/>
                  <a:gd name="T15" fmla="*/ 2 h 40"/>
                  <a:gd name="T16" fmla="*/ 15 w 136"/>
                  <a:gd name="T17" fmla="*/ 2 h 40"/>
                  <a:gd name="T18" fmla="*/ 19 w 136"/>
                  <a:gd name="T19" fmla="*/ 0 h 40"/>
                  <a:gd name="T20" fmla="*/ 25 w 136"/>
                  <a:gd name="T21" fmla="*/ 0 h 40"/>
                  <a:gd name="T22" fmla="*/ 29 w 136"/>
                  <a:gd name="T23" fmla="*/ 2 h 40"/>
                  <a:gd name="T24" fmla="*/ 68 w 136"/>
                  <a:gd name="T25" fmla="*/ 10 h 40"/>
                  <a:gd name="T26" fmla="*/ 70 w 136"/>
                  <a:gd name="T27" fmla="*/ 10 h 40"/>
                  <a:gd name="T28" fmla="*/ 74 w 136"/>
                  <a:gd name="T29" fmla="*/ 10 h 40"/>
                  <a:gd name="T30" fmla="*/ 79 w 136"/>
                  <a:gd name="T31" fmla="*/ 9 h 40"/>
                  <a:gd name="T32" fmla="*/ 84 w 136"/>
                  <a:gd name="T33" fmla="*/ 9 h 40"/>
                  <a:gd name="T34" fmla="*/ 90 w 136"/>
                  <a:gd name="T35" fmla="*/ 9 h 40"/>
                  <a:gd name="T36" fmla="*/ 95 w 136"/>
                  <a:gd name="T37" fmla="*/ 10 h 40"/>
                  <a:gd name="T38" fmla="*/ 101 w 136"/>
                  <a:gd name="T39" fmla="*/ 11 h 40"/>
                  <a:gd name="T40" fmla="*/ 106 w 136"/>
                  <a:gd name="T41" fmla="*/ 14 h 40"/>
                  <a:gd name="T42" fmla="*/ 112 w 136"/>
                  <a:gd name="T43" fmla="*/ 17 h 40"/>
                  <a:gd name="T44" fmla="*/ 117 w 136"/>
                  <a:gd name="T45" fmla="*/ 18 h 40"/>
                  <a:gd name="T46" fmla="*/ 121 w 136"/>
                  <a:gd name="T47" fmla="*/ 21 h 40"/>
                  <a:gd name="T48" fmla="*/ 127 w 136"/>
                  <a:gd name="T49" fmla="*/ 22 h 40"/>
                  <a:gd name="T50" fmla="*/ 129 w 136"/>
                  <a:gd name="T51" fmla="*/ 24 h 40"/>
                  <a:gd name="T52" fmla="*/ 132 w 136"/>
                  <a:gd name="T53" fmla="*/ 25 h 40"/>
                  <a:gd name="T54" fmla="*/ 134 w 136"/>
                  <a:gd name="T55" fmla="*/ 25 h 40"/>
                  <a:gd name="T56" fmla="*/ 134 w 136"/>
                  <a:gd name="T57" fmla="*/ 28 h 40"/>
                  <a:gd name="T58" fmla="*/ 135 w 136"/>
                  <a:gd name="T59" fmla="*/ 31 h 40"/>
                  <a:gd name="T60" fmla="*/ 136 w 136"/>
                  <a:gd name="T61" fmla="*/ 33 h 40"/>
                  <a:gd name="T62" fmla="*/ 136 w 136"/>
                  <a:gd name="T63" fmla="*/ 36 h 40"/>
                  <a:gd name="T64" fmla="*/ 136 w 136"/>
                  <a:gd name="T65" fmla="*/ 39 h 40"/>
                  <a:gd name="T66" fmla="*/ 134 w 136"/>
                  <a:gd name="T67" fmla="*/ 40 h 40"/>
                  <a:gd name="T68" fmla="*/ 129 w 136"/>
                  <a:gd name="T69" fmla="*/ 40 h 40"/>
                  <a:gd name="T70" fmla="*/ 125 w 136"/>
                  <a:gd name="T71" fmla="*/ 40 h 40"/>
                  <a:gd name="T72" fmla="*/ 118 w 136"/>
                  <a:gd name="T73" fmla="*/ 40 h 40"/>
                  <a:gd name="T74" fmla="*/ 112 w 136"/>
                  <a:gd name="T75" fmla="*/ 39 h 40"/>
                  <a:gd name="T76" fmla="*/ 103 w 136"/>
                  <a:gd name="T77" fmla="*/ 39 h 40"/>
                  <a:gd name="T78" fmla="*/ 96 w 136"/>
                  <a:gd name="T79" fmla="*/ 38 h 40"/>
                  <a:gd name="T80" fmla="*/ 91 w 136"/>
                  <a:gd name="T81" fmla="*/ 36 h 40"/>
                  <a:gd name="T82" fmla="*/ 87 w 136"/>
                  <a:gd name="T83" fmla="*/ 36 h 40"/>
                  <a:gd name="T84" fmla="*/ 85 w 136"/>
                  <a:gd name="T85" fmla="*/ 36 h 40"/>
                  <a:gd name="T86" fmla="*/ 59 w 136"/>
                  <a:gd name="T87" fmla="*/ 2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40">
                    <a:moveTo>
                      <a:pt x="59" y="28"/>
                    </a:moveTo>
                    <a:lnTo>
                      <a:pt x="26" y="28"/>
                    </a:lnTo>
                    <a:lnTo>
                      <a:pt x="0" y="14"/>
                    </a:lnTo>
                    <a:lnTo>
                      <a:pt x="2" y="6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7" y="3"/>
                    </a:lnTo>
                    <a:lnTo>
                      <a:pt x="11" y="2"/>
                    </a:lnTo>
                    <a:lnTo>
                      <a:pt x="15" y="2"/>
                    </a:lnTo>
                    <a:lnTo>
                      <a:pt x="19" y="0"/>
                    </a:lnTo>
                    <a:lnTo>
                      <a:pt x="25" y="0"/>
                    </a:lnTo>
                    <a:lnTo>
                      <a:pt x="29" y="2"/>
                    </a:lnTo>
                    <a:lnTo>
                      <a:pt x="68" y="10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9" y="9"/>
                    </a:lnTo>
                    <a:lnTo>
                      <a:pt x="84" y="9"/>
                    </a:lnTo>
                    <a:lnTo>
                      <a:pt x="90" y="9"/>
                    </a:lnTo>
                    <a:lnTo>
                      <a:pt x="95" y="10"/>
                    </a:lnTo>
                    <a:lnTo>
                      <a:pt x="101" y="11"/>
                    </a:lnTo>
                    <a:lnTo>
                      <a:pt x="106" y="14"/>
                    </a:lnTo>
                    <a:lnTo>
                      <a:pt x="112" y="17"/>
                    </a:lnTo>
                    <a:lnTo>
                      <a:pt x="117" y="18"/>
                    </a:lnTo>
                    <a:lnTo>
                      <a:pt x="121" y="21"/>
                    </a:lnTo>
                    <a:lnTo>
                      <a:pt x="127" y="22"/>
                    </a:lnTo>
                    <a:lnTo>
                      <a:pt x="129" y="24"/>
                    </a:lnTo>
                    <a:lnTo>
                      <a:pt x="132" y="25"/>
                    </a:lnTo>
                    <a:lnTo>
                      <a:pt x="134" y="25"/>
                    </a:lnTo>
                    <a:lnTo>
                      <a:pt x="134" y="28"/>
                    </a:lnTo>
                    <a:lnTo>
                      <a:pt x="135" y="31"/>
                    </a:lnTo>
                    <a:lnTo>
                      <a:pt x="136" y="33"/>
                    </a:lnTo>
                    <a:lnTo>
                      <a:pt x="136" y="36"/>
                    </a:lnTo>
                    <a:lnTo>
                      <a:pt x="136" y="39"/>
                    </a:lnTo>
                    <a:lnTo>
                      <a:pt x="134" y="40"/>
                    </a:lnTo>
                    <a:lnTo>
                      <a:pt x="129" y="40"/>
                    </a:lnTo>
                    <a:lnTo>
                      <a:pt x="125" y="40"/>
                    </a:lnTo>
                    <a:lnTo>
                      <a:pt x="118" y="40"/>
                    </a:lnTo>
                    <a:lnTo>
                      <a:pt x="112" y="39"/>
                    </a:lnTo>
                    <a:lnTo>
                      <a:pt x="103" y="39"/>
                    </a:lnTo>
                    <a:lnTo>
                      <a:pt x="96" y="38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5" y="36"/>
                    </a:lnTo>
                    <a:lnTo>
                      <a:pt x="59" y="28"/>
                    </a:lnTo>
                  </a:path>
                </a:pathLst>
              </a:custGeom>
              <a:grpFill/>
              <a:ln w="0">
                <a:solidFill>
                  <a:srgbClr val="087AC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de-DE" sz="18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652" name="Freeform 128"/>
            <p:cNvSpPr>
              <a:spLocks/>
            </p:cNvSpPr>
            <p:nvPr/>
          </p:nvSpPr>
          <p:spPr bwMode="auto">
            <a:xfrm>
              <a:off x="4347" y="2283"/>
              <a:ext cx="57" cy="28"/>
            </a:xfrm>
            <a:custGeom>
              <a:avLst/>
              <a:gdLst>
                <a:gd name="T0" fmla="*/ 19 w 70"/>
                <a:gd name="T1" fmla="*/ 30 h 34"/>
                <a:gd name="T2" fmla="*/ 0 w 70"/>
                <a:gd name="T3" fmla="*/ 34 h 34"/>
                <a:gd name="T4" fmla="*/ 2 w 70"/>
                <a:gd name="T5" fmla="*/ 22 h 34"/>
                <a:gd name="T6" fmla="*/ 2 w 70"/>
                <a:gd name="T7" fmla="*/ 22 h 34"/>
                <a:gd name="T8" fmla="*/ 4 w 70"/>
                <a:gd name="T9" fmla="*/ 19 h 34"/>
                <a:gd name="T10" fmla="*/ 8 w 70"/>
                <a:gd name="T11" fmla="*/ 16 h 34"/>
                <a:gd name="T12" fmla="*/ 13 w 70"/>
                <a:gd name="T13" fmla="*/ 14 h 34"/>
                <a:gd name="T14" fmla="*/ 17 w 70"/>
                <a:gd name="T15" fmla="*/ 11 h 34"/>
                <a:gd name="T16" fmla="*/ 22 w 70"/>
                <a:gd name="T17" fmla="*/ 8 h 34"/>
                <a:gd name="T18" fmla="*/ 26 w 70"/>
                <a:gd name="T19" fmla="*/ 7 h 34"/>
                <a:gd name="T20" fmla="*/ 30 w 70"/>
                <a:gd name="T21" fmla="*/ 7 h 34"/>
                <a:gd name="T22" fmla="*/ 35 w 70"/>
                <a:gd name="T23" fmla="*/ 7 h 34"/>
                <a:gd name="T24" fmla="*/ 39 w 70"/>
                <a:gd name="T25" fmla="*/ 7 h 34"/>
                <a:gd name="T26" fmla="*/ 44 w 70"/>
                <a:gd name="T27" fmla="*/ 5 h 34"/>
                <a:gd name="T28" fmla="*/ 48 w 70"/>
                <a:gd name="T29" fmla="*/ 4 h 34"/>
                <a:gd name="T30" fmla="*/ 52 w 70"/>
                <a:gd name="T31" fmla="*/ 3 h 34"/>
                <a:gd name="T32" fmla="*/ 57 w 70"/>
                <a:gd name="T33" fmla="*/ 1 h 34"/>
                <a:gd name="T34" fmla="*/ 58 w 70"/>
                <a:gd name="T35" fmla="*/ 1 h 34"/>
                <a:gd name="T36" fmla="*/ 59 w 70"/>
                <a:gd name="T37" fmla="*/ 0 h 34"/>
                <a:gd name="T38" fmla="*/ 59 w 70"/>
                <a:gd name="T39" fmla="*/ 0 h 34"/>
                <a:gd name="T40" fmla="*/ 61 w 70"/>
                <a:gd name="T41" fmla="*/ 0 h 34"/>
                <a:gd name="T42" fmla="*/ 63 w 70"/>
                <a:gd name="T43" fmla="*/ 0 h 34"/>
                <a:gd name="T44" fmla="*/ 65 w 70"/>
                <a:gd name="T45" fmla="*/ 0 h 34"/>
                <a:gd name="T46" fmla="*/ 68 w 70"/>
                <a:gd name="T47" fmla="*/ 0 h 34"/>
                <a:gd name="T48" fmla="*/ 69 w 70"/>
                <a:gd name="T49" fmla="*/ 1 h 34"/>
                <a:gd name="T50" fmla="*/ 70 w 70"/>
                <a:gd name="T51" fmla="*/ 3 h 34"/>
                <a:gd name="T52" fmla="*/ 70 w 70"/>
                <a:gd name="T53" fmla="*/ 4 h 34"/>
                <a:gd name="T54" fmla="*/ 69 w 70"/>
                <a:gd name="T55" fmla="*/ 7 h 34"/>
                <a:gd name="T56" fmla="*/ 66 w 70"/>
                <a:gd name="T57" fmla="*/ 8 h 34"/>
                <a:gd name="T58" fmla="*/ 63 w 70"/>
                <a:gd name="T59" fmla="*/ 11 h 34"/>
                <a:gd name="T60" fmla="*/ 59 w 70"/>
                <a:gd name="T61" fmla="*/ 12 h 34"/>
                <a:gd name="T62" fmla="*/ 55 w 70"/>
                <a:gd name="T63" fmla="*/ 14 h 34"/>
                <a:gd name="T64" fmla="*/ 52 w 70"/>
                <a:gd name="T65" fmla="*/ 15 h 34"/>
                <a:gd name="T66" fmla="*/ 50 w 70"/>
                <a:gd name="T67" fmla="*/ 16 h 34"/>
                <a:gd name="T68" fmla="*/ 48 w 70"/>
                <a:gd name="T69" fmla="*/ 16 h 34"/>
                <a:gd name="T70" fmla="*/ 19 w 70"/>
                <a:gd name="T71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0" h="34">
                  <a:moveTo>
                    <a:pt x="19" y="30"/>
                  </a:moveTo>
                  <a:lnTo>
                    <a:pt x="0" y="3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19"/>
                  </a:lnTo>
                  <a:lnTo>
                    <a:pt x="8" y="16"/>
                  </a:lnTo>
                  <a:lnTo>
                    <a:pt x="13" y="14"/>
                  </a:lnTo>
                  <a:lnTo>
                    <a:pt x="17" y="11"/>
                  </a:lnTo>
                  <a:lnTo>
                    <a:pt x="22" y="8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44" y="5"/>
                  </a:lnTo>
                  <a:lnTo>
                    <a:pt x="48" y="4"/>
                  </a:lnTo>
                  <a:lnTo>
                    <a:pt x="52" y="3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70" y="3"/>
                  </a:lnTo>
                  <a:lnTo>
                    <a:pt x="70" y="4"/>
                  </a:lnTo>
                  <a:lnTo>
                    <a:pt x="69" y="7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59" y="12"/>
                  </a:lnTo>
                  <a:lnTo>
                    <a:pt x="55" y="14"/>
                  </a:lnTo>
                  <a:lnTo>
                    <a:pt x="52" y="15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19" y="3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3" name="Freeform 129"/>
            <p:cNvSpPr>
              <a:spLocks/>
            </p:cNvSpPr>
            <p:nvPr/>
          </p:nvSpPr>
          <p:spPr bwMode="auto">
            <a:xfrm>
              <a:off x="4347" y="2283"/>
              <a:ext cx="57" cy="28"/>
            </a:xfrm>
            <a:custGeom>
              <a:avLst/>
              <a:gdLst>
                <a:gd name="T0" fmla="*/ 19 w 70"/>
                <a:gd name="T1" fmla="*/ 30 h 34"/>
                <a:gd name="T2" fmla="*/ 0 w 70"/>
                <a:gd name="T3" fmla="*/ 34 h 34"/>
                <a:gd name="T4" fmla="*/ 2 w 70"/>
                <a:gd name="T5" fmla="*/ 22 h 34"/>
                <a:gd name="T6" fmla="*/ 4 w 70"/>
                <a:gd name="T7" fmla="*/ 19 h 34"/>
                <a:gd name="T8" fmla="*/ 8 w 70"/>
                <a:gd name="T9" fmla="*/ 16 h 34"/>
                <a:gd name="T10" fmla="*/ 13 w 70"/>
                <a:gd name="T11" fmla="*/ 14 h 34"/>
                <a:gd name="T12" fmla="*/ 17 w 70"/>
                <a:gd name="T13" fmla="*/ 11 h 34"/>
                <a:gd name="T14" fmla="*/ 22 w 70"/>
                <a:gd name="T15" fmla="*/ 8 h 34"/>
                <a:gd name="T16" fmla="*/ 26 w 70"/>
                <a:gd name="T17" fmla="*/ 7 h 34"/>
                <a:gd name="T18" fmla="*/ 30 w 70"/>
                <a:gd name="T19" fmla="*/ 7 h 34"/>
                <a:gd name="T20" fmla="*/ 35 w 70"/>
                <a:gd name="T21" fmla="*/ 7 h 34"/>
                <a:gd name="T22" fmla="*/ 39 w 70"/>
                <a:gd name="T23" fmla="*/ 7 h 34"/>
                <a:gd name="T24" fmla="*/ 44 w 70"/>
                <a:gd name="T25" fmla="*/ 5 h 34"/>
                <a:gd name="T26" fmla="*/ 48 w 70"/>
                <a:gd name="T27" fmla="*/ 4 h 34"/>
                <a:gd name="T28" fmla="*/ 52 w 70"/>
                <a:gd name="T29" fmla="*/ 3 h 34"/>
                <a:gd name="T30" fmla="*/ 57 w 70"/>
                <a:gd name="T31" fmla="*/ 1 h 34"/>
                <a:gd name="T32" fmla="*/ 58 w 70"/>
                <a:gd name="T33" fmla="*/ 1 h 34"/>
                <a:gd name="T34" fmla="*/ 59 w 70"/>
                <a:gd name="T35" fmla="*/ 0 h 34"/>
                <a:gd name="T36" fmla="*/ 61 w 70"/>
                <a:gd name="T37" fmla="*/ 0 h 34"/>
                <a:gd name="T38" fmla="*/ 63 w 70"/>
                <a:gd name="T39" fmla="*/ 0 h 34"/>
                <a:gd name="T40" fmla="*/ 65 w 70"/>
                <a:gd name="T41" fmla="*/ 0 h 34"/>
                <a:gd name="T42" fmla="*/ 68 w 70"/>
                <a:gd name="T43" fmla="*/ 0 h 34"/>
                <a:gd name="T44" fmla="*/ 69 w 70"/>
                <a:gd name="T45" fmla="*/ 1 h 34"/>
                <a:gd name="T46" fmla="*/ 70 w 70"/>
                <a:gd name="T47" fmla="*/ 3 h 34"/>
                <a:gd name="T48" fmla="*/ 70 w 70"/>
                <a:gd name="T49" fmla="*/ 4 h 34"/>
                <a:gd name="T50" fmla="*/ 69 w 70"/>
                <a:gd name="T51" fmla="*/ 7 h 34"/>
                <a:gd name="T52" fmla="*/ 66 w 70"/>
                <a:gd name="T53" fmla="*/ 8 h 34"/>
                <a:gd name="T54" fmla="*/ 63 w 70"/>
                <a:gd name="T55" fmla="*/ 11 h 34"/>
                <a:gd name="T56" fmla="*/ 59 w 70"/>
                <a:gd name="T57" fmla="*/ 12 h 34"/>
                <a:gd name="T58" fmla="*/ 55 w 70"/>
                <a:gd name="T59" fmla="*/ 14 h 34"/>
                <a:gd name="T60" fmla="*/ 52 w 70"/>
                <a:gd name="T61" fmla="*/ 15 h 34"/>
                <a:gd name="T62" fmla="*/ 50 w 70"/>
                <a:gd name="T63" fmla="*/ 16 h 34"/>
                <a:gd name="T64" fmla="*/ 48 w 70"/>
                <a:gd name="T65" fmla="*/ 16 h 34"/>
                <a:gd name="T66" fmla="*/ 19 w 70"/>
                <a:gd name="T67" fmla="*/ 3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0" h="34">
                  <a:moveTo>
                    <a:pt x="19" y="30"/>
                  </a:moveTo>
                  <a:lnTo>
                    <a:pt x="0" y="34"/>
                  </a:lnTo>
                  <a:lnTo>
                    <a:pt x="2" y="22"/>
                  </a:lnTo>
                  <a:lnTo>
                    <a:pt x="4" y="19"/>
                  </a:lnTo>
                  <a:lnTo>
                    <a:pt x="8" y="16"/>
                  </a:lnTo>
                  <a:lnTo>
                    <a:pt x="13" y="14"/>
                  </a:lnTo>
                  <a:lnTo>
                    <a:pt x="17" y="11"/>
                  </a:lnTo>
                  <a:lnTo>
                    <a:pt x="22" y="8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44" y="5"/>
                  </a:lnTo>
                  <a:lnTo>
                    <a:pt x="48" y="4"/>
                  </a:lnTo>
                  <a:lnTo>
                    <a:pt x="52" y="3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8" y="0"/>
                  </a:lnTo>
                  <a:lnTo>
                    <a:pt x="69" y="1"/>
                  </a:lnTo>
                  <a:lnTo>
                    <a:pt x="70" y="3"/>
                  </a:lnTo>
                  <a:lnTo>
                    <a:pt x="70" y="4"/>
                  </a:lnTo>
                  <a:lnTo>
                    <a:pt x="69" y="7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59" y="12"/>
                  </a:lnTo>
                  <a:lnTo>
                    <a:pt x="55" y="14"/>
                  </a:lnTo>
                  <a:lnTo>
                    <a:pt x="52" y="15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19" y="3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4" name="Freeform 130"/>
            <p:cNvSpPr>
              <a:spLocks/>
            </p:cNvSpPr>
            <p:nvPr/>
          </p:nvSpPr>
          <p:spPr bwMode="auto">
            <a:xfrm>
              <a:off x="2019" y="2323"/>
              <a:ext cx="169" cy="197"/>
            </a:xfrm>
            <a:custGeom>
              <a:avLst/>
              <a:gdLst>
                <a:gd name="T0" fmla="*/ 2 w 210"/>
                <a:gd name="T1" fmla="*/ 113 h 244"/>
                <a:gd name="T2" fmla="*/ 3 w 210"/>
                <a:gd name="T3" fmla="*/ 113 h 244"/>
                <a:gd name="T4" fmla="*/ 13 w 210"/>
                <a:gd name="T5" fmla="*/ 106 h 244"/>
                <a:gd name="T6" fmla="*/ 28 w 210"/>
                <a:gd name="T7" fmla="*/ 99 h 244"/>
                <a:gd name="T8" fmla="*/ 33 w 210"/>
                <a:gd name="T9" fmla="*/ 91 h 244"/>
                <a:gd name="T10" fmla="*/ 29 w 210"/>
                <a:gd name="T11" fmla="*/ 81 h 244"/>
                <a:gd name="T12" fmla="*/ 28 w 210"/>
                <a:gd name="T13" fmla="*/ 70 h 244"/>
                <a:gd name="T14" fmla="*/ 32 w 210"/>
                <a:gd name="T15" fmla="*/ 55 h 244"/>
                <a:gd name="T16" fmla="*/ 32 w 210"/>
                <a:gd name="T17" fmla="*/ 47 h 244"/>
                <a:gd name="T18" fmla="*/ 31 w 210"/>
                <a:gd name="T19" fmla="*/ 44 h 244"/>
                <a:gd name="T20" fmla="*/ 42 w 210"/>
                <a:gd name="T21" fmla="*/ 24 h 244"/>
                <a:gd name="T22" fmla="*/ 50 w 210"/>
                <a:gd name="T23" fmla="*/ 18 h 244"/>
                <a:gd name="T24" fmla="*/ 55 w 210"/>
                <a:gd name="T25" fmla="*/ 11 h 244"/>
                <a:gd name="T26" fmla="*/ 65 w 210"/>
                <a:gd name="T27" fmla="*/ 6 h 244"/>
                <a:gd name="T28" fmla="*/ 73 w 210"/>
                <a:gd name="T29" fmla="*/ 7 h 244"/>
                <a:gd name="T30" fmla="*/ 77 w 210"/>
                <a:gd name="T31" fmla="*/ 5 h 244"/>
                <a:gd name="T32" fmla="*/ 82 w 210"/>
                <a:gd name="T33" fmla="*/ 0 h 244"/>
                <a:gd name="T34" fmla="*/ 87 w 210"/>
                <a:gd name="T35" fmla="*/ 2 h 244"/>
                <a:gd name="T36" fmla="*/ 87 w 210"/>
                <a:gd name="T37" fmla="*/ 10 h 244"/>
                <a:gd name="T38" fmla="*/ 87 w 210"/>
                <a:gd name="T39" fmla="*/ 32 h 244"/>
                <a:gd name="T40" fmla="*/ 116 w 210"/>
                <a:gd name="T41" fmla="*/ 55 h 244"/>
                <a:gd name="T42" fmla="*/ 130 w 210"/>
                <a:gd name="T43" fmla="*/ 59 h 244"/>
                <a:gd name="T44" fmla="*/ 141 w 210"/>
                <a:gd name="T45" fmla="*/ 72 h 244"/>
                <a:gd name="T46" fmla="*/ 154 w 210"/>
                <a:gd name="T47" fmla="*/ 80 h 244"/>
                <a:gd name="T48" fmla="*/ 170 w 210"/>
                <a:gd name="T49" fmla="*/ 101 h 244"/>
                <a:gd name="T50" fmla="*/ 197 w 210"/>
                <a:gd name="T51" fmla="*/ 110 h 244"/>
                <a:gd name="T52" fmla="*/ 197 w 210"/>
                <a:gd name="T53" fmla="*/ 121 h 244"/>
                <a:gd name="T54" fmla="*/ 200 w 210"/>
                <a:gd name="T55" fmla="*/ 125 h 244"/>
                <a:gd name="T56" fmla="*/ 207 w 210"/>
                <a:gd name="T57" fmla="*/ 131 h 244"/>
                <a:gd name="T58" fmla="*/ 210 w 210"/>
                <a:gd name="T59" fmla="*/ 147 h 244"/>
                <a:gd name="T60" fmla="*/ 208 w 210"/>
                <a:gd name="T61" fmla="*/ 183 h 244"/>
                <a:gd name="T62" fmla="*/ 201 w 210"/>
                <a:gd name="T63" fmla="*/ 190 h 244"/>
                <a:gd name="T64" fmla="*/ 179 w 210"/>
                <a:gd name="T65" fmla="*/ 176 h 244"/>
                <a:gd name="T66" fmla="*/ 157 w 210"/>
                <a:gd name="T67" fmla="*/ 180 h 244"/>
                <a:gd name="T68" fmla="*/ 138 w 210"/>
                <a:gd name="T69" fmla="*/ 200 h 244"/>
                <a:gd name="T70" fmla="*/ 128 w 210"/>
                <a:gd name="T71" fmla="*/ 227 h 244"/>
                <a:gd name="T72" fmla="*/ 119 w 210"/>
                <a:gd name="T73" fmla="*/ 222 h 244"/>
                <a:gd name="T74" fmla="*/ 98 w 210"/>
                <a:gd name="T75" fmla="*/ 238 h 244"/>
                <a:gd name="T76" fmla="*/ 98 w 210"/>
                <a:gd name="T77" fmla="*/ 231 h 244"/>
                <a:gd name="T78" fmla="*/ 88 w 210"/>
                <a:gd name="T79" fmla="*/ 223 h 244"/>
                <a:gd name="T80" fmla="*/ 66 w 210"/>
                <a:gd name="T81" fmla="*/ 226 h 244"/>
                <a:gd name="T82" fmla="*/ 58 w 210"/>
                <a:gd name="T83" fmla="*/ 237 h 244"/>
                <a:gd name="T84" fmla="*/ 54 w 210"/>
                <a:gd name="T85" fmla="*/ 241 h 244"/>
                <a:gd name="T86" fmla="*/ 47 w 210"/>
                <a:gd name="T87" fmla="*/ 242 h 244"/>
                <a:gd name="T88" fmla="*/ 36 w 210"/>
                <a:gd name="T89" fmla="*/ 190 h 244"/>
                <a:gd name="T90" fmla="*/ 33 w 210"/>
                <a:gd name="T91" fmla="*/ 174 h 244"/>
                <a:gd name="T92" fmla="*/ 14 w 210"/>
                <a:gd name="T93" fmla="*/ 145 h 244"/>
                <a:gd name="T94" fmla="*/ 7 w 210"/>
                <a:gd name="T95" fmla="*/ 136 h 244"/>
                <a:gd name="T96" fmla="*/ 0 w 210"/>
                <a:gd name="T97" fmla="*/ 114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0" h="244">
                  <a:moveTo>
                    <a:pt x="0" y="114"/>
                  </a:moveTo>
                  <a:lnTo>
                    <a:pt x="0" y="114"/>
                  </a:lnTo>
                  <a:lnTo>
                    <a:pt x="0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2"/>
                  </a:lnTo>
                  <a:lnTo>
                    <a:pt x="6" y="110"/>
                  </a:lnTo>
                  <a:lnTo>
                    <a:pt x="9" y="109"/>
                  </a:lnTo>
                  <a:lnTo>
                    <a:pt x="13" y="106"/>
                  </a:lnTo>
                  <a:lnTo>
                    <a:pt x="17" y="105"/>
                  </a:lnTo>
                  <a:lnTo>
                    <a:pt x="22" y="102"/>
                  </a:lnTo>
                  <a:lnTo>
                    <a:pt x="25" y="101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32" y="97"/>
                  </a:lnTo>
                  <a:lnTo>
                    <a:pt x="33" y="94"/>
                  </a:lnTo>
                  <a:lnTo>
                    <a:pt x="33" y="91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1" y="83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79"/>
                  </a:lnTo>
                  <a:lnTo>
                    <a:pt x="28" y="75"/>
                  </a:lnTo>
                  <a:lnTo>
                    <a:pt x="28" y="70"/>
                  </a:lnTo>
                  <a:lnTo>
                    <a:pt x="29" y="65"/>
                  </a:lnTo>
                  <a:lnTo>
                    <a:pt x="29" y="61"/>
                  </a:lnTo>
                  <a:lnTo>
                    <a:pt x="31" y="58"/>
                  </a:lnTo>
                  <a:lnTo>
                    <a:pt x="32" y="55"/>
                  </a:lnTo>
                  <a:lnTo>
                    <a:pt x="32" y="54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0" y="25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7" y="20"/>
                  </a:lnTo>
                  <a:lnTo>
                    <a:pt x="50" y="18"/>
                  </a:lnTo>
                  <a:lnTo>
                    <a:pt x="51" y="17"/>
                  </a:lnTo>
                  <a:lnTo>
                    <a:pt x="54" y="16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0" y="9"/>
                  </a:lnTo>
                  <a:lnTo>
                    <a:pt x="62" y="7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7" y="5"/>
                  </a:lnTo>
                  <a:lnTo>
                    <a:pt x="79" y="3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9"/>
                  </a:lnTo>
                  <a:lnTo>
                    <a:pt x="87" y="10"/>
                  </a:lnTo>
                  <a:lnTo>
                    <a:pt x="87" y="13"/>
                  </a:lnTo>
                  <a:lnTo>
                    <a:pt x="86" y="18"/>
                  </a:lnTo>
                  <a:lnTo>
                    <a:pt x="86" y="25"/>
                  </a:lnTo>
                  <a:lnTo>
                    <a:pt x="87" y="32"/>
                  </a:lnTo>
                  <a:lnTo>
                    <a:pt x="90" y="39"/>
                  </a:lnTo>
                  <a:lnTo>
                    <a:pt x="94" y="46"/>
                  </a:lnTo>
                  <a:lnTo>
                    <a:pt x="101" y="51"/>
                  </a:lnTo>
                  <a:lnTo>
                    <a:pt x="116" y="55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30" y="57"/>
                  </a:lnTo>
                  <a:lnTo>
                    <a:pt x="130" y="59"/>
                  </a:lnTo>
                  <a:lnTo>
                    <a:pt x="132" y="62"/>
                  </a:lnTo>
                  <a:lnTo>
                    <a:pt x="134" y="66"/>
                  </a:lnTo>
                  <a:lnTo>
                    <a:pt x="137" y="69"/>
                  </a:lnTo>
                  <a:lnTo>
                    <a:pt x="141" y="72"/>
                  </a:lnTo>
                  <a:lnTo>
                    <a:pt x="146" y="75"/>
                  </a:lnTo>
                  <a:lnTo>
                    <a:pt x="148" y="76"/>
                  </a:lnTo>
                  <a:lnTo>
                    <a:pt x="150" y="77"/>
                  </a:lnTo>
                  <a:lnTo>
                    <a:pt x="154" y="80"/>
                  </a:lnTo>
                  <a:lnTo>
                    <a:pt x="159" y="84"/>
                  </a:lnTo>
                  <a:lnTo>
                    <a:pt x="163" y="90"/>
                  </a:lnTo>
                  <a:lnTo>
                    <a:pt x="167" y="94"/>
                  </a:lnTo>
                  <a:lnTo>
                    <a:pt x="170" y="101"/>
                  </a:lnTo>
                  <a:lnTo>
                    <a:pt x="171" y="106"/>
                  </a:lnTo>
                  <a:lnTo>
                    <a:pt x="199" y="108"/>
                  </a:lnTo>
                  <a:lnTo>
                    <a:pt x="199" y="108"/>
                  </a:lnTo>
                  <a:lnTo>
                    <a:pt x="197" y="110"/>
                  </a:lnTo>
                  <a:lnTo>
                    <a:pt x="197" y="112"/>
                  </a:lnTo>
                  <a:lnTo>
                    <a:pt x="197" y="116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7" y="124"/>
                  </a:lnTo>
                  <a:lnTo>
                    <a:pt x="199" y="125"/>
                  </a:lnTo>
                  <a:lnTo>
                    <a:pt x="199" y="125"/>
                  </a:lnTo>
                  <a:lnTo>
                    <a:pt x="200" y="125"/>
                  </a:lnTo>
                  <a:lnTo>
                    <a:pt x="203" y="125"/>
                  </a:lnTo>
                  <a:lnTo>
                    <a:pt x="204" y="127"/>
                  </a:lnTo>
                  <a:lnTo>
                    <a:pt x="205" y="128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10" y="139"/>
                  </a:lnTo>
                  <a:lnTo>
                    <a:pt x="210" y="141"/>
                  </a:lnTo>
                  <a:lnTo>
                    <a:pt x="210" y="147"/>
                  </a:lnTo>
                  <a:lnTo>
                    <a:pt x="210" y="156"/>
                  </a:lnTo>
                  <a:lnTo>
                    <a:pt x="210" y="165"/>
                  </a:lnTo>
                  <a:lnTo>
                    <a:pt x="208" y="175"/>
                  </a:lnTo>
                  <a:lnTo>
                    <a:pt x="208" y="183"/>
                  </a:lnTo>
                  <a:lnTo>
                    <a:pt x="207" y="190"/>
                  </a:lnTo>
                  <a:lnTo>
                    <a:pt x="205" y="194"/>
                  </a:lnTo>
                  <a:lnTo>
                    <a:pt x="204" y="193"/>
                  </a:lnTo>
                  <a:lnTo>
                    <a:pt x="201" y="190"/>
                  </a:lnTo>
                  <a:lnTo>
                    <a:pt x="197" y="186"/>
                  </a:lnTo>
                  <a:lnTo>
                    <a:pt x="193" y="182"/>
                  </a:lnTo>
                  <a:lnTo>
                    <a:pt x="186" y="179"/>
                  </a:lnTo>
                  <a:lnTo>
                    <a:pt x="179" y="176"/>
                  </a:lnTo>
                  <a:lnTo>
                    <a:pt x="171" y="175"/>
                  </a:lnTo>
                  <a:lnTo>
                    <a:pt x="161" y="178"/>
                  </a:lnTo>
                  <a:lnTo>
                    <a:pt x="160" y="178"/>
                  </a:lnTo>
                  <a:lnTo>
                    <a:pt x="157" y="180"/>
                  </a:lnTo>
                  <a:lnTo>
                    <a:pt x="153" y="183"/>
                  </a:lnTo>
                  <a:lnTo>
                    <a:pt x="149" y="187"/>
                  </a:lnTo>
                  <a:lnTo>
                    <a:pt x="143" y="193"/>
                  </a:lnTo>
                  <a:lnTo>
                    <a:pt x="138" y="200"/>
                  </a:lnTo>
                  <a:lnTo>
                    <a:pt x="135" y="208"/>
                  </a:lnTo>
                  <a:lnTo>
                    <a:pt x="132" y="216"/>
                  </a:lnTo>
                  <a:lnTo>
                    <a:pt x="128" y="229"/>
                  </a:lnTo>
                  <a:lnTo>
                    <a:pt x="128" y="227"/>
                  </a:lnTo>
                  <a:lnTo>
                    <a:pt x="127" y="226"/>
                  </a:lnTo>
                  <a:lnTo>
                    <a:pt x="126" y="224"/>
                  </a:lnTo>
                  <a:lnTo>
                    <a:pt x="121" y="223"/>
                  </a:lnTo>
                  <a:lnTo>
                    <a:pt x="119" y="222"/>
                  </a:lnTo>
                  <a:lnTo>
                    <a:pt x="115" y="222"/>
                  </a:lnTo>
                  <a:lnTo>
                    <a:pt x="110" y="224"/>
                  </a:lnTo>
                  <a:lnTo>
                    <a:pt x="105" y="229"/>
                  </a:lnTo>
                  <a:lnTo>
                    <a:pt x="98" y="238"/>
                  </a:lnTo>
                  <a:lnTo>
                    <a:pt x="98" y="238"/>
                  </a:lnTo>
                  <a:lnTo>
                    <a:pt x="98" y="237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7" y="229"/>
                  </a:lnTo>
                  <a:lnTo>
                    <a:pt x="95" y="227"/>
                  </a:lnTo>
                  <a:lnTo>
                    <a:pt x="93" y="224"/>
                  </a:lnTo>
                  <a:lnTo>
                    <a:pt x="88" y="223"/>
                  </a:lnTo>
                  <a:lnTo>
                    <a:pt x="69" y="220"/>
                  </a:lnTo>
                  <a:lnTo>
                    <a:pt x="69" y="222"/>
                  </a:lnTo>
                  <a:lnTo>
                    <a:pt x="68" y="223"/>
                  </a:lnTo>
                  <a:lnTo>
                    <a:pt x="66" y="226"/>
                  </a:lnTo>
                  <a:lnTo>
                    <a:pt x="65" y="229"/>
                  </a:lnTo>
                  <a:lnTo>
                    <a:pt x="62" y="231"/>
                  </a:lnTo>
                  <a:lnTo>
                    <a:pt x="61" y="234"/>
                  </a:lnTo>
                  <a:lnTo>
                    <a:pt x="58" y="237"/>
                  </a:lnTo>
                  <a:lnTo>
                    <a:pt x="57" y="237"/>
                  </a:lnTo>
                  <a:lnTo>
                    <a:pt x="55" y="238"/>
                  </a:lnTo>
                  <a:lnTo>
                    <a:pt x="55" y="238"/>
                  </a:lnTo>
                  <a:lnTo>
                    <a:pt x="54" y="241"/>
                  </a:lnTo>
                  <a:lnTo>
                    <a:pt x="51" y="242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7" y="242"/>
                  </a:lnTo>
                  <a:lnTo>
                    <a:pt x="46" y="240"/>
                  </a:lnTo>
                  <a:lnTo>
                    <a:pt x="42" y="216"/>
                  </a:lnTo>
                  <a:lnTo>
                    <a:pt x="36" y="190"/>
                  </a:lnTo>
                  <a:lnTo>
                    <a:pt x="36" y="190"/>
                  </a:lnTo>
                  <a:lnTo>
                    <a:pt x="36" y="187"/>
                  </a:lnTo>
                  <a:lnTo>
                    <a:pt x="35" y="183"/>
                  </a:lnTo>
                  <a:lnTo>
                    <a:pt x="35" y="179"/>
                  </a:lnTo>
                  <a:lnTo>
                    <a:pt x="33" y="174"/>
                  </a:lnTo>
                  <a:lnTo>
                    <a:pt x="33" y="169"/>
                  </a:lnTo>
                  <a:lnTo>
                    <a:pt x="31" y="167"/>
                  </a:lnTo>
                  <a:lnTo>
                    <a:pt x="29" y="164"/>
                  </a:lnTo>
                  <a:lnTo>
                    <a:pt x="14" y="145"/>
                  </a:lnTo>
                  <a:lnTo>
                    <a:pt x="13" y="145"/>
                  </a:lnTo>
                  <a:lnTo>
                    <a:pt x="11" y="143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2"/>
                  </a:lnTo>
                  <a:lnTo>
                    <a:pt x="3" y="127"/>
                  </a:lnTo>
                  <a:lnTo>
                    <a:pt x="2" y="121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5" name="Freeform 131"/>
            <p:cNvSpPr>
              <a:spLocks/>
            </p:cNvSpPr>
            <p:nvPr/>
          </p:nvSpPr>
          <p:spPr bwMode="auto">
            <a:xfrm>
              <a:off x="2019" y="2323"/>
              <a:ext cx="169" cy="197"/>
            </a:xfrm>
            <a:custGeom>
              <a:avLst/>
              <a:gdLst>
                <a:gd name="T0" fmla="*/ 2 w 210"/>
                <a:gd name="T1" fmla="*/ 113 h 244"/>
                <a:gd name="T2" fmla="*/ 6 w 210"/>
                <a:gd name="T3" fmla="*/ 110 h 244"/>
                <a:gd name="T4" fmla="*/ 17 w 210"/>
                <a:gd name="T5" fmla="*/ 105 h 244"/>
                <a:gd name="T6" fmla="*/ 28 w 210"/>
                <a:gd name="T7" fmla="*/ 99 h 244"/>
                <a:gd name="T8" fmla="*/ 33 w 210"/>
                <a:gd name="T9" fmla="*/ 94 h 244"/>
                <a:gd name="T10" fmla="*/ 32 w 210"/>
                <a:gd name="T11" fmla="*/ 86 h 244"/>
                <a:gd name="T12" fmla="*/ 28 w 210"/>
                <a:gd name="T13" fmla="*/ 79 h 244"/>
                <a:gd name="T14" fmla="*/ 29 w 210"/>
                <a:gd name="T15" fmla="*/ 65 h 244"/>
                <a:gd name="T16" fmla="*/ 32 w 210"/>
                <a:gd name="T17" fmla="*/ 55 h 244"/>
                <a:gd name="T18" fmla="*/ 32 w 210"/>
                <a:gd name="T19" fmla="*/ 48 h 244"/>
                <a:gd name="T20" fmla="*/ 31 w 210"/>
                <a:gd name="T21" fmla="*/ 44 h 244"/>
                <a:gd name="T22" fmla="*/ 43 w 210"/>
                <a:gd name="T23" fmla="*/ 22 h 244"/>
                <a:gd name="T24" fmla="*/ 50 w 210"/>
                <a:gd name="T25" fmla="*/ 18 h 244"/>
                <a:gd name="T26" fmla="*/ 55 w 210"/>
                <a:gd name="T27" fmla="*/ 13 h 244"/>
                <a:gd name="T28" fmla="*/ 60 w 210"/>
                <a:gd name="T29" fmla="*/ 9 h 244"/>
                <a:gd name="T30" fmla="*/ 68 w 210"/>
                <a:gd name="T31" fmla="*/ 6 h 244"/>
                <a:gd name="T32" fmla="*/ 73 w 210"/>
                <a:gd name="T33" fmla="*/ 7 h 244"/>
                <a:gd name="T34" fmla="*/ 76 w 210"/>
                <a:gd name="T35" fmla="*/ 6 h 244"/>
                <a:gd name="T36" fmla="*/ 80 w 210"/>
                <a:gd name="T37" fmla="*/ 2 h 244"/>
                <a:gd name="T38" fmla="*/ 84 w 210"/>
                <a:gd name="T39" fmla="*/ 0 h 244"/>
                <a:gd name="T40" fmla="*/ 87 w 210"/>
                <a:gd name="T41" fmla="*/ 5 h 244"/>
                <a:gd name="T42" fmla="*/ 87 w 210"/>
                <a:gd name="T43" fmla="*/ 10 h 244"/>
                <a:gd name="T44" fmla="*/ 86 w 210"/>
                <a:gd name="T45" fmla="*/ 25 h 244"/>
                <a:gd name="T46" fmla="*/ 94 w 210"/>
                <a:gd name="T47" fmla="*/ 46 h 244"/>
                <a:gd name="T48" fmla="*/ 128 w 210"/>
                <a:gd name="T49" fmla="*/ 54 h 244"/>
                <a:gd name="T50" fmla="*/ 130 w 210"/>
                <a:gd name="T51" fmla="*/ 59 h 244"/>
                <a:gd name="T52" fmla="*/ 137 w 210"/>
                <a:gd name="T53" fmla="*/ 69 h 244"/>
                <a:gd name="T54" fmla="*/ 148 w 210"/>
                <a:gd name="T55" fmla="*/ 76 h 244"/>
                <a:gd name="T56" fmla="*/ 159 w 210"/>
                <a:gd name="T57" fmla="*/ 84 h 244"/>
                <a:gd name="T58" fmla="*/ 170 w 210"/>
                <a:gd name="T59" fmla="*/ 101 h 244"/>
                <a:gd name="T60" fmla="*/ 197 w 210"/>
                <a:gd name="T61" fmla="*/ 110 h 244"/>
                <a:gd name="T62" fmla="*/ 197 w 210"/>
                <a:gd name="T63" fmla="*/ 119 h 244"/>
                <a:gd name="T64" fmla="*/ 199 w 210"/>
                <a:gd name="T65" fmla="*/ 125 h 244"/>
                <a:gd name="T66" fmla="*/ 204 w 210"/>
                <a:gd name="T67" fmla="*/ 127 h 244"/>
                <a:gd name="T68" fmla="*/ 208 w 210"/>
                <a:gd name="T69" fmla="*/ 135 h 244"/>
                <a:gd name="T70" fmla="*/ 210 w 210"/>
                <a:gd name="T71" fmla="*/ 147 h 244"/>
                <a:gd name="T72" fmla="*/ 208 w 210"/>
                <a:gd name="T73" fmla="*/ 175 h 244"/>
                <a:gd name="T74" fmla="*/ 205 w 210"/>
                <a:gd name="T75" fmla="*/ 194 h 244"/>
                <a:gd name="T76" fmla="*/ 197 w 210"/>
                <a:gd name="T77" fmla="*/ 186 h 244"/>
                <a:gd name="T78" fmla="*/ 179 w 210"/>
                <a:gd name="T79" fmla="*/ 176 h 244"/>
                <a:gd name="T80" fmla="*/ 160 w 210"/>
                <a:gd name="T81" fmla="*/ 178 h 244"/>
                <a:gd name="T82" fmla="*/ 149 w 210"/>
                <a:gd name="T83" fmla="*/ 187 h 244"/>
                <a:gd name="T84" fmla="*/ 135 w 210"/>
                <a:gd name="T85" fmla="*/ 208 h 244"/>
                <a:gd name="T86" fmla="*/ 128 w 210"/>
                <a:gd name="T87" fmla="*/ 227 h 244"/>
                <a:gd name="T88" fmla="*/ 121 w 210"/>
                <a:gd name="T89" fmla="*/ 223 h 244"/>
                <a:gd name="T90" fmla="*/ 110 w 210"/>
                <a:gd name="T91" fmla="*/ 224 h 244"/>
                <a:gd name="T92" fmla="*/ 98 w 210"/>
                <a:gd name="T93" fmla="*/ 237 h 244"/>
                <a:gd name="T94" fmla="*/ 97 w 210"/>
                <a:gd name="T95" fmla="*/ 229 h 244"/>
                <a:gd name="T96" fmla="*/ 88 w 210"/>
                <a:gd name="T97" fmla="*/ 223 h 244"/>
                <a:gd name="T98" fmla="*/ 68 w 210"/>
                <a:gd name="T99" fmla="*/ 223 h 244"/>
                <a:gd name="T100" fmla="*/ 62 w 210"/>
                <a:gd name="T101" fmla="*/ 231 h 244"/>
                <a:gd name="T102" fmla="*/ 57 w 210"/>
                <a:gd name="T103" fmla="*/ 237 h 244"/>
                <a:gd name="T104" fmla="*/ 51 w 210"/>
                <a:gd name="T105" fmla="*/ 242 h 244"/>
                <a:gd name="T106" fmla="*/ 47 w 210"/>
                <a:gd name="T107" fmla="*/ 242 h 244"/>
                <a:gd name="T108" fmla="*/ 36 w 210"/>
                <a:gd name="T109" fmla="*/ 190 h 244"/>
                <a:gd name="T110" fmla="*/ 35 w 210"/>
                <a:gd name="T111" fmla="*/ 179 h 244"/>
                <a:gd name="T112" fmla="*/ 31 w 210"/>
                <a:gd name="T113" fmla="*/ 167 h 244"/>
                <a:gd name="T114" fmla="*/ 13 w 210"/>
                <a:gd name="T115" fmla="*/ 145 h 244"/>
                <a:gd name="T116" fmla="*/ 7 w 210"/>
                <a:gd name="T117" fmla="*/ 136 h 244"/>
                <a:gd name="T118" fmla="*/ 2 w 210"/>
                <a:gd name="T119" fmla="*/ 121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0" h="244">
                  <a:moveTo>
                    <a:pt x="0" y="114"/>
                  </a:moveTo>
                  <a:lnTo>
                    <a:pt x="0" y="113"/>
                  </a:lnTo>
                  <a:lnTo>
                    <a:pt x="2" y="113"/>
                  </a:lnTo>
                  <a:lnTo>
                    <a:pt x="3" y="113"/>
                  </a:lnTo>
                  <a:lnTo>
                    <a:pt x="3" y="112"/>
                  </a:lnTo>
                  <a:lnTo>
                    <a:pt x="6" y="110"/>
                  </a:lnTo>
                  <a:lnTo>
                    <a:pt x="9" y="109"/>
                  </a:lnTo>
                  <a:lnTo>
                    <a:pt x="13" y="106"/>
                  </a:lnTo>
                  <a:lnTo>
                    <a:pt x="17" y="105"/>
                  </a:lnTo>
                  <a:lnTo>
                    <a:pt x="22" y="102"/>
                  </a:lnTo>
                  <a:lnTo>
                    <a:pt x="25" y="101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32" y="97"/>
                  </a:lnTo>
                  <a:lnTo>
                    <a:pt x="33" y="94"/>
                  </a:lnTo>
                  <a:lnTo>
                    <a:pt x="33" y="91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1" y="83"/>
                  </a:lnTo>
                  <a:lnTo>
                    <a:pt x="29" y="81"/>
                  </a:lnTo>
                  <a:lnTo>
                    <a:pt x="28" y="79"/>
                  </a:lnTo>
                  <a:lnTo>
                    <a:pt x="28" y="75"/>
                  </a:lnTo>
                  <a:lnTo>
                    <a:pt x="28" y="70"/>
                  </a:lnTo>
                  <a:lnTo>
                    <a:pt x="29" y="65"/>
                  </a:lnTo>
                  <a:lnTo>
                    <a:pt x="29" y="61"/>
                  </a:lnTo>
                  <a:lnTo>
                    <a:pt x="31" y="58"/>
                  </a:lnTo>
                  <a:lnTo>
                    <a:pt x="32" y="55"/>
                  </a:lnTo>
                  <a:lnTo>
                    <a:pt x="32" y="54"/>
                  </a:lnTo>
                  <a:lnTo>
                    <a:pt x="32" y="51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1" y="44"/>
                  </a:lnTo>
                  <a:lnTo>
                    <a:pt x="20" y="25"/>
                  </a:lnTo>
                  <a:lnTo>
                    <a:pt x="42" y="24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7" y="20"/>
                  </a:lnTo>
                  <a:lnTo>
                    <a:pt x="50" y="18"/>
                  </a:lnTo>
                  <a:lnTo>
                    <a:pt x="51" y="17"/>
                  </a:lnTo>
                  <a:lnTo>
                    <a:pt x="54" y="16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8" y="10"/>
                  </a:lnTo>
                  <a:lnTo>
                    <a:pt x="60" y="9"/>
                  </a:lnTo>
                  <a:lnTo>
                    <a:pt x="62" y="7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7" y="5"/>
                  </a:lnTo>
                  <a:lnTo>
                    <a:pt x="79" y="3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9"/>
                  </a:lnTo>
                  <a:lnTo>
                    <a:pt x="87" y="10"/>
                  </a:lnTo>
                  <a:lnTo>
                    <a:pt x="87" y="13"/>
                  </a:lnTo>
                  <a:lnTo>
                    <a:pt x="86" y="18"/>
                  </a:lnTo>
                  <a:lnTo>
                    <a:pt x="86" y="25"/>
                  </a:lnTo>
                  <a:lnTo>
                    <a:pt x="87" y="32"/>
                  </a:lnTo>
                  <a:lnTo>
                    <a:pt x="90" y="39"/>
                  </a:lnTo>
                  <a:lnTo>
                    <a:pt x="94" y="46"/>
                  </a:lnTo>
                  <a:lnTo>
                    <a:pt x="101" y="51"/>
                  </a:lnTo>
                  <a:lnTo>
                    <a:pt x="116" y="55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30" y="57"/>
                  </a:lnTo>
                  <a:lnTo>
                    <a:pt x="130" y="59"/>
                  </a:lnTo>
                  <a:lnTo>
                    <a:pt x="132" y="62"/>
                  </a:lnTo>
                  <a:lnTo>
                    <a:pt x="134" y="66"/>
                  </a:lnTo>
                  <a:lnTo>
                    <a:pt x="137" y="69"/>
                  </a:lnTo>
                  <a:lnTo>
                    <a:pt x="141" y="72"/>
                  </a:lnTo>
                  <a:lnTo>
                    <a:pt x="146" y="75"/>
                  </a:lnTo>
                  <a:lnTo>
                    <a:pt x="148" y="76"/>
                  </a:lnTo>
                  <a:lnTo>
                    <a:pt x="150" y="77"/>
                  </a:lnTo>
                  <a:lnTo>
                    <a:pt x="154" y="80"/>
                  </a:lnTo>
                  <a:lnTo>
                    <a:pt x="159" y="84"/>
                  </a:lnTo>
                  <a:lnTo>
                    <a:pt x="163" y="90"/>
                  </a:lnTo>
                  <a:lnTo>
                    <a:pt x="167" y="94"/>
                  </a:lnTo>
                  <a:lnTo>
                    <a:pt x="170" y="101"/>
                  </a:lnTo>
                  <a:lnTo>
                    <a:pt x="171" y="106"/>
                  </a:lnTo>
                  <a:lnTo>
                    <a:pt x="199" y="108"/>
                  </a:lnTo>
                  <a:lnTo>
                    <a:pt x="197" y="110"/>
                  </a:lnTo>
                  <a:lnTo>
                    <a:pt x="197" y="112"/>
                  </a:lnTo>
                  <a:lnTo>
                    <a:pt x="197" y="116"/>
                  </a:lnTo>
                  <a:lnTo>
                    <a:pt x="197" y="119"/>
                  </a:lnTo>
                  <a:lnTo>
                    <a:pt x="197" y="121"/>
                  </a:lnTo>
                  <a:lnTo>
                    <a:pt x="197" y="124"/>
                  </a:lnTo>
                  <a:lnTo>
                    <a:pt x="199" y="125"/>
                  </a:lnTo>
                  <a:lnTo>
                    <a:pt x="200" y="125"/>
                  </a:lnTo>
                  <a:lnTo>
                    <a:pt x="203" y="125"/>
                  </a:lnTo>
                  <a:lnTo>
                    <a:pt x="204" y="127"/>
                  </a:lnTo>
                  <a:lnTo>
                    <a:pt x="205" y="128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10" y="139"/>
                  </a:lnTo>
                  <a:lnTo>
                    <a:pt x="210" y="141"/>
                  </a:lnTo>
                  <a:lnTo>
                    <a:pt x="210" y="147"/>
                  </a:lnTo>
                  <a:lnTo>
                    <a:pt x="210" y="156"/>
                  </a:lnTo>
                  <a:lnTo>
                    <a:pt x="210" y="165"/>
                  </a:lnTo>
                  <a:lnTo>
                    <a:pt x="208" y="175"/>
                  </a:lnTo>
                  <a:lnTo>
                    <a:pt x="208" y="183"/>
                  </a:lnTo>
                  <a:lnTo>
                    <a:pt x="207" y="190"/>
                  </a:lnTo>
                  <a:lnTo>
                    <a:pt x="205" y="194"/>
                  </a:lnTo>
                  <a:lnTo>
                    <a:pt x="204" y="193"/>
                  </a:lnTo>
                  <a:lnTo>
                    <a:pt x="201" y="190"/>
                  </a:lnTo>
                  <a:lnTo>
                    <a:pt x="197" y="186"/>
                  </a:lnTo>
                  <a:lnTo>
                    <a:pt x="193" y="182"/>
                  </a:lnTo>
                  <a:lnTo>
                    <a:pt x="186" y="179"/>
                  </a:lnTo>
                  <a:lnTo>
                    <a:pt x="179" y="176"/>
                  </a:lnTo>
                  <a:lnTo>
                    <a:pt x="171" y="175"/>
                  </a:lnTo>
                  <a:lnTo>
                    <a:pt x="161" y="178"/>
                  </a:lnTo>
                  <a:lnTo>
                    <a:pt x="160" y="178"/>
                  </a:lnTo>
                  <a:lnTo>
                    <a:pt x="157" y="180"/>
                  </a:lnTo>
                  <a:lnTo>
                    <a:pt x="153" y="183"/>
                  </a:lnTo>
                  <a:lnTo>
                    <a:pt x="149" y="187"/>
                  </a:lnTo>
                  <a:lnTo>
                    <a:pt x="143" y="193"/>
                  </a:lnTo>
                  <a:lnTo>
                    <a:pt x="138" y="200"/>
                  </a:lnTo>
                  <a:lnTo>
                    <a:pt x="135" y="208"/>
                  </a:lnTo>
                  <a:lnTo>
                    <a:pt x="132" y="216"/>
                  </a:lnTo>
                  <a:lnTo>
                    <a:pt x="128" y="229"/>
                  </a:lnTo>
                  <a:lnTo>
                    <a:pt x="128" y="227"/>
                  </a:lnTo>
                  <a:lnTo>
                    <a:pt x="127" y="226"/>
                  </a:lnTo>
                  <a:lnTo>
                    <a:pt x="126" y="224"/>
                  </a:lnTo>
                  <a:lnTo>
                    <a:pt x="121" y="223"/>
                  </a:lnTo>
                  <a:lnTo>
                    <a:pt x="119" y="222"/>
                  </a:lnTo>
                  <a:lnTo>
                    <a:pt x="115" y="222"/>
                  </a:lnTo>
                  <a:lnTo>
                    <a:pt x="110" y="224"/>
                  </a:lnTo>
                  <a:lnTo>
                    <a:pt x="105" y="229"/>
                  </a:lnTo>
                  <a:lnTo>
                    <a:pt x="98" y="238"/>
                  </a:lnTo>
                  <a:lnTo>
                    <a:pt x="98" y="237"/>
                  </a:lnTo>
                  <a:lnTo>
                    <a:pt x="98" y="234"/>
                  </a:lnTo>
                  <a:lnTo>
                    <a:pt x="98" y="231"/>
                  </a:lnTo>
                  <a:lnTo>
                    <a:pt x="97" y="229"/>
                  </a:lnTo>
                  <a:lnTo>
                    <a:pt x="95" y="227"/>
                  </a:lnTo>
                  <a:lnTo>
                    <a:pt x="93" y="224"/>
                  </a:lnTo>
                  <a:lnTo>
                    <a:pt x="88" y="223"/>
                  </a:lnTo>
                  <a:lnTo>
                    <a:pt x="69" y="220"/>
                  </a:lnTo>
                  <a:lnTo>
                    <a:pt x="69" y="222"/>
                  </a:lnTo>
                  <a:lnTo>
                    <a:pt x="68" y="223"/>
                  </a:lnTo>
                  <a:lnTo>
                    <a:pt x="66" y="226"/>
                  </a:lnTo>
                  <a:lnTo>
                    <a:pt x="65" y="229"/>
                  </a:lnTo>
                  <a:lnTo>
                    <a:pt x="62" y="231"/>
                  </a:lnTo>
                  <a:lnTo>
                    <a:pt x="61" y="234"/>
                  </a:lnTo>
                  <a:lnTo>
                    <a:pt x="58" y="237"/>
                  </a:lnTo>
                  <a:lnTo>
                    <a:pt x="57" y="237"/>
                  </a:lnTo>
                  <a:lnTo>
                    <a:pt x="55" y="238"/>
                  </a:lnTo>
                  <a:lnTo>
                    <a:pt x="54" y="241"/>
                  </a:lnTo>
                  <a:lnTo>
                    <a:pt x="51" y="242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7" y="242"/>
                  </a:lnTo>
                  <a:lnTo>
                    <a:pt x="46" y="240"/>
                  </a:lnTo>
                  <a:lnTo>
                    <a:pt x="42" y="216"/>
                  </a:lnTo>
                  <a:lnTo>
                    <a:pt x="36" y="190"/>
                  </a:lnTo>
                  <a:lnTo>
                    <a:pt x="36" y="187"/>
                  </a:lnTo>
                  <a:lnTo>
                    <a:pt x="35" y="183"/>
                  </a:lnTo>
                  <a:lnTo>
                    <a:pt x="35" y="179"/>
                  </a:lnTo>
                  <a:lnTo>
                    <a:pt x="33" y="174"/>
                  </a:lnTo>
                  <a:lnTo>
                    <a:pt x="33" y="169"/>
                  </a:lnTo>
                  <a:lnTo>
                    <a:pt x="31" y="167"/>
                  </a:lnTo>
                  <a:lnTo>
                    <a:pt x="29" y="164"/>
                  </a:lnTo>
                  <a:lnTo>
                    <a:pt x="14" y="145"/>
                  </a:lnTo>
                  <a:lnTo>
                    <a:pt x="13" y="145"/>
                  </a:lnTo>
                  <a:lnTo>
                    <a:pt x="11" y="143"/>
                  </a:lnTo>
                  <a:lnTo>
                    <a:pt x="10" y="141"/>
                  </a:lnTo>
                  <a:lnTo>
                    <a:pt x="7" y="136"/>
                  </a:lnTo>
                  <a:lnTo>
                    <a:pt x="6" y="132"/>
                  </a:lnTo>
                  <a:lnTo>
                    <a:pt x="3" y="127"/>
                  </a:lnTo>
                  <a:lnTo>
                    <a:pt x="2" y="121"/>
                  </a:lnTo>
                  <a:lnTo>
                    <a:pt x="0" y="1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6" name="Freeform 132"/>
            <p:cNvSpPr>
              <a:spLocks/>
            </p:cNvSpPr>
            <p:nvPr/>
          </p:nvSpPr>
          <p:spPr bwMode="auto">
            <a:xfrm>
              <a:off x="1875" y="2189"/>
              <a:ext cx="170" cy="235"/>
            </a:xfrm>
            <a:custGeom>
              <a:avLst/>
              <a:gdLst>
                <a:gd name="T0" fmla="*/ 82 w 211"/>
                <a:gd name="T1" fmla="*/ 249 h 290"/>
                <a:gd name="T2" fmla="*/ 77 w 211"/>
                <a:gd name="T3" fmla="*/ 229 h 290"/>
                <a:gd name="T4" fmla="*/ 57 w 211"/>
                <a:gd name="T5" fmla="*/ 183 h 290"/>
                <a:gd name="T6" fmla="*/ 41 w 211"/>
                <a:gd name="T7" fmla="*/ 152 h 290"/>
                <a:gd name="T8" fmla="*/ 11 w 211"/>
                <a:gd name="T9" fmla="*/ 116 h 290"/>
                <a:gd name="T10" fmla="*/ 5 w 211"/>
                <a:gd name="T11" fmla="*/ 101 h 290"/>
                <a:gd name="T12" fmla="*/ 6 w 211"/>
                <a:gd name="T13" fmla="*/ 94 h 290"/>
                <a:gd name="T14" fmla="*/ 0 w 211"/>
                <a:gd name="T15" fmla="*/ 88 h 290"/>
                <a:gd name="T16" fmla="*/ 5 w 211"/>
                <a:gd name="T17" fmla="*/ 76 h 290"/>
                <a:gd name="T18" fmla="*/ 16 w 211"/>
                <a:gd name="T19" fmla="*/ 75 h 290"/>
                <a:gd name="T20" fmla="*/ 37 w 211"/>
                <a:gd name="T21" fmla="*/ 82 h 290"/>
                <a:gd name="T22" fmla="*/ 44 w 211"/>
                <a:gd name="T23" fmla="*/ 76 h 290"/>
                <a:gd name="T24" fmla="*/ 48 w 211"/>
                <a:gd name="T25" fmla="*/ 66 h 290"/>
                <a:gd name="T26" fmla="*/ 50 w 211"/>
                <a:gd name="T27" fmla="*/ 58 h 290"/>
                <a:gd name="T28" fmla="*/ 55 w 211"/>
                <a:gd name="T29" fmla="*/ 57 h 290"/>
                <a:gd name="T30" fmla="*/ 74 w 211"/>
                <a:gd name="T31" fmla="*/ 51 h 290"/>
                <a:gd name="T32" fmla="*/ 97 w 211"/>
                <a:gd name="T33" fmla="*/ 18 h 290"/>
                <a:gd name="T34" fmla="*/ 99 w 211"/>
                <a:gd name="T35" fmla="*/ 10 h 290"/>
                <a:gd name="T36" fmla="*/ 96 w 211"/>
                <a:gd name="T37" fmla="*/ 0 h 290"/>
                <a:gd name="T38" fmla="*/ 106 w 211"/>
                <a:gd name="T39" fmla="*/ 5 h 290"/>
                <a:gd name="T40" fmla="*/ 117 w 211"/>
                <a:gd name="T41" fmla="*/ 9 h 290"/>
                <a:gd name="T42" fmla="*/ 144 w 211"/>
                <a:gd name="T43" fmla="*/ 21 h 290"/>
                <a:gd name="T44" fmla="*/ 148 w 211"/>
                <a:gd name="T45" fmla="*/ 33 h 290"/>
                <a:gd name="T46" fmla="*/ 166 w 211"/>
                <a:gd name="T47" fmla="*/ 43 h 290"/>
                <a:gd name="T48" fmla="*/ 183 w 211"/>
                <a:gd name="T49" fmla="*/ 43 h 290"/>
                <a:gd name="T50" fmla="*/ 189 w 211"/>
                <a:gd name="T51" fmla="*/ 47 h 290"/>
                <a:gd name="T52" fmla="*/ 192 w 211"/>
                <a:gd name="T53" fmla="*/ 51 h 290"/>
                <a:gd name="T54" fmla="*/ 184 w 211"/>
                <a:gd name="T55" fmla="*/ 77 h 290"/>
                <a:gd name="T56" fmla="*/ 177 w 211"/>
                <a:gd name="T57" fmla="*/ 76 h 290"/>
                <a:gd name="T58" fmla="*/ 166 w 211"/>
                <a:gd name="T59" fmla="*/ 79 h 290"/>
                <a:gd name="T60" fmla="*/ 144 w 211"/>
                <a:gd name="T61" fmla="*/ 95 h 290"/>
                <a:gd name="T62" fmla="*/ 143 w 211"/>
                <a:gd name="T63" fmla="*/ 104 h 290"/>
                <a:gd name="T64" fmla="*/ 137 w 211"/>
                <a:gd name="T65" fmla="*/ 112 h 290"/>
                <a:gd name="T66" fmla="*/ 132 w 211"/>
                <a:gd name="T67" fmla="*/ 138 h 290"/>
                <a:gd name="T68" fmla="*/ 137 w 211"/>
                <a:gd name="T69" fmla="*/ 152 h 290"/>
                <a:gd name="T70" fmla="*/ 137 w 211"/>
                <a:gd name="T71" fmla="*/ 159 h 290"/>
                <a:gd name="T72" fmla="*/ 147 w 211"/>
                <a:gd name="T73" fmla="*/ 157 h 290"/>
                <a:gd name="T74" fmla="*/ 150 w 211"/>
                <a:gd name="T75" fmla="*/ 161 h 290"/>
                <a:gd name="T76" fmla="*/ 156 w 211"/>
                <a:gd name="T77" fmla="*/ 164 h 290"/>
                <a:gd name="T78" fmla="*/ 166 w 211"/>
                <a:gd name="T79" fmla="*/ 165 h 290"/>
                <a:gd name="T80" fmla="*/ 169 w 211"/>
                <a:gd name="T81" fmla="*/ 164 h 290"/>
                <a:gd name="T82" fmla="*/ 181 w 211"/>
                <a:gd name="T83" fmla="*/ 156 h 290"/>
                <a:gd name="T84" fmla="*/ 181 w 211"/>
                <a:gd name="T85" fmla="*/ 186 h 290"/>
                <a:gd name="T86" fmla="*/ 189 w 211"/>
                <a:gd name="T87" fmla="*/ 190 h 290"/>
                <a:gd name="T88" fmla="*/ 194 w 211"/>
                <a:gd name="T89" fmla="*/ 190 h 290"/>
                <a:gd name="T90" fmla="*/ 209 w 211"/>
                <a:gd name="T91" fmla="*/ 209 h 290"/>
                <a:gd name="T92" fmla="*/ 210 w 211"/>
                <a:gd name="T93" fmla="*/ 213 h 290"/>
                <a:gd name="T94" fmla="*/ 207 w 211"/>
                <a:gd name="T95" fmla="*/ 226 h 290"/>
                <a:gd name="T96" fmla="*/ 207 w 211"/>
                <a:gd name="T97" fmla="*/ 246 h 290"/>
                <a:gd name="T98" fmla="*/ 211 w 211"/>
                <a:gd name="T99" fmla="*/ 256 h 290"/>
                <a:gd name="T100" fmla="*/ 205 w 211"/>
                <a:gd name="T101" fmla="*/ 266 h 290"/>
                <a:gd name="T102" fmla="*/ 184 w 211"/>
                <a:gd name="T103" fmla="*/ 274 h 290"/>
                <a:gd name="T104" fmla="*/ 166 w 211"/>
                <a:gd name="T105" fmla="*/ 285 h 290"/>
                <a:gd name="T106" fmla="*/ 141 w 211"/>
                <a:gd name="T107" fmla="*/ 290 h 290"/>
                <a:gd name="T108" fmla="*/ 122 w 211"/>
                <a:gd name="T109" fmla="*/ 279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90">
                  <a:moveTo>
                    <a:pt x="97" y="268"/>
                  </a:moveTo>
                  <a:lnTo>
                    <a:pt x="92" y="263"/>
                  </a:lnTo>
                  <a:lnTo>
                    <a:pt x="88" y="259"/>
                  </a:lnTo>
                  <a:lnTo>
                    <a:pt x="85" y="255"/>
                  </a:lnTo>
                  <a:lnTo>
                    <a:pt x="82" y="249"/>
                  </a:lnTo>
                  <a:lnTo>
                    <a:pt x="81" y="244"/>
                  </a:lnTo>
                  <a:lnTo>
                    <a:pt x="81" y="240"/>
                  </a:lnTo>
                  <a:lnTo>
                    <a:pt x="79" y="235"/>
                  </a:lnTo>
                  <a:lnTo>
                    <a:pt x="78" y="233"/>
                  </a:lnTo>
                  <a:lnTo>
                    <a:pt x="77" y="229"/>
                  </a:lnTo>
                  <a:lnTo>
                    <a:pt x="74" y="220"/>
                  </a:lnTo>
                  <a:lnTo>
                    <a:pt x="70" y="212"/>
                  </a:lnTo>
                  <a:lnTo>
                    <a:pt x="66" y="201"/>
                  </a:lnTo>
                  <a:lnTo>
                    <a:pt x="61" y="192"/>
                  </a:lnTo>
                  <a:lnTo>
                    <a:pt x="57" y="183"/>
                  </a:lnTo>
                  <a:lnTo>
                    <a:pt x="55" y="178"/>
                  </a:lnTo>
                  <a:lnTo>
                    <a:pt x="53" y="175"/>
                  </a:lnTo>
                  <a:lnTo>
                    <a:pt x="50" y="168"/>
                  </a:lnTo>
                  <a:lnTo>
                    <a:pt x="46" y="160"/>
                  </a:lnTo>
                  <a:lnTo>
                    <a:pt x="41" y="152"/>
                  </a:lnTo>
                  <a:lnTo>
                    <a:pt x="34" y="143"/>
                  </a:lnTo>
                  <a:lnTo>
                    <a:pt x="28" y="135"/>
                  </a:lnTo>
                  <a:lnTo>
                    <a:pt x="22" y="128"/>
                  </a:lnTo>
                  <a:lnTo>
                    <a:pt x="16" y="121"/>
                  </a:lnTo>
                  <a:lnTo>
                    <a:pt x="11" y="116"/>
                  </a:lnTo>
                  <a:lnTo>
                    <a:pt x="8" y="112"/>
                  </a:lnTo>
                  <a:lnTo>
                    <a:pt x="5" y="108"/>
                  </a:lnTo>
                  <a:lnTo>
                    <a:pt x="5" y="105"/>
                  </a:lnTo>
                  <a:lnTo>
                    <a:pt x="4" y="102"/>
                  </a:lnTo>
                  <a:lnTo>
                    <a:pt x="5" y="101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5" y="93"/>
                  </a:lnTo>
                  <a:lnTo>
                    <a:pt x="4" y="91"/>
                  </a:lnTo>
                  <a:lnTo>
                    <a:pt x="2" y="90"/>
                  </a:lnTo>
                  <a:lnTo>
                    <a:pt x="1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1" y="83"/>
                  </a:lnTo>
                  <a:lnTo>
                    <a:pt x="1" y="80"/>
                  </a:lnTo>
                  <a:lnTo>
                    <a:pt x="2" y="77"/>
                  </a:lnTo>
                  <a:lnTo>
                    <a:pt x="5" y="76"/>
                  </a:lnTo>
                  <a:lnTo>
                    <a:pt x="6" y="75"/>
                  </a:lnTo>
                  <a:lnTo>
                    <a:pt x="9" y="75"/>
                  </a:lnTo>
                  <a:lnTo>
                    <a:pt x="11" y="73"/>
                  </a:lnTo>
                  <a:lnTo>
                    <a:pt x="12" y="75"/>
                  </a:lnTo>
                  <a:lnTo>
                    <a:pt x="16" y="75"/>
                  </a:lnTo>
                  <a:lnTo>
                    <a:pt x="19" y="79"/>
                  </a:lnTo>
                  <a:lnTo>
                    <a:pt x="31" y="77"/>
                  </a:lnTo>
                  <a:lnTo>
                    <a:pt x="33" y="80"/>
                  </a:lnTo>
                  <a:lnTo>
                    <a:pt x="34" y="82"/>
                  </a:lnTo>
                  <a:lnTo>
                    <a:pt x="37" y="82"/>
                  </a:lnTo>
                  <a:lnTo>
                    <a:pt x="38" y="80"/>
                  </a:lnTo>
                  <a:lnTo>
                    <a:pt x="41" y="79"/>
                  </a:lnTo>
                  <a:lnTo>
                    <a:pt x="42" y="77"/>
                  </a:lnTo>
                  <a:lnTo>
                    <a:pt x="42" y="76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5" y="72"/>
                  </a:lnTo>
                  <a:lnTo>
                    <a:pt x="46" y="71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3" y="57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60" y="55"/>
                  </a:lnTo>
                  <a:lnTo>
                    <a:pt x="66" y="55"/>
                  </a:lnTo>
                  <a:lnTo>
                    <a:pt x="70" y="53"/>
                  </a:lnTo>
                  <a:lnTo>
                    <a:pt x="74" y="51"/>
                  </a:lnTo>
                  <a:lnTo>
                    <a:pt x="81" y="44"/>
                  </a:lnTo>
                  <a:lnTo>
                    <a:pt x="88" y="38"/>
                  </a:lnTo>
                  <a:lnTo>
                    <a:pt x="92" y="29"/>
                  </a:lnTo>
                  <a:lnTo>
                    <a:pt x="96" y="24"/>
                  </a:lnTo>
                  <a:lnTo>
                    <a:pt x="97" y="18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99" y="10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3"/>
                  </a:lnTo>
                  <a:lnTo>
                    <a:pt x="104" y="5"/>
                  </a:lnTo>
                  <a:lnTo>
                    <a:pt x="106" y="5"/>
                  </a:lnTo>
                  <a:lnTo>
                    <a:pt x="107" y="6"/>
                  </a:lnTo>
                  <a:lnTo>
                    <a:pt x="110" y="6"/>
                  </a:lnTo>
                  <a:lnTo>
                    <a:pt x="111" y="7"/>
                  </a:lnTo>
                  <a:lnTo>
                    <a:pt x="112" y="7"/>
                  </a:lnTo>
                  <a:lnTo>
                    <a:pt x="117" y="9"/>
                  </a:lnTo>
                  <a:lnTo>
                    <a:pt x="121" y="10"/>
                  </a:lnTo>
                  <a:lnTo>
                    <a:pt x="128" y="11"/>
                  </a:lnTo>
                  <a:lnTo>
                    <a:pt x="133" y="14"/>
                  </a:lnTo>
                  <a:lnTo>
                    <a:pt x="140" y="17"/>
                  </a:lnTo>
                  <a:lnTo>
                    <a:pt x="144" y="21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8" y="28"/>
                  </a:lnTo>
                  <a:lnTo>
                    <a:pt x="148" y="29"/>
                  </a:lnTo>
                  <a:lnTo>
                    <a:pt x="148" y="33"/>
                  </a:lnTo>
                  <a:lnTo>
                    <a:pt x="150" y="36"/>
                  </a:lnTo>
                  <a:lnTo>
                    <a:pt x="154" y="39"/>
                  </a:lnTo>
                  <a:lnTo>
                    <a:pt x="158" y="42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9" y="43"/>
                  </a:lnTo>
                  <a:lnTo>
                    <a:pt x="172" y="43"/>
                  </a:lnTo>
                  <a:lnTo>
                    <a:pt x="174" y="43"/>
                  </a:lnTo>
                  <a:lnTo>
                    <a:pt x="178" y="43"/>
                  </a:lnTo>
                  <a:lnTo>
                    <a:pt x="183" y="43"/>
                  </a:lnTo>
                  <a:lnTo>
                    <a:pt x="184" y="43"/>
                  </a:lnTo>
                  <a:lnTo>
                    <a:pt x="187" y="44"/>
                  </a:lnTo>
                  <a:lnTo>
                    <a:pt x="187" y="44"/>
                  </a:lnTo>
                  <a:lnTo>
                    <a:pt x="188" y="46"/>
                  </a:lnTo>
                  <a:lnTo>
                    <a:pt x="189" y="47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84" y="71"/>
                  </a:lnTo>
                  <a:lnTo>
                    <a:pt x="194" y="71"/>
                  </a:lnTo>
                  <a:lnTo>
                    <a:pt x="192" y="77"/>
                  </a:lnTo>
                  <a:lnTo>
                    <a:pt x="185" y="77"/>
                  </a:lnTo>
                  <a:lnTo>
                    <a:pt x="184" y="77"/>
                  </a:lnTo>
                  <a:lnTo>
                    <a:pt x="184" y="77"/>
                  </a:lnTo>
                  <a:lnTo>
                    <a:pt x="183" y="76"/>
                  </a:lnTo>
                  <a:lnTo>
                    <a:pt x="181" y="76"/>
                  </a:lnTo>
                  <a:lnTo>
                    <a:pt x="178" y="75"/>
                  </a:lnTo>
                  <a:lnTo>
                    <a:pt x="177" y="76"/>
                  </a:lnTo>
                  <a:lnTo>
                    <a:pt x="176" y="76"/>
                  </a:lnTo>
                  <a:lnTo>
                    <a:pt x="174" y="77"/>
                  </a:lnTo>
                  <a:lnTo>
                    <a:pt x="173" y="77"/>
                  </a:lnTo>
                  <a:lnTo>
                    <a:pt x="170" y="77"/>
                  </a:lnTo>
                  <a:lnTo>
                    <a:pt x="166" y="79"/>
                  </a:lnTo>
                  <a:lnTo>
                    <a:pt x="162" y="80"/>
                  </a:lnTo>
                  <a:lnTo>
                    <a:pt x="156" y="83"/>
                  </a:lnTo>
                  <a:lnTo>
                    <a:pt x="151" y="86"/>
                  </a:lnTo>
                  <a:lnTo>
                    <a:pt x="147" y="90"/>
                  </a:lnTo>
                  <a:lnTo>
                    <a:pt x="144" y="95"/>
                  </a:lnTo>
                  <a:lnTo>
                    <a:pt x="144" y="95"/>
                  </a:lnTo>
                  <a:lnTo>
                    <a:pt x="144" y="97"/>
                  </a:lnTo>
                  <a:lnTo>
                    <a:pt x="144" y="99"/>
                  </a:lnTo>
                  <a:lnTo>
                    <a:pt x="143" y="101"/>
                  </a:lnTo>
                  <a:lnTo>
                    <a:pt x="143" y="104"/>
                  </a:lnTo>
                  <a:lnTo>
                    <a:pt x="141" y="106"/>
                  </a:lnTo>
                  <a:lnTo>
                    <a:pt x="141" y="108"/>
                  </a:lnTo>
                  <a:lnTo>
                    <a:pt x="140" y="109"/>
                  </a:lnTo>
                  <a:lnTo>
                    <a:pt x="139" y="110"/>
                  </a:lnTo>
                  <a:lnTo>
                    <a:pt x="137" y="112"/>
                  </a:lnTo>
                  <a:lnTo>
                    <a:pt x="136" y="115"/>
                  </a:lnTo>
                  <a:lnTo>
                    <a:pt x="133" y="119"/>
                  </a:lnTo>
                  <a:lnTo>
                    <a:pt x="132" y="124"/>
                  </a:lnTo>
                  <a:lnTo>
                    <a:pt x="130" y="130"/>
                  </a:lnTo>
                  <a:lnTo>
                    <a:pt x="132" y="138"/>
                  </a:lnTo>
                  <a:lnTo>
                    <a:pt x="134" y="145"/>
                  </a:lnTo>
                  <a:lnTo>
                    <a:pt x="134" y="146"/>
                  </a:lnTo>
                  <a:lnTo>
                    <a:pt x="136" y="148"/>
                  </a:lnTo>
                  <a:lnTo>
                    <a:pt x="136" y="149"/>
                  </a:lnTo>
                  <a:lnTo>
                    <a:pt x="137" y="152"/>
                  </a:lnTo>
                  <a:lnTo>
                    <a:pt x="139" y="154"/>
                  </a:lnTo>
                  <a:lnTo>
                    <a:pt x="139" y="157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7" y="159"/>
                  </a:lnTo>
                  <a:lnTo>
                    <a:pt x="139" y="159"/>
                  </a:lnTo>
                  <a:lnTo>
                    <a:pt x="140" y="157"/>
                  </a:lnTo>
                  <a:lnTo>
                    <a:pt x="143" y="157"/>
                  </a:lnTo>
                  <a:lnTo>
                    <a:pt x="144" y="157"/>
                  </a:lnTo>
                  <a:lnTo>
                    <a:pt x="147" y="157"/>
                  </a:lnTo>
                  <a:lnTo>
                    <a:pt x="148" y="159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1"/>
                  </a:lnTo>
                  <a:lnTo>
                    <a:pt x="151" y="161"/>
                  </a:lnTo>
                  <a:lnTo>
                    <a:pt x="151" y="163"/>
                  </a:lnTo>
                  <a:lnTo>
                    <a:pt x="152" y="163"/>
                  </a:lnTo>
                  <a:lnTo>
                    <a:pt x="154" y="163"/>
                  </a:lnTo>
                  <a:lnTo>
                    <a:pt x="156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3" y="165"/>
                  </a:lnTo>
                  <a:lnTo>
                    <a:pt x="165" y="165"/>
                  </a:lnTo>
                  <a:lnTo>
                    <a:pt x="166" y="165"/>
                  </a:lnTo>
                  <a:lnTo>
                    <a:pt x="166" y="165"/>
                  </a:lnTo>
                  <a:lnTo>
                    <a:pt x="167" y="165"/>
                  </a:lnTo>
                  <a:lnTo>
                    <a:pt x="167" y="165"/>
                  </a:lnTo>
                  <a:lnTo>
                    <a:pt x="167" y="165"/>
                  </a:lnTo>
                  <a:lnTo>
                    <a:pt x="169" y="164"/>
                  </a:lnTo>
                  <a:lnTo>
                    <a:pt x="172" y="163"/>
                  </a:lnTo>
                  <a:lnTo>
                    <a:pt x="174" y="161"/>
                  </a:lnTo>
                  <a:lnTo>
                    <a:pt x="177" y="160"/>
                  </a:lnTo>
                  <a:lnTo>
                    <a:pt x="180" y="159"/>
                  </a:lnTo>
                  <a:lnTo>
                    <a:pt x="181" y="156"/>
                  </a:lnTo>
                  <a:lnTo>
                    <a:pt x="181" y="154"/>
                  </a:lnTo>
                  <a:lnTo>
                    <a:pt x="181" y="185"/>
                  </a:lnTo>
                  <a:lnTo>
                    <a:pt x="181" y="185"/>
                  </a:lnTo>
                  <a:lnTo>
                    <a:pt x="181" y="185"/>
                  </a:lnTo>
                  <a:lnTo>
                    <a:pt x="181" y="186"/>
                  </a:lnTo>
                  <a:lnTo>
                    <a:pt x="183" y="186"/>
                  </a:lnTo>
                  <a:lnTo>
                    <a:pt x="184" y="187"/>
                  </a:lnTo>
                  <a:lnTo>
                    <a:pt x="185" y="189"/>
                  </a:lnTo>
                  <a:lnTo>
                    <a:pt x="187" y="189"/>
                  </a:lnTo>
                  <a:lnTo>
                    <a:pt x="189" y="190"/>
                  </a:lnTo>
                  <a:lnTo>
                    <a:pt x="189" y="190"/>
                  </a:lnTo>
                  <a:lnTo>
                    <a:pt x="191" y="190"/>
                  </a:lnTo>
                  <a:lnTo>
                    <a:pt x="191" y="190"/>
                  </a:lnTo>
                  <a:lnTo>
                    <a:pt x="192" y="190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6" y="190"/>
                  </a:lnTo>
                  <a:lnTo>
                    <a:pt x="198" y="190"/>
                  </a:lnTo>
                  <a:lnTo>
                    <a:pt x="209" y="209"/>
                  </a:lnTo>
                  <a:lnTo>
                    <a:pt x="209" y="209"/>
                  </a:lnTo>
                  <a:lnTo>
                    <a:pt x="209" y="209"/>
                  </a:lnTo>
                  <a:lnTo>
                    <a:pt x="210" y="211"/>
                  </a:lnTo>
                  <a:lnTo>
                    <a:pt x="210" y="211"/>
                  </a:lnTo>
                  <a:lnTo>
                    <a:pt x="210" y="212"/>
                  </a:lnTo>
                  <a:lnTo>
                    <a:pt x="210" y="213"/>
                  </a:lnTo>
                  <a:lnTo>
                    <a:pt x="210" y="216"/>
                  </a:lnTo>
                  <a:lnTo>
                    <a:pt x="210" y="219"/>
                  </a:lnTo>
                  <a:lnTo>
                    <a:pt x="210" y="220"/>
                  </a:lnTo>
                  <a:lnTo>
                    <a:pt x="209" y="223"/>
                  </a:lnTo>
                  <a:lnTo>
                    <a:pt x="207" y="226"/>
                  </a:lnTo>
                  <a:lnTo>
                    <a:pt x="207" y="230"/>
                  </a:lnTo>
                  <a:lnTo>
                    <a:pt x="206" y="235"/>
                  </a:lnTo>
                  <a:lnTo>
                    <a:pt x="206" y="240"/>
                  </a:lnTo>
                  <a:lnTo>
                    <a:pt x="206" y="244"/>
                  </a:lnTo>
                  <a:lnTo>
                    <a:pt x="207" y="246"/>
                  </a:lnTo>
                  <a:lnTo>
                    <a:pt x="207" y="246"/>
                  </a:lnTo>
                  <a:lnTo>
                    <a:pt x="209" y="248"/>
                  </a:lnTo>
                  <a:lnTo>
                    <a:pt x="210" y="251"/>
                  </a:lnTo>
                  <a:lnTo>
                    <a:pt x="211" y="252"/>
                  </a:lnTo>
                  <a:lnTo>
                    <a:pt x="211" y="256"/>
                  </a:lnTo>
                  <a:lnTo>
                    <a:pt x="211" y="259"/>
                  </a:lnTo>
                  <a:lnTo>
                    <a:pt x="210" y="262"/>
                  </a:lnTo>
                  <a:lnTo>
                    <a:pt x="207" y="264"/>
                  </a:lnTo>
                  <a:lnTo>
                    <a:pt x="206" y="264"/>
                  </a:lnTo>
                  <a:lnTo>
                    <a:pt x="205" y="266"/>
                  </a:lnTo>
                  <a:lnTo>
                    <a:pt x="200" y="266"/>
                  </a:lnTo>
                  <a:lnTo>
                    <a:pt x="196" y="268"/>
                  </a:lnTo>
                  <a:lnTo>
                    <a:pt x="192" y="270"/>
                  </a:lnTo>
                  <a:lnTo>
                    <a:pt x="188" y="271"/>
                  </a:lnTo>
                  <a:lnTo>
                    <a:pt x="184" y="274"/>
                  </a:lnTo>
                  <a:lnTo>
                    <a:pt x="181" y="277"/>
                  </a:lnTo>
                  <a:lnTo>
                    <a:pt x="180" y="279"/>
                  </a:lnTo>
                  <a:lnTo>
                    <a:pt x="176" y="281"/>
                  </a:lnTo>
                  <a:lnTo>
                    <a:pt x="172" y="284"/>
                  </a:lnTo>
                  <a:lnTo>
                    <a:pt x="166" y="285"/>
                  </a:lnTo>
                  <a:lnTo>
                    <a:pt x="161" y="288"/>
                  </a:lnTo>
                  <a:lnTo>
                    <a:pt x="156" y="289"/>
                  </a:lnTo>
                  <a:lnTo>
                    <a:pt x="152" y="290"/>
                  </a:lnTo>
                  <a:lnTo>
                    <a:pt x="151" y="290"/>
                  </a:lnTo>
                  <a:lnTo>
                    <a:pt x="141" y="290"/>
                  </a:lnTo>
                  <a:lnTo>
                    <a:pt x="140" y="290"/>
                  </a:lnTo>
                  <a:lnTo>
                    <a:pt x="137" y="288"/>
                  </a:lnTo>
                  <a:lnTo>
                    <a:pt x="133" y="286"/>
                  </a:lnTo>
                  <a:lnTo>
                    <a:pt x="128" y="282"/>
                  </a:lnTo>
                  <a:lnTo>
                    <a:pt x="122" y="279"/>
                  </a:lnTo>
                  <a:lnTo>
                    <a:pt x="117" y="277"/>
                  </a:lnTo>
                  <a:lnTo>
                    <a:pt x="112" y="274"/>
                  </a:lnTo>
                  <a:lnTo>
                    <a:pt x="110" y="273"/>
                  </a:lnTo>
                  <a:lnTo>
                    <a:pt x="97" y="26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7" name="Freeform 133"/>
            <p:cNvSpPr>
              <a:spLocks/>
            </p:cNvSpPr>
            <p:nvPr/>
          </p:nvSpPr>
          <p:spPr bwMode="auto">
            <a:xfrm>
              <a:off x="1875" y="2189"/>
              <a:ext cx="170" cy="235"/>
            </a:xfrm>
            <a:custGeom>
              <a:avLst/>
              <a:gdLst>
                <a:gd name="T0" fmla="*/ 82 w 211"/>
                <a:gd name="T1" fmla="*/ 249 h 290"/>
                <a:gd name="T2" fmla="*/ 77 w 211"/>
                <a:gd name="T3" fmla="*/ 229 h 290"/>
                <a:gd name="T4" fmla="*/ 57 w 211"/>
                <a:gd name="T5" fmla="*/ 183 h 290"/>
                <a:gd name="T6" fmla="*/ 41 w 211"/>
                <a:gd name="T7" fmla="*/ 152 h 290"/>
                <a:gd name="T8" fmla="*/ 11 w 211"/>
                <a:gd name="T9" fmla="*/ 116 h 290"/>
                <a:gd name="T10" fmla="*/ 5 w 211"/>
                <a:gd name="T11" fmla="*/ 101 h 290"/>
                <a:gd name="T12" fmla="*/ 6 w 211"/>
                <a:gd name="T13" fmla="*/ 94 h 290"/>
                <a:gd name="T14" fmla="*/ 0 w 211"/>
                <a:gd name="T15" fmla="*/ 88 h 290"/>
                <a:gd name="T16" fmla="*/ 5 w 211"/>
                <a:gd name="T17" fmla="*/ 76 h 290"/>
                <a:gd name="T18" fmla="*/ 16 w 211"/>
                <a:gd name="T19" fmla="*/ 75 h 290"/>
                <a:gd name="T20" fmla="*/ 37 w 211"/>
                <a:gd name="T21" fmla="*/ 82 h 290"/>
                <a:gd name="T22" fmla="*/ 44 w 211"/>
                <a:gd name="T23" fmla="*/ 76 h 290"/>
                <a:gd name="T24" fmla="*/ 48 w 211"/>
                <a:gd name="T25" fmla="*/ 66 h 290"/>
                <a:gd name="T26" fmla="*/ 50 w 211"/>
                <a:gd name="T27" fmla="*/ 58 h 290"/>
                <a:gd name="T28" fmla="*/ 55 w 211"/>
                <a:gd name="T29" fmla="*/ 57 h 290"/>
                <a:gd name="T30" fmla="*/ 74 w 211"/>
                <a:gd name="T31" fmla="*/ 51 h 290"/>
                <a:gd name="T32" fmla="*/ 97 w 211"/>
                <a:gd name="T33" fmla="*/ 18 h 290"/>
                <a:gd name="T34" fmla="*/ 99 w 211"/>
                <a:gd name="T35" fmla="*/ 10 h 290"/>
                <a:gd name="T36" fmla="*/ 96 w 211"/>
                <a:gd name="T37" fmla="*/ 0 h 290"/>
                <a:gd name="T38" fmla="*/ 106 w 211"/>
                <a:gd name="T39" fmla="*/ 5 h 290"/>
                <a:gd name="T40" fmla="*/ 117 w 211"/>
                <a:gd name="T41" fmla="*/ 9 h 290"/>
                <a:gd name="T42" fmla="*/ 144 w 211"/>
                <a:gd name="T43" fmla="*/ 21 h 290"/>
                <a:gd name="T44" fmla="*/ 150 w 211"/>
                <a:gd name="T45" fmla="*/ 36 h 290"/>
                <a:gd name="T46" fmla="*/ 172 w 211"/>
                <a:gd name="T47" fmla="*/ 43 h 290"/>
                <a:gd name="T48" fmla="*/ 187 w 211"/>
                <a:gd name="T49" fmla="*/ 44 h 290"/>
                <a:gd name="T50" fmla="*/ 191 w 211"/>
                <a:gd name="T51" fmla="*/ 50 h 290"/>
                <a:gd name="T52" fmla="*/ 185 w 211"/>
                <a:gd name="T53" fmla="*/ 77 h 290"/>
                <a:gd name="T54" fmla="*/ 177 w 211"/>
                <a:gd name="T55" fmla="*/ 76 h 290"/>
                <a:gd name="T56" fmla="*/ 166 w 211"/>
                <a:gd name="T57" fmla="*/ 79 h 290"/>
                <a:gd name="T58" fmla="*/ 144 w 211"/>
                <a:gd name="T59" fmla="*/ 95 h 290"/>
                <a:gd name="T60" fmla="*/ 141 w 211"/>
                <a:gd name="T61" fmla="*/ 106 h 290"/>
                <a:gd name="T62" fmla="*/ 136 w 211"/>
                <a:gd name="T63" fmla="*/ 115 h 290"/>
                <a:gd name="T64" fmla="*/ 134 w 211"/>
                <a:gd name="T65" fmla="*/ 145 h 290"/>
                <a:gd name="T66" fmla="*/ 139 w 211"/>
                <a:gd name="T67" fmla="*/ 154 h 290"/>
                <a:gd name="T68" fmla="*/ 139 w 211"/>
                <a:gd name="T69" fmla="*/ 159 h 290"/>
                <a:gd name="T70" fmla="*/ 148 w 211"/>
                <a:gd name="T71" fmla="*/ 159 h 290"/>
                <a:gd name="T72" fmla="*/ 152 w 211"/>
                <a:gd name="T73" fmla="*/ 163 h 290"/>
                <a:gd name="T74" fmla="*/ 163 w 211"/>
                <a:gd name="T75" fmla="*/ 165 h 290"/>
                <a:gd name="T76" fmla="*/ 172 w 211"/>
                <a:gd name="T77" fmla="*/ 163 h 290"/>
                <a:gd name="T78" fmla="*/ 181 w 211"/>
                <a:gd name="T79" fmla="*/ 154 h 290"/>
                <a:gd name="T80" fmla="*/ 185 w 211"/>
                <a:gd name="T81" fmla="*/ 189 h 290"/>
                <a:gd name="T82" fmla="*/ 194 w 211"/>
                <a:gd name="T83" fmla="*/ 190 h 290"/>
                <a:gd name="T84" fmla="*/ 210 w 211"/>
                <a:gd name="T85" fmla="*/ 211 h 290"/>
                <a:gd name="T86" fmla="*/ 210 w 211"/>
                <a:gd name="T87" fmla="*/ 220 h 290"/>
                <a:gd name="T88" fmla="*/ 206 w 211"/>
                <a:gd name="T89" fmla="*/ 240 h 290"/>
                <a:gd name="T90" fmla="*/ 211 w 211"/>
                <a:gd name="T91" fmla="*/ 252 h 290"/>
                <a:gd name="T92" fmla="*/ 206 w 211"/>
                <a:gd name="T93" fmla="*/ 264 h 290"/>
                <a:gd name="T94" fmla="*/ 188 w 211"/>
                <a:gd name="T95" fmla="*/ 271 h 290"/>
                <a:gd name="T96" fmla="*/ 172 w 211"/>
                <a:gd name="T97" fmla="*/ 284 h 290"/>
                <a:gd name="T98" fmla="*/ 151 w 211"/>
                <a:gd name="T99" fmla="*/ 290 h 290"/>
                <a:gd name="T100" fmla="*/ 128 w 211"/>
                <a:gd name="T101" fmla="*/ 282 h 290"/>
                <a:gd name="T102" fmla="*/ 97 w 211"/>
                <a:gd name="T103" fmla="*/ 268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" h="290">
                  <a:moveTo>
                    <a:pt x="97" y="268"/>
                  </a:moveTo>
                  <a:lnTo>
                    <a:pt x="92" y="263"/>
                  </a:lnTo>
                  <a:lnTo>
                    <a:pt x="88" y="259"/>
                  </a:lnTo>
                  <a:lnTo>
                    <a:pt x="85" y="255"/>
                  </a:lnTo>
                  <a:lnTo>
                    <a:pt x="82" y="249"/>
                  </a:lnTo>
                  <a:lnTo>
                    <a:pt x="81" y="244"/>
                  </a:lnTo>
                  <a:lnTo>
                    <a:pt x="81" y="240"/>
                  </a:lnTo>
                  <a:lnTo>
                    <a:pt x="79" y="235"/>
                  </a:lnTo>
                  <a:lnTo>
                    <a:pt x="78" y="233"/>
                  </a:lnTo>
                  <a:lnTo>
                    <a:pt x="77" y="229"/>
                  </a:lnTo>
                  <a:lnTo>
                    <a:pt x="74" y="220"/>
                  </a:lnTo>
                  <a:lnTo>
                    <a:pt x="70" y="212"/>
                  </a:lnTo>
                  <a:lnTo>
                    <a:pt x="66" y="201"/>
                  </a:lnTo>
                  <a:lnTo>
                    <a:pt x="61" y="192"/>
                  </a:lnTo>
                  <a:lnTo>
                    <a:pt x="57" y="183"/>
                  </a:lnTo>
                  <a:lnTo>
                    <a:pt x="55" y="178"/>
                  </a:lnTo>
                  <a:lnTo>
                    <a:pt x="53" y="175"/>
                  </a:lnTo>
                  <a:lnTo>
                    <a:pt x="50" y="168"/>
                  </a:lnTo>
                  <a:lnTo>
                    <a:pt x="46" y="160"/>
                  </a:lnTo>
                  <a:lnTo>
                    <a:pt x="41" y="152"/>
                  </a:lnTo>
                  <a:lnTo>
                    <a:pt x="34" y="143"/>
                  </a:lnTo>
                  <a:lnTo>
                    <a:pt x="28" y="135"/>
                  </a:lnTo>
                  <a:lnTo>
                    <a:pt x="22" y="128"/>
                  </a:lnTo>
                  <a:lnTo>
                    <a:pt x="16" y="121"/>
                  </a:lnTo>
                  <a:lnTo>
                    <a:pt x="11" y="116"/>
                  </a:lnTo>
                  <a:lnTo>
                    <a:pt x="8" y="112"/>
                  </a:lnTo>
                  <a:lnTo>
                    <a:pt x="5" y="108"/>
                  </a:lnTo>
                  <a:lnTo>
                    <a:pt x="5" y="105"/>
                  </a:lnTo>
                  <a:lnTo>
                    <a:pt x="4" y="102"/>
                  </a:lnTo>
                  <a:lnTo>
                    <a:pt x="5" y="101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5" y="93"/>
                  </a:lnTo>
                  <a:lnTo>
                    <a:pt x="4" y="91"/>
                  </a:lnTo>
                  <a:lnTo>
                    <a:pt x="2" y="90"/>
                  </a:lnTo>
                  <a:lnTo>
                    <a:pt x="1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1" y="83"/>
                  </a:lnTo>
                  <a:lnTo>
                    <a:pt x="1" y="80"/>
                  </a:lnTo>
                  <a:lnTo>
                    <a:pt x="2" y="77"/>
                  </a:lnTo>
                  <a:lnTo>
                    <a:pt x="5" y="76"/>
                  </a:lnTo>
                  <a:lnTo>
                    <a:pt x="6" y="75"/>
                  </a:lnTo>
                  <a:lnTo>
                    <a:pt x="9" y="75"/>
                  </a:lnTo>
                  <a:lnTo>
                    <a:pt x="11" y="73"/>
                  </a:lnTo>
                  <a:lnTo>
                    <a:pt x="12" y="75"/>
                  </a:lnTo>
                  <a:lnTo>
                    <a:pt x="16" y="75"/>
                  </a:lnTo>
                  <a:lnTo>
                    <a:pt x="19" y="79"/>
                  </a:lnTo>
                  <a:lnTo>
                    <a:pt x="31" y="77"/>
                  </a:lnTo>
                  <a:lnTo>
                    <a:pt x="33" y="80"/>
                  </a:lnTo>
                  <a:lnTo>
                    <a:pt x="34" y="82"/>
                  </a:lnTo>
                  <a:lnTo>
                    <a:pt x="37" y="82"/>
                  </a:lnTo>
                  <a:lnTo>
                    <a:pt x="38" y="80"/>
                  </a:lnTo>
                  <a:lnTo>
                    <a:pt x="41" y="79"/>
                  </a:lnTo>
                  <a:lnTo>
                    <a:pt x="42" y="77"/>
                  </a:lnTo>
                  <a:lnTo>
                    <a:pt x="42" y="76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5" y="72"/>
                  </a:lnTo>
                  <a:lnTo>
                    <a:pt x="46" y="71"/>
                  </a:lnTo>
                  <a:lnTo>
                    <a:pt x="46" y="68"/>
                  </a:lnTo>
                  <a:lnTo>
                    <a:pt x="48" y="66"/>
                  </a:lnTo>
                  <a:lnTo>
                    <a:pt x="48" y="64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49" y="60"/>
                  </a:lnTo>
                  <a:lnTo>
                    <a:pt x="50" y="58"/>
                  </a:lnTo>
                  <a:lnTo>
                    <a:pt x="52" y="57"/>
                  </a:lnTo>
                  <a:lnTo>
                    <a:pt x="53" y="57"/>
                  </a:lnTo>
                  <a:lnTo>
                    <a:pt x="53" y="55"/>
                  </a:lnTo>
                  <a:lnTo>
                    <a:pt x="55" y="55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60" y="55"/>
                  </a:lnTo>
                  <a:lnTo>
                    <a:pt x="66" y="55"/>
                  </a:lnTo>
                  <a:lnTo>
                    <a:pt x="70" y="53"/>
                  </a:lnTo>
                  <a:lnTo>
                    <a:pt x="74" y="51"/>
                  </a:lnTo>
                  <a:lnTo>
                    <a:pt x="81" y="44"/>
                  </a:lnTo>
                  <a:lnTo>
                    <a:pt x="88" y="38"/>
                  </a:lnTo>
                  <a:lnTo>
                    <a:pt x="92" y="29"/>
                  </a:lnTo>
                  <a:lnTo>
                    <a:pt x="96" y="24"/>
                  </a:lnTo>
                  <a:lnTo>
                    <a:pt x="97" y="18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99" y="10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6" y="0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3"/>
                  </a:lnTo>
                  <a:lnTo>
                    <a:pt x="104" y="5"/>
                  </a:lnTo>
                  <a:lnTo>
                    <a:pt x="106" y="5"/>
                  </a:lnTo>
                  <a:lnTo>
                    <a:pt x="107" y="6"/>
                  </a:lnTo>
                  <a:lnTo>
                    <a:pt x="110" y="6"/>
                  </a:lnTo>
                  <a:lnTo>
                    <a:pt x="111" y="7"/>
                  </a:lnTo>
                  <a:lnTo>
                    <a:pt x="112" y="7"/>
                  </a:lnTo>
                  <a:lnTo>
                    <a:pt x="117" y="9"/>
                  </a:lnTo>
                  <a:lnTo>
                    <a:pt x="121" y="10"/>
                  </a:lnTo>
                  <a:lnTo>
                    <a:pt x="128" y="11"/>
                  </a:lnTo>
                  <a:lnTo>
                    <a:pt x="133" y="14"/>
                  </a:lnTo>
                  <a:lnTo>
                    <a:pt x="140" y="17"/>
                  </a:lnTo>
                  <a:lnTo>
                    <a:pt x="144" y="21"/>
                  </a:lnTo>
                  <a:lnTo>
                    <a:pt x="148" y="25"/>
                  </a:lnTo>
                  <a:lnTo>
                    <a:pt x="148" y="28"/>
                  </a:lnTo>
                  <a:lnTo>
                    <a:pt x="148" y="29"/>
                  </a:lnTo>
                  <a:lnTo>
                    <a:pt x="148" y="33"/>
                  </a:lnTo>
                  <a:lnTo>
                    <a:pt x="150" y="36"/>
                  </a:lnTo>
                  <a:lnTo>
                    <a:pt x="154" y="39"/>
                  </a:lnTo>
                  <a:lnTo>
                    <a:pt x="158" y="42"/>
                  </a:lnTo>
                  <a:lnTo>
                    <a:pt x="166" y="43"/>
                  </a:lnTo>
                  <a:lnTo>
                    <a:pt x="169" y="43"/>
                  </a:lnTo>
                  <a:lnTo>
                    <a:pt x="172" y="43"/>
                  </a:lnTo>
                  <a:lnTo>
                    <a:pt x="174" y="43"/>
                  </a:lnTo>
                  <a:lnTo>
                    <a:pt x="178" y="43"/>
                  </a:lnTo>
                  <a:lnTo>
                    <a:pt x="183" y="43"/>
                  </a:lnTo>
                  <a:lnTo>
                    <a:pt x="184" y="43"/>
                  </a:lnTo>
                  <a:lnTo>
                    <a:pt x="187" y="44"/>
                  </a:lnTo>
                  <a:lnTo>
                    <a:pt x="188" y="46"/>
                  </a:lnTo>
                  <a:lnTo>
                    <a:pt x="189" y="47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50"/>
                  </a:lnTo>
                  <a:lnTo>
                    <a:pt x="192" y="51"/>
                  </a:lnTo>
                  <a:lnTo>
                    <a:pt x="184" y="71"/>
                  </a:lnTo>
                  <a:lnTo>
                    <a:pt x="194" y="71"/>
                  </a:lnTo>
                  <a:lnTo>
                    <a:pt x="192" y="77"/>
                  </a:lnTo>
                  <a:lnTo>
                    <a:pt x="185" y="77"/>
                  </a:lnTo>
                  <a:lnTo>
                    <a:pt x="184" y="77"/>
                  </a:lnTo>
                  <a:lnTo>
                    <a:pt x="183" y="76"/>
                  </a:lnTo>
                  <a:lnTo>
                    <a:pt x="181" y="76"/>
                  </a:lnTo>
                  <a:lnTo>
                    <a:pt x="178" y="75"/>
                  </a:lnTo>
                  <a:lnTo>
                    <a:pt x="177" y="76"/>
                  </a:lnTo>
                  <a:lnTo>
                    <a:pt x="176" y="76"/>
                  </a:lnTo>
                  <a:lnTo>
                    <a:pt x="174" y="77"/>
                  </a:lnTo>
                  <a:lnTo>
                    <a:pt x="173" y="77"/>
                  </a:lnTo>
                  <a:lnTo>
                    <a:pt x="170" y="77"/>
                  </a:lnTo>
                  <a:lnTo>
                    <a:pt x="166" y="79"/>
                  </a:lnTo>
                  <a:lnTo>
                    <a:pt x="162" y="80"/>
                  </a:lnTo>
                  <a:lnTo>
                    <a:pt x="156" y="83"/>
                  </a:lnTo>
                  <a:lnTo>
                    <a:pt x="151" y="86"/>
                  </a:lnTo>
                  <a:lnTo>
                    <a:pt x="147" y="90"/>
                  </a:lnTo>
                  <a:lnTo>
                    <a:pt x="144" y="95"/>
                  </a:lnTo>
                  <a:lnTo>
                    <a:pt x="144" y="97"/>
                  </a:lnTo>
                  <a:lnTo>
                    <a:pt x="144" y="99"/>
                  </a:lnTo>
                  <a:lnTo>
                    <a:pt x="143" y="101"/>
                  </a:lnTo>
                  <a:lnTo>
                    <a:pt x="143" y="104"/>
                  </a:lnTo>
                  <a:lnTo>
                    <a:pt x="141" y="106"/>
                  </a:lnTo>
                  <a:lnTo>
                    <a:pt x="141" y="108"/>
                  </a:lnTo>
                  <a:lnTo>
                    <a:pt x="140" y="109"/>
                  </a:lnTo>
                  <a:lnTo>
                    <a:pt x="139" y="110"/>
                  </a:lnTo>
                  <a:lnTo>
                    <a:pt x="137" y="112"/>
                  </a:lnTo>
                  <a:lnTo>
                    <a:pt x="136" y="115"/>
                  </a:lnTo>
                  <a:lnTo>
                    <a:pt x="133" y="119"/>
                  </a:lnTo>
                  <a:lnTo>
                    <a:pt x="132" y="124"/>
                  </a:lnTo>
                  <a:lnTo>
                    <a:pt x="130" y="130"/>
                  </a:lnTo>
                  <a:lnTo>
                    <a:pt x="132" y="138"/>
                  </a:lnTo>
                  <a:lnTo>
                    <a:pt x="134" y="145"/>
                  </a:lnTo>
                  <a:lnTo>
                    <a:pt x="134" y="146"/>
                  </a:lnTo>
                  <a:lnTo>
                    <a:pt x="136" y="148"/>
                  </a:lnTo>
                  <a:lnTo>
                    <a:pt x="136" y="149"/>
                  </a:lnTo>
                  <a:lnTo>
                    <a:pt x="137" y="152"/>
                  </a:lnTo>
                  <a:lnTo>
                    <a:pt x="139" y="154"/>
                  </a:lnTo>
                  <a:lnTo>
                    <a:pt x="139" y="157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7" y="159"/>
                  </a:lnTo>
                  <a:lnTo>
                    <a:pt x="139" y="159"/>
                  </a:lnTo>
                  <a:lnTo>
                    <a:pt x="140" y="157"/>
                  </a:lnTo>
                  <a:lnTo>
                    <a:pt x="143" y="157"/>
                  </a:lnTo>
                  <a:lnTo>
                    <a:pt x="144" y="157"/>
                  </a:lnTo>
                  <a:lnTo>
                    <a:pt x="147" y="157"/>
                  </a:lnTo>
                  <a:lnTo>
                    <a:pt x="148" y="159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1" y="161"/>
                  </a:lnTo>
                  <a:lnTo>
                    <a:pt x="151" y="163"/>
                  </a:lnTo>
                  <a:lnTo>
                    <a:pt x="152" y="163"/>
                  </a:lnTo>
                  <a:lnTo>
                    <a:pt x="154" y="163"/>
                  </a:lnTo>
                  <a:lnTo>
                    <a:pt x="156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3" y="165"/>
                  </a:lnTo>
                  <a:lnTo>
                    <a:pt x="165" y="165"/>
                  </a:lnTo>
                  <a:lnTo>
                    <a:pt x="166" y="165"/>
                  </a:lnTo>
                  <a:lnTo>
                    <a:pt x="167" y="165"/>
                  </a:lnTo>
                  <a:lnTo>
                    <a:pt x="169" y="164"/>
                  </a:lnTo>
                  <a:lnTo>
                    <a:pt x="172" y="163"/>
                  </a:lnTo>
                  <a:lnTo>
                    <a:pt x="174" y="161"/>
                  </a:lnTo>
                  <a:lnTo>
                    <a:pt x="177" y="160"/>
                  </a:lnTo>
                  <a:lnTo>
                    <a:pt x="180" y="159"/>
                  </a:lnTo>
                  <a:lnTo>
                    <a:pt x="181" y="156"/>
                  </a:lnTo>
                  <a:lnTo>
                    <a:pt x="181" y="154"/>
                  </a:lnTo>
                  <a:lnTo>
                    <a:pt x="181" y="185"/>
                  </a:lnTo>
                  <a:lnTo>
                    <a:pt x="181" y="186"/>
                  </a:lnTo>
                  <a:lnTo>
                    <a:pt x="183" y="186"/>
                  </a:lnTo>
                  <a:lnTo>
                    <a:pt x="184" y="187"/>
                  </a:lnTo>
                  <a:lnTo>
                    <a:pt x="185" y="189"/>
                  </a:lnTo>
                  <a:lnTo>
                    <a:pt x="187" y="189"/>
                  </a:lnTo>
                  <a:lnTo>
                    <a:pt x="189" y="190"/>
                  </a:lnTo>
                  <a:lnTo>
                    <a:pt x="191" y="190"/>
                  </a:lnTo>
                  <a:lnTo>
                    <a:pt x="192" y="190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6" y="190"/>
                  </a:lnTo>
                  <a:lnTo>
                    <a:pt x="198" y="190"/>
                  </a:lnTo>
                  <a:lnTo>
                    <a:pt x="209" y="209"/>
                  </a:lnTo>
                  <a:lnTo>
                    <a:pt x="210" y="211"/>
                  </a:lnTo>
                  <a:lnTo>
                    <a:pt x="210" y="212"/>
                  </a:lnTo>
                  <a:lnTo>
                    <a:pt x="210" y="213"/>
                  </a:lnTo>
                  <a:lnTo>
                    <a:pt x="210" y="216"/>
                  </a:lnTo>
                  <a:lnTo>
                    <a:pt x="210" y="219"/>
                  </a:lnTo>
                  <a:lnTo>
                    <a:pt x="210" y="220"/>
                  </a:lnTo>
                  <a:lnTo>
                    <a:pt x="209" y="223"/>
                  </a:lnTo>
                  <a:lnTo>
                    <a:pt x="207" y="226"/>
                  </a:lnTo>
                  <a:lnTo>
                    <a:pt x="207" y="230"/>
                  </a:lnTo>
                  <a:lnTo>
                    <a:pt x="206" y="235"/>
                  </a:lnTo>
                  <a:lnTo>
                    <a:pt x="206" y="240"/>
                  </a:lnTo>
                  <a:lnTo>
                    <a:pt x="206" y="244"/>
                  </a:lnTo>
                  <a:lnTo>
                    <a:pt x="207" y="246"/>
                  </a:lnTo>
                  <a:lnTo>
                    <a:pt x="209" y="248"/>
                  </a:lnTo>
                  <a:lnTo>
                    <a:pt x="210" y="251"/>
                  </a:lnTo>
                  <a:lnTo>
                    <a:pt x="211" y="252"/>
                  </a:lnTo>
                  <a:lnTo>
                    <a:pt x="211" y="256"/>
                  </a:lnTo>
                  <a:lnTo>
                    <a:pt x="211" y="259"/>
                  </a:lnTo>
                  <a:lnTo>
                    <a:pt x="210" y="262"/>
                  </a:lnTo>
                  <a:lnTo>
                    <a:pt x="207" y="264"/>
                  </a:lnTo>
                  <a:lnTo>
                    <a:pt x="206" y="264"/>
                  </a:lnTo>
                  <a:lnTo>
                    <a:pt x="205" y="266"/>
                  </a:lnTo>
                  <a:lnTo>
                    <a:pt x="200" y="266"/>
                  </a:lnTo>
                  <a:lnTo>
                    <a:pt x="196" y="268"/>
                  </a:lnTo>
                  <a:lnTo>
                    <a:pt x="192" y="270"/>
                  </a:lnTo>
                  <a:lnTo>
                    <a:pt x="188" y="271"/>
                  </a:lnTo>
                  <a:lnTo>
                    <a:pt x="184" y="274"/>
                  </a:lnTo>
                  <a:lnTo>
                    <a:pt x="181" y="277"/>
                  </a:lnTo>
                  <a:lnTo>
                    <a:pt x="180" y="279"/>
                  </a:lnTo>
                  <a:lnTo>
                    <a:pt x="176" y="281"/>
                  </a:lnTo>
                  <a:lnTo>
                    <a:pt x="172" y="284"/>
                  </a:lnTo>
                  <a:lnTo>
                    <a:pt x="166" y="285"/>
                  </a:lnTo>
                  <a:lnTo>
                    <a:pt x="161" y="288"/>
                  </a:lnTo>
                  <a:lnTo>
                    <a:pt x="156" y="289"/>
                  </a:lnTo>
                  <a:lnTo>
                    <a:pt x="152" y="290"/>
                  </a:lnTo>
                  <a:lnTo>
                    <a:pt x="151" y="290"/>
                  </a:lnTo>
                  <a:lnTo>
                    <a:pt x="141" y="290"/>
                  </a:lnTo>
                  <a:lnTo>
                    <a:pt x="140" y="290"/>
                  </a:lnTo>
                  <a:lnTo>
                    <a:pt x="137" y="288"/>
                  </a:lnTo>
                  <a:lnTo>
                    <a:pt x="133" y="286"/>
                  </a:lnTo>
                  <a:lnTo>
                    <a:pt x="128" y="282"/>
                  </a:lnTo>
                  <a:lnTo>
                    <a:pt x="122" y="279"/>
                  </a:lnTo>
                  <a:lnTo>
                    <a:pt x="117" y="277"/>
                  </a:lnTo>
                  <a:lnTo>
                    <a:pt x="112" y="274"/>
                  </a:lnTo>
                  <a:lnTo>
                    <a:pt x="110" y="273"/>
                  </a:lnTo>
                  <a:lnTo>
                    <a:pt x="97" y="26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8" name="Freeform 134"/>
            <p:cNvSpPr>
              <a:spLocks/>
            </p:cNvSpPr>
            <p:nvPr/>
          </p:nvSpPr>
          <p:spPr bwMode="auto">
            <a:xfrm>
              <a:off x="1992" y="2016"/>
              <a:ext cx="171" cy="167"/>
            </a:xfrm>
            <a:custGeom>
              <a:avLst/>
              <a:gdLst>
                <a:gd name="T0" fmla="*/ 205 w 211"/>
                <a:gd name="T1" fmla="*/ 62 h 205"/>
                <a:gd name="T2" fmla="*/ 200 w 211"/>
                <a:gd name="T3" fmla="*/ 59 h 205"/>
                <a:gd name="T4" fmla="*/ 194 w 211"/>
                <a:gd name="T5" fmla="*/ 54 h 205"/>
                <a:gd name="T6" fmla="*/ 185 w 211"/>
                <a:gd name="T7" fmla="*/ 47 h 205"/>
                <a:gd name="T8" fmla="*/ 172 w 211"/>
                <a:gd name="T9" fmla="*/ 41 h 205"/>
                <a:gd name="T10" fmla="*/ 161 w 211"/>
                <a:gd name="T11" fmla="*/ 32 h 205"/>
                <a:gd name="T12" fmla="*/ 149 w 211"/>
                <a:gd name="T13" fmla="*/ 26 h 205"/>
                <a:gd name="T14" fmla="*/ 128 w 211"/>
                <a:gd name="T15" fmla="*/ 32 h 205"/>
                <a:gd name="T16" fmla="*/ 108 w 211"/>
                <a:gd name="T17" fmla="*/ 39 h 205"/>
                <a:gd name="T18" fmla="*/ 91 w 211"/>
                <a:gd name="T19" fmla="*/ 36 h 205"/>
                <a:gd name="T20" fmla="*/ 76 w 211"/>
                <a:gd name="T21" fmla="*/ 26 h 205"/>
                <a:gd name="T22" fmla="*/ 65 w 211"/>
                <a:gd name="T23" fmla="*/ 17 h 205"/>
                <a:gd name="T24" fmla="*/ 60 w 211"/>
                <a:gd name="T25" fmla="*/ 7 h 205"/>
                <a:gd name="T26" fmla="*/ 54 w 211"/>
                <a:gd name="T27" fmla="*/ 3 h 205"/>
                <a:gd name="T28" fmla="*/ 51 w 211"/>
                <a:gd name="T29" fmla="*/ 3 h 205"/>
                <a:gd name="T30" fmla="*/ 53 w 211"/>
                <a:gd name="T31" fmla="*/ 0 h 205"/>
                <a:gd name="T32" fmla="*/ 50 w 211"/>
                <a:gd name="T33" fmla="*/ 0 h 205"/>
                <a:gd name="T34" fmla="*/ 50 w 211"/>
                <a:gd name="T35" fmla="*/ 1 h 205"/>
                <a:gd name="T36" fmla="*/ 51 w 211"/>
                <a:gd name="T37" fmla="*/ 4 h 205"/>
                <a:gd name="T38" fmla="*/ 49 w 211"/>
                <a:gd name="T39" fmla="*/ 7 h 205"/>
                <a:gd name="T40" fmla="*/ 49 w 211"/>
                <a:gd name="T41" fmla="*/ 8 h 205"/>
                <a:gd name="T42" fmla="*/ 46 w 211"/>
                <a:gd name="T43" fmla="*/ 12 h 205"/>
                <a:gd name="T44" fmla="*/ 44 w 211"/>
                <a:gd name="T45" fmla="*/ 14 h 205"/>
                <a:gd name="T46" fmla="*/ 44 w 211"/>
                <a:gd name="T47" fmla="*/ 18 h 205"/>
                <a:gd name="T48" fmla="*/ 44 w 211"/>
                <a:gd name="T49" fmla="*/ 22 h 205"/>
                <a:gd name="T50" fmla="*/ 42 w 211"/>
                <a:gd name="T51" fmla="*/ 23 h 205"/>
                <a:gd name="T52" fmla="*/ 40 w 211"/>
                <a:gd name="T53" fmla="*/ 18 h 205"/>
                <a:gd name="T54" fmla="*/ 42 w 211"/>
                <a:gd name="T55" fmla="*/ 14 h 205"/>
                <a:gd name="T56" fmla="*/ 42 w 211"/>
                <a:gd name="T57" fmla="*/ 12 h 205"/>
                <a:gd name="T58" fmla="*/ 40 w 211"/>
                <a:gd name="T59" fmla="*/ 7 h 205"/>
                <a:gd name="T60" fmla="*/ 40 w 211"/>
                <a:gd name="T61" fmla="*/ 4 h 205"/>
                <a:gd name="T62" fmla="*/ 27 w 211"/>
                <a:gd name="T63" fmla="*/ 15 h 205"/>
                <a:gd name="T64" fmla="*/ 21 w 211"/>
                <a:gd name="T65" fmla="*/ 21 h 205"/>
                <a:gd name="T66" fmla="*/ 5 w 211"/>
                <a:gd name="T67" fmla="*/ 32 h 205"/>
                <a:gd name="T68" fmla="*/ 0 w 211"/>
                <a:gd name="T69" fmla="*/ 40 h 205"/>
                <a:gd name="T70" fmla="*/ 3 w 211"/>
                <a:gd name="T71" fmla="*/ 55 h 205"/>
                <a:gd name="T72" fmla="*/ 6 w 211"/>
                <a:gd name="T73" fmla="*/ 62 h 205"/>
                <a:gd name="T74" fmla="*/ 3 w 211"/>
                <a:gd name="T75" fmla="*/ 78 h 205"/>
                <a:gd name="T76" fmla="*/ 16 w 211"/>
                <a:gd name="T77" fmla="*/ 102 h 205"/>
                <a:gd name="T78" fmla="*/ 62 w 211"/>
                <a:gd name="T79" fmla="*/ 115 h 205"/>
                <a:gd name="T80" fmla="*/ 73 w 211"/>
                <a:gd name="T81" fmla="*/ 115 h 205"/>
                <a:gd name="T82" fmla="*/ 79 w 211"/>
                <a:gd name="T83" fmla="*/ 114 h 205"/>
                <a:gd name="T84" fmla="*/ 79 w 211"/>
                <a:gd name="T85" fmla="*/ 122 h 205"/>
                <a:gd name="T86" fmla="*/ 72 w 211"/>
                <a:gd name="T87" fmla="*/ 144 h 205"/>
                <a:gd name="T88" fmla="*/ 76 w 211"/>
                <a:gd name="T89" fmla="*/ 168 h 205"/>
                <a:gd name="T90" fmla="*/ 82 w 211"/>
                <a:gd name="T91" fmla="*/ 190 h 205"/>
                <a:gd name="T92" fmla="*/ 149 w 211"/>
                <a:gd name="T93" fmla="*/ 175 h 205"/>
                <a:gd name="T94" fmla="*/ 142 w 211"/>
                <a:gd name="T95" fmla="*/ 166 h 205"/>
                <a:gd name="T96" fmla="*/ 134 w 211"/>
                <a:gd name="T97" fmla="*/ 157 h 205"/>
                <a:gd name="T98" fmla="*/ 131 w 211"/>
                <a:gd name="T99" fmla="*/ 148 h 205"/>
                <a:gd name="T100" fmla="*/ 126 w 211"/>
                <a:gd name="T101" fmla="*/ 146 h 205"/>
                <a:gd name="T102" fmla="*/ 124 w 211"/>
                <a:gd name="T103" fmla="*/ 146 h 205"/>
                <a:gd name="T104" fmla="*/ 128 w 211"/>
                <a:gd name="T105" fmla="*/ 142 h 205"/>
                <a:gd name="T106" fmla="*/ 150 w 211"/>
                <a:gd name="T107" fmla="*/ 147 h 205"/>
                <a:gd name="T108" fmla="*/ 185 w 211"/>
                <a:gd name="T109" fmla="*/ 143 h 205"/>
                <a:gd name="T110" fmla="*/ 196 w 211"/>
                <a:gd name="T111" fmla="*/ 142 h 205"/>
                <a:gd name="T112" fmla="*/ 187 w 211"/>
                <a:gd name="T113" fmla="*/ 115 h 205"/>
                <a:gd name="T114" fmla="*/ 186 w 211"/>
                <a:gd name="T115" fmla="*/ 98 h 205"/>
                <a:gd name="T116" fmla="*/ 200 w 211"/>
                <a:gd name="T117" fmla="*/ 74 h 205"/>
                <a:gd name="T118" fmla="*/ 211 w 211"/>
                <a:gd name="T119" fmla="*/ 6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1" h="205">
                  <a:moveTo>
                    <a:pt x="211" y="67"/>
                  </a:moveTo>
                  <a:lnTo>
                    <a:pt x="209" y="66"/>
                  </a:lnTo>
                  <a:lnTo>
                    <a:pt x="208" y="65"/>
                  </a:lnTo>
                  <a:lnTo>
                    <a:pt x="207" y="63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198" y="58"/>
                  </a:lnTo>
                  <a:lnTo>
                    <a:pt x="197" y="56"/>
                  </a:lnTo>
                  <a:lnTo>
                    <a:pt x="196" y="55"/>
                  </a:lnTo>
                  <a:lnTo>
                    <a:pt x="194" y="54"/>
                  </a:lnTo>
                  <a:lnTo>
                    <a:pt x="193" y="52"/>
                  </a:lnTo>
                  <a:lnTo>
                    <a:pt x="192" y="51"/>
                  </a:lnTo>
                  <a:lnTo>
                    <a:pt x="190" y="50"/>
                  </a:lnTo>
                  <a:lnTo>
                    <a:pt x="187" y="48"/>
                  </a:lnTo>
                  <a:lnTo>
                    <a:pt x="185" y="47"/>
                  </a:lnTo>
                  <a:lnTo>
                    <a:pt x="182" y="45"/>
                  </a:lnTo>
                  <a:lnTo>
                    <a:pt x="179" y="44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2" y="41"/>
                  </a:lnTo>
                  <a:lnTo>
                    <a:pt x="171" y="40"/>
                  </a:lnTo>
                  <a:lnTo>
                    <a:pt x="168" y="39"/>
                  </a:lnTo>
                  <a:lnTo>
                    <a:pt x="167" y="36"/>
                  </a:lnTo>
                  <a:lnTo>
                    <a:pt x="164" y="33"/>
                  </a:lnTo>
                  <a:lnTo>
                    <a:pt x="161" y="32"/>
                  </a:lnTo>
                  <a:lnTo>
                    <a:pt x="160" y="29"/>
                  </a:lnTo>
                  <a:lnTo>
                    <a:pt x="159" y="29"/>
                  </a:lnTo>
                  <a:lnTo>
                    <a:pt x="159" y="28"/>
                  </a:lnTo>
                  <a:lnTo>
                    <a:pt x="153" y="26"/>
                  </a:lnTo>
                  <a:lnTo>
                    <a:pt x="149" y="26"/>
                  </a:lnTo>
                  <a:lnTo>
                    <a:pt x="143" y="28"/>
                  </a:lnTo>
                  <a:lnTo>
                    <a:pt x="138" y="29"/>
                  </a:lnTo>
                  <a:lnTo>
                    <a:pt x="134" y="29"/>
                  </a:lnTo>
                  <a:lnTo>
                    <a:pt x="131" y="30"/>
                  </a:lnTo>
                  <a:lnTo>
                    <a:pt x="128" y="32"/>
                  </a:lnTo>
                  <a:lnTo>
                    <a:pt x="127" y="32"/>
                  </a:lnTo>
                  <a:lnTo>
                    <a:pt x="123" y="34"/>
                  </a:lnTo>
                  <a:lnTo>
                    <a:pt x="117" y="37"/>
                  </a:lnTo>
                  <a:lnTo>
                    <a:pt x="112" y="37"/>
                  </a:lnTo>
                  <a:lnTo>
                    <a:pt x="108" y="39"/>
                  </a:lnTo>
                  <a:lnTo>
                    <a:pt x="102" y="39"/>
                  </a:lnTo>
                  <a:lnTo>
                    <a:pt x="99" y="37"/>
                  </a:lnTo>
                  <a:lnTo>
                    <a:pt x="97" y="37"/>
                  </a:lnTo>
                  <a:lnTo>
                    <a:pt x="95" y="37"/>
                  </a:lnTo>
                  <a:lnTo>
                    <a:pt x="91" y="36"/>
                  </a:lnTo>
                  <a:lnTo>
                    <a:pt x="87" y="34"/>
                  </a:lnTo>
                  <a:lnTo>
                    <a:pt x="83" y="33"/>
                  </a:lnTo>
                  <a:lnTo>
                    <a:pt x="80" y="30"/>
                  </a:lnTo>
                  <a:lnTo>
                    <a:pt x="79" y="28"/>
                  </a:lnTo>
                  <a:lnTo>
                    <a:pt x="76" y="26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2" y="22"/>
                  </a:lnTo>
                  <a:lnTo>
                    <a:pt x="68" y="19"/>
                  </a:lnTo>
                  <a:lnTo>
                    <a:pt x="65" y="17"/>
                  </a:lnTo>
                  <a:lnTo>
                    <a:pt x="64" y="14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5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0" y="22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1"/>
                  </a:lnTo>
                  <a:lnTo>
                    <a:pt x="28" y="12"/>
                  </a:lnTo>
                  <a:lnTo>
                    <a:pt x="27" y="15"/>
                  </a:lnTo>
                  <a:lnTo>
                    <a:pt x="25" y="17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18" y="22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2" y="51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6" y="62"/>
                  </a:lnTo>
                  <a:lnTo>
                    <a:pt x="6" y="65"/>
                  </a:lnTo>
                  <a:lnTo>
                    <a:pt x="6" y="69"/>
                  </a:lnTo>
                  <a:lnTo>
                    <a:pt x="5" y="70"/>
                  </a:lnTo>
                  <a:lnTo>
                    <a:pt x="5" y="73"/>
                  </a:lnTo>
                  <a:lnTo>
                    <a:pt x="3" y="78"/>
                  </a:lnTo>
                  <a:lnTo>
                    <a:pt x="2" y="83"/>
                  </a:lnTo>
                  <a:lnTo>
                    <a:pt x="3" y="89"/>
                  </a:lnTo>
                  <a:lnTo>
                    <a:pt x="5" y="93"/>
                  </a:lnTo>
                  <a:lnTo>
                    <a:pt x="9" y="98"/>
                  </a:lnTo>
                  <a:lnTo>
                    <a:pt x="16" y="102"/>
                  </a:lnTo>
                  <a:lnTo>
                    <a:pt x="55" y="106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60" y="115"/>
                  </a:lnTo>
                  <a:lnTo>
                    <a:pt x="62" y="115"/>
                  </a:lnTo>
                  <a:lnTo>
                    <a:pt x="64" y="117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3" y="115"/>
                  </a:lnTo>
                  <a:lnTo>
                    <a:pt x="75" y="114"/>
                  </a:lnTo>
                  <a:lnTo>
                    <a:pt x="76" y="114"/>
                  </a:lnTo>
                  <a:lnTo>
                    <a:pt x="77" y="114"/>
                  </a:lnTo>
                  <a:lnTo>
                    <a:pt x="79" y="114"/>
                  </a:lnTo>
                  <a:lnTo>
                    <a:pt x="80" y="114"/>
                  </a:lnTo>
                  <a:lnTo>
                    <a:pt x="82" y="117"/>
                  </a:lnTo>
                  <a:lnTo>
                    <a:pt x="82" y="120"/>
                  </a:lnTo>
                  <a:lnTo>
                    <a:pt x="80" y="121"/>
                  </a:lnTo>
                  <a:lnTo>
                    <a:pt x="79" y="122"/>
                  </a:lnTo>
                  <a:lnTo>
                    <a:pt x="76" y="125"/>
                  </a:lnTo>
                  <a:lnTo>
                    <a:pt x="73" y="128"/>
                  </a:lnTo>
                  <a:lnTo>
                    <a:pt x="72" y="132"/>
                  </a:lnTo>
                  <a:lnTo>
                    <a:pt x="72" y="137"/>
                  </a:lnTo>
                  <a:lnTo>
                    <a:pt x="72" y="144"/>
                  </a:lnTo>
                  <a:lnTo>
                    <a:pt x="76" y="153"/>
                  </a:lnTo>
                  <a:lnTo>
                    <a:pt x="83" y="155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6" y="168"/>
                  </a:lnTo>
                  <a:lnTo>
                    <a:pt x="77" y="172"/>
                  </a:lnTo>
                  <a:lnTo>
                    <a:pt x="79" y="176"/>
                  </a:lnTo>
                  <a:lnTo>
                    <a:pt x="80" y="180"/>
                  </a:lnTo>
                  <a:lnTo>
                    <a:pt x="82" y="186"/>
                  </a:lnTo>
                  <a:lnTo>
                    <a:pt x="82" y="190"/>
                  </a:lnTo>
                  <a:lnTo>
                    <a:pt x="83" y="195"/>
                  </a:lnTo>
                  <a:lnTo>
                    <a:pt x="97" y="197"/>
                  </a:lnTo>
                  <a:lnTo>
                    <a:pt x="117" y="205"/>
                  </a:lnTo>
                  <a:lnTo>
                    <a:pt x="139" y="180"/>
                  </a:lnTo>
                  <a:lnTo>
                    <a:pt x="149" y="175"/>
                  </a:lnTo>
                  <a:lnTo>
                    <a:pt x="149" y="165"/>
                  </a:lnTo>
                  <a:lnTo>
                    <a:pt x="148" y="165"/>
                  </a:lnTo>
                  <a:lnTo>
                    <a:pt x="146" y="165"/>
                  </a:lnTo>
                  <a:lnTo>
                    <a:pt x="145" y="166"/>
                  </a:lnTo>
                  <a:lnTo>
                    <a:pt x="142" y="166"/>
                  </a:lnTo>
                  <a:lnTo>
                    <a:pt x="139" y="166"/>
                  </a:lnTo>
                  <a:lnTo>
                    <a:pt x="137" y="165"/>
                  </a:lnTo>
                  <a:lnTo>
                    <a:pt x="135" y="164"/>
                  </a:lnTo>
                  <a:lnTo>
                    <a:pt x="134" y="159"/>
                  </a:lnTo>
                  <a:lnTo>
                    <a:pt x="134" y="157"/>
                  </a:lnTo>
                  <a:lnTo>
                    <a:pt x="134" y="154"/>
                  </a:lnTo>
                  <a:lnTo>
                    <a:pt x="134" y="151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1" y="148"/>
                  </a:lnTo>
                  <a:lnTo>
                    <a:pt x="130" y="147"/>
                  </a:lnTo>
                  <a:lnTo>
                    <a:pt x="128" y="147"/>
                  </a:lnTo>
                  <a:lnTo>
                    <a:pt x="127" y="147"/>
                  </a:lnTo>
                  <a:lnTo>
                    <a:pt x="127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7" y="140"/>
                  </a:lnTo>
                  <a:lnTo>
                    <a:pt x="128" y="142"/>
                  </a:lnTo>
                  <a:lnTo>
                    <a:pt x="130" y="142"/>
                  </a:lnTo>
                  <a:lnTo>
                    <a:pt x="132" y="143"/>
                  </a:lnTo>
                  <a:lnTo>
                    <a:pt x="135" y="144"/>
                  </a:lnTo>
                  <a:lnTo>
                    <a:pt x="138" y="144"/>
                  </a:lnTo>
                  <a:lnTo>
                    <a:pt x="150" y="147"/>
                  </a:lnTo>
                  <a:lnTo>
                    <a:pt x="154" y="154"/>
                  </a:lnTo>
                  <a:lnTo>
                    <a:pt x="172" y="153"/>
                  </a:lnTo>
                  <a:lnTo>
                    <a:pt x="172" y="147"/>
                  </a:lnTo>
                  <a:lnTo>
                    <a:pt x="183" y="143"/>
                  </a:lnTo>
                  <a:lnTo>
                    <a:pt x="185" y="143"/>
                  </a:lnTo>
                  <a:lnTo>
                    <a:pt x="186" y="143"/>
                  </a:lnTo>
                  <a:lnTo>
                    <a:pt x="189" y="143"/>
                  </a:lnTo>
                  <a:lnTo>
                    <a:pt x="190" y="143"/>
                  </a:lnTo>
                  <a:lnTo>
                    <a:pt x="193" y="143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6" y="136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5"/>
                  </a:lnTo>
                  <a:lnTo>
                    <a:pt x="186" y="113"/>
                  </a:lnTo>
                  <a:lnTo>
                    <a:pt x="186" y="110"/>
                  </a:lnTo>
                  <a:lnTo>
                    <a:pt x="185" y="107"/>
                  </a:lnTo>
                  <a:lnTo>
                    <a:pt x="185" y="102"/>
                  </a:lnTo>
                  <a:lnTo>
                    <a:pt x="186" y="98"/>
                  </a:lnTo>
                  <a:lnTo>
                    <a:pt x="187" y="92"/>
                  </a:lnTo>
                  <a:lnTo>
                    <a:pt x="198" y="89"/>
                  </a:lnTo>
                  <a:lnTo>
                    <a:pt x="197" y="76"/>
                  </a:lnTo>
                  <a:lnTo>
                    <a:pt x="197" y="76"/>
                  </a:lnTo>
                  <a:lnTo>
                    <a:pt x="200" y="74"/>
                  </a:lnTo>
                  <a:lnTo>
                    <a:pt x="201" y="74"/>
                  </a:lnTo>
                  <a:lnTo>
                    <a:pt x="204" y="73"/>
                  </a:lnTo>
                  <a:lnTo>
                    <a:pt x="207" y="72"/>
                  </a:lnTo>
                  <a:lnTo>
                    <a:pt x="209" y="70"/>
                  </a:lnTo>
                  <a:lnTo>
                    <a:pt x="211" y="69"/>
                  </a:lnTo>
                  <a:lnTo>
                    <a:pt x="211" y="6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9" name="Freeform 135"/>
            <p:cNvSpPr>
              <a:spLocks/>
            </p:cNvSpPr>
            <p:nvPr/>
          </p:nvSpPr>
          <p:spPr bwMode="auto">
            <a:xfrm>
              <a:off x="1992" y="2016"/>
              <a:ext cx="171" cy="167"/>
            </a:xfrm>
            <a:custGeom>
              <a:avLst/>
              <a:gdLst>
                <a:gd name="T0" fmla="*/ 207 w 211"/>
                <a:gd name="T1" fmla="*/ 63 h 205"/>
                <a:gd name="T2" fmla="*/ 201 w 211"/>
                <a:gd name="T3" fmla="*/ 61 h 205"/>
                <a:gd name="T4" fmla="*/ 196 w 211"/>
                <a:gd name="T5" fmla="*/ 55 h 205"/>
                <a:gd name="T6" fmla="*/ 190 w 211"/>
                <a:gd name="T7" fmla="*/ 50 h 205"/>
                <a:gd name="T8" fmla="*/ 179 w 211"/>
                <a:gd name="T9" fmla="*/ 44 h 205"/>
                <a:gd name="T10" fmla="*/ 171 w 211"/>
                <a:gd name="T11" fmla="*/ 40 h 205"/>
                <a:gd name="T12" fmla="*/ 161 w 211"/>
                <a:gd name="T13" fmla="*/ 32 h 205"/>
                <a:gd name="T14" fmla="*/ 153 w 211"/>
                <a:gd name="T15" fmla="*/ 26 h 205"/>
                <a:gd name="T16" fmla="*/ 134 w 211"/>
                <a:gd name="T17" fmla="*/ 29 h 205"/>
                <a:gd name="T18" fmla="*/ 123 w 211"/>
                <a:gd name="T19" fmla="*/ 34 h 205"/>
                <a:gd name="T20" fmla="*/ 102 w 211"/>
                <a:gd name="T21" fmla="*/ 39 h 205"/>
                <a:gd name="T22" fmla="*/ 91 w 211"/>
                <a:gd name="T23" fmla="*/ 36 h 205"/>
                <a:gd name="T24" fmla="*/ 79 w 211"/>
                <a:gd name="T25" fmla="*/ 28 h 205"/>
                <a:gd name="T26" fmla="*/ 68 w 211"/>
                <a:gd name="T27" fmla="*/ 19 h 205"/>
                <a:gd name="T28" fmla="*/ 61 w 211"/>
                <a:gd name="T29" fmla="*/ 8 h 205"/>
                <a:gd name="T30" fmla="*/ 55 w 211"/>
                <a:gd name="T31" fmla="*/ 3 h 205"/>
                <a:gd name="T32" fmla="*/ 51 w 211"/>
                <a:gd name="T33" fmla="*/ 1 h 205"/>
                <a:gd name="T34" fmla="*/ 50 w 211"/>
                <a:gd name="T35" fmla="*/ 0 h 205"/>
                <a:gd name="T36" fmla="*/ 50 w 211"/>
                <a:gd name="T37" fmla="*/ 6 h 205"/>
                <a:gd name="T38" fmla="*/ 47 w 211"/>
                <a:gd name="T39" fmla="*/ 11 h 205"/>
                <a:gd name="T40" fmla="*/ 44 w 211"/>
                <a:gd name="T41" fmla="*/ 14 h 205"/>
                <a:gd name="T42" fmla="*/ 46 w 211"/>
                <a:gd name="T43" fmla="*/ 19 h 205"/>
                <a:gd name="T44" fmla="*/ 42 w 211"/>
                <a:gd name="T45" fmla="*/ 23 h 205"/>
                <a:gd name="T46" fmla="*/ 39 w 211"/>
                <a:gd name="T47" fmla="*/ 18 h 205"/>
                <a:gd name="T48" fmla="*/ 42 w 211"/>
                <a:gd name="T49" fmla="*/ 14 h 205"/>
                <a:gd name="T50" fmla="*/ 40 w 211"/>
                <a:gd name="T51" fmla="*/ 7 h 205"/>
                <a:gd name="T52" fmla="*/ 33 w 211"/>
                <a:gd name="T53" fmla="*/ 8 h 205"/>
                <a:gd name="T54" fmla="*/ 25 w 211"/>
                <a:gd name="T55" fmla="*/ 17 h 205"/>
                <a:gd name="T56" fmla="*/ 18 w 211"/>
                <a:gd name="T57" fmla="*/ 22 h 205"/>
                <a:gd name="T58" fmla="*/ 5 w 211"/>
                <a:gd name="T59" fmla="*/ 32 h 205"/>
                <a:gd name="T60" fmla="*/ 0 w 211"/>
                <a:gd name="T61" fmla="*/ 40 h 205"/>
                <a:gd name="T62" fmla="*/ 3 w 211"/>
                <a:gd name="T63" fmla="*/ 55 h 205"/>
                <a:gd name="T64" fmla="*/ 6 w 211"/>
                <a:gd name="T65" fmla="*/ 62 h 205"/>
                <a:gd name="T66" fmla="*/ 5 w 211"/>
                <a:gd name="T67" fmla="*/ 73 h 205"/>
                <a:gd name="T68" fmla="*/ 5 w 211"/>
                <a:gd name="T69" fmla="*/ 93 h 205"/>
                <a:gd name="T70" fmla="*/ 58 w 211"/>
                <a:gd name="T71" fmla="*/ 115 h 205"/>
                <a:gd name="T72" fmla="*/ 66 w 211"/>
                <a:gd name="T73" fmla="*/ 117 h 205"/>
                <a:gd name="T74" fmla="*/ 75 w 211"/>
                <a:gd name="T75" fmla="*/ 114 h 205"/>
                <a:gd name="T76" fmla="*/ 80 w 211"/>
                <a:gd name="T77" fmla="*/ 114 h 205"/>
                <a:gd name="T78" fmla="*/ 79 w 211"/>
                <a:gd name="T79" fmla="*/ 122 h 205"/>
                <a:gd name="T80" fmla="*/ 72 w 211"/>
                <a:gd name="T81" fmla="*/ 137 h 205"/>
                <a:gd name="T82" fmla="*/ 75 w 211"/>
                <a:gd name="T83" fmla="*/ 165 h 205"/>
                <a:gd name="T84" fmla="*/ 79 w 211"/>
                <a:gd name="T85" fmla="*/ 176 h 205"/>
                <a:gd name="T86" fmla="*/ 83 w 211"/>
                <a:gd name="T87" fmla="*/ 195 h 205"/>
                <a:gd name="T88" fmla="*/ 149 w 211"/>
                <a:gd name="T89" fmla="*/ 175 h 205"/>
                <a:gd name="T90" fmla="*/ 145 w 211"/>
                <a:gd name="T91" fmla="*/ 166 h 205"/>
                <a:gd name="T92" fmla="*/ 135 w 211"/>
                <a:gd name="T93" fmla="*/ 164 h 205"/>
                <a:gd name="T94" fmla="*/ 134 w 211"/>
                <a:gd name="T95" fmla="*/ 151 h 205"/>
                <a:gd name="T96" fmla="*/ 128 w 211"/>
                <a:gd name="T97" fmla="*/ 147 h 205"/>
                <a:gd name="T98" fmla="*/ 124 w 211"/>
                <a:gd name="T99" fmla="*/ 146 h 205"/>
                <a:gd name="T100" fmla="*/ 130 w 211"/>
                <a:gd name="T101" fmla="*/ 142 h 205"/>
                <a:gd name="T102" fmla="*/ 150 w 211"/>
                <a:gd name="T103" fmla="*/ 147 h 205"/>
                <a:gd name="T104" fmla="*/ 183 w 211"/>
                <a:gd name="T105" fmla="*/ 143 h 205"/>
                <a:gd name="T106" fmla="*/ 190 w 211"/>
                <a:gd name="T107" fmla="*/ 143 h 205"/>
                <a:gd name="T108" fmla="*/ 196 w 211"/>
                <a:gd name="T109" fmla="*/ 136 h 205"/>
                <a:gd name="T110" fmla="*/ 186 w 211"/>
                <a:gd name="T111" fmla="*/ 110 h 205"/>
                <a:gd name="T112" fmla="*/ 187 w 211"/>
                <a:gd name="T113" fmla="*/ 92 h 205"/>
                <a:gd name="T114" fmla="*/ 201 w 211"/>
                <a:gd name="T115" fmla="*/ 74 h 205"/>
                <a:gd name="T116" fmla="*/ 211 w 211"/>
                <a:gd name="T117" fmla="*/ 6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" h="205">
                  <a:moveTo>
                    <a:pt x="211" y="67"/>
                  </a:moveTo>
                  <a:lnTo>
                    <a:pt x="209" y="66"/>
                  </a:lnTo>
                  <a:lnTo>
                    <a:pt x="208" y="65"/>
                  </a:lnTo>
                  <a:lnTo>
                    <a:pt x="207" y="63"/>
                  </a:lnTo>
                  <a:lnTo>
                    <a:pt x="205" y="62"/>
                  </a:lnTo>
                  <a:lnTo>
                    <a:pt x="204" y="62"/>
                  </a:lnTo>
                  <a:lnTo>
                    <a:pt x="203" y="61"/>
                  </a:lnTo>
                  <a:lnTo>
                    <a:pt x="201" y="61"/>
                  </a:lnTo>
                  <a:lnTo>
                    <a:pt x="200" y="59"/>
                  </a:lnTo>
                  <a:lnTo>
                    <a:pt x="198" y="58"/>
                  </a:lnTo>
                  <a:lnTo>
                    <a:pt x="197" y="56"/>
                  </a:lnTo>
                  <a:lnTo>
                    <a:pt x="196" y="55"/>
                  </a:lnTo>
                  <a:lnTo>
                    <a:pt x="194" y="54"/>
                  </a:lnTo>
                  <a:lnTo>
                    <a:pt x="193" y="52"/>
                  </a:lnTo>
                  <a:lnTo>
                    <a:pt x="192" y="51"/>
                  </a:lnTo>
                  <a:lnTo>
                    <a:pt x="190" y="50"/>
                  </a:lnTo>
                  <a:lnTo>
                    <a:pt x="187" y="48"/>
                  </a:lnTo>
                  <a:lnTo>
                    <a:pt x="185" y="47"/>
                  </a:lnTo>
                  <a:lnTo>
                    <a:pt x="182" y="45"/>
                  </a:lnTo>
                  <a:lnTo>
                    <a:pt x="179" y="44"/>
                  </a:lnTo>
                  <a:lnTo>
                    <a:pt x="176" y="43"/>
                  </a:lnTo>
                  <a:lnTo>
                    <a:pt x="174" y="41"/>
                  </a:lnTo>
                  <a:lnTo>
                    <a:pt x="172" y="41"/>
                  </a:lnTo>
                  <a:lnTo>
                    <a:pt x="171" y="40"/>
                  </a:lnTo>
                  <a:lnTo>
                    <a:pt x="168" y="39"/>
                  </a:lnTo>
                  <a:lnTo>
                    <a:pt x="167" y="36"/>
                  </a:lnTo>
                  <a:lnTo>
                    <a:pt x="164" y="33"/>
                  </a:lnTo>
                  <a:lnTo>
                    <a:pt x="161" y="32"/>
                  </a:lnTo>
                  <a:lnTo>
                    <a:pt x="160" y="29"/>
                  </a:lnTo>
                  <a:lnTo>
                    <a:pt x="159" y="29"/>
                  </a:lnTo>
                  <a:lnTo>
                    <a:pt x="159" y="28"/>
                  </a:lnTo>
                  <a:lnTo>
                    <a:pt x="153" y="26"/>
                  </a:lnTo>
                  <a:lnTo>
                    <a:pt x="149" y="26"/>
                  </a:lnTo>
                  <a:lnTo>
                    <a:pt x="143" y="28"/>
                  </a:lnTo>
                  <a:lnTo>
                    <a:pt x="138" y="29"/>
                  </a:lnTo>
                  <a:lnTo>
                    <a:pt x="134" y="29"/>
                  </a:lnTo>
                  <a:lnTo>
                    <a:pt x="131" y="30"/>
                  </a:lnTo>
                  <a:lnTo>
                    <a:pt x="128" y="32"/>
                  </a:lnTo>
                  <a:lnTo>
                    <a:pt x="127" y="32"/>
                  </a:lnTo>
                  <a:lnTo>
                    <a:pt x="123" y="34"/>
                  </a:lnTo>
                  <a:lnTo>
                    <a:pt x="117" y="37"/>
                  </a:lnTo>
                  <a:lnTo>
                    <a:pt x="112" y="37"/>
                  </a:lnTo>
                  <a:lnTo>
                    <a:pt x="108" y="39"/>
                  </a:lnTo>
                  <a:lnTo>
                    <a:pt x="102" y="39"/>
                  </a:lnTo>
                  <a:lnTo>
                    <a:pt x="99" y="37"/>
                  </a:lnTo>
                  <a:lnTo>
                    <a:pt x="97" y="37"/>
                  </a:lnTo>
                  <a:lnTo>
                    <a:pt x="95" y="37"/>
                  </a:lnTo>
                  <a:lnTo>
                    <a:pt x="91" y="36"/>
                  </a:lnTo>
                  <a:lnTo>
                    <a:pt x="87" y="34"/>
                  </a:lnTo>
                  <a:lnTo>
                    <a:pt x="83" y="33"/>
                  </a:lnTo>
                  <a:lnTo>
                    <a:pt x="80" y="30"/>
                  </a:lnTo>
                  <a:lnTo>
                    <a:pt x="79" y="28"/>
                  </a:lnTo>
                  <a:lnTo>
                    <a:pt x="76" y="26"/>
                  </a:lnTo>
                  <a:lnTo>
                    <a:pt x="76" y="25"/>
                  </a:lnTo>
                  <a:lnTo>
                    <a:pt x="72" y="22"/>
                  </a:lnTo>
                  <a:lnTo>
                    <a:pt x="68" y="19"/>
                  </a:lnTo>
                  <a:lnTo>
                    <a:pt x="65" y="17"/>
                  </a:lnTo>
                  <a:lnTo>
                    <a:pt x="64" y="14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7"/>
                  </a:lnTo>
                  <a:lnTo>
                    <a:pt x="58" y="6"/>
                  </a:lnTo>
                  <a:lnTo>
                    <a:pt x="57" y="4"/>
                  </a:lnTo>
                  <a:lnTo>
                    <a:pt x="55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50" y="1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6"/>
                  </a:lnTo>
                  <a:lnTo>
                    <a:pt x="49" y="7"/>
                  </a:lnTo>
                  <a:lnTo>
                    <a:pt x="49" y="8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7" y="12"/>
                  </a:lnTo>
                  <a:lnTo>
                    <a:pt x="46" y="12"/>
                  </a:lnTo>
                  <a:lnTo>
                    <a:pt x="44" y="12"/>
                  </a:lnTo>
                  <a:lnTo>
                    <a:pt x="44" y="14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2" y="23"/>
                  </a:lnTo>
                  <a:lnTo>
                    <a:pt x="40" y="22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2"/>
                  </a:lnTo>
                  <a:lnTo>
                    <a:pt x="40" y="10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1" y="11"/>
                  </a:lnTo>
                  <a:lnTo>
                    <a:pt x="28" y="12"/>
                  </a:lnTo>
                  <a:lnTo>
                    <a:pt x="27" y="15"/>
                  </a:lnTo>
                  <a:lnTo>
                    <a:pt x="25" y="17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1" y="21"/>
                  </a:lnTo>
                  <a:lnTo>
                    <a:pt x="18" y="22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7" y="29"/>
                  </a:lnTo>
                  <a:lnTo>
                    <a:pt x="5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2" y="51"/>
                  </a:lnTo>
                  <a:lnTo>
                    <a:pt x="3" y="55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6" y="62"/>
                  </a:lnTo>
                  <a:lnTo>
                    <a:pt x="6" y="65"/>
                  </a:lnTo>
                  <a:lnTo>
                    <a:pt x="6" y="69"/>
                  </a:lnTo>
                  <a:lnTo>
                    <a:pt x="5" y="70"/>
                  </a:lnTo>
                  <a:lnTo>
                    <a:pt x="5" y="73"/>
                  </a:lnTo>
                  <a:lnTo>
                    <a:pt x="3" y="78"/>
                  </a:lnTo>
                  <a:lnTo>
                    <a:pt x="2" y="83"/>
                  </a:lnTo>
                  <a:lnTo>
                    <a:pt x="3" y="89"/>
                  </a:lnTo>
                  <a:lnTo>
                    <a:pt x="5" y="93"/>
                  </a:lnTo>
                  <a:lnTo>
                    <a:pt x="9" y="98"/>
                  </a:lnTo>
                  <a:lnTo>
                    <a:pt x="16" y="102"/>
                  </a:lnTo>
                  <a:lnTo>
                    <a:pt x="55" y="106"/>
                  </a:lnTo>
                  <a:lnTo>
                    <a:pt x="58" y="115"/>
                  </a:lnTo>
                  <a:lnTo>
                    <a:pt x="60" y="115"/>
                  </a:lnTo>
                  <a:lnTo>
                    <a:pt x="62" y="115"/>
                  </a:lnTo>
                  <a:lnTo>
                    <a:pt x="64" y="117"/>
                  </a:lnTo>
                  <a:lnTo>
                    <a:pt x="66" y="117"/>
                  </a:lnTo>
                  <a:lnTo>
                    <a:pt x="69" y="117"/>
                  </a:lnTo>
                  <a:lnTo>
                    <a:pt x="71" y="115"/>
                  </a:lnTo>
                  <a:lnTo>
                    <a:pt x="73" y="115"/>
                  </a:lnTo>
                  <a:lnTo>
                    <a:pt x="75" y="114"/>
                  </a:lnTo>
                  <a:lnTo>
                    <a:pt x="76" y="114"/>
                  </a:lnTo>
                  <a:lnTo>
                    <a:pt x="77" y="114"/>
                  </a:lnTo>
                  <a:lnTo>
                    <a:pt x="79" y="114"/>
                  </a:lnTo>
                  <a:lnTo>
                    <a:pt x="80" y="114"/>
                  </a:lnTo>
                  <a:lnTo>
                    <a:pt x="82" y="117"/>
                  </a:lnTo>
                  <a:lnTo>
                    <a:pt x="82" y="120"/>
                  </a:lnTo>
                  <a:lnTo>
                    <a:pt x="80" y="121"/>
                  </a:lnTo>
                  <a:lnTo>
                    <a:pt x="79" y="122"/>
                  </a:lnTo>
                  <a:lnTo>
                    <a:pt x="76" y="125"/>
                  </a:lnTo>
                  <a:lnTo>
                    <a:pt x="73" y="128"/>
                  </a:lnTo>
                  <a:lnTo>
                    <a:pt x="72" y="132"/>
                  </a:lnTo>
                  <a:lnTo>
                    <a:pt x="72" y="137"/>
                  </a:lnTo>
                  <a:lnTo>
                    <a:pt x="72" y="144"/>
                  </a:lnTo>
                  <a:lnTo>
                    <a:pt x="76" y="153"/>
                  </a:lnTo>
                  <a:lnTo>
                    <a:pt x="83" y="155"/>
                  </a:lnTo>
                  <a:lnTo>
                    <a:pt x="75" y="165"/>
                  </a:lnTo>
                  <a:lnTo>
                    <a:pt x="75" y="166"/>
                  </a:lnTo>
                  <a:lnTo>
                    <a:pt x="76" y="168"/>
                  </a:lnTo>
                  <a:lnTo>
                    <a:pt x="77" y="172"/>
                  </a:lnTo>
                  <a:lnTo>
                    <a:pt x="79" y="176"/>
                  </a:lnTo>
                  <a:lnTo>
                    <a:pt x="80" y="180"/>
                  </a:lnTo>
                  <a:lnTo>
                    <a:pt x="82" y="186"/>
                  </a:lnTo>
                  <a:lnTo>
                    <a:pt x="82" y="190"/>
                  </a:lnTo>
                  <a:lnTo>
                    <a:pt x="83" y="195"/>
                  </a:lnTo>
                  <a:lnTo>
                    <a:pt x="97" y="197"/>
                  </a:lnTo>
                  <a:lnTo>
                    <a:pt x="117" y="205"/>
                  </a:lnTo>
                  <a:lnTo>
                    <a:pt x="139" y="180"/>
                  </a:lnTo>
                  <a:lnTo>
                    <a:pt x="149" y="175"/>
                  </a:lnTo>
                  <a:lnTo>
                    <a:pt x="149" y="165"/>
                  </a:lnTo>
                  <a:lnTo>
                    <a:pt x="148" y="165"/>
                  </a:lnTo>
                  <a:lnTo>
                    <a:pt x="146" y="165"/>
                  </a:lnTo>
                  <a:lnTo>
                    <a:pt x="145" y="166"/>
                  </a:lnTo>
                  <a:lnTo>
                    <a:pt x="142" y="166"/>
                  </a:lnTo>
                  <a:lnTo>
                    <a:pt x="139" y="166"/>
                  </a:lnTo>
                  <a:lnTo>
                    <a:pt x="137" y="165"/>
                  </a:lnTo>
                  <a:lnTo>
                    <a:pt x="135" y="164"/>
                  </a:lnTo>
                  <a:lnTo>
                    <a:pt x="134" y="159"/>
                  </a:lnTo>
                  <a:lnTo>
                    <a:pt x="134" y="157"/>
                  </a:lnTo>
                  <a:lnTo>
                    <a:pt x="134" y="154"/>
                  </a:lnTo>
                  <a:lnTo>
                    <a:pt x="134" y="151"/>
                  </a:lnTo>
                  <a:lnTo>
                    <a:pt x="132" y="150"/>
                  </a:lnTo>
                  <a:lnTo>
                    <a:pt x="131" y="148"/>
                  </a:lnTo>
                  <a:lnTo>
                    <a:pt x="130" y="147"/>
                  </a:lnTo>
                  <a:lnTo>
                    <a:pt x="128" y="147"/>
                  </a:lnTo>
                  <a:lnTo>
                    <a:pt x="127" y="147"/>
                  </a:lnTo>
                  <a:lnTo>
                    <a:pt x="127" y="146"/>
                  </a:lnTo>
                  <a:lnTo>
                    <a:pt x="126" y="146"/>
                  </a:lnTo>
                  <a:lnTo>
                    <a:pt x="124" y="146"/>
                  </a:lnTo>
                  <a:lnTo>
                    <a:pt x="126" y="140"/>
                  </a:lnTo>
                  <a:lnTo>
                    <a:pt x="127" y="140"/>
                  </a:lnTo>
                  <a:lnTo>
                    <a:pt x="128" y="142"/>
                  </a:lnTo>
                  <a:lnTo>
                    <a:pt x="130" y="142"/>
                  </a:lnTo>
                  <a:lnTo>
                    <a:pt x="132" y="143"/>
                  </a:lnTo>
                  <a:lnTo>
                    <a:pt x="135" y="144"/>
                  </a:lnTo>
                  <a:lnTo>
                    <a:pt x="138" y="144"/>
                  </a:lnTo>
                  <a:lnTo>
                    <a:pt x="150" y="147"/>
                  </a:lnTo>
                  <a:lnTo>
                    <a:pt x="154" y="154"/>
                  </a:lnTo>
                  <a:lnTo>
                    <a:pt x="172" y="153"/>
                  </a:lnTo>
                  <a:lnTo>
                    <a:pt x="172" y="147"/>
                  </a:lnTo>
                  <a:lnTo>
                    <a:pt x="183" y="143"/>
                  </a:lnTo>
                  <a:lnTo>
                    <a:pt x="185" y="143"/>
                  </a:lnTo>
                  <a:lnTo>
                    <a:pt x="186" y="143"/>
                  </a:lnTo>
                  <a:lnTo>
                    <a:pt x="189" y="143"/>
                  </a:lnTo>
                  <a:lnTo>
                    <a:pt x="190" y="143"/>
                  </a:lnTo>
                  <a:lnTo>
                    <a:pt x="193" y="143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6" y="136"/>
                  </a:lnTo>
                  <a:lnTo>
                    <a:pt x="187" y="117"/>
                  </a:lnTo>
                  <a:lnTo>
                    <a:pt x="187" y="115"/>
                  </a:lnTo>
                  <a:lnTo>
                    <a:pt x="186" y="113"/>
                  </a:lnTo>
                  <a:lnTo>
                    <a:pt x="186" y="110"/>
                  </a:lnTo>
                  <a:lnTo>
                    <a:pt x="185" y="107"/>
                  </a:lnTo>
                  <a:lnTo>
                    <a:pt x="185" y="102"/>
                  </a:lnTo>
                  <a:lnTo>
                    <a:pt x="186" y="98"/>
                  </a:lnTo>
                  <a:lnTo>
                    <a:pt x="187" y="92"/>
                  </a:lnTo>
                  <a:lnTo>
                    <a:pt x="198" y="89"/>
                  </a:lnTo>
                  <a:lnTo>
                    <a:pt x="197" y="76"/>
                  </a:lnTo>
                  <a:lnTo>
                    <a:pt x="200" y="74"/>
                  </a:lnTo>
                  <a:lnTo>
                    <a:pt x="201" y="74"/>
                  </a:lnTo>
                  <a:lnTo>
                    <a:pt x="204" y="73"/>
                  </a:lnTo>
                  <a:lnTo>
                    <a:pt x="207" y="72"/>
                  </a:lnTo>
                  <a:lnTo>
                    <a:pt x="209" y="70"/>
                  </a:lnTo>
                  <a:lnTo>
                    <a:pt x="211" y="69"/>
                  </a:lnTo>
                  <a:lnTo>
                    <a:pt x="211" y="6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0" name="Freeform 136"/>
            <p:cNvSpPr>
              <a:spLocks/>
            </p:cNvSpPr>
            <p:nvPr/>
          </p:nvSpPr>
          <p:spPr bwMode="auto">
            <a:xfrm>
              <a:off x="2142" y="2070"/>
              <a:ext cx="50" cy="84"/>
            </a:xfrm>
            <a:custGeom>
              <a:avLst/>
              <a:gdLst>
                <a:gd name="T0" fmla="*/ 62 w 62"/>
                <a:gd name="T1" fmla="*/ 35 h 103"/>
                <a:gd name="T2" fmla="*/ 55 w 62"/>
                <a:gd name="T3" fmla="*/ 29 h 103"/>
                <a:gd name="T4" fmla="*/ 45 w 62"/>
                <a:gd name="T5" fmla="*/ 20 h 103"/>
                <a:gd name="T6" fmla="*/ 33 w 62"/>
                <a:gd name="T7" fmla="*/ 7 h 103"/>
                <a:gd name="T8" fmla="*/ 26 w 62"/>
                <a:gd name="T9" fmla="*/ 2 h 103"/>
                <a:gd name="T10" fmla="*/ 22 w 62"/>
                <a:gd name="T11" fmla="*/ 5 h 103"/>
                <a:gd name="T12" fmla="*/ 16 w 62"/>
                <a:gd name="T13" fmla="*/ 7 h 103"/>
                <a:gd name="T14" fmla="*/ 12 w 62"/>
                <a:gd name="T15" fmla="*/ 9 h 103"/>
                <a:gd name="T16" fmla="*/ 13 w 62"/>
                <a:gd name="T17" fmla="*/ 22 h 103"/>
                <a:gd name="T18" fmla="*/ 1 w 62"/>
                <a:gd name="T19" fmla="*/ 31 h 103"/>
                <a:gd name="T20" fmla="*/ 0 w 62"/>
                <a:gd name="T21" fmla="*/ 40 h 103"/>
                <a:gd name="T22" fmla="*/ 1 w 62"/>
                <a:gd name="T23" fmla="*/ 46 h 103"/>
                <a:gd name="T24" fmla="*/ 2 w 62"/>
                <a:gd name="T25" fmla="*/ 50 h 103"/>
                <a:gd name="T26" fmla="*/ 11 w 62"/>
                <a:gd name="T27" fmla="*/ 69 h 103"/>
                <a:gd name="T28" fmla="*/ 18 w 62"/>
                <a:gd name="T29" fmla="*/ 72 h 103"/>
                <a:gd name="T30" fmla="*/ 19 w 62"/>
                <a:gd name="T31" fmla="*/ 73 h 103"/>
                <a:gd name="T32" fmla="*/ 20 w 62"/>
                <a:gd name="T33" fmla="*/ 76 h 103"/>
                <a:gd name="T34" fmla="*/ 20 w 62"/>
                <a:gd name="T35" fmla="*/ 81 h 103"/>
                <a:gd name="T36" fmla="*/ 20 w 62"/>
                <a:gd name="T37" fmla="*/ 86 h 103"/>
                <a:gd name="T38" fmla="*/ 20 w 62"/>
                <a:gd name="T39" fmla="*/ 90 h 103"/>
                <a:gd name="T40" fmla="*/ 19 w 62"/>
                <a:gd name="T41" fmla="*/ 97 h 103"/>
                <a:gd name="T42" fmla="*/ 20 w 62"/>
                <a:gd name="T43" fmla="*/ 102 h 103"/>
                <a:gd name="T44" fmla="*/ 29 w 62"/>
                <a:gd name="T45" fmla="*/ 102 h 103"/>
                <a:gd name="T46" fmla="*/ 42 w 62"/>
                <a:gd name="T47" fmla="*/ 99 h 103"/>
                <a:gd name="T48" fmla="*/ 55 w 62"/>
                <a:gd name="T49" fmla="*/ 99 h 103"/>
                <a:gd name="T50" fmla="*/ 55 w 62"/>
                <a:gd name="T51" fmla="*/ 99 h 103"/>
                <a:gd name="T52" fmla="*/ 53 w 62"/>
                <a:gd name="T53" fmla="*/ 97 h 103"/>
                <a:gd name="T54" fmla="*/ 51 w 62"/>
                <a:gd name="T55" fmla="*/ 94 h 103"/>
                <a:gd name="T56" fmla="*/ 49 w 62"/>
                <a:gd name="T57" fmla="*/ 90 h 103"/>
                <a:gd name="T58" fmla="*/ 44 w 62"/>
                <a:gd name="T59" fmla="*/ 75 h 103"/>
                <a:gd name="T60" fmla="*/ 41 w 62"/>
                <a:gd name="T61" fmla="*/ 72 h 103"/>
                <a:gd name="T62" fmla="*/ 38 w 62"/>
                <a:gd name="T63" fmla="*/ 66 h 103"/>
                <a:gd name="T64" fmla="*/ 37 w 62"/>
                <a:gd name="T65" fmla="*/ 58 h 103"/>
                <a:gd name="T66" fmla="*/ 41 w 62"/>
                <a:gd name="T67" fmla="*/ 48 h 103"/>
                <a:gd name="T68" fmla="*/ 47 w 62"/>
                <a:gd name="T69" fmla="*/ 50 h 103"/>
                <a:gd name="T70" fmla="*/ 49 w 62"/>
                <a:gd name="T71" fmla="*/ 50 h 103"/>
                <a:gd name="T72" fmla="*/ 52 w 62"/>
                <a:gd name="T73" fmla="*/ 50 h 103"/>
                <a:gd name="T74" fmla="*/ 53 w 62"/>
                <a:gd name="T75" fmla="*/ 48 h 103"/>
                <a:gd name="T76" fmla="*/ 53 w 62"/>
                <a:gd name="T77" fmla="*/ 47 h 103"/>
                <a:gd name="T78" fmla="*/ 55 w 62"/>
                <a:gd name="T79" fmla="*/ 44 h 103"/>
                <a:gd name="T80" fmla="*/ 56 w 62"/>
                <a:gd name="T81" fmla="*/ 42 h 103"/>
                <a:gd name="T82" fmla="*/ 58 w 62"/>
                <a:gd name="T83" fmla="*/ 40 h 103"/>
                <a:gd name="T84" fmla="*/ 62 w 62"/>
                <a:gd name="T85" fmla="*/ 3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2" h="103">
                  <a:moveTo>
                    <a:pt x="62" y="35"/>
                  </a:moveTo>
                  <a:lnTo>
                    <a:pt x="62" y="35"/>
                  </a:lnTo>
                  <a:lnTo>
                    <a:pt x="59" y="32"/>
                  </a:lnTo>
                  <a:lnTo>
                    <a:pt x="55" y="29"/>
                  </a:lnTo>
                  <a:lnTo>
                    <a:pt x="51" y="24"/>
                  </a:lnTo>
                  <a:lnTo>
                    <a:pt x="45" y="20"/>
                  </a:lnTo>
                  <a:lnTo>
                    <a:pt x="40" y="13"/>
                  </a:lnTo>
                  <a:lnTo>
                    <a:pt x="33" y="7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19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22"/>
                  </a:lnTo>
                  <a:lnTo>
                    <a:pt x="2" y="25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1" y="69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20" y="76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7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20" y="102"/>
                  </a:lnTo>
                  <a:lnTo>
                    <a:pt x="22" y="103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42" y="99"/>
                  </a:lnTo>
                  <a:lnTo>
                    <a:pt x="48" y="98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3" y="98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1" y="94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7" y="77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1" y="72"/>
                  </a:lnTo>
                  <a:lnTo>
                    <a:pt x="40" y="69"/>
                  </a:lnTo>
                  <a:lnTo>
                    <a:pt x="38" y="66"/>
                  </a:lnTo>
                  <a:lnTo>
                    <a:pt x="37" y="62"/>
                  </a:lnTo>
                  <a:lnTo>
                    <a:pt x="37" y="58"/>
                  </a:lnTo>
                  <a:lnTo>
                    <a:pt x="38" y="53"/>
                  </a:lnTo>
                  <a:lnTo>
                    <a:pt x="41" y="48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8" y="50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2" y="50"/>
                  </a:lnTo>
                  <a:lnTo>
                    <a:pt x="53" y="50"/>
                  </a:lnTo>
                  <a:lnTo>
                    <a:pt x="53" y="48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3" y="46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62" y="3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1" name="Freeform 137"/>
            <p:cNvSpPr>
              <a:spLocks/>
            </p:cNvSpPr>
            <p:nvPr/>
          </p:nvSpPr>
          <p:spPr bwMode="auto">
            <a:xfrm>
              <a:off x="2142" y="2070"/>
              <a:ext cx="50" cy="84"/>
            </a:xfrm>
            <a:custGeom>
              <a:avLst/>
              <a:gdLst>
                <a:gd name="T0" fmla="*/ 59 w 62"/>
                <a:gd name="T1" fmla="*/ 32 h 103"/>
                <a:gd name="T2" fmla="*/ 51 w 62"/>
                <a:gd name="T3" fmla="*/ 24 h 103"/>
                <a:gd name="T4" fmla="*/ 40 w 62"/>
                <a:gd name="T5" fmla="*/ 13 h 103"/>
                <a:gd name="T6" fmla="*/ 26 w 62"/>
                <a:gd name="T7" fmla="*/ 0 h 103"/>
                <a:gd name="T8" fmla="*/ 24 w 62"/>
                <a:gd name="T9" fmla="*/ 3 h 103"/>
                <a:gd name="T10" fmla="*/ 19 w 62"/>
                <a:gd name="T11" fmla="*/ 6 h 103"/>
                <a:gd name="T12" fmla="*/ 15 w 62"/>
                <a:gd name="T13" fmla="*/ 7 h 103"/>
                <a:gd name="T14" fmla="*/ 13 w 62"/>
                <a:gd name="T15" fmla="*/ 22 h 103"/>
                <a:gd name="T16" fmla="*/ 1 w 62"/>
                <a:gd name="T17" fmla="*/ 31 h 103"/>
                <a:gd name="T18" fmla="*/ 0 w 62"/>
                <a:gd name="T19" fmla="*/ 40 h 103"/>
                <a:gd name="T20" fmla="*/ 1 w 62"/>
                <a:gd name="T21" fmla="*/ 46 h 103"/>
                <a:gd name="T22" fmla="*/ 2 w 62"/>
                <a:gd name="T23" fmla="*/ 50 h 103"/>
                <a:gd name="T24" fmla="*/ 18 w 62"/>
                <a:gd name="T25" fmla="*/ 70 h 103"/>
                <a:gd name="T26" fmla="*/ 19 w 62"/>
                <a:gd name="T27" fmla="*/ 73 h 103"/>
                <a:gd name="T28" fmla="*/ 20 w 62"/>
                <a:gd name="T29" fmla="*/ 76 h 103"/>
                <a:gd name="T30" fmla="*/ 20 w 62"/>
                <a:gd name="T31" fmla="*/ 81 h 103"/>
                <a:gd name="T32" fmla="*/ 20 w 62"/>
                <a:gd name="T33" fmla="*/ 86 h 103"/>
                <a:gd name="T34" fmla="*/ 20 w 62"/>
                <a:gd name="T35" fmla="*/ 90 h 103"/>
                <a:gd name="T36" fmla="*/ 19 w 62"/>
                <a:gd name="T37" fmla="*/ 97 h 103"/>
                <a:gd name="T38" fmla="*/ 20 w 62"/>
                <a:gd name="T39" fmla="*/ 102 h 103"/>
                <a:gd name="T40" fmla="*/ 29 w 62"/>
                <a:gd name="T41" fmla="*/ 102 h 103"/>
                <a:gd name="T42" fmla="*/ 42 w 62"/>
                <a:gd name="T43" fmla="*/ 99 h 103"/>
                <a:gd name="T44" fmla="*/ 55 w 62"/>
                <a:gd name="T45" fmla="*/ 99 h 103"/>
                <a:gd name="T46" fmla="*/ 53 w 62"/>
                <a:gd name="T47" fmla="*/ 97 h 103"/>
                <a:gd name="T48" fmla="*/ 51 w 62"/>
                <a:gd name="T49" fmla="*/ 94 h 103"/>
                <a:gd name="T50" fmla="*/ 49 w 62"/>
                <a:gd name="T51" fmla="*/ 90 h 103"/>
                <a:gd name="T52" fmla="*/ 44 w 62"/>
                <a:gd name="T53" fmla="*/ 75 h 103"/>
                <a:gd name="T54" fmla="*/ 41 w 62"/>
                <a:gd name="T55" fmla="*/ 72 h 103"/>
                <a:gd name="T56" fmla="*/ 38 w 62"/>
                <a:gd name="T57" fmla="*/ 66 h 103"/>
                <a:gd name="T58" fmla="*/ 37 w 62"/>
                <a:gd name="T59" fmla="*/ 58 h 103"/>
                <a:gd name="T60" fmla="*/ 41 w 62"/>
                <a:gd name="T61" fmla="*/ 48 h 103"/>
                <a:gd name="T62" fmla="*/ 48 w 62"/>
                <a:gd name="T63" fmla="*/ 50 h 103"/>
                <a:gd name="T64" fmla="*/ 51 w 62"/>
                <a:gd name="T65" fmla="*/ 50 h 103"/>
                <a:gd name="T66" fmla="*/ 53 w 62"/>
                <a:gd name="T67" fmla="*/ 50 h 103"/>
                <a:gd name="T68" fmla="*/ 53 w 62"/>
                <a:gd name="T69" fmla="*/ 47 h 103"/>
                <a:gd name="T70" fmla="*/ 55 w 62"/>
                <a:gd name="T71" fmla="*/ 44 h 103"/>
                <a:gd name="T72" fmla="*/ 56 w 62"/>
                <a:gd name="T73" fmla="*/ 42 h 103"/>
                <a:gd name="T74" fmla="*/ 58 w 62"/>
                <a:gd name="T75" fmla="*/ 40 h 103"/>
                <a:gd name="T76" fmla="*/ 62 w 62"/>
                <a:gd name="T77" fmla="*/ 3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2" h="103">
                  <a:moveTo>
                    <a:pt x="62" y="35"/>
                  </a:moveTo>
                  <a:lnTo>
                    <a:pt x="59" y="32"/>
                  </a:lnTo>
                  <a:lnTo>
                    <a:pt x="55" y="29"/>
                  </a:lnTo>
                  <a:lnTo>
                    <a:pt x="51" y="24"/>
                  </a:lnTo>
                  <a:lnTo>
                    <a:pt x="45" y="20"/>
                  </a:lnTo>
                  <a:lnTo>
                    <a:pt x="40" y="13"/>
                  </a:lnTo>
                  <a:lnTo>
                    <a:pt x="33" y="7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3"/>
                  </a:lnTo>
                  <a:lnTo>
                    <a:pt x="22" y="5"/>
                  </a:lnTo>
                  <a:lnTo>
                    <a:pt x="19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13" y="22"/>
                  </a:lnTo>
                  <a:lnTo>
                    <a:pt x="2" y="25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1" y="43"/>
                  </a:lnTo>
                  <a:lnTo>
                    <a:pt x="1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11" y="69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20" y="76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4"/>
                  </a:lnTo>
                  <a:lnTo>
                    <a:pt x="20" y="86"/>
                  </a:lnTo>
                  <a:lnTo>
                    <a:pt x="20" y="87"/>
                  </a:lnTo>
                  <a:lnTo>
                    <a:pt x="20" y="90"/>
                  </a:lnTo>
                  <a:lnTo>
                    <a:pt x="19" y="92"/>
                  </a:lnTo>
                  <a:lnTo>
                    <a:pt x="19" y="97"/>
                  </a:lnTo>
                  <a:lnTo>
                    <a:pt x="19" y="99"/>
                  </a:lnTo>
                  <a:lnTo>
                    <a:pt x="20" y="102"/>
                  </a:lnTo>
                  <a:lnTo>
                    <a:pt x="22" y="103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42" y="99"/>
                  </a:lnTo>
                  <a:lnTo>
                    <a:pt x="48" y="98"/>
                  </a:lnTo>
                  <a:lnTo>
                    <a:pt x="55" y="99"/>
                  </a:lnTo>
                  <a:lnTo>
                    <a:pt x="53" y="98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1" y="94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7" y="77"/>
                  </a:lnTo>
                  <a:lnTo>
                    <a:pt x="44" y="75"/>
                  </a:lnTo>
                  <a:lnTo>
                    <a:pt x="42" y="75"/>
                  </a:lnTo>
                  <a:lnTo>
                    <a:pt x="41" y="72"/>
                  </a:lnTo>
                  <a:lnTo>
                    <a:pt x="40" y="69"/>
                  </a:lnTo>
                  <a:lnTo>
                    <a:pt x="38" y="66"/>
                  </a:lnTo>
                  <a:lnTo>
                    <a:pt x="37" y="62"/>
                  </a:lnTo>
                  <a:lnTo>
                    <a:pt x="37" y="58"/>
                  </a:lnTo>
                  <a:lnTo>
                    <a:pt x="38" y="53"/>
                  </a:lnTo>
                  <a:lnTo>
                    <a:pt x="41" y="48"/>
                  </a:lnTo>
                  <a:lnTo>
                    <a:pt x="47" y="50"/>
                  </a:lnTo>
                  <a:lnTo>
                    <a:pt x="48" y="50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2" y="50"/>
                  </a:lnTo>
                  <a:lnTo>
                    <a:pt x="53" y="50"/>
                  </a:lnTo>
                  <a:lnTo>
                    <a:pt x="53" y="48"/>
                  </a:lnTo>
                  <a:lnTo>
                    <a:pt x="53" y="47"/>
                  </a:lnTo>
                  <a:lnTo>
                    <a:pt x="53" y="46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6" y="42"/>
                  </a:lnTo>
                  <a:lnTo>
                    <a:pt x="56" y="40"/>
                  </a:lnTo>
                  <a:lnTo>
                    <a:pt x="58" y="40"/>
                  </a:lnTo>
                  <a:lnTo>
                    <a:pt x="58" y="39"/>
                  </a:lnTo>
                  <a:lnTo>
                    <a:pt x="62" y="3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2" name="Freeform 138"/>
            <p:cNvSpPr>
              <a:spLocks/>
            </p:cNvSpPr>
            <p:nvPr/>
          </p:nvSpPr>
          <p:spPr bwMode="auto">
            <a:xfrm>
              <a:off x="2172" y="2099"/>
              <a:ext cx="45" cy="53"/>
            </a:xfrm>
            <a:custGeom>
              <a:avLst/>
              <a:gdLst>
                <a:gd name="T0" fmla="*/ 27 w 55"/>
                <a:gd name="T1" fmla="*/ 2 h 66"/>
                <a:gd name="T2" fmla="*/ 36 w 55"/>
                <a:gd name="T3" fmla="*/ 5 h 66"/>
                <a:gd name="T4" fmla="*/ 43 w 55"/>
                <a:gd name="T5" fmla="*/ 8 h 66"/>
                <a:gd name="T6" fmla="*/ 51 w 55"/>
                <a:gd name="T7" fmla="*/ 11 h 66"/>
                <a:gd name="T8" fmla="*/ 54 w 55"/>
                <a:gd name="T9" fmla="*/ 18 h 66"/>
                <a:gd name="T10" fmla="*/ 52 w 55"/>
                <a:gd name="T11" fmla="*/ 20 h 66"/>
                <a:gd name="T12" fmla="*/ 49 w 55"/>
                <a:gd name="T13" fmla="*/ 23 h 66"/>
                <a:gd name="T14" fmla="*/ 47 w 55"/>
                <a:gd name="T15" fmla="*/ 26 h 66"/>
                <a:gd name="T16" fmla="*/ 45 w 55"/>
                <a:gd name="T17" fmla="*/ 27 h 66"/>
                <a:gd name="T18" fmla="*/ 44 w 55"/>
                <a:gd name="T19" fmla="*/ 30 h 66"/>
                <a:gd name="T20" fmla="*/ 45 w 55"/>
                <a:gd name="T21" fmla="*/ 33 h 66"/>
                <a:gd name="T22" fmla="*/ 47 w 55"/>
                <a:gd name="T23" fmla="*/ 35 h 66"/>
                <a:gd name="T24" fmla="*/ 47 w 55"/>
                <a:gd name="T25" fmla="*/ 35 h 66"/>
                <a:gd name="T26" fmla="*/ 49 w 55"/>
                <a:gd name="T27" fmla="*/ 38 h 66"/>
                <a:gd name="T28" fmla="*/ 51 w 55"/>
                <a:gd name="T29" fmla="*/ 41 h 66"/>
                <a:gd name="T30" fmla="*/ 52 w 55"/>
                <a:gd name="T31" fmla="*/ 45 h 66"/>
                <a:gd name="T32" fmla="*/ 52 w 55"/>
                <a:gd name="T33" fmla="*/ 45 h 66"/>
                <a:gd name="T34" fmla="*/ 49 w 55"/>
                <a:gd name="T35" fmla="*/ 48 h 66"/>
                <a:gd name="T36" fmla="*/ 49 w 55"/>
                <a:gd name="T37" fmla="*/ 52 h 66"/>
                <a:gd name="T38" fmla="*/ 49 w 55"/>
                <a:gd name="T39" fmla="*/ 55 h 66"/>
                <a:gd name="T40" fmla="*/ 49 w 55"/>
                <a:gd name="T41" fmla="*/ 56 h 66"/>
                <a:gd name="T42" fmla="*/ 48 w 55"/>
                <a:gd name="T43" fmla="*/ 59 h 66"/>
                <a:gd name="T44" fmla="*/ 45 w 55"/>
                <a:gd name="T45" fmla="*/ 60 h 66"/>
                <a:gd name="T46" fmla="*/ 43 w 55"/>
                <a:gd name="T47" fmla="*/ 60 h 66"/>
                <a:gd name="T48" fmla="*/ 43 w 55"/>
                <a:gd name="T49" fmla="*/ 60 h 66"/>
                <a:gd name="T50" fmla="*/ 34 w 55"/>
                <a:gd name="T51" fmla="*/ 60 h 66"/>
                <a:gd name="T52" fmla="*/ 32 w 55"/>
                <a:gd name="T53" fmla="*/ 60 h 66"/>
                <a:gd name="T54" fmla="*/ 29 w 55"/>
                <a:gd name="T55" fmla="*/ 60 h 66"/>
                <a:gd name="T56" fmla="*/ 26 w 55"/>
                <a:gd name="T57" fmla="*/ 60 h 66"/>
                <a:gd name="T58" fmla="*/ 25 w 55"/>
                <a:gd name="T59" fmla="*/ 60 h 66"/>
                <a:gd name="T60" fmla="*/ 25 w 55"/>
                <a:gd name="T61" fmla="*/ 66 h 66"/>
                <a:gd name="T62" fmla="*/ 18 w 55"/>
                <a:gd name="T63" fmla="*/ 64 h 66"/>
                <a:gd name="T64" fmla="*/ 16 w 55"/>
                <a:gd name="T65" fmla="*/ 63 h 66"/>
                <a:gd name="T66" fmla="*/ 15 w 55"/>
                <a:gd name="T67" fmla="*/ 60 h 66"/>
                <a:gd name="T68" fmla="*/ 12 w 55"/>
                <a:gd name="T69" fmla="*/ 56 h 66"/>
                <a:gd name="T70" fmla="*/ 10 w 55"/>
                <a:gd name="T71" fmla="*/ 42 h 66"/>
                <a:gd name="T72" fmla="*/ 5 w 55"/>
                <a:gd name="T73" fmla="*/ 40 h 66"/>
                <a:gd name="T74" fmla="*/ 3 w 55"/>
                <a:gd name="T75" fmla="*/ 34 h 66"/>
                <a:gd name="T76" fmla="*/ 0 w 55"/>
                <a:gd name="T77" fmla="*/ 27 h 66"/>
                <a:gd name="T78" fmla="*/ 1 w 55"/>
                <a:gd name="T79" fmla="*/ 18 h 66"/>
                <a:gd name="T80" fmla="*/ 10 w 55"/>
                <a:gd name="T81" fmla="*/ 15 h 66"/>
                <a:gd name="T82" fmla="*/ 11 w 55"/>
                <a:gd name="T83" fmla="*/ 15 h 66"/>
                <a:gd name="T84" fmla="*/ 14 w 55"/>
                <a:gd name="T85" fmla="*/ 15 h 66"/>
                <a:gd name="T86" fmla="*/ 16 w 55"/>
                <a:gd name="T87" fmla="*/ 15 h 66"/>
                <a:gd name="T88" fmla="*/ 16 w 55"/>
                <a:gd name="T89" fmla="*/ 12 h 66"/>
                <a:gd name="T90" fmla="*/ 16 w 55"/>
                <a:gd name="T91" fmla="*/ 11 h 66"/>
                <a:gd name="T92" fmla="*/ 18 w 55"/>
                <a:gd name="T93" fmla="*/ 8 h 66"/>
                <a:gd name="T94" fmla="*/ 19 w 55"/>
                <a:gd name="T95" fmla="*/ 5 h 66"/>
                <a:gd name="T96" fmla="*/ 21 w 55"/>
                <a:gd name="T97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" h="66">
                  <a:moveTo>
                    <a:pt x="25" y="0"/>
                  </a:moveTo>
                  <a:lnTo>
                    <a:pt x="27" y="2"/>
                  </a:lnTo>
                  <a:lnTo>
                    <a:pt x="32" y="4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3" y="8"/>
                  </a:lnTo>
                  <a:lnTo>
                    <a:pt x="47" y="9"/>
                  </a:lnTo>
                  <a:lnTo>
                    <a:pt x="51" y="11"/>
                  </a:lnTo>
                  <a:lnTo>
                    <a:pt x="55" y="11"/>
                  </a:lnTo>
                  <a:lnTo>
                    <a:pt x="54" y="18"/>
                  </a:lnTo>
                  <a:lnTo>
                    <a:pt x="54" y="19"/>
                  </a:lnTo>
                  <a:lnTo>
                    <a:pt x="52" y="20"/>
                  </a:lnTo>
                  <a:lnTo>
                    <a:pt x="51" y="22"/>
                  </a:lnTo>
                  <a:lnTo>
                    <a:pt x="49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4" y="30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8" y="37"/>
                  </a:lnTo>
                  <a:lnTo>
                    <a:pt x="49" y="38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6"/>
                  </a:lnTo>
                  <a:lnTo>
                    <a:pt x="49" y="48"/>
                  </a:lnTo>
                  <a:lnTo>
                    <a:pt x="49" y="51"/>
                  </a:lnTo>
                  <a:lnTo>
                    <a:pt x="49" y="52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38" y="57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3" y="63"/>
                  </a:lnTo>
                  <a:lnTo>
                    <a:pt x="25" y="66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5" y="60"/>
                  </a:lnTo>
                  <a:lnTo>
                    <a:pt x="14" y="59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0" y="42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4" y="37"/>
                  </a:lnTo>
                  <a:lnTo>
                    <a:pt x="3" y="34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18"/>
                  </a:lnTo>
                  <a:lnTo>
                    <a:pt x="4" y="13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3" name="Freeform 139"/>
            <p:cNvSpPr>
              <a:spLocks/>
            </p:cNvSpPr>
            <p:nvPr/>
          </p:nvSpPr>
          <p:spPr bwMode="auto">
            <a:xfrm>
              <a:off x="2172" y="2099"/>
              <a:ext cx="45" cy="53"/>
            </a:xfrm>
            <a:custGeom>
              <a:avLst/>
              <a:gdLst>
                <a:gd name="T0" fmla="*/ 27 w 55"/>
                <a:gd name="T1" fmla="*/ 2 h 66"/>
                <a:gd name="T2" fmla="*/ 36 w 55"/>
                <a:gd name="T3" fmla="*/ 5 h 66"/>
                <a:gd name="T4" fmla="*/ 43 w 55"/>
                <a:gd name="T5" fmla="*/ 8 h 66"/>
                <a:gd name="T6" fmla="*/ 51 w 55"/>
                <a:gd name="T7" fmla="*/ 11 h 66"/>
                <a:gd name="T8" fmla="*/ 54 w 55"/>
                <a:gd name="T9" fmla="*/ 18 h 66"/>
                <a:gd name="T10" fmla="*/ 52 w 55"/>
                <a:gd name="T11" fmla="*/ 20 h 66"/>
                <a:gd name="T12" fmla="*/ 49 w 55"/>
                <a:gd name="T13" fmla="*/ 23 h 66"/>
                <a:gd name="T14" fmla="*/ 47 w 55"/>
                <a:gd name="T15" fmla="*/ 26 h 66"/>
                <a:gd name="T16" fmla="*/ 45 w 55"/>
                <a:gd name="T17" fmla="*/ 29 h 66"/>
                <a:gd name="T18" fmla="*/ 45 w 55"/>
                <a:gd name="T19" fmla="*/ 31 h 66"/>
                <a:gd name="T20" fmla="*/ 45 w 55"/>
                <a:gd name="T21" fmla="*/ 34 h 66"/>
                <a:gd name="T22" fmla="*/ 48 w 55"/>
                <a:gd name="T23" fmla="*/ 37 h 66"/>
                <a:gd name="T24" fmla="*/ 51 w 55"/>
                <a:gd name="T25" fmla="*/ 40 h 66"/>
                <a:gd name="T26" fmla="*/ 52 w 55"/>
                <a:gd name="T27" fmla="*/ 44 h 66"/>
                <a:gd name="T28" fmla="*/ 51 w 55"/>
                <a:gd name="T29" fmla="*/ 46 h 66"/>
                <a:gd name="T30" fmla="*/ 49 w 55"/>
                <a:gd name="T31" fmla="*/ 51 h 66"/>
                <a:gd name="T32" fmla="*/ 49 w 55"/>
                <a:gd name="T33" fmla="*/ 53 h 66"/>
                <a:gd name="T34" fmla="*/ 49 w 55"/>
                <a:gd name="T35" fmla="*/ 56 h 66"/>
                <a:gd name="T36" fmla="*/ 48 w 55"/>
                <a:gd name="T37" fmla="*/ 59 h 66"/>
                <a:gd name="T38" fmla="*/ 45 w 55"/>
                <a:gd name="T39" fmla="*/ 60 h 66"/>
                <a:gd name="T40" fmla="*/ 43 w 55"/>
                <a:gd name="T41" fmla="*/ 60 h 66"/>
                <a:gd name="T42" fmla="*/ 34 w 55"/>
                <a:gd name="T43" fmla="*/ 60 h 66"/>
                <a:gd name="T44" fmla="*/ 32 w 55"/>
                <a:gd name="T45" fmla="*/ 60 h 66"/>
                <a:gd name="T46" fmla="*/ 29 w 55"/>
                <a:gd name="T47" fmla="*/ 60 h 66"/>
                <a:gd name="T48" fmla="*/ 26 w 55"/>
                <a:gd name="T49" fmla="*/ 60 h 66"/>
                <a:gd name="T50" fmla="*/ 23 w 55"/>
                <a:gd name="T51" fmla="*/ 63 h 66"/>
                <a:gd name="T52" fmla="*/ 18 w 55"/>
                <a:gd name="T53" fmla="*/ 64 h 66"/>
                <a:gd name="T54" fmla="*/ 16 w 55"/>
                <a:gd name="T55" fmla="*/ 62 h 66"/>
                <a:gd name="T56" fmla="*/ 14 w 55"/>
                <a:gd name="T57" fmla="*/ 59 h 66"/>
                <a:gd name="T58" fmla="*/ 12 w 55"/>
                <a:gd name="T59" fmla="*/ 55 h 66"/>
                <a:gd name="T60" fmla="*/ 7 w 55"/>
                <a:gd name="T61" fmla="*/ 40 h 66"/>
                <a:gd name="T62" fmla="*/ 4 w 55"/>
                <a:gd name="T63" fmla="*/ 37 h 66"/>
                <a:gd name="T64" fmla="*/ 1 w 55"/>
                <a:gd name="T65" fmla="*/ 31 h 66"/>
                <a:gd name="T66" fmla="*/ 0 w 55"/>
                <a:gd name="T67" fmla="*/ 23 h 66"/>
                <a:gd name="T68" fmla="*/ 4 w 55"/>
                <a:gd name="T69" fmla="*/ 13 h 66"/>
                <a:gd name="T70" fmla="*/ 11 w 55"/>
                <a:gd name="T71" fmla="*/ 15 h 66"/>
                <a:gd name="T72" fmla="*/ 14 w 55"/>
                <a:gd name="T73" fmla="*/ 15 h 66"/>
                <a:gd name="T74" fmla="*/ 16 w 55"/>
                <a:gd name="T75" fmla="*/ 15 h 66"/>
                <a:gd name="T76" fmla="*/ 16 w 55"/>
                <a:gd name="T77" fmla="*/ 12 h 66"/>
                <a:gd name="T78" fmla="*/ 18 w 55"/>
                <a:gd name="T79" fmla="*/ 9 h 66"/>
                <a:gd name="T80" fmla="*/ 19 w 55"/>
                <a:gd name="T81" fmla="*/ 7 h 66"/>
                <a:gd name="T82" fmla="*/ 21 w 55"/>
                <a:gd name="T83" fmla="*/ 5 h 66"/>
                <a:gd name="T84" fmla="*/ 25 w 55"/>
                <a:gd name="T8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5" h="66">
                  <a:moveTo>
                    <a:pt x="25" y="0"/>
                  </a:moveTo>
                  <a:lnTo>
                    <a:pt x="27" y="2"/>
                  </a:lnTo>
                  <a:lnTo>
                    <a:pt x="32" y="4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3" y="8"/>
                  </a:lnTo>
                  <a:lnTo>
                    <a:pt x="47" y="9"/>
                  </a:lnTo>
                  <a:lnTo>
                    <a:pt x="51" y="11"/>
                  </a:lnTo>
                  <a:lnTo>
                    <a:pt x="55" y="11"/>
                  </a:lnTo>
                  <a:lnTo>
                    <a:pt x="54" y="18"/>
                  </a:lnTo>
                  <a:lnTo>
                    <a:pt x="54" y="19"/>
                  </a:lnTo>
                  <a:lnTo>
                    <a:pt x="52" y="20"/>
                  </a:lnTo>
                  <a:lnTo>
                    <a:pt x="51" y="22"/>
                  </a:lnTo>
                  <a:lnTo>
                    <a:pt x="49" y="23"/>
                  </a:lnTo>
                  <a:lnTo>
                    <a:pt x="48" y="24"/>
                  </a:lnTo>
                  <a:lnTo>
                    <a:pt x="47" y="26"/>
                  </a:lnTo>
                  <a:lnTo>
                    <a:pt x="45" y="27"/>
                  </a:lnTo>
                  <a:lnTo>
                    <a:pt x="45" y="29"/>
                  </a:lnTo>
                  <a:lnTo>
                    <a:pt x="44" y="30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7" y="35"/>
                  </a:lnTo>
                  <a:lnTo>
                    <a:pt x="48" y="37"/>
                  </a:lnTo>
                  <a:lnTo>
                    <a:pt x="49" y="38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1" y="46"/>
                  </a:lnTo>
                  <a:lnTo>
                    <a:pt x="49" y="48"/>
                  </a:lnTo>
                  <a:lnTo>
                    <a:pt x="49" y="51"/>
                  </a:lnTo>
                  <a:lnTo>
                    <a:pt x="49" y="52"/>
                  </a:lnTo>
                  <a:lnTo>
                    <a:pt x="49" y="53"/>
                  </a:lnTo>
                  <a:lnTo>
                    <a:pt x="49" y="55"/>
                  </a:lnTo>
                  <a:lnTo>
                    <a:pt x="49" y="56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3" y="60"/>
                  </a:lnTo>
                  <a:lnTo>
                    <a:pt x="38" y="57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3" y="63"/>
                  </a:lnTo>
                  <a:lnTo>
                    <a:pt x="25" y="66"/>
                  </a:lnTo>
                  <a:lnTo>
                    <a:pt x="18" y="64"/>
                  </a:lnTo>
                  <a:lnTo>
                    <a:pt x="16" y="63"/>
                  </a:lnTo>
                  <a:lnTo>
                    <a:pt x="16" y="62"/>
                  </a:lnTo>
                  <a:lnTo>
                    <a:pt x="15" y="60"/>
                  </a:lnTo>
                  <a:lnTo>
                    <a:pt x="14" y="59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0" y="42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4" y="37"/>
                  </a:lnTo>
                  <a:lnTo>
                    <a:pt x="3" y="34"/>
                  </a:lnTo>
                  <a:lnTo>
                    <a:pt x="1" y="31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1" y="18"/>
                  </a:lnTo>
                  <a:lnTo>
                    <a:pt x="4" y="13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5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4" name="Freeform 140"/>
            <p:cNvSpPr>
              <a:spLocks/>
            </p:cNvSpPr>
            <p:nvPr/>
          </p:nvSpPr>
          <p:spPr bwMode="auto">
            <a:xfrm>
              <a:off x="2207" y="2108"/>
              <a:ext cx="45" cy="41"/>
            </a:xfrm>
            <a:custGeom>
              <a:avLst/>
              <a:gdLst>
                <a:gd name="T0" fmla="*/ 54 w 55"/>
                <a:gd name="T1" fmla="*/ 19 h 51"/>
                <a:gd name="T2" fmla="*/ 48 w 55"/>
                <a:gd name="T3" fmla="*/ 18 h 51"/>
                <a:gd name="T4" fmla="*/ 44 w 55"/>
                <a:gd name="T5" fmla="*/ 15 h 51"/>
                <a:gd name="T6" fmla="*/ 40 w 55"/>
                <a:gd name="T7" fmla="*/ 12 h 51"/>
                <a:gd name="T8" fmla="*/ 34 w 55"/>
                <a:gd name="T9" fmla="*/ 9 h 51"/>
                <a:gd name="T10" fmla="*/ 27 w 55"/>
                <a:gd name="T11" fmla="*/ 5 h 51"/>
                <a:gd name="T12" fmla="*/ 21 w 55"/>
                <a:gd name="T13" fmla="*/ 2 h 51"/>
                <a:gd name="T14" fmla="*/ 14 w 55"/>
                <a:gd name="T15" fmla="*/ 1 h 51"/>
                <a:gd name="T16" fmla="*/ 11 w 55"/>
                <a:gd name="T17" fmla="*/ 2 h 51"/>
                <a:gd name="T18" fmla="*/ 10 w 55"/>
                <a:gd name="T19" fmla="*/ 8 h 51"/>
                <a:gd name="T20" fmla="*/ 7 w 55"/>
                <a:gd name="T21" fmla="*/ 11 h 51"/>
                <a:gd name="T22" fmla="*/ 4 w 55"/>
                <a:gd name="T23" fmla="*/ 13 h 51"/>
                <a:gd name="T24" fmla="*/ 1 w 55"/>
                <a:gd name="T25" fmla="*/ 16 h 51"/>
                <a:gd name="T26" fmla="*/ 1 w 55"/>
                <a:gd name="T27" fmla="*/ 18 h 51"/>
                <a:gd name="T28" fmla="*/ 1 w 55"/>
                <a:gd name="T29" fmla="*/ 20 h 51"/>
                <a:gd name="T30" fmla="*/ 1 w 55"/>
                <a:gd name="T31" fmla="*/ 23 h 51"/>
                <a:gd name="T32" fmla="*/ 3 w 55"/>
                <a:gd name="T33" fmla="*/ 24 h 51"/>
                <a:gd name="T34" fmla="*/ 4 w 55"/>
                <a:gd name="T35" fmla="*/ 26 h 51"/>
                <a:gd name="T36" fmla="*/ 7 w 55"/>
                <a:gd name="T37" fmla="*/ 29 h 51"/>
                <a:gd name="T38" fmla="*/ 8 w 55"/>
                <a:gd name="T39" fmla="*/ 33 h 51"/>
                <a:gd name="T40" fmla="*/ 8 w 55"/>
                <a:gd name="T41" fmla="*/ 34 h 51"/>
                <a:gd name="T42" fmla="*/ 7 w 55"/>
                <a:gd name="T43" fmla="*/ 35 h 51"/>
                <a:gd name="T44" fmla="*/ 5 w 55"/>
                <a:gd name="T45" fmla="*/ 40 h 51"/>
                <a:gd name="T46" fmla="*/ 5 w 55"/>
                <a:gd name="T47" fmla="*/ 42 h 51"/>
                <a:gd name="T48" fmla="*/ 5 w 55"/>
                <a:gd name="T49" fmla="*/ 45 h 51"/>
                <a:gd name="T50" fmla="*/ 5 w 55"/>
                <a:gd name="T51" fmla="*/ 45 h 51"/>
                <a:gd name="T52" fmla="*/ 4 w 55"/>
                <a:gd name="T53" fmla="*/ 46 h 51"/>
                <a:gd name="T54" fmla="*/ 4 w 55"/>
                <a:gd name="T55" fmla="*/ 48 h 51"/>
                <a:gd name="T56" fmla="*/ 3 w 55"/>
                <a:gd name="T57" fmla="*/ 49 h 51"/>
                <a:gd name="T58" fmla="*/ 3 w 55"/>
                <a:gd name="T59" fmla="*/ 49 h 51"/>
                <a:gd name="T60" fmla="*/ 4 w 55"/>
                <a:gd name="T61" fmla="*/ 49 h 51"/>
                <a:gd name="T62" fmla="*/ 5 w 55"/>
                <a:gd name="T63" fmla="*/ 51 h 51"/>
                <a:gd name="T64" fmla="*/ 7 w 55"/>
                <a:gd name="T65" fmla="*/ 51 h 51"/>
                <a:gd name="T66" fmla="*/ 8 w 55"/>
                <a:gd name="T67" fmla="*/ 51 h 51"/>
                <a:gd name="T68" fmla="*/ 10 w 55"/>
                <a:gd name="T69" fmla="*/ 49 h 51"/>
                <a:gd name="T70" fmla="*/ 12 w 55"/>
                <a:gd name="T71" fmla="*/ 48 h 51"/>
                <a:gd name="T72" fmla="*/ 14 w 55"/>
                <a:gd name="T73" fmla="*/ 48 h 51"/>
                <a:gd name="T74" fmla="*/ 15 w 55"/>
                <a:gd name="T75" fmla="*/ 48 h 51"/>
                <a:gd name="T76" fmla="*/ 16 w 55"/>
                <a:gd name="T77" fmla="*/ 48 h 51"/>
                <a:gd name="T78" fmla="*/ 18 w 55"/>
                <a:gd name="T79" fmla="*/ 49 h 51"/>
                <a:gd name="T80" fmla="*/ 19 w 55"/>
                <a:gd name="T81" fmla="*/ 48 h 51"/>
                <a:gd name="T82" fmla="*/ 19 w 55"/>
                <a:gd name="T83" fmla="*/ 48 h 51"/>
                <a:gd name="T84" fmla="*/ 21 w 55"/>
                <a:gd name="T85" fmla="*/ 48 h 51"/>
                <a:gd name="T86" fmla="*/ 23 w 55"/>
                <a:gd name="T87" fmla="*/ 49 h 51"/>
                <a:gd name="T88" fmla="*/ 25 w 55"/>
                <a:gd name="T89" fmla="*/ 49 h 51"/>
                <a:gd name="T90" fmla="*/ 27 w 55"/>
                <a:gd name="T91" fmla="*/ 51 h 51"/>
                <a:gd name="T92" fmla="*/ 29 w 55"/>
                <a:gd name="T93" fmla="*/ 51 h 51"/>
                <a:gd name="T94" fmla="*/ 30 w 55"/>
                <a:gd name="T95" fmla="*/ 51 h 51"/>
                <a:gd name="T96" fmla="*/ 32 w 55"/>
                <a:gd name="T97" fmla="*/ 51 h 51"/>
                <a:gd name="T98" fmla="*/ 32 w 55"/>
                <a:gd name="T99" fmla="*/ 49 h 51"/>
                <a:gd name="T100" fmla="*/ 33 w 55"/>
                <a:gd name="T101" fmla="*/ 49 h 51"/>
                <a:gd name="T102" fmla="*/ 34 w 55"/>
                <a:gd name="T103" fmla="*/ 49 h 51"/>
                <a:gd name="T104" fmla="*/ 36 w 55"/>
                <a:gd name="T105" fmla="*/ 48 h 51"/>
                <a:gd name="T106" fmla="*/ 36 w 55"/>
                <a:gd name="T107" fmla="*/ 45 h 51"/>
                <a:gd name="T108" fmla="*/ 37 w 55"/>
                <a:gd name="T109" fmla="*/ 41 h 51"/>
                <a:gd name="T110" fmla="*/ 40 w 55"/>
                <a:gd name="T111" fmla="*/ 35 h 51"/>
                <a:gd name="T112" fmla="*/ 43 w 55"/>
                <a:gd name="T113" fmla="*/ 33 h 51"/>
                <a:gd name="T114" fmla="*/ 44 w 55"/>
                <a:gd name="T115" fmla="*/ 33 h 51"/>
                <a:gd name="T116" fmla="*/ 45 w 55"/>
                <a:gd name="T117" fmla="*/ 31 h 51"/>
                <a:gd name="T118" fmla="*/ 47 w 55"/>
                <a:gd name="T119" fmla="*/ 30 h 51"/>
                <a:gd name="T120" fmla="*/ 49 w 55"/>
                <a:gd name="T121" fmla="*/ 27 h 51"/>
                <a:gd name="T122" fmla="*/ 55 w 55"/>
                <a:gd name="T123" fmla="*/ 2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5" h="51">
                  <a:moveTo>
                    <a:pt x="55" y="20"/>
                  </a:moveTo>
                  <a:lnTo>
                    <a:pt x="54" y="19"/>
                  </a:lnTo>
                  <a:lnTo>
                    <a:pt x="51" y="19"/>
                  </a:lnTo>
                  <a:lnTo>
                    <a:pt x="48" y="18"/>
                  </a:lnTo>
                  <a:lnTo>
                    <a:pt x="47" y="16"/>
                  </a:lnTo>
                  <a:lnTo>
                    <a:pt x="44" y="15"/>
                  </a:lnTo>
                  <a:lnTo>
                    <a:pt x="41" y="13"/>
                  </a:lnTo>
                  <a:lnTo>
                    <a:pt x="40" y="12"/>
                  </a:lnTo>
                  <a:lnTo>
                    <a:pt x="37" y="11"/>
                  </a:lnTo>
                  <a:lnTo>
                    <a:pt x="34" y="9"/>
                  </a:lnTo>
                  <a:lnTo>
                    <a:pt x="30" y="7"/>
                  </a:lnTo>
                  <a:lnTo>
                    <a:pt x="27" y="5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8" y="9"/>
                  </a:lnTo>
                  <a:lnTo>
                    <a:pt x="7" y="11"/>
                  </a:lnTo>
                  <a:lnTo>
                    <a:pt x="5" y="12"/>
                  </a:lnTo>
                  <a:lnTo>
                    <a:pt x="4" y="13"/>
                  </a:lnTo>
                  <a:lnTo>
                    <a:pt x="3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5" y="27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8" y="38"/>
                  </a:lnTo>
                  <a:lnTo>
                    <a:pt x="40" y="35"/>
                  </a:lnTo>
                  <a:lnTo>
                    <a:pt x="41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8" y="29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5" y="2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5" name="Freeform 141"/>
            <p:cNvSpPr>
              <a:spLocks/>
            </p:cNvSpPr>
            <p:nvPr/>
          </p:nvSpPr>
          <p:spPr bwMode="auto">
            <a:xfrm>
              <a:off x="2207" y="2108"/>
              <a:ext cx="45" cy="41"/>
            </a:xfrm>
            <a:custGeom>
              <a:avLst/>
              <a:gdLst>
                <a:gd name="T0" fmla="*/ 54 w 55"/>
                <a:gd name="T1" fmla="*/ 19 h 51"/>
                <a:gd name="T2" fmla="*/ 48 w 55"/>
                <a:gd name="T3" fmla="*/ 18 h 51"/>
                <a:gd name="T4" fmla="*/ 44 w 55"/>
                <a:gd name="T5" fmla="*/ 15 h 51"/>
                <a:gd name="T6" fmla="*/ 40 w 55"/>
                <a:gd name="T7" fmla="*/ 12 h 51"/>
                <a:gd name="T8" fmla="*/ 34 w 55"/>
                <a:gd name="T9" fmla="*/ 9 h 51"/>
                <a:gd name="T10" fmla="*/ 27 w 55"/>
                <a:gd name="T11" fmla="*/ 5 h 51"/>
                <a:gd name="T12" fmla="*/ 21 w 55"/>
                <a:gd name="T13" fmla="*/ 2 h 51"/>
                <a:gd name="T14" fmla="*/ 14 w 55"/>
                <a:gd name="T15" fmla="*/ 1 h 51"/>
                <a:gd name="T16" fmla="*/ 11 w 55"/>
                <a:gd name="T17" fmla="*/ 2 h 51"/>
                <a:gd name="T18" fmla="*/ 10 w 55"/>
                <a:gd name="T19" fmla="*/ 8 h 51"/>
                <a:gd name="T20" fmla="*/ 7 w 55"/>
                <a:gd name="T21" fmla="*/ 11 h 51"/>
                <a:gd name="T22" fmla="*/ 4 w 55"/>
                <a:gd name="T23" fmla="*/ 13 h 51"/>
                <a:gd name="T24" fmla="*/ 1 w 55"/>
                <a:gd name="T25" fmla="*/ 16 h 51"/>
                <a:gd name="T26" fmla="*/ 0 w 55"/>
                <a:gd name="T27" fmla="*/ 19 h 51"/>
                <a:gd name="T28" fmla="*/ 1 w 55"/>
                <a:gd name="T29" fmla="*/ 22 h 51"/>
                <a:gd name="T30" fmla="*/ 3 w 55"/>
                <a:gd name="T31" fmla="*/ 24 h 51"/>
                <a:gd name="T32" fmla="*/ 5 w 55"/>
                <a:gd name="T33" fmla="*/ 27 h 51"/>
                <a:gd name="T34" fmla="*/ 7 w 55"/>
                <a:gd name="T35" fmla="*/ 30 h 51"/>
                <a:gd name="T36" fmla="*/ 8 w 55"/>
                <a:gd name="T37" fmla="*/ 34 h 51"/>
                <a:gd name="T38" fmla="*/ 5 w 55"/>
                <a:gd name="T39" fmla="*/ 37 h 51"/>
                <a:gd name="T40" fmla="*/ 5 w 55"/>
                <a:gd name="T41" fmla="*/ 41 h 51"/>
                <a:gd name="T42" fmla="*/ 5 w 55"/>
                <a:gd name="T43" fmla="*/ 44 h 51"/>
                <a:gd name="T44" fmla="*/ 4 w 55"/>
                <a:gd name="T45" fmla="*/ 46 h 51"/>
                <a:gd name="T46" fmla="*/ 3 w 55"/>
                <a:gd name="T47" fmla="*/ 48 h 51"/>
                <a:gd name="T48" fmla="*/ 4 w 55"/>
                <a:gd name="T49" fmla="*/ 49 h 51"/>
                <a:gd name="T50" fmla="*/ 5 w 55"/>
                <a:gd name="T51" fmla="*/ 51 h 51"/>
                <a:gd name="T52" fmla="*/ 8 w 55"/>
                <a:gd name="T53" fmla="*/ 51 h 51"/>
                <a:gd name="T54" fmla="*/ 11 w 55"/>
                <a:gd name="T55" fmla="*/ 49 h 51"/>
                <a:gd name="T56" fmla="*/ 14 w 55"/>
                <a:gd name="T57" fmla="*/ 48 h 51"/>
                <a:gd name="T58" fmla="*/ 16 w 55"/>
                <a:gd name="T59" fmla="*/ 48 h 51"/>
                <a:gd name="T60" fmla="*/ 18 w 55"/>
                <a:gd name="T61" fmla="*/ 49 h 51"/>
                <a:gd name="T62" fmla="*/ 21 w 55"/>
                <a:gd name="T63" fmla="*/ 48 h 51"/>
                <a:gd name="T64" fmla="*/ 23 w 55"/>
                <a:gd name="T65" fmla="*/ 49 h 51"/>
                <a:gd name="T66" fmla="*/ 26 w 55"/>
                <a:gd name="T67" fmla="*/ 49 h 51"/>
                <a:gd name="T68" fmla="*/ 29 w 55"/>
                <a:gd name="T69" fmla="*/ 51 h 51"/>
                <a:gd name="T70" fmla="*/ 32 w 55"/>
                <a:gd name="T71" fmla="*/ 51 h 51"/>
                <a:gd name="T72" fmla="*/ 33 w 55"/>
                <a:gd name="T73" fmla="*/ 49 h 51"/>
                <a:gd name="T74" fmla="*/ 34 w 55"/>
                <a:gd name="T75" fmla="*/ 48 h 51"/>
                <a:gd name="T76" fmla="*/ 36 w 55"/>
                <a:gd name="T77" fmla="*/ 46 h 51"/>
                <a:gd name="T78" fmla="*/ 37 w 55"/>
                <a:gd name="T79" fmla="*/ 42 h 51"/>
                <a:gd name="T80" fmla="*/ 38 w 55"/>
                <a:gd name="T81" fmla="*/ 38 h 51"/>
                <a:gd name="T82" fmla="*/ 41 w 55"/>
                <a:gd name="T83" fmla="*/ 34 h 51"/>
                <a:gd name="T84" fmla="*/ 44 w 55"/>
                <a:gd name="T85" fmla="*/ 33 h 51"/>
                <a:gd name="T86" fmla="*/ 47 w 55"/>
                <a:gd name="T87" fmla="*/ 30 h 51"/>
                <a:gd name="T88" fmla="*/ 49 w 55"/>
                <a:gd name="T89" fmla="*/ 2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" h="51">
                  <a:moveTo>
                    <a:pt x="55" y="20"/>
                  </a:moveTo>
                  <a:lnTo>
                    <a:pt x="54" y="19"/>
                  </a:lnTo>
                  <a:lnTo>
                    <a:pt x="51" y="19"/>
                  </a:lnTo>
                  <a:lnTo>
                    <a:pt x="48" y="18"/>
                  </a:lnTo>
                  <a:lnTo>
                    <a:pt x="47" y="16"/>
                  </a:lnTo>
                  <a:lnTo>
                    <a:pt x="44" y="15"/>
                  </a:lnTo>
                  <a:lnTo>
                    <a:pt x="41" y="13"/>
                  </a:lnTo>
                  <a:lnTo>
                    <a:pt x="40" y="12"/>
                  </a:lnTo>
                  <a:lnTo>
                    <a:pt x="37" y="11"/>
                  </a:lnTo>
                  <a:lnTo>
                    <a:pt x="34" y="9"/>
                  </a:lnTo>
                  <a:lnTo>
                    <a:pt x="30" y="7"/>
                  </a:lnTo>
                  <a:lnTo>
                    <a:pt x="27" y="5"/>
                  </a:lnTo>
                  <a:lnTo>
                    <a:pt x="23" y="4"/>
                  </a:lnTo>
                  <a:lnTo>
                    <a:pt x="21" y="2"/>
                  </a:lnTo>
                  <a:lnTo>
                    <a:pt x="18" y="2"/>
                  </a:lnTo>
                  <a:lnTo>
                    <a:pt x="14" y="1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8" y="9"/>
                  </a:lnTo>
                  <a:lnTo>
                    <a:pt x="7" y="11"/>
                  </a:lnTo>
                  <a:lnTo>
                    <a:pt x="5" y="12"/>
                  </a:lnTo>
                  <a:lnTo>
                    <a:pt x="4" y="13"/>
                  </a:lnTo>
                  <a:lnTo>
                    <a:pt x="3" y="15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5" y="27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7" y="35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7" y="51"/>
                  </a:lnTo>
                  <a:lnTo>
                    <a:pt x="8" y="51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8" y="49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3" y="49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7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2" y="51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7" y="42"/>
                  </a:lnTo>
                  <a:lnTo>
                    <a:pt x="37" y="41"/>
                  </a:lnTo>
                  <a:lnTo>
                    <a:pt x="38" y="38"/>
                  </a:lnTo>
                  <a:lnTo>
                    <a:pt x="40" y="35"/>
                  </a:lnTo>
                  <a:lnTo>
                    <a:pt x="41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5" y="31"/>
                  </a:lnTo>
                  <a:lnTo>
                    <a:pt x="47" y="30"/>
                  </a:lnTo>
                  <a:lnTo>
                    <a:pt x="48" y="29"/>
                  </a:lnTo>
                  <a:lnTo>
                    <a:pt x="49" y="27"/>
                  </a:lnTo>
                  <a:lnTo>
                    <a:pt x="55" y="2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6" name="Freeform 142"/>
            <p:cNvSpPr>
              <a:spLocks/>
            </p:cNvSpPr>
            <p:nvPr/>
          </p:nvSpPr>
          <p:spPr bwMode="auto">
            <a:xfrm>
              <a:off x="1917" y="2014"/>
              <a:ext cx="143" cy="233"/>
            </a:xfrm>
            <a:custGeom>
              <a:avLst/>
              <a:gdLst>
                <a:gd name="T0" fmla="*/ 151 w 176"/>
                <a:gd name="T1" fmla="*/ 246 h 288"/>
                <a:gd name="T2" fmla="*/ 142 w 176"/>
                <a:gd name="T3" fmla="*/ 288 h 288"/>
                <a:gd name="T4" fmla="*/ 135 w 176"/>
                <a:gd name="T5" fmla="*/ 286 h 288"/>
                <a:gd name="T6" fmla="*/ 140 w 176"/>
                <a:gd name="T7" fmla="*/ 268 h 288"/>
                <a:gd name="T8" fmla="*/ 136 w 176"/>
                <a:gd name="T9" fmla="*/ 263 h 288"/>
                <a:gd name="T10" fmla="*/ 126 w 176"/>
                <a:gd name="T11" fmla="*/ 260 h 288"/>
                <a:gd name="T12" fmla="*/ 114 w 176"/>
                <a:gd name="T13" fmla="*/ 260 h 288"/>
                <a:gd name="T14" fmla="*/ 96 w 176"/>
                <a:gd name="T15" fmla="*/ 246 h 288"/>
                <a:gd name="T16" fmla="*/ 88 w 176"/>
                <a:gd name="T17" fmla="*/ 234 h 288"/>
                <a:gd name="T18" fmla="*/ 60 w 176"/>
                <a:gd name="T19" fmla="*/ 224 h 288"/>
                <a:gd name="T20" fmla="*/ 40 w 176"/>
                <a:gd name="T21" fmla="*/ 213 h 288"/>
                <a:gd name="T22" fmla="*/ 30 w 176"/>
                <a:gd name="T23" fmla="*/ 204 h 288"/>
                <a:gd name="T24" fmla="*/ 30 w 176"/>
                <a:gd name="T25" fmla="*/ 204 h 288"/>
                <a:gd name="T26" fmla="*/ 15 w 176"/>
                <a:gd name="T27" fmla="*/ 201 h 288"/>
                <a:gd name="T28" fmla="*/ 0 w 176"/>
                <a:gd name="T29" fmla="*/ 197 h 288"/>
                <a:gd name="T30" fmla="*/ 4 w 176"/>
                <a:gd name="T31" fmla="*/ 191 h 288"/>
                <a:gd name="T32" fmla="*/ 16 w 176"/>
                <a:gd name="T33" fmla="*/ 169 h 288"/>
                <a:gd name="T34" fmla="*/ 22 w 176"/>
                <a:gd name="T35" fmla="*/ 150 h 288"/>
                <a:gd name="T36" fmla="*/ 20 w 176"/>
                <a:gd name="T37" fmla="*/ 124 h 288"/>
                <a:gd name="T38" fmla="*/ 22 w 176"/>
                <a:gd name="T39" fmla="*/ 90 h 288"/>
                <a:gd name="T40" fmla="*/ 23 w 176"/>
                <a:gd name="T41" fmla="*/ 83 h 288"/>
                <a:gd name="T42" fmla="*/ 23 w 176"/>
                <a:gd name="T43" fmla="*/ 73 h 288"/>
                <a:gd name="T44" fmla="*/ 22 w 176"/>
                <a:gd name="T45" fmla="*/ 66 h 288"/>
                <a:gd name="T46" fmla="*/ 52 w 176"/>
                <a:gd name="T47" fmla="*/ 42 h 288"/>
                <a:gd name="T48" fmla="*/ 89 w 176"/>
                <a:gd name="T49" fmla="*/ 15 h 288"/>
                <a:gd name="T50" fmla="*/ 98 w 176"/>
                <a:gd name="T51" fmla="*/ 10 h 288"/>
                <a:gd name="T52" fmla="*/ 106 w 176"/>
                <a:gd name="T53" fmla="*/ 10 h 288"/>
                <a:gd name="T54" fmla="*/ 113 w 176"/>
                <a:gd name="T55" fmla="*/ 7 h 288"/>
                <a:gd name="T56" fmla="*/ 125 w 176"/>
                <a:gd name="T57" fmla="*/ 2 h 288"/>
                <a:gd name="T58" fmla="*/ 133 w 176"/>
                <a:gd name="T59" fmla="*/ 0 h 288"/>
                <a:gd name="T60" fmla="*/ 137 w 176"/>
                <a:gd name="T61" fmla="*/ 4 h 288"/>
                <a:gd name="T62" fmla="*/ 136 w 176"/>
                <a:gd name="T63" fmla="*/ 6 h 288"/>
                <a:gd name="T64" fmla="*/ 132 w 176"/>
                <a:gd name="T65" fmla="*/ 7 h 288"/>
                <a:gd name="T66" fmla="*/ 120 w 176"/>
                <a:gd name="T67" fmla="*/ 18 h 288"/>
                <a:gd name="T68" fmla="*/ 107 w 176"/>
                <a:gd name="T69" fmla="*/ 28 h 288"/>
                <a:gd name="T70" fmla="*/ 95 w 176"/>
                <a:gd name="T71" fmla="*/ 37 h 288"/>
                <a:gd name="T72" fmla="*/ 93 w 176"/>
                <a:gd name="T73" fmla="*/ 50 h 288"/>
                <a:gd name="T74" fmla="*/ 98 w 176"/>
                <a:gd name="T75" fmla="*/ 59 h 288"/>
                <a:gd name="T76" fmla="*/ 99 w 176"/>
                <a:gd name="T77" fmla="*/ 72 h 288"/>
                <a:gd name="T78" fmla="*/ 96 w 176"/>
                <a:gd name="T79" fmla="*/ 92 h 288"/>
                <a:gd name="T80" fmla="*/ 151 w 176"/>
                <a:gd name="T81" fmla="*/ 118 h 288"/>
                <a:gd name="T82" fmla="*/ 159 w 176"/>
                <a:gd name="T83" fmla="*/ 120 h 288"/>
                <a:gd name="T84" fmla="*/ 168 w 176"/>
                <a:gd name="T85" fmla="*/ 117 h 288"/>
                <a:gd name="T86" fmla="*/ 175 w 176"/>
                <a:gd name="T87" fmla="*/ 120 h 288"/>
                <a:gd name="T88" fmla="*/ 166 w 176"/>
                <a:gd name="T89" fmla="*/ 131 h 288"/>
                <a:gd name="T90" fmla="*/ 176 w 176"/>
                <a:gd name="T91" fmla="*/ 158 h 288"/>
                <a:gd name="T92" fmla="*/ 172 w 176"/>
                <a:gd name="T93" fmla="*/ 179 h 288"/>
                <a:gd name="T94" fmla="*/ 173 w 176"/>
                <a:gd name="T95" fmla="*/ 198 h 288"/>
                <a:gd name="T96" fmla="*/ 172 w 176"/>
                <a:gd name="T97" fmla="*/ 193 h 288"/>
                <a:gd name="T98" fmla="*/ 143 w 176"/>
                <a:gd name="T99" fmla="*/ 200 h 288"/>
                <a:gd name="T100" fmla="*/ 150 w 176"/>
                <a:gd name="T101" fmla="*/ 209 h 288"/>
                <a:gd name="T102" fmla="*/ 143 w 176"/>
                <a:gd name="T103" fmla="*/ 209 h 288"/>
                <a:gd name="T104" fmla="*/ 144 w 176"/>
                <a:gd name="T105" fmla="*/ 223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6" h="288">
                  <a:moveTo>
                    <a:pt x="148" y="230"/>
                  </a:moveTo>
                  <a:lnTo>
                    <a:pt x="150" y="234"/>
                  </a:lnTo>
                  <a:lnTo>
                    <a:pt x="151" y="238"/>
                  </a:lnTo>
                  <a:lnTo>
                    <a:pt x="151" y="242"/>
                  </a:lnTo>
                  <a:lnTo>
                    <a:pt x="151" y="246"/>
                  </a:lnTo>
                  <a:lnTo>
                    <a:pt x="151" y="249"/>
                  </a:lnTo>
                  <a:lnTo>
                    <a:pt x="150" y="250"/>
                  </a:lnTo>
                  <a:lnTo>
                    <a:pt x="150" y="252"/>
                  </a:lnTo>
                  <a:lnTo>
                    <a:pt x="150" y="253"/>
                  </a:lnTo>
                  <a:lnTo>
                    <a:pt x="142" y="288"/>
                  </a:lnTo>
                  <a:lnTo>
                    <a:pt x="140" y="286"/>
                  </a:lnTo>
                  <a:lnTo>
                    <a:pt x="139" y="286"/>
                  </a:lnTo>
                  <a:lnTo>
                    <a:pt x="137" y="286"/>
                  </a:lnTo>
                  <a:lnTo>
                    <a:pt x="136" y="286"/>
                  </a:lnTo>
                  <a:lnTo>
                    <a:pt x="135" y="286"/>
                  </a:lnTo>
                  <a:lnTo>
                    <a:pt x="133" y="286"/>
                  </a:lnTo>
                  <a:lnTo>
                    <a:pt x="132" y="286"/>
                  </a:lnTo>
                  <a:lnTo>
                    <a:pt x="132" y="28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39" y="267"/>
                  </a:lnTo>
                  <a:lnTo>
                    <a:pt x="139" y="266"/>
                  </a:lnTo>
                  <a:lnTo>
                    <a:pt x="137" y="266"/>
                  </a:lnTo>
                  <a:lnTo>
                    <a:pt x="137" y="264"/>
                  </a:lnTo>
                  <a:lnTo>
                    <a:pt x="136" y="263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2" y="260"/>
                  </a:lnTo>
                  <a:lnTo>
                    <a:pt x="131" y="260"/>
                  </a:lnTo>
                  <a:lnTo>
                    <a:pt x="126" y="260"/>
                  </a:lnTo>
                  <a:lnTo>
                    <a:pt x="122" y="260"/>
                  </a:lnTo>
                  <a:lnTo>
                    <a:pt x="120" y="260"/>
                  </a:lnTo>
                  <a:lnTo>
                    <a:pt x="117" y="260"/>
                  </a:lnTo>
                  <a:lnTo>
                    <a:pt x="114" y="260"/>
                  </a:lnTo>
                  <a:lnTo>
                    <a:pt x="114" y="260"/>
                  </a:lnTo>
                  <a:lnTo>
                    <a:pt x="106" y="259"/>
                  </a:lnTo>
                  <a:lnTo>
                    <a:pt x="102" y="256"/>
                  </a:lnTo>
                  <a:lnTo>
                    <a:pt x="98" y="253"/>
                  </a:lnTo>
                  <a:lnTo>
                    <a:pt x="96" y="250"/>
                  </a:lnTo>
                  <a:lnTo>
                    <a:pt x="96" y="246"/>
                  </a:lnTo>
                  <a:lnTo>
                    <a:pt x="96" y="245"/>
                  </a:lnTo>
                  <a:lnTo>
                    <a:pt x="96" y="242"/>
                  </a:lnTo>
                  <a:lnTo>
                    <a:pt x="96" y="242"/>
                  </a:lnTo>
                  <a:lnTo>
                    <a:pt x="92" y="238"/>
                  </a:lnTo>
                  <a:lnTo>
                    <a:pt x="88" y="234"/>
                  </a:lnTo>
                  <a:lnTo>
                    <a:pt x="81" y="231"/>
                  </a:lnTo>
                  <a:lnTo>
                    <a:pt x="76" y="228"/>
                  </a:lnTo>
                  <a:lnTo>
                    <a:pt x="69" y="227"/>
                  </a:lnTo>
                  <a:lnTo>
                    <a:pt x="65" y="226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4" y="216"/>
                  </a:lnTo>
                  <a:lnTo>
                    <a:pt x="40" y="213"/>
                  </a:lnTo>
                  <a:lnTo>
                    <a:pt x="36" y="209"/>
                  </a:lnTo>
                  <a:lnTo>
                    <a:pt x="33" y="206"/>
                  </a:lnTo>
                  <a:lnTo>
                    <a:pt x="32" y="205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29" y="204"/>
                  </a:lnTo>
                  <a:lnTo>
                    <a:pt x="26" y="202"/>
                  </a:lnTo>
                  <a:lnTo>
                    <a:pt x="20" y="201"/>
                  </a:lnTo>
                  <a:lnTo>
                    <a:pt x="15" y="201"/>
                  </a:lnTo>
                  <a:lnTo>
                    <a:pt x="11" y="200"/>
                  </a:lnTo>
                  <a:lnTo>
                    <a:pt x="7" y="198"/>
                  </a:lnTo>
                  <a:lnTo>
                    <a:pt x="3" y="198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1" y="194"/>
                  </a:lnTo>
                  <a:lnTo>
                    <a:pt x="1" y="193"/>
                  </a:lnTo>
                  <a:lnTo>
                    <a:pt x="3" y="191"/>
                  </a:lnTo>
                  <a:lnTo>
                    <a:pt x="4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11" y="183"/>
                  </a:lnTo>
                  <a:lnTo>
                    <a:pt x="16" y="169"/>
                  </a:lnTo>
                  <a:lnTo>
                    <a:pt x="18" y="167"/>
                  </a:lnTo>
                  <a:lnTo>
                    <a:pt x="19" y="162"/>
                  </a:lnTo>
                  <a:lnTo>
                    <a:pt x="20" y="158"/>
                  </a:lnTo>
                  <a:lnTo>
                    <a:pt x="20" y="154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0"/>
                  </a:lnTo>
                  <a:lnTo>
                    <a:pt x="22" y="136"/>
                  </a:lnTo>
                  <a:lnTo>
                    <a:pt x="20" y="131"/>
                  </a:lnTo>
                  <a:lnTo>
                    <a:pt x="20" y="124"/>
                  </a:lnTo>
                  <a:lnTo>
                    <a:pt x="20" y="116"/>
                  </a:lnTo>
                  <a:lnTo>
                    <a:pt x="20" y="109"/>
                  </a:lnTo>
                  <a:lnTo>
                    <a:pt x="20" y="101"/>
                  </a:lnTo>
                  <a:lnTo>
                    <a:pt x="22" y="95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3" y="87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2" y="81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38" y="59"/>
                  </a:lnTo>
                  <a:lnTo>
                    <a:pt x="52" y="42"/>
                  </a:lnTo>
                  <a:lnTo>
                    <a:pt x="59" y="29"/>
                  </a:lnTo>
                  <a:lnTo>
                    <a:pt x="80" y="26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4"/>
                  </a:lnTo>
                  <a:lnTo>
                    <a:pt x="93" y="13"/>
                  </a:lnTo>
                  <a:lnTo>
                    <a:pt x="96" y="11"/>
                  </a:lnTo>
                  <a:lnTo>
                    <a:pt x="98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10" y="9"/>
                  </a:lnTo>
                  <a:lnTo>
                    <a:pt x="111" y="9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6"/>
                  </a:lnTo>
                  <a:lnTo>
                    <a:pt x="115" y="6"/>
                  </a:lnTo>
                  <a:lnTo>
                    <a:pt x="118" y="4"/>
                  </a:lnTo>
                  <a:lnTo>
                    <a:pt x="121" y="3"/>
                  </a:lnTo>
                  <a:lnTo>
                    <a:pt x="125" y="2"/>
                  </a:lnTo>
                  <a:lnTo>
                    <a:pt x="128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5" y="7"/>
                  </a:lnTo>
                  <a:lnTo>
                    <a:pt x="133" y="7"/>
                  </a:lnTo>
                  <a:lnTo>
                    <a:pt x="132" y="7"/>
                  </a:lnTo>
                  <a:lnTo>
                    <a:pt x="131" y="9"/>
                  </a:lnTo>
                  <a:lnTo>
                    <a:pt x="128" y="10"/>
                  </a:lnTo>
                  <a:lnTo>
                    <a:pt x="125" y="13"/>
                  </a:lnTo>
                  <a:lnTo>
                    <a:pt x="122" y="14"/>
                  </a:lnTo>
                  <a:lnTo>
                    <a:pt x="120" y="18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4" y="24"/>
                  </a:lnTo>
                  <a:lnTo>
                    <a:pt x="111" y="25"/>
                  </a:lnTo>
                  <a:lnTo>
                    <a:pt x="107" y="28"/>
                  </a:lnTo>
                  <a:lnTo>
                    <a:pt x="103" y="29"/>
                  </a:lnTo>
                  <a:lnTo>
                    <a:pt x="100" y="32"/>
                  </a:lnTo>
                  <a:lnTo>
                    <a:pt x="98" y="35"/>
                  </a:lnTo>
                  <a:lnTo>
                    <a:pt x="95" y="37"/>
                  </a:lnTo>
                  <a:lnTo>
                    <a:pt x="95" y="37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3" y="43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5" y="54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98" y="62"/>
                  </a:lnTo>
                  <a:lnTo>
                    <a:pt x="99" y="65"/>
                  </a:lnTo>
                  <a:lnTo>
                    <a:pt x="99" y="68"/>
                  </a:lnTo>
                  <a:lnTo>
                    <a:pt x="99" y="72"/>
                  </a:lnTo>
                  <a:lnTo>
                    <a:pt x="98" y="73"/>
                  </a:lnTo>
                  <a:lnTo>
                    <a:pt x="98" y="76"/>
                  </a:lnTo>
                  <a:lnTo>
                    <a:pt x="96" y="81"/>
                  </a:lnTo>
                  <a:lnTo>
                    <a:pt x="95" y="86"/>
                  </a:lnTo>
                  <a:lnTo>
                    <a:pt x="96" y="92"/>
                  </a:lnTo>
                  <a:lnTo>
                    <a:pt x="98" y="96"/>
                  </a:lnTo>
                  <a:lnTo>
                    <a:pt x="102" y="101"/>
                  </a:lnTo>
                  <a:lnTo>
                    <a:pt x="109" y="105"/>
                  </a:lnTo>
                  <a:lnTo>
                    <a:pt x="148" y="109"/>
                  </a:lnTo>
                  <a:lnTo>
                    <a:pt x="151" y="118"/>
                  </a:lnTo>
                  <a:lnTo>
                    <a:pt x="151" y="118"/>
                  </a:lnTo>
                  <a:lnTo>
                    <a:pt x="153" y="118"/>
                  </a:lnTo>
                  <a:lnTo>
                    <a:pt x="155" y="118"/>
                  </a:lnTo>
                  <a:lnTo>
                    <a:pt x="157" y="120"/>
                  </a:lnTo>
                  <a:lnTo>
                    <a:pt x="159" y="120"/>
                  </a:lnTo>
                  <a:lnTo>
                    <a:pt x="162" y="120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18"/>
                  </a:lnTo>
                  <a:lnTo>
                    <a:pt x="168" y="117"/>
                  </a:lnTo>
                  <a:lnTo>
                    <a:pt x="169" y="117"/>
                  </a:lnTo>
                  <a:lnTo>
                    <a:pt x="170" y="117"/>
                  </a:lnTo>
                  <a:lnTo>
                    <a:pt x="172" y="117"/>
                  </a:lnTo>
                  <a:lnTo>
                    <a:pt x="173" y="117"/>
                  </a:lnTo>
                  <a:lnTo>
                    <a:pt x="175" y="120"/>
                  </a:lnTo>
                  <a:lnTo>
                    <a:pt x="175" y="123"/>
                  </a:lnTo>
                  <a:lnTo>
                    <a:pt x="173" y="124"/>
                  </a:lnTo>
                  <a:lnTo>
                    <a:pt x="172" y="125"/>
                  </a:lnTo>
                  <a:lnTo>
                    <a:pt x="169" y="128"/>
                  </a:lnTo>
                  <a:lnTo>
                    <a:pt x="166" y="131"/>
                  </a:lnTo>
                  <a:lnTo>
                    <a:pt x="165" y="135"/>
                  </a:lnTo>
                  <a:lnTo>
                    <a:pt x="165" y="140"/>
                  </a:lnTo>
                  <a:lnTo>
                    <a:pt x="165" y="147"/>
                  </a:lnTo>
                  <a:lnTo>
                    <a:pt x="169" y="156"/>
                  </a:lnTo>
                  <a:lnTo>
                    <a:pt x="176" y="158"/>
                  </a:lnTo>
                  <a:lnTo>
                    <a:pt x="168" y="168"/>
                  </a:lnTo>
                  <a:lnTo>
                    <a:pt x="168" y="169"/>
                  </a:lnTo>
                  <a:lnTo>
                    <a:pt x="169" y="171"/>
                  </a:lnTo>
                  <a:lnTo>
                    <a:pt x="170" y="175"/>
                  </a:lnTo>
                  <a:lnTo>
                    <a:pt x="172" y="179"/>
                  </a:lnTo>
                  <a:lnTo>
                    <a:pt x="173" y="183"/>
                  </a:lnTo>
                  <a:lnTo>
                    <a:pt x="175" y="189"/>
                  </a:lnTo>
                  <a:lnTo>
                    <a:pt x="175" y="193"/>
                  </a:lnTo>
                  <a:lnTo>
                    <a:pt x="176" y="198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3" y="194"/>
                  </a:lnTo>
                  <a:lnTo>
                    <a:pt x="172" y="193"/>
                  </a:lnTo>
                  <a:lnTo>
                    <a:pt x="172" y="190"/>
                  </a:lnTo>
                  <a:lnTo>
                    <a:pt x="170" y="189"/>
                  </a:lnTo>
                  <a:lnTo>
                    <a:pt x="168" y="186"/>
                  </a:lnTo>
                  <a:lnTo>
                    <a:pt x="142" y="190"/>
                  </a:lnTo>
                  <a:lnTo>
                    <a:pt x="143" y="200"/>
                  </a:lnTo>
                  <a:lnTo>
                    <a:pt x="150" y="200"/>
                  </a:lnTo>
                  <a:lnTo>
                    <a:pt x="154" y="211"/>
                  </a:lnTo>
                  <a:lnTo>
                    <a:pt x="153" y="211"/>
                  </a:lnTo>
                  <a:lnTo>
                    <a:pt x="151" y="211"/>
                  </a:lnTo>
                  <a:lnTo>
                    <a:pt x="150" y="209"/>
                  </a:lnTo>
                  <a:lnTo>
                    <a:pt x="148" y="208"/>
                  </a:lnTo>
                  <a:lnTo>
                    <a:pt x="146" y="208"/>
                  </a:lnTo>
                  <a:lnTo>
                    <a:pt x="144" y="208"/>
                  </a:lnTo>
                  <a:lnTo>
                    <a:pt x="143" y="208"/>
                  </a:lnTo>
                  <a:lnTo>
                    <a:pt x="143" y="209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2"/>
                  </a:lnTo>
                  <a:lnTo>
                    <a:pt x="143" y="222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7" y="227"/>
                  </a:lnTo>
                  <a:lnTo>
                    <a:pt x="148" y="23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7" name="Freeform 143"/>
            <p:cNvSpPr>
              <a:spLocks/>
            </p:cNvSpPr>
            <p:nvPr/>
          </p:nvSpPr>
          <p:spPr bwMode="auto">
            <a:xfrm>
              <a:off x="1917" y="2014"/>
              <a:ext cx="143" cy="233"/>
            </a:xfrm>
            <a:custGeom>
              <a:avLst/>
              <a:gdLst>
                <a:gd name="T0" fmla="*/ 151 w 176"/>
                <a:gd name="T1" fmla="*/ 242 h 288"/>
                <a:gd name="T2" fmla="*/ 150 w 176"/>
                <a:gd name="T3" fmla="*/ 252 h 288"/>
                <a:gd name="T4" fmla="*/ 139 w 176"/>
                <a:gd name="T5" fmla="*/ 286 h 288"/>
                <a:gd name="T6" fmla="*/ 133 w 176"/>
                <a:gd name="T7" fmla="*/ 286 h 288"/>
                <a:gd name="T8" fmla="*/ 139 w 176"/>
                <a:gd name="T9" fmla="*/ 267 h 288"/>
                <a:gd name="T10" fmla="*/ 136 w 176"/>
                <a:gd name="T11" fmla="*/ 263 h 288"/>
                <a:gd name="T12" fmla="*/ 126 w 176"/>
                <a:gd name="T13" fmla="*/ 260 h 288"/>
                <a:gd name="T14" fmla="*/ 114 w 176"/>
                <a:gd name="T15" fmla="*/ 260 h 288"/>
                <a:gd name="T16" fmla="*/ 96 w 176"/>
                <a:gd name="T17" fmla="*/ 250 h 288"/>
                <a:gd name="T18" fmla="*/ 92 w 176"/>
                <a:gd name="T19" fmla="*/ 238 h 288"/>
                <a:gd name="T20" fmla="*/ 69 w 176"/>
                <a:gd name="T21" fmla="*/ 227 h 288"/>
                <a:gd name="T22" fmla="*/ 54 w 176"/>
                <a:gd name="T23" fmla="*/ 223 h 288"/>
                <a:gd name="T24" fmla="*/ 36 w 176"/>
                <a:gd name="T25" fmla="*/ 209 h 288"/>
                <a:gd name="T26" fmla="*/ 32 w 176"/>
                <a:gd name="T27" fmla="*/ 204 h 288"/>
                <a:gd name="T28" fmla="*/ 20 w 176"/>
                <a:gd name="T29" fmla="*/ 201 h 288"/>
                <a:gd name="T30" fmla="*/ 3 w 176"/>
                <a:gd name="T31" fmla="*/ 198 h 288"/>
                <a:gd name="T32" fmla="*/ 1 w 176"/>
                <a:gd name="T33" fmla="*/ 193 h 288"/>
                <a:gd name="T34" fmla="*/ 5 w 176"/>
                <a:gd name="T35" fmla="*/ 190 h 288"/>
                <a:gd name="T36" fmla="*/ 19 w 176"/>
                <a:gd name="T37" fmla="*/ 162 h 288"/>
                <a:gd name="T38" fmla="*/ 22 w 176"/>
                <a:gd name="T39" fmla="*/ 146 h 288"/>
                <a:gd name="T40" fmla="*/ 20 w 176"/>
                <a:gd name="T41" fmla="*/ 124 h 288"/>
                <a:gd name="T42" fmla="*/ 22 w 176"/>
                <a:gd name="T43" fmla="*/ 95 h 288"/>
                <a:gd name="T44" fmla="*/ 23 w 176"/>
                <a:gd name="T45" fmla="*/ 86 h 288"/>
                <a:gd name="T46" fmla="*/ 22 w 176"/>
                <a:gd name="T47" fmla="*/ 80 h 288"/>
                <a:gd name="T48" fmla="*/ 22 w 176"/>
                <a:gd name="T49" fmla="*/ 69 h 288"/>
                <a:gd name="T50" fmla="*/ 38 w 176"/>
                <a:gd name="T51" fmla="*/ 59 h 288"/>
                <a:gd name="T52" fmla="*/ 89 w 176"/>
                <a:gd name="T53" fmla="*/ 17 h 288"/>
                <a:gd name="T54" fmla="*/ 93 w 176"/>
                <a:gd name="T55" fmla="*/ 13 h 288"/>
                <a:gd name="T56" fmla="*/ 102 w 176"/>
                <a:gd name="T57" fmla="*/ 10 h 288"/>
                <a:gd name="T58" fmla="*/ 110 w 176"/>
                <a:gd name="T59" fmla="*/ 9 h 288"/>
                <a:gd name="T60" fmla="*/ 115 w 176"/>
                <a:gd name="T61" fmla="*/ 6 h 288"/>
                <a:gd name="T62" fmla="*/ 128 w 176"/>
                <a:gd name="T63" fmla="*/ 0 h 288"/>
                <a:gd name="T64" fmla="*/ 136 w 176"/>
                <a:gd name="T65" fmla="*/ 2 h 288"/>
                <a:gd name="T66" fmla="*/ 136 w 176"/>
                <a:gd name="T67" fmla="*/ 6 h 288"/>
                <a:gd name="T68" fmla="*/ 132 w 176"/>
                <a:gd name="T69" fmla="*/ 7 h 288"/>
                <a:gd name="T70" fmla="*/ 122 w 176"/>
                <a:gd name="T71" fmla="*/ 14 h 288"/>
                <a:gd name="T72" fmla="*/ 111 w 176"/>
                <a:gd name="T73" fmla="*/ 25 h 288"/>
                <a:gd name="T74" fmla="*/ 98 w 176"/>
                <a:gd name="T75" fmla="*/ 35 h 288"/>
                <a:gd name="T76" fmla="*/ 93 w 176"/>
                <a:gd name="T77" fmla="*/ 43 h 288"/>
                <a:gd name="T78" fmla="*/ 96 w 176"/>
                <a:gd name="T79" fmla="*/ 58 h 288"/>
                <a:gd name="T80" fmla="*/ 99 w 176"/>
                <a:gd name="T81" fmla="*/ 65 h 288"/>
                <a:gd name="T82" fmla="*/ 98 w 176"/>
                <a:gd name="T83" fmla="*/ 76 h 288"/>
                <a:gd name="T84" fmla="*/ 98 w 176"/>
                <a:gd name="T85" fmla="*/ 96 h 288"/>
                <a:gd name="T86" fmla="*/ 151 w 176"/>
                <a:gd name="T87" fmla="*/ 118 h 288"/>
                <a:gd name="T88" fmla="*/ 159 w 176"/>
                <a:gd name="T89" fmla="*/ 120 h 288"/>
                <a:gd name="T90" fmla="*/ 168 w 176"/>
                <a:gd name="T91" fmla="*/ 117 h 288"/>
                <a:gd name="T92" fmla="*/ 173 w 176"/>
                <a:gd name="T93" fmla="*/ 117 h 288"/>
                <a:gd name="T94" fmla="*/ 172 w 176"/>
                <a:gd name="T95" fmla="*/ 125 h 288"/>
                <a:gd name="T96" fmla="*/ 165 w 176"/>
                <a:gd name="T97" fmla="*/ 140 h 288"/>
                <a:gd name="T98" fmla="*/ 168 w 176"/>
                <a:gd name="T99" fmla="*/ 168 h 288"/>
                <a:gd name="T100" fmla="*/ 172 w 176"/>
                <a:gd name="T101" fmla="*/ 179 h 288"/>
                <a:gd name="T102" fmla="*/ 176 w 176"/>
                <a:gd name="T103" fmla="*/ 198 h 288"/>
                <a:gd name="T104" fmla="*/ 173 w 176"/>
                <a:gd name="T105" fmla="*/ 194 h 288"/>
                <a:gd name="T106" fmla="*/ 168 w 176"/>
                <a:gd name="T107" fmla="*/ 186 h 288"/>
                <a:gd name="T108" fmla="*/ 154 w 176"/>
                <a:gd name="T109" fmla="*/ 211 h 288"/>
                <a:gd name="T110" fmla="*/ 148 w 176"/>
                <a:gd name="T111" fmla="*/ 208 h 288"/>
                <a:gd name="T112" fmla="*/ 143 w 176"/>
                <a:gd name="T113" fmla="*/ 209 h 288"/>
                <a:gd name="T114" fmla="*/ 144 w 176"/>
                <a:gd name="T115" fmla="*/ 22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6" h="288">
                  <a:moveTo>
                    <a:pt x="148" y="230"/>
                  </a:moveTo>
                  <a:lnTo>
                    <a:pt x="150" y="234"/>
                  </a:lnTo>
                  <a:lnTo>
                    <a:pt x="151" y="238"/>
                  </a:lnTo>
                  <a:lnTo>
                    <a:pt x="151" y="242"/>
                  </a:lnTo>
                  <a:lnTo>
                    <a:pt x="151" y="246"/>
                  </a:lnTo>
                  <a:lnTo>
                    <a:pt x="151" y="249"/>
                  </a:lnTo>
                  <a:lnTo>
                    <a:pt x="150" y="250"/>
                  </a:lnTo>
                  <a:lnTo>
                    <a:pt x="150" y="252"/>
                  </a:lnTo>
                  <a:lnTo>
                    <a:pt x="150" y="253"/>
                  </a:lnTo>
                  <a:lnTo>
                    <a:pt x="142" y="288"/>
                  </a:lnTo>
                  <a:lnTo>
                    <a:pt x="140" y="286"/>
                  </a:lnTo>
                  <a:lnTo>
                    <a:pt x="139" y="286"/>
                  </a:lnTo>
                  <a:lnTo>
                    <a:pt x="137" y="286"/>
                  </a:lnTo>
                  <a:lnTo>
                    <a:pt x="136" y="286"/>
                  </a:lnTo>
                  <a:lnTo>
                    <a:pt x="135" y="286"/>
                  </a:lnTo>
                  <a:lnTo>
                    <a:pt x="133" y="286"/>
                  </a:lnTo>
                  <a:lnTo>
                    <a:pt x="132" y="286"/>
                  </a:lnTo>
                  <a:lnTo>
                    <a:pt x="132" y="288"/>
                  </a:lnTo>
                  <a:lnTo>
                    <a:pt x="140" y="268"/>
                  </a:lnTo>
                  <a:lnTo>
                    <a:pt x="139" y="267"/>
                  </a:lnTo>
                  <a:lnTo>
                    <a:pt x="139" y="266"/>
                  </a:lnTo>
                  <a:lnTo>
                    <a:pt x="137" y="266"/>
                  </a:lnTo>
                  <a:lnTo>
                    <a:pt x="137" y="264"/>
                  </a:lnTo>
                  <a:lnTo>
                    <a:pt x="136" y="263"/>
                  </a:lnTo>
                  <a:lnTo>
                    <a:pt x="135" y="261"/>
                  </a:lnTo>
                  <a:lnTo>
                    <a:pt x="132" y="260"/>
                  </a:lnTo>
                  <a:lnTo>
                    <a:pt x="131" y="260"/>
                  </a:lnTo>
                  <a:lnTo>
                    <a:pt x="126" y="260"/>
                  </a:lnTo>
                  <a:lnTo>
                    <a:pt x="122" y="260"/>
                  </a:lnTo>
                  <a:lnTo>
                    <a:pt x="120" y="260"/>
                  </a:lnTo>
                  <a:lnTo>
                    <a:pt x="117" y="260"/>
                  </a:lnTo>
                  <a:lnTo>
                    <a:pt x="114" y="260"/>
                  </a:lnTo>
                  <a:lnTo>
                    <a:pt x="106" y="259"/>
                  </a:lnTo>
                  <a:lnTo>
                    <a:pt x="102" y="256"/>
                  </a:lnTo>
                  <a:lnTo>
                    <a:pt x="98" y="253"/>
                  </a:lnTo>
                  <a:lnTo>
                    <a:pt x="96" y="250"/>
                  </a:lnTo>
                  <a:lnTo>
                    <a:pt x="96" y="246"/>
                  </a:lnTo>
                  <a:lnTo>
                    <a:pt x="96" y="245"/>
                  </a:lnTo>
                  <a:lnTo>
                    <a:pt x="96" y="242"/>
                  </a:lnTo>
                  <a:lnTo>
                    <a:pt x="92" y="238"/>
                  </a:lnTo>
                  <a:lnTo>
                    <a:pt x="88" y="234"/>
                  </a:lnTo>
                  <a:lnTo>
                    <a:pt x="81" y="231"/>
                  </a:lnTo>
                  <a:lnTo>
                    <a:pt x="76" y="228"/>
                  </a:lnTo>
                  <a:lnTo>
                    <a:pt x="69" y="227"/>
                  </a:lnTo>
                  <a:lnTo>
                    <a:pt x="65" y="226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4" y="216"/>
                  </a:lnTo>
                  <a:lnTo>
                    <a:pt x="40" y="213"/>
                  </a:lnTo>
                  <a:lnTo>
                    <a:pt x="36" y="209"/>
                  </a:lnTo>
                  <a:lnTo>
                    <a:pt x="33" y="206"/>
                  </a:lnTo>
                  <a:lnTo>
                    <a:pt x="32" y="205"/>
                  </a:lnTo>
                  <a:lnTo>
                    <a:pt x="30" y="204"/>
                  </a:lnTo>
                  <a:lnTo>
                    <a:pt x="32" y="204"/>
                  </a:lnTo>
                  <a:lnTo>
                    <a:pt x="30" y="204"/>
                  </a:lnTo>
                  <a:lnTo>
                    <a:pt x="29" y="204"/>
                  </a:lnTo>
                  <a:lnTo>
                    <a:pt x="26" y="202"/>
                  </a:lnTo>
                  <a:lnTo>
                    <a:pt x="20" y="201"/>
                  </a:lnTo>
                  <a:lnTo>
                    <a:pt x="15" y="201"/>
                  </a:lnTo>
                  <a:lnTo>
                    <a:pt x="11" y="200"/>
                  </a:lnTo>
                  <a:lnTo>
                    <a:pt x="7" y="198"/>
                  </a:lnTo>
                  <a:lnTo>
                    <a:pt x="3" y="198"/>
                  </a:lnTo>
                  <a:lnTo>
                    <a:pt x="0" y="197"/>
                  </a:lnTo>
                  <a:lnTo>
                    <a:pt x="0" y="195"/>
                  </a:lnTo>
                  <a:lnTo>
                    <a:pt x="1" y="194"/>
                  </a:lnTo>
                  <a:lnTo>
                    <a:pt x="1" y="193"/>
                  </a:lnTo>
                  <a:lnTo>
                    <a:pt x="3" y="191"/>
                  </a:lnTo>
                  <a:lnTo>
                    <a:pt x="4" y="191"/>
                  </a:lnTo>
                  <a:lnTo>
                    <a:pt x="4" y="190"/>
                  </a:lnTo>
                  <a:lnTo>
                    <a:pt x="5" y="190"/>
                  </a:lnTo>
                  <a:lnTo>
                    <a:pt x="11" y="183"/>
                  </a:lnTo>
                  <a:lnTo>
                    <a:pt x="16" y="169"/>
                  </a:lnTo>
                  <a:lnTo>
                    <a:pt x="18" y="167"/>
                  </a:lnTo>
                  <a:lnTo>
                    <a:pt x="19" y="162"/>
                  </a:lnTo>
                  <a:lnTo>
                    <a:pt x="20" y="158"/>
                  </a:lnTo>
                  <a:lnTo>
                    <a:pt x="20" y="154"/>
                  </a:lnTo>
                  <a:lnTo>
                    <a:pt x="22" y="150"/>
                  </a:lnTo>
                  <a:lnTo>
                    <a:pt x="22" y="146"/>
                  </a:lnTo>
                  <a:lnTo>
                    <a:pt x="22" y="140"/>
                  </a:lnTo>
                  <a:lnTo>
                    <a:pt x="22" y="136"/>
                  </a:lnTo>
                  <a:lnTo>
                    <a:pt x="20" y="131"/>
                  </a:lnTo>
                  <a:lnTo>
                    <a:pt x="20" y="124"/>
                  </a:lnTo>
                  <a:lnTo>
                    <a:pt x="20" y="116"/>
                  </a:lnTo>
                  <a:lnTo>
                    <a:pt x="20" y="109"/>
                  </a:lnTo>
                  <a:lnTo>
                    <a:pt x="20" y="101"/>
                  </a:lnTo>
                  <a:lnTo>
                    <a:pt x="22" y="95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3" y="87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2" y="81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3" y="73"/>
                  </a:lnTo>
                  <a:lnTo>
                    <a:pt x="22" y="72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3" y="65"/>
                  </a:lnTo>
                  <a:lnTo>
                    <a:pt x="38" y="59"/>
                  </a:lnTo>
                  <a:lnTo>
                    <a:pt x="52" y="42"/>
                  </a:lnTo>
                  <a:lnTo>
                    <a:pt x="59" y="29"/>
                  </a:lnTo>
                  <a:lnTo>
                    <a:pt x="80" y="26"/>
                  </a:lnTo>
                  <a:lnTo>
                    <a:pt x="89" y="17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4"/>
                  </a:lnTo>
                  <a:lnTo>
                    <a:pt x="93" y="13"/>
                  </a:lnTo>
                  <a:lnTo>
                    <a:pt x="96" y="11"/>
                  </a:lnTo>
                  <a:lnTo>
                    <a:pt x="98" y="10"/>
                  </a:lnTo>
                  <a:lnTo>
                    <a:pt x="100" y="10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7" y="9"/>
                  </a:lnTo>
                  <a:lnTo>
                    <a:pt x="110" y="9"/>
                  </a:lnTo>
                  <a:lnTo>
                    <a:pt x="111" y="9"/>
                  </a:lnTo>
                  <a:lnTo>
                    <a:pt x="113" y="7"/>
                  </a:lnTo>
                  <a:lnTo>
                    <a:pt x="114" y="6"/>
                  </a:lnTo>
                  <a:lnTo>
                    <a:pt x="115" y="6"/>
                  </a:lnTo>
                  <a:lnTo>
                    <a:pt x="118" y="4"/>
                  </a:lnTo>
                  <a:lnTo>
                    <a:pt x="121" y="3"/>
                  </a:lnTo>
                  <a:lnTo>
                    <a:pt x="125" y="2"/>
                  </a:lnTo>
                  <a:lnTo>
                    <a:pt x="128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5" y="2"/>
                  </a:lnTo>
                  <a:lnTo>
                    <a:pt x="136" y="2"/>
                  </a:lnTo>
                  <a:lnTo>
                    <a:pt x="137" y="3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6"/>
                  </a:lnTo>
                  <a:lnTo>
                    <a:pt x="135" y="6"/>
                  </a:lnTo>
                  <a:lnTo>
                    <a:pt x="135" y="7"/>
                  </a:lnTo>
                  <a:lnTo>
                    <a:pt x="133" y="7"/>
                  </a:lnTo>
                  <a:lnTo>
                    <a:pt x="132" y="7"/>
                  </a:lnTo>
                  <a:lnTo>
                    <a:pt x="131" y="9"/>
                  </a:lnTo>
                  <a:lnTo>
                    <a:pt x="128" y="10"/>
                  </a:lnTo>
                  <a:lnTo>
                    <a:pt x="125" y="13"/>
                  </a:lnTo>
                  <a:lnTo>
                    <a:pt x="122" y="14"/>
                  </a:lnTo>
                  <a:lnTo>
                    <a:pt x="120" y="18"/>
                  </a:lnTo>
                  <a:lnTo>
                    <a:pt x="117" y="22"/>
                  </a:lnTo>
                  <a:lnTo>
                    <a:pt x="114" y="24"/>
                  </a:lnTo>
                  <a:lnTo>
                    <a:pt x="111" y="25"/>
                  </a:lnTo>
                  <a:lnTo>
                    <a:pt x="107" y="28"/>
                  </a:lnTo>
                  <a:lnTo>
                    <a:pt x="103" y="29"/>
                  </a:lnTo>
                  <a:lnTo>
                    <a:pt x="100" y="32"/>
                  </a:lnTo>
                  <a:lnTo>
                    <a:pt x="98" y="35"/>
                  </a:lnTo>
                  <a:lnTo>
                    <a:pt x="95" y="37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3" y="43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5" y="54"/>
                  </a:lnTo>
                  <a:lnTo>
                    <a:pt x="96" y="58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98" y="62"/>
                  </a:lnTo>
                  <a:lnTo>
                    <a:pt x="99" y="65"/>
                  </a:lnTo>
                  <a:lnTo>
                    <a:pt x="99" y="68"/>
                  </a:lnTo>
                  <a:lnTo>
                    <a:pt x="99" y="72"/>
                  </a:lnTo>
                  <a:lnTo>
                    <a:pt x="98" y="73"/>
                  </a:lnTo>
                  <a:lnTo>
                    <a:pt x="98" y="76"/>
                  </a:lnTo>
                  <a:lnTo>
                    <a:pt x="96" y="81"/>
                  </a:lnTo>
                  <a:lnTo>
                    <a:pt x="95" y="86"/>
                  </a:lnTo>
                  <a:lnTo>
                    <a:pt x="96" y="92"/>
                  </a:lnTo>
                  <a:lnTo>
                    <a:pt x="98" y="96"/>
                  </a:lnTo>
                  <a:lnTo>
                    <a:pt x="102" y="101"/>
                  </a:lnTo>
                  <a:lnTo>
                    <a:pt x="109" y="105"/>
                  </a:lnTo>
                  <a:lnTo>
                    <a:pt x="148" y="109"/>
                  </a:lnTo>
                  <a:lnTo>
                    <a:pt x="151" y="118"/>
                  </a:lnTo>
                  <a:lnTo>
                    <a:pt x="153" y="118"/>
                  </a:lnTo>
                  <a:lnTo>
                    <a:pt x="155" y="118"/>
                  </a:lnTo>
                  <a:lnTo>
                    <a:pt x="157" y="120"/>
                  </a:lnTo>
                  <a:lnTo>
                    <a:pt x="159" y="120"/>
                  </a:lnTo>
                  <a:lnTo>
                    <a:pt x="162" y="120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8" y="117"/>
                  </a:lnTo>
                  <a:lnTo>
                    <a:pt x="169" y="117"/>
                  </a:lnTo>
                  <a:lnTo>
                    <a:pt x="170" y="117"/>
                  </a:lnTo>
                  <a:lnTo>
                    <a:pt x="172" y="117"/>
                  </a:lnTo>
                  <a:lnTo>
                    <a:pt x="173" y="117"/>
                  </a:lnTo>
                  <a:lnTo>
                    <a:pt x="175" y="120"/>
                  </a:lnTo>
                  <a:lnTo>
                    <a:pt x="175" y="123"/>
                  </a:lnTo>
                  <a:lnTo>
                    <a:pt x="173" y="124"/>
                  </a:lnTo>
                  <a:lnTo>
                    <a:pt x="172" y="125"/>
                  </a:lnTo>
                  <a:lnTo>
                    <a:pt x="169" y="128"/>
                  </a:lnTo>
                  <a:lnTo>
                    <a:pt x="166" y="131"/>
                  </a:lnTo>
                  <a:lnTo>
                    <a:pt x="165" y="135"/>
                  </a:lnTo>
                  <a:lnTo>
                    <a:pt x="165" y="140"/>
                  </a:lnTo>
                  <a:lnTo>
                    <a:pt x="165" y="147"/>
                  </a:lnTo>
                  <a:lnTo>
                    <a:pt x="169" y="156"/>
                  </a:lnTo>
                  <a:lnTo>
                    <a:pt x="176" y="158"/>
                  </a:lnTo>
                  <a:lnTo>
                    <a:pt x="168" y="168"/>
                  </a:lnTo>
                  <a:lnTo>
                    <a:pt x="168" y="169"/>
                  </a:lnTo>
                  <a:lnTo>
                    <a:pt x="169" y="171"/>
                  </a:lnTo>
                  <a:lnTo>
                    <a:pt x="170" y="175"/>
                  </a:lnTo>
                  <a:lnTo>
                    <a:pt x="172" y="179"/>
                  </a:lnTo>
                  <a:lnTo>
                    <a:pt x="173" y="183"/>
                  </a:lnTo>
                  <a:lnTo>
                    <a:pt x="175" y="189"/>
                  </a:lnTo>
                  <a:lnTo>
                    <a:pt x="175" y="193"/>
                  </a:lnTo>
                  <a:lnTo>
                    <a:pt x="176" y="198"/>
                  </a:lnTo>
                  <a:lnTo>
                    <a:pt x="173" y="198"/>
                  </a:lnTo>
                  <a:lnTo>
                    <a:pt x="173" y="197"/>
                  </a:lnTo>
                  <a:lnTo>
                    <a:pt x="173" y="195"/>
                  </a:lnTo>
                  <a:lnTo>
                    <a:pt x="173" y="194"/>
                  </a:lnTo>
                  <a:lnTo>
                    <a:pt x="172" y="193"/>
                  </a:lnTo>
                  <a:lnTo>
                    <a:pt x="172" y="190"/>
                  </a:lnTo>
                  <a:lnTo>
                    <a:pt x="170" y="189"/>
                  </a:lnTo>
                  <a:lnTo>
                    <a:pt x="168" y="186"/>
                  </a:lnTo>
                  <a:lnTo>
                    <a:pt x="142" y="190"/>
                  </a:lnTo>
                  <a:lnTo>
                    <a:pt x="143" y="200"/>
                  </a:lnTo>
                  <a:lnTo>
                    <a:pt x="150" y="200"/>
                  </a:lnTo>
                  <a:lnTo>
                    <a:pt x="154" y="211"/>
                  </a:lnTo>
                  <a:lnTo>
                    <a:pt x="153" y="211"/>
                  </a:lnTo>
                  <a:lnTo>
                    <a:pt x="151" y="211"/>
                  </a:lnTo>
                  <a:lnTo>
                    <a:pt x="150" y="209"/>
                  </a:lnTo>
                  <a:lnTo>
                    <a:pt x="148" y="208"/>
                  </a:lnTo>
                  <a:lnTo>
                    <a:pt x="146" y="208"/>
                  </a:lnTo>
                  <a:lnTo>
                    <a:pt x="144" y="208"/>
                  </a:lnTo>
                  <a:lnTo>
                    <a:pt x="143" y="208"/>
                  </a:lnTo>
                  <a:lnTo>
                    <a:pt x="143" y="209"/>
                  </a:lnTo>
                  <a:lnTo>
                    <a:pt x="143" y="220"/>
                  </a:lnTo>
                  <a:lnTo>
                    <a:pt x="143" y="222"/>
                  </a:lnTo>
                  <a:lnTo>
                    <a:pt x="144" y="223"/>
                  </a:lnTo>
                  <a:lnTo>
                    <a:pt x="144" y="224"/>
                  </a:lnTo>
                  <a:lnTo>
                    <a:pt x="146" y="226"/>
                  </a:lnTo>
                  <a:lnTo>
                    <a:pt x="147" y="227"/>
                  </a:lnTo>
                  <a:lnTo>
                    <a:pt x="148" y="23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8" name="Freeform 144"/>
            <p:cNvSpPr>
              <a:spLocks/>
            </p:cNvSpPr>
            <p:nvPr/>
          </p:nvSpPr>
          <p:spPr bwMode="auto">
            <a:xfrm>
              <a:off x="1878" y="2173"/>
              <a:ext cx="76" cy="84"/>
            </a:xfrm>
            <a:custGeom>
              <a:avLst/>
              <a:gdLst>
                <a:gd name="T0" fmla="*/ 12 w 95"/>
                <a:gd name="T1" fmla="*/ 88 h 102"/>
                <a:gd name="T2" fmla="*/ 8 w 95"/>
                <a:gd name="T3" fmla="*/ 88 h 102"/>
                <a:gd name="T4" fmla="*/ 4 w 95"/>
                <a:gd name="T5" fmla="*/ 85 h 102"/>
                <a:gd name="T6" fmla="*/ 1 w 95"/>
                <a:gd name="T7" fmla="*/ 81 h 102"/>
                <a:gd name="T8" fmla="*/ 0 w 95"/>
                <a:gd name="T9" fmla="*/ 80 h 102"/>
                <a:gd name="T10" fmla="*/ 7 w 95"/>
                <a:gd name="T11" fmla="*/ 64 h 102"/>
                <a:gd name="T12" fmla="*/ 18 w 95"/>
                <a:gd name="T13" fmla="*/ 52 h 102"/>
                <a:gd name="T14" fmla="*/ 29 w 95"/>
                <a:gd name="T15" fmla="*/ 44 h 102"/>
                <a:gd name="T16" fmla="*/ 34 w 95"/>
                <a:gd name="T17" fmla="*/ 41 h 102"/>
                <a:gd name="T18" fmla="*/ 37 w 95"/>
                <a:gd name="T19" fmla="*/ 25 h 102"/>
                <a:gd name="T20" fmla="*/ 41 w 95"/>
                <a:gd name="T21" fmla="*/ 22 h 102"/>
                <a:gd name="T22" fmla="*/ 45 w 95"/>
                <a:gd name="T23" fmla="*/ 19 h 102"/>
                <a:gd name="T24" fmla="*/ 46 w 95"/>
                <a:gd name="T25" fmla="*/ 14 h 102"/>
                <a:gd name="T26" fmla="*/ 46 w 95"/>
                <a:gd name="T27" fmla="*/ 9 h 102"/>
                <a:gd name="T28" fmla="*/ 46 w 95"/>
                <a:gd name="T29" fmla="*/ 8 h 102"/>
                <a:gd name="T30" fmla="*/ 46 w 95"/>
                <a:gd name="T31" fmla="*/ 5 h 102"/>
                <a:gd name="T32" fmla="*/ 46 w 95"/>
                <a:gd name="T33" fmla="*/ 4 h 102"/>
                <a:gd name="T34" fmla="*/ 48 w 95"/>
                <a:gd name="T35" fmla="*/ 0 h 102"/>
                <a:gd name="T36" fmla="*/ 51 w 95"/>
                <a:gd name="T37" fmla="*/ 1 h 102"/>
                <a:gd name="T38" fmla="*/ 59 w 95"/>
                <a:gd name="T39" fmla="*/ 3 h 102"/>
                <a:gd name="T40" fmla="*/ 68 w 95"/>
                <a:gd name="T41" fmla="*/ 4 h 102"/>
                <a:gd name="T42" fmla="*/ 77 w 95"/>
                <a:gd name="T43" fmla="*/ 7 h 102"/>
                <a:gd name="T44" fmla="*/ 78 w 95"/>
                <a:gd name="T45" fmla="*/ 7 h 102"/>
                <a:gd name="T46" fmla="*/ 80 w 95"/>
                <a:gd name="T47" fmla="*/ 7 h 102"/>
                <a:gd name="T48" fmla="*/ 80 w 95"/>
                <a:gd name="T49" fmla="*/ 7 h 102"/>
                <a:gd name="T50" fmla="*/ 78 w 95"/>
                <a:gd name="T51" fmla="*/ 7 h 102"/>
                <a:gd name="T52" fmla="*/ 80 w 95"/>
                <a:gd name="T53" fmla="*/ 8 h 102"/>
                <a:gd name="T54" fmla="*/ 82 w 95"/>
                <a:gd name="T55" fmla="*/ 11 h 102"/>
                <a:gd name="T56" fmla="*/ 86 w 95"/>
                <a:gd name="T57" fmla="*/ 15 h 102"/>
                <a:gd name="T58" fmla="*/ 92 w 95"/>
                <a:gd name="T59" fmla="*/ 20 h 102"/>
                <a:gd name="T60" fmla="*/ 93 w 95"/>
                <a:gd name="T61" fmla="*/ 22 h 102"/>
                <a:gd name="T62" fmla="*/ 93 w 95"/>
                <a:gd name="T63" fmla="*/ 26 h 102"/>
                <a:gd name="T64" fmla="*/ 95 w 95"/>
                <a:gd name="T65" fmla="*/ 31 h 102"/>
                <a:gd name="T66" fmla="*/ 95 w 95"/>
                <a:gd name="T67" fmla="*/ 36 h 102"/>
                <a:gd name="T68" fmla="*/ 92 w 95"/>
                <a:gd name="T69" fmla="*/ 44 h 102"/>
                <a:gd name="T70" fmla="*/ 84 w 95"/>
                <a:gd name="T71" fmla="*/ 58 h 102"/>
                <a:gd name="T72" fmla="*/ 70 w 95"/>
                <a:gd name="T73" fmla="*/ 71 h 102"/>
                <a:gd name="T74" fmla="*/ 62 w 95"/>
                <a:gd name="T75" fmla="*/ 75 h 102"/>
                <a:gd name="T76" fmla="*/ 52 w 95"/>
                <a:gd name="T77" fmla="*/ 77 h 102"/>
                <a:gd name="T78" fmla="*/ 51 w 95"/>
                <a:gd name="T79" fmla="*/ 75 h 102"/>
                <a:gd name="T80" fmla="*/ 49 w 95"/>
                <a:gd name="T81" fmla="*/ 77 h 102"/>
                <a:gd name="T82" fmla="*/ 46 w 95"/>
                <a:gd name="T83" fmla="*/ 78 h 102"/>
                <a:gd name="T84" fmla="*/ 45 w 95"/>
                <a:gd name="T85" fmla="*/ 82 h 102"/>
                <a:gd name="T86" fmla="*/ 44 w 95"/>
                <a:gd name="T87" fmla="*/ 84 h 102"/>
                <a:gd name="T88" fmla="*/ 42 w 95"/>
                <a:gd name="T89" fmla="*/ 88 h 102"/>
                <a:gd name="T90" fmla="*/ 41 w 95"/>
                <a:gd name="T91" fmla="*/ 92 h 102"/>
                <a:gd name="T92" fmla="*/ 40 w 95"/>
                <a:gd name="T93" fmla="*/ 96 h 102"/>
                <a:gd name="T94" fmla="*/ 38 w 95"/>
                <a:gd name="T95" fmla="*/ 97 h 102"/>
                <a:gd name="T96" fmla="*/ 34 w 95"/>
                <a:gd name="T97" fmla="*/ 100 h 102"/>
                <a:gd name="T98" fmla="*/ 30 w 95"/>
                <a:gd name="T99" fmla="*/ 102 h 102"/>
                <a:gd name="T100" fmla="*/ 27 w 95"/>
                <a:gd name="T101" fmla="*/ 97 h 102"/>
                <a:gd name="T102" fmla="*/ 12 w 95"/>
                <a:gd name="T103" fmla="*/ 95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" h="102">
                  <a:moveTo>
                    <a:pt x="12" y="95"/>
                  </a:moveTo>
                  <a:lnTo>
                    <a:pt x="12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5" y="86"/>
                  </a:lnTo>
                  <a:lnTo>
                    <a:pt x="4" y="85"/>
                  </a:lnTo>
                  <a:lnTo>
                    <a:pt x="2" y="82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71"/>
                  </a:lnTo>
                  <a:lnTo>
                    <a:pt x="7" y="64"/>
                  </a:lnTo>
                  <a:lnTo>
                    <a:pt x="12" y="58"/>
                  </a:lnTo>
                  <a:lnTo>
                    <a:pt x="18" y="52"/>
                  </a:lnTo>
                  <a:lnTo>
                    <a:pt x="23" y="48"/>
                  </a:lnTo>
                  <a:lnTo>
                    <a:pt x="29" y="44"/>
                  </a:lnTo>
                  <a:lnTo>
                    <a:pt x="33" y="42"/>
                  </a:lnTo>
                  <a:lnTo>
                    <a:pt x="34" y="41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40" y="23"/>
                  </a:lnTo>
                  <a:lnTo>
                    <a:pt x="41" y="22"/>
                  </a:lnTo>
                  <a:lnTo>
                    <a:pt x="42" y="20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6" y="14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5" y="1"/>
                  </a:lnTo>
                  <a:lnTo>
                    <a:pt x="59" y="3"/>
                  </a:lnTo>
                  <a:lnTo>
                    <a:pt x="63" y="4"/>
                  </a:lnTo>
                  <a:lnTo>
                    <a:pt x="68" y="4"/>
                  </a:lnTo>
                  <a:lnTo>
                    <a:pt x="74" y="5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1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9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2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3" y="29"/>
                  </a:lnTo>
                  <a:lnTo>
                    <a:pt x="95" y="31"/>
                  </a:lnTo>
                  <a:lnTo>
                    <a:pt x="95" y="33"/>
                  </a:lnTo>
                  <a:lnTo>
                    <a:pt x="95" y="36"/>
                  </a:lnTo>
                  <a:lnTo>
                    <a:pt x="93" y="38"/>
                  </a:lnTo>
                  <a:lnTo>
                    <a:pt x="92" y="44"/>
                  </a:lnTo>
                  <a:lnTo>
                    <a:pt x="88" y="49"/>
                  </a:lnTo>
                  <a:lnTo>
                    <a:pt x="84" y="58"/>
                  </a:lnTo>
                  <a:lnTo>
                    <a:pt x="77" y="64"/>
                  </a:lnTo>
                  <a:lnTo>
                    <a:pt x="70" y="71"/>
                  </a:lnTo>
                  <a:lnTo>
                    <a:pt x="66" y="73"/>
                  </a:lnTo>
                  <a:lnTo>
                    <a:pt x="62" y="75"/>
                  </a:lnTo>
                  <a:lnTo>
                    <a:pt x="56" y="75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5"/>
                  </a:lnTo>
                  <a:lnTo>
                    <a:pt x="49" y="75"/>
                  </a:lnTo>
                  <a:lnTo>
                    <a:pt x="49" y="77"/>
                  </a:lnTo>
                  <a:lnTo>
                    <a:pt x="48" y="77"/>
                  </a:lnTo>
                  <a:lnTo>
                    <a:pt x="46" y="78"/>
                  </a:lnTo>
                  <a:lnTo>
                    <a:pt x="45" y="80"/>
                  </a:lnTo>
                  <a:lnTo>
                    <a:pt x="45" y="82"/>
                  </a:lnTo>
                  <a:lnTo>
                    <a:pt x="44" y="82"/>
                  </a:lnTo>
                  <a:lnTo>
                    <a:pt x="44" y="84"/>
                  </a:lnTo>
                  <a:lnTo>
                    <a:pt x="44" y="86"/>
                  </a:lnTo>
                  <a:lnTo>
                    <a:pt x="42" y="88"/>
                  </a:lnTo>
                  <a:lnTo>
                    <a:pt x="42" y="91"/>
                  </a:lnTo>
                  <a:lnTo>
                    <a:pt x="41" y="92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7" y="99"/>
                  </a:lnTo>
                  <a:lnTo>
                    <a:pt x="34" y="100"/>
                  </a:lnTo>
                  <a:lnTo>
                    <a:pt x="33" y="102"/>
                  </a:lnTo>
                  <a:lnTo>
                    <a:pt x="30" y="102"/>
                  </a:lnTo>
                  <a:lnTo>
                    <a:pt x="29" y="100"/>
                  </a:lnTo>
                  <a:lnTo>
                    <a:pt x="27" y="97"/>
                  </a:lnTo>
                  <a:lnTo>
                    <a:pt x="15" y="99"/>
                  </a:lnTo>
                  <a:lnTo>
                    <a:pt x="12" y="9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9" name="Freeform 145"/>
            <p:cNvSpPr>
              <a:spLocks/>
            </p:cNvSpPr>
            <p:nvPr/>
          </p:nvSpPr>
          <p:spPr bwMode="auto">
            <a:xfrm>
              <a:off x="1878" y="2173"/>
              <a:ext cx="76" cy="84"/>
            </a:xfrm>
            <a:custGeom>
              <a:avLst/>
              <a:gdLst>
                <a:gd name="T0" fmla="*/ 12 w 95"/>
                <a:gd name="T1" fmla="*/ 88 h 102"/>
                <a:gd name="T2" fmla="*/ 8 w 95"/>
                <a:gd name="T3" fmla="*/ 88 h 102"/>
                <a:gd name="T4" fmla="*/ 4 w 95"/>
                <a:gd name="T5" fmla="*/ 85 h 102"/>
                <a:gd name="T6" fmla="*/ 1 w 95"/>
                <a:gd name="T7" fmla="*/ 81 h 102"/>
                <a:gd name="T8" fmla="*/ 2 w 95"/>
                <a:gd name="T9" fmla="*/ 71 h 102"/>
                <a:gd name="T10" fmla="*/ 12 w 95"/>
                <a:gd name="T11" fmla="*/ 58 h 102"/>
                <a:gd name="T12" fmla="*/ 23 w 95"/>
                <a:gd name="T13" fmla="*/ 48 h 102"/>
                <a:gd name="T14" fmla="*/ 33 w 95"/>
                <a:gd name="T15" fmla="*/ 42 h 102"/>
                <a:gd name="T16" fmla="*/ 35 w 95"/>
                <a:gd name="T17" fmla="*/ 26 h 102"/>
                <a:gd name="T18" fmla="*/ 40 w 95"/>
                <a:gd name="T19" fmla="*/ 23 h 102"/>
                <a:gd name="T20" fmla="*/ 42 w 95"/>
                <a:gd name="T21" fmla="*/ 20 h 102"/>
                <a:gd name="T22" fmla="*/ 45 w 95"/>
                <a:gd name="T23" fmla="*/ 18 h 102"/>
                <a:gd name="T24" fmla="*/ 46 w 95"/>
                <a:gd name="T25" fmla="*/ 11 h 102"/>
                <a:gd name="T26" fmla="*/ 46 w 95"/>
                <a:gd name="T27" fmla="*/ 8 h 102"/>
                <a:gd name="T28" fmla="*/ 46 w 95"/>
                <a:gd name="T29" fmla="*/ 5 h 102"/>
                <a:gd name="T30" fmla="*/ 46 w 95"/>
                <a:gd name="T31" fmla="*/ 3 h 102"/>
                <a:gd name="T32" fmla="*/ 51 w 95"/>
                <a:gd name="T33" fmla="*/ 1 h 102"/>
                <a:gd name="T34" fmla="*/ 59 w 95"/>
                <a:gd name="T35" fmla="*/ 3 h 102"/>
                <a:gd name="T36" fmla="*/ 68 w 95"/>
                <a:gd name="T37" fmla="*/ 4 h 102"/>
                <a:gd name="T38" fmla="*/ 77 w 95"/>
                <a:gd name="T39" fmla="*/ 7 h 102"/>
                <a:gd name="T40" fmla="*/ 80 w 95"/>
                <a:gd name="T41" fmla="*/ 7 h 102"/>
                <a:gd name="T42" fmla="*/ 80 w 95"/>
                <a:gd name="T43" fmla="*/ 7 h 102"/>
                <a:gd name="T44" fmla="*/ 81 w 95"/>
                <a:gd name="T45" fmla="*/ 9 h 102"/>
                <a:gd name="T46" fmla="*/ 85 w 95"/>
                <a:gd name="T47" fmla="*/ 14 h 102"/>
                <a:gd name="T48" fmla="*/ 89 w 95"/>
                <a:gd name="T49" fmla="*/ 18 h 102"/>
                <a:gd name="T50" fmla="*/ 93 w 95"/>
                <a:gd name="T51" fmla="*/ 20 h 102"/>
                <a:gd name="T52" fmla="*/ 93 w 95"/>
                <a:gd name="T53" fmla="*/ 25 h 102"/>
                <a:gd name="T54" fmla="*/ 93 w 95"/>
                <a:gd name="T55" fmla="*/ 29 h 102"/>
                <a:gd name="T56" fmla="*/ 95 w 95"/>
                <a:gd name="T57" fmla="*/ 33 h 102"/>
                <a:gd name="T58" fmla="*/ 93 w 95"/>
                <a:gd name="T59" fmla="*/ 38 h 102"/>
                <a:gd name="T60" fmla="*/ 88 w 95"/>
                <a:gd name="T61" fmla="*/ 49 h 102"/>
                <a:gd name="T62" fmla="*/ 77 w 95"/>
                <a:gd name="T63" fmla="*/ 64 h 102"/>
                <a:gd name="T64" fmla="*/ 66 w 95"/>
                <a:gd name="T65" fmla="*/ 73 h 102"/>
                <a:gd name="T66" fmla="*/ 56 w 95"/>
                <a:gd name="T67" fmla="*/ 75 h 102"/>
                <a:gd name="T68" fmla="*/ 51 w 95"/>
                <a:gd name="T69" fmla="*/ 77 h 102"/>
                <a:gd name="T70" fmla="*/ 49 w 95"/>
                <a:gd name="T71" fmla="*/ 75 h 102"/>
                <a:gd name="T72" fmla="*/ 48 w 95"/>
                <a:gd name="T73" fmla="*/ 77 h 102"/>
                <a:gd name="T74" fmla="*/ 45 w 95"/>
                <a:gd name="T75" fmla="*/ 80 h 102"/>
                <a:gd name="T76" fmla="*/ 44 w 95"/>
                <a:gd name="T77" fmla="*/ 82 h 102"/>
                <a:gd name="T78" fmla="*/ 44 w 95"/>
                <a:gd name="T79" fmla="*/ 86 h 102"/>
                <a:gd name="T80" fmla="*/ 42 w 95"/>
                <a:gd name="T81" fmla="*/ 91 h 102"/>
                <a:gd name="T82" fmla="*/ 40 w 95"/>
                <a:gd name="T83" fmla="*/ 95 h 102"/>
                <a:gd name="T84" fmla="*/ 38 w 95"/>
                <a:gd name="T85" fmla="*/ 96 h 102"/>
                <a:gd name="T86" fmla="*/ 37 w 95"/>
                <a:gd name="T87" fmla="*/ 99 h 102"/>
                <a:gd name="T88" fmla="*/ 33 w 95"/>
                <a:gd name="T89" fmla="*/ 102 h 102"/>
                <a:gd name="T90" fmla="*/ 29 w 95"/>
                <a:gd name="T91" fmla="*/ 100 h 102"/>
                <a:gd name="T92" fmla="*/ 15 w 95"/>
                <a:gd name="T93" fmla="*/ 99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102">
                  <a:moveTo>
                    <a:pt x="12" y="95"/>
                  </a:moveTo>
                  <a:lnTo>
                    <a:pt x="12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5" y="86"/>
                  </a:lnTo>
                  <a:lnTo>
                    <a:pt x="4" y="85"/>
                  </a:lnTo>
                  <a:lnTo>
                    <a:pt x="2" y="82"/>
                  </a:lnTo>
                  <a:lnTo>
                    <a:pt x="1" y="81"/>
                  </a:lnTo>
                  <a:lnTo>
                    <a:pt x="0" y="80"/>
                  </a:lnTo>
                  <a:lnTo>
                    <a:pt x="2" y="71"/>
                  </a:lnTo>
                  <a:lnTo>
                    <a:pt x="7" y="64"/>
                  </a:lnTo>
                  <a:lnTo>
                    <a:pt x="12" y="58"/>
                  </a:lnTo>
                  <a:lnTo>
                    <a:pt x="18" y="52"/>
                  </a:lnTo>
                  <a:lnTo>
                    <a:pt x="23" y="48"/>
                  </a:lnTo>
                  <a:lnTo>
                    <a:pt x="29" y="44"/>
                  </a:lnTo>
                  <a:lnTo>
                    <a:pt x="33" y="42"/>
                  </a:lnTo>
                  <a:lnTo>
                    <a:pt x="34" y="41"/>
                  </a:lnTo>
                  <a:lnTo>
                    <a:pt x="35" y="26"/>
                  </a:lnTo>
                  <a:lnTo>
                    <a:pt x="37" y="25"/>
                  </a:lnTo>
                  <a:lnTo>
                    <a:pt x="40" y="23"/>
                  </a:lnTo>
                  <a:lnTo>
                    <a:pt x="41" y="22"/>
                  </a:lnTo>
                  <a:lnTo>
                    <a:pt x="42" y="20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6" y="14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8" y="0"/>
                  </a:lnTo>
                  <a:lnTo>
                    <a:pt x="51" y="1"/>
                  </a:lnTo>
                  <a:lnTo>
                    <a:pt x="55" y="1"/>
                  </a:lnTo>
                  <a:lnTo>
                    <a:pt x="59" y="3"/>
                  </a:lnTo>
                  <a:lnTo>
                    <a:pt x="63" y="4"/>
                  </a:lnTo>
                  <a:lnTo>
                    <a:pt x="68" y="4"/>
                  </a:lnTo>
                  <a:lnTo>
                    <a:pt x="74" y="5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1" y="9"/>
                  </a:lnTo>
                  <a:lnTo>
                    <a:pt x="82" y="11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9" y="18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3" y="22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3" y="29"/>
                  </a:lnTo>
                  <a:lnTo>
                    <a:pt x="95" y="31"/>
                  </a:lnTo>
                  <a:lnTo>
                    <a:pt x="95" y="33"/>
                  </a:lnTo>
                  <a:lnTo>
                    <a:pt x="95" y="36"/>
                  </a:lnTo>
                  <a:lnTo>
                    <a:pt x="93" y="38"/>
                  </a:lnTo>
                  <a:lnTo>
                    <a:pt x="92" y="44"/>
                  </a:lnTo>
                  <a:lnTo>
                    <a:pt x="88" y="49"/>
                  </a:lnTo>
                  <a:lnTo>
                    <a:pt x="84" y="58"/>
                  </a:lnTo>
                  <a:lnTo>
                    <a:pt x="77" y="64"/>
                  </a:lnTo>
                  <a:lnTo>
                    <a:pt x="70" y="71"/>
                  </a:lnTo>
                  <a:lnTo>
                    <a:pt x="66" y="73"/>
                  </a:lnTo>
                  <a:lnTo>
                    <a:pt x="62" y="75"/>
                  </a:lnTo>
                  <a:lnTo>
                    <a:pt x="56" y="75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5"/>
                  </a:lnTo>
                  <a:lnTo>
                    <a:pt x="49" y="75"/>
                  </a:lnTo>
                  <a:lnTo>
                    <a:pt x="49" y="77"/>
                  </a:lnTo>
                  <a:lnTo>
                    <a:pt x="48" y="77"/>
                  </a:lnTo>
                  <a:lnTo>
                    <a:pt x="46" y="78"/>
                  </a:lnTo>
                  <a:lnTo>
                    <a:pt x="45" y="80"/>
                  </a:lnTo>
                  <a:lnTo>
                    <a:pt x="45" y="82"/>
                  </a:lnTo>
                  <a:lnTo>
                    <a:pt x="44" y="82"/>
                  </a:lnTo>
                  <a:lnTo>
                    <a:pt x="44" y="84"/>
                  </a:lnTo>
                  <a:lnTo>
                    <a:pt x="44" y="86"/>
                  </a:lnTo>
                  <a:lnTo>
                    <a:pt x="42" y="88"/>
                  </a:lnTo>
                  <a:lnTo>
                    <a:pt x="42" y="91"/>
                  </a:lnTo>
                  <a:lnTo>
                    <a:pt x="41" y="92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7"/>
                  </a:lnTo>
                  <a:lnTo>
                    <a:pt x="37" y="99"/>
                  </a:lnTo>
                  <a:lnTo>
                    <a:pt x="34" y="100"/>
                  </a:lnTo>
                  <a:lnTo>
                    <a:pt x="33" y="102"/>
                  </a:lnTo>
                  <a:lnTo>
                    <a:pt x="30" y="102"/>
                  </a:lnTo>
                  <a:lnTo>
                    <a:pt x="29" y="100"/>
                  </a:lnTo>
                  <a:lnTo>
                    <a:pt x="27" y="97"/>
                  </a:lnTo>
                  <a:lnTo>
                    <a:pt x="15" y="99"/>
                  </a:lnTo>
                  <a:lnTo>
                    <a:pt x="12" y="9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0" name="Freeform 146"/>
            <p:cNvSpPr>
              <a:spLocks/>
            </p:cNvSpPr>
            <p:nvPr/>
          </p:nvSpPr>
          <p:spPr bwMode="auto">
            <a:xfrm>
              <a:off x="2152" y="2399"/>
              <a:ext cx="284" cy="277"/>
            </a:xfrm>
            <a:custGeom>
              <a:avLst/>
              <a:gdLst>
                <a:gd name="T0" fmla="*/ 133 w 350"/>
                <a:gd name="T1" fmla="*/ 326 h 341"/>
                <a:gd name="T2" fmla="*/ 135 w 350"/>
                <a:gd name="T3" fmla="*/ 322 h 341"/>
                <a:gd name="T4" fmla="*/ 137 w 350"/>
                <a:gd name="T5" fmla="*/ 318 h 341"/>
                <a:gd name="T6" fmla="*/ 148 w 350"/>
                <a:gd name="T7" fmla="*/ 301 h 341"/>
                <a:gd name="T8" fmla="*/ 170 w 350"/>
                <a:gd name="T9" fmla="*/ 253 h 341"/>
                <a:gd name="T10" fmla="*/ 190 w 350"/>
                <a:gd name="T11" fmla="*/ 202 h 341"/>
                <a:gd name="T12" fmla="*/ 216 w 350"/>
                <a:gd name="T13" fmla="*/ 176 h 341"/>
                <a:gd name="T14" fmla="*/ 265 w 350"/>
                <a:gd name="T15" fmla="*/ 149 h 341"/>
                <a:gd name="T16" fmla="*/ 293 w 350"/>
                <a:gd name="T17" fmla="*/ 136 h 341"/>
                <a:gd name="T18" fmla="*/ 324 w 350"/>
                <a:gd name="T19" fmla="*/ 106 h 341"/>
                <a:gd name="T20" fmla="*/ 340 w 350"/>
                <a:gd name="T21" fmla="*/ 72 h 341"/>
                <a:gd name="T22" fmla="*/ 350 w 350"/>
                <a:gd name="T23" fmla="*/ 21 h 341"/>
                <a:gd name="T24" fmla="*/ 2 w 350"/>
                <a:gd name="T25" fmla="*/ 2 h 341"/>
                <a:gd name="T26" fmla="*/ 3 w 350"/>
                <a:gd name="T27" fmla="*/ 6 h 341"/>
                <a:gd name="T28" fmla="*/ 5 w 350"/>
                <a:gd name="T29" fmla="*/ 10 h 341"/>
                <a:gd name="T30" fmla="*/ 32 w 350"/>
                <a:gd name="T31" fmla="*/ 13 h 341"/>
                <a:gd name="T32" fmla="*/ 31 w 350"/>
                <a:gd name="T33" fmla="*/ 21 h 341"/>
                <a:gd name="T34" fmla="*/ 31 w 350"/>
                <a:gd name="T35" fmla="*/ 29 h 341"/>
                <a:gd name="T36" fmla="*/ 34 w 350"/>
                <a:gd name="T37" fmla="*/ 30 h 341"/>
                <a:gd name="T38" fmla="*/ 39 w 350"/>
                <a:gd name="T39" fmla="*/ 33 h 341"/>
                <a:gd name="T40" fmla="*/ 43 w 350"/>
                <a:gd name="T41" fmla="*/ 44 h 341"/>
                <a:gd name="T42" fmla="*/ 43 w 350"/>
                <a:gd name="T43" fmla="*/ 61 h 341"/>
                <a:gd name="T44" fmla="*/ 42 w 350"/>
                <a:gd name="T45" fmla="*/ 88 h 341"/>
                <a:gd name="T46" fmla="*/ 38 w 350"/>
                <a:gd name="T47" fmla="*/ 99 h 341"/>
                <a:gd name="T48" fmla="*/ 40 w 350"/>
                <a:gd name="T49" fmla="*/ 102 h 341"/>
                <a:gd name="T50" fmla="*/ 43 w 350"/>
                <a:gd name="T51" fmla="*/ 109 h 341"/>
                <a:gd name="T52" fmla="*/ 43 w 350"/>
                <a:gd name="T53" fmla="*/ 118 h 341"/>
                <a:gd name="T54" fmla="*/ 46 w 350"/>
                <a:gd name="T55" fmla="*/ 138 h 341"/>
                <a:gd name="T56" fmla="*/ 47 w 350"/>
                <a:gd name="T57" fmla="*/ 156 h 341"/>
                <a:gd name="T58" fmla="*/ 49 w 350"/>
                <a:gd name="T59" fmla="*/ 157 h 341"/>
                <a:gd name="T60" fmla="*/ 53 w 350"/>
                <a:gd name="T61" fmla="*/ 160 h 341"/>
                <a:gd name="T62" fmla="*/ 69 w 350"/>
                <a:gd name="T63" fmla="*/ 164 h 341"/>
                <a:gd name="T64" fmla="*/ 72 w 350"/>
                <a:gd name="T65" fmla="*/ 162 h 341"/>
                <a:gd name="T66" fmla="*/ 79 w 350"/>
                <a:gd name="T67" fmla="*/ 161 h 341"/>
                <a:gd name="T68" fmla="*/ 83 w 350"/>
                <a:gd name="T69" fmla="*/ 165 h 341"/>
                <a:gd name="T70" fmla="*/ 89 w 350"/>
                <a:gd name="T71" fmla="*/ 178 h 341"/>
                <a:gd name="T72" fmla="*/ 91 w 350"/>
                <a:gd name="T73" fmla="*/ 191 h 341"/>
                <a:gd name="T74" fmla="*/ 91 w 350"/>
                <a:gd name="T75" fmla="*/ 194 h 341"/>
                <a:gd name="T76" fmla="*/ 95 w 350"/>
                <a:gd name="T77" fmla="*/ 195 h 341"/>
                <a:gd name="T78" fmla="*/ 101 w 350"/>
                <a:gd name="T79" fmla="*/ 197 h 341"/>
                <a:gd name="T80" fmla="*/ 105 w 350"/>
                <a:gd name="T81" fmla="*/ 198 h 341"/>
                <a:gd name="T82" fmla="*/ 109 w 350"/>
                <a:gd name="T83" fmla="*/ 208 h 341"/>
                <a:gd name="T84" fmla="*/ 104 w 350"/>
                <a:gd name="T85" fmla="*/ 223 h 341"/>
                <a:gd name="T86" fmla="*/ 89 w 350"/>
                <a:gd name="T87" fmla="*/ 235 h 341"/>
                <a:gd name="T88" fmla="*/ 69 w 350"/>
                <a:gd name="T89" fmla="*/ 252 h 341"/>
                <a:gd name="T90" fmla="*/ 61 w 350"/>
                <a:gd name="T91" fmla="*/ 259 h 341"/>
                <a:gd name="T92" fmla="*/ 49 w 350"/>
                <a:gd name="T93" fmla="*/ 272 h 341"/>
                <a:gd name="T94" fmla="*/ 45 w 350"/>
                <a:gd name="T95" fmla="*/ 283 h 341"/>
                <a:gd name="T96" fmla="*/ 47 w 350"/>
                <a:gd name="T97" fmla="*/ 282 h 341"/>
                <a:gd name="T98" fmla="*/ 56 w 350"/>
                <a:gd name="T99" fmla="*/ 285 h 341"/>
                <a:gd name="T100" fmla="*/ 72 w 350"/>
                <a:gd name="T101" fmla="*/ 301 h 341"/>
                <a:gd name="T102" fmla="*/ 80 w 350"/>
                <a:gd name="T103" fmla="*/ 304 h 341"/>
                <a:gd name="T104" fmla="*/ 95 w 350"/>
                <a:gd name="T105" fmla="*/ 311 h 341"/>
                <a:gd name="T106" fmla="*/ 117 w 350"/>
                <a:gd name="T107" fmla="*/ 33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0" h="341">
                  <a:moveTo>
                    <a:pt x="131" y="329"/>
                  </a:moveTo>
                  <a:lnTo>
                    <a:pt x="133" y="327"/>
                  </a:lnTo>
                  <a:lnTo>
                    <a:pt x="133" y="326"/>
                  </a:lnTo>
                  <a:lnTo>
                    <a:pt x="134" y="325"/>
                  </a:lnTo>
                  <a:lnTo>
                    <a:pt x="134" y="323"/>
                  </a:lnTo>
                  <a:lnTo>
                    <a:pt x="135" y="322"/>
                  </a:lnTo>
                  <a:lnTo>
                    <a:pt x="135" y="320"/>
                  </a:lnTo>
                  <a:lnTo>
                    <a:pt x="137" y="319"/>
                  </a:lnTo>
                  <a:lnTo>
                    <a:pt x="137" y="318"/>
                  </a:lnTo>
                  <a:lnTo>
                    <a:pt x="138" y="315"/>
                  </a:lnTo>
                  <a:lnTo>
                    <a:pt x="142" y="309"/>
                  </a:lnTo>
                  <a:lnTo>
                    <a:pt x="148" y="301"/>
                  </a:lnTo>
                  <a:lnTo>
                    <a:pt x="153" y="287"/>
                  </a:lnTo>
                  <a:lnTo>
                    <a:pt x="161" y="272"/>
                  </a:lnTo>
                  <a:lnTo>
                    <a:pt x="170" y="253"/>
                  </a:lnTo>
                  <a:lnTo>
                    <a:pt x="178" y="231"/>
                  </a:lnTo>
                  <a:lnTo>
                    <a:pt x="188" y="206"/>
                  </a:lnTo>
                  <a:lnTo>
                    <a:pt x="190" y="202"/>
                  </a:lnTo>
                  <a:lnTo>
                    <a:pt x="196" y="195"/>
                  </a:lnTo>
                  <a:lnTo>
                    <a:pt x="205" y="186"/>
                  </a:lnTo>
                  <a:lnTo>
                    <a:pt x="216" y="176"/>
                  </a:lnTo>
                  <a:lnTo>
                    <a:pt x="232" y="167"/>
                  </a:lnTo>
                  <a:lnTo>
                    <a:pt x="247" y="157"/>
                  </a:lnTo>
                  <a:lnTo>
                    <a:pt x="265" y="149"/>
                  </a:lnTo>
                  <a:lnTo>
                    <a:pt x="282" y="143"/>
                  </a:lnTo>
                  <a:lnTo>
                    <a:pt x="285" y="142"/>
                  </a:lnTo>
                  <a:lnTo>
                    <a:pt x="293" y="136"/>
                  </a:lnTo>
                  <a:lnTo>
                    <a:pt x="305" y="128"/>
                  </a:lnTo>
                  <a:lnTo>
                    <a:pt x="317" y="116"/>
                  </a:lnTo>
                  <a:lnTo>
                    <a:pt x="324" y="106"/>
                  </a:lnTo>
                  <a:lnTo>
                    <a:pt x="329" y="96"/>
                  </a:lnTo>
                  <a:lnTo>
                    <a:pt x="335" y="85"/>
                  </a:lnTo>
                  <a:lnTo>
                    <a:pt x="340" y="72"/>
                  </a:lnTo>
                  <a:lnTo>
                    <a:pt x="344" y="57"/>
                  </a:lnTo>
                  <a:lnTo>
                    <a:pt x="347" y="40"/>
                  </a:lnTo>
                  <a:lnTo>
                    <a:pt x="350" y="21"/>
                  </a:lnTo>
                  <a:lnTo>
                    <a:pt x="35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8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1" y="15"/>
                  </a:lnTo>
                  <a:lnTo>
                    <a:pt x="31" y="17"/>
                  </a:lnTo>
                  <a:lnTo>
                    <a:pt x="31" y="21"/>
                  </a:lnTo>
                  <a:lnTo>
                    <a:pt x="31" y="24"/>
                  </a:lnTo>
                  <a:lnTo>
                    <a:pt x="31" y="26"/>
                  </a:lnTo>
                  <a:lnTo>
                    <a:pt x="31" y="29"/>
                  </a:lnTo>
                  <a:lnTo>
                    <a:pt x="32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2"/>
                  </a:lnTo>
                  <a:lnTo>
                    <a:pt x="39" y="33"/>
                  </a:lnTo>
                  <a:lnTo>
                    <a:pt x="40" y="36"/>
                  </a:lnTo>
                  <a:lnTo>
                    <a:pt x="42" y="40"/>
                  </a:lnTo>
                  <a:lnTo>
                    <a:pt x="43" y="44"/>
                  </a:lnTo>
                  <a:lnTo>
                    <a:pt x="43" y="46"/>
                  </a:lnTo>
                  <a:lnTo>
                    <a:pt x="43" y="52"/>
                  </a:lnTo>
                  <a:lnTo>
                    <a:pt x="43" y="61"/>
                  </a:lnTo>
                  <a:lnTo>
                    <a:pt x="43" y="70"/>
                  </a:lnTo>
                  <a:lnTo>
                    <a:pt x="42" y="80"/>
                  </a:lnTo>
                  <a:lnTo>
                    <a:pt x="42" y="88"/>
                  </a:lnTo>
                  <a:lnTo>
                    <a:pt x="40" y="95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40" y="101"/>
                  </a:lnTo>
                  <a:lnTo>
                    <a:pt x="40" y="102"/>
                  </a:lnTo>
                  <a:lnTo>
                    <a:pt x="42" y="103"/>
                  </a:lnTo>
                  <a:lnTo>
                    <a:pt x="43" y="106"/>
                  </a:lnTo>
                  <a:lnTo>
                    <a:pt x="43" y="109"/>
                  </a:lnTo>
                  <a:lnTo>
                    <a:pt x="43" y="113"/>
                  </a:lnTo>
                  <a:lnTo>
                    <a:pt x="43" y="114"/>
                  </a:lnTo>
                  <a:lnTo>
                    <a:pt x="43" y="118"/>
                  </a:lnTo>
                  <a:lnTo>
                    <a:pt x="45" y="124"/>
                  </a:lnTo>
                  <a:lnTo>
                    <a:pt x="45" y="131"/>
                  </a:lnTo>
                  <a:lnTo>
                    <a:pt x="46" y="138"/>
                  </a:lnTo>
                  <a:lnTo>
                    <a:pt x="47" y="145"/>
                  </a:lnTo>
                  <a:lnTo>
                    <a:pt x="47" y="151"/>
                  </a:lnTo>
                  <a:lnTo>
                    <a:pt x="47" y="156"/>
                  </a:lnTo>
                  <a:lnTo>
                    <a:pt x="47" y="156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50" y="158"/>
                  </a:lnTo>
                  <a:lnTo>
                    <a:pt x="51" y="158"/>
                  </a:lnTo>
                  <a:lnTo>
                    <a:pt x="53" y="160"/>
                  </a:lnTo>
                  <a:lnTo>
                    <a:pt x="54" y="161"/>
                  </a:lnTo>
                  <a:lnTo>
                    <a:pt x="56" y="161"/>
                  </a:lnTo>
                  <a:lnTo>
                    <a:pt x="69" y="164"/>
                  </a:lnTo>
                  <a:lnTo>
                    <a:pt x="69" y="164"/>
                  </a:lnTo>
                  <a:lnTo>
                    <a:pt x="71" y="162"/>
                  </a:lnTo>
                  <a:lnTo>
                    <a:pt x="72" y="162"/>
                  </a:lnTo>
                  <a:lnTo>
                    <a:pt x="75" y="161"/>
                  </a:lnTo>
                  <a:lnTo>
                    <a:pt x="76" y="161"/>
                  </a:lnTo>
                  <a:lnTo>
                    <a:pt x="79" y="161"/>
                  </a:lnTo>
                  <a:lnTo>
                    <a:pt x="80" y="162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4" y="168"/>
                  </a:lnTo>
                  <a:lnTo>
                    <a:pt x="86" y="172"/>
                  </a:lnTo>
                  <a:lnTo>
                    <a:pt x="89" y="178"/>
                  </a:lnTo>
                  <a:lnTo>
                    <a:pt x="90" y="182"/>
                  </a:lnTo>
                  <a:lnTo>
                    <a:pt x="91" y="187"/>
                  </a:lnTo>
                  <a:lnTo>
                    <a:pt x="91" y="191"/>
                  </a:lnTo>
                  <a:lnTo>
                    <a:pt x="91" y="194"/>
                  </a:lnTo>
                  <a:lnTo>
                    <a:pt x="91" y="194"/>
                  </a:lnTo>
                  <a:lnTo>
                    <a:pt x="91" y="194"/>
                  </a:lnTo>
                  <a:lnTo>
                    <a:pt x="93" y="194"/>
                  </a:lnTo>
                  <a:lnTo>
                    <a:pt x="94" y="194"/>
                  </a:lnTo>
                  <a:lnTo>
                    <a:pt x="95" y="195"/>
                  </a:lnTo>
                  <a:lnTo>
                    <a:pt x="97" y="195"/>
                  </a:lnTo>
                  <a:lnTo>
                    <a:pt x="98" y="197"/>
                  </a:lnTo>
                  <a:lnTo>
                    <a:pt x="101" y="197"/>
                  </a:lnTo>
                  <a:lnTo>
                    <a:pt x="101" y="197"/>
                  </a:lnTo>
                  <a:lnTo>
                    <a:pt x="104" y="197"/>
                  </a:lnTo>
                  <a:lnTo>
                    <a:pt x="105" y="198"/>
                  </a:lnTo>
                  <a:lnTo>
                    <a:pt x="108" y="201"/>
                  </a:lnTo>
                  <a:lnTo>
                    <a:pt x="109" y="204"/>
                  </a:lnTo>
                  <a:lnTo>
                    <a:pt x="109" y="208"/>
                  </a:lnTo>
                  <a:lnTo>
                    <a:pt x="108" y="213"/>
                  </a:lnTo>
                  <a:lnTo>
                    <a:pt x="104" y="222"/>
                  </a:lnTo>
                  <a:lnTo>
                    <a:pt x="104" y="223"/>
                  </a:lnTo>
                  <a:lnTo>
                    <a:pt x="100" y="226"/>
                  </a:lnTo>
                  <a:lnTo>
                    <a:pt x="94" y="230"/>
                  </a:lnTo>
                  <a:lnTo>
                    <a:pt x="89" y="235"/>
                  </a:lnTo>
                  <a:lnTo>
                    <a:pt x="82" y="242"/>
                  </a:lnTo>
                  <a:lnTo>
                    <a:pt x="75" y="246"/>
                  </a:lnTo>
                  <a:lnTo>
                    <a:pt x="69" y="252"/>
                  </a:lnTo>
                  <a:lnTo>
                    <a:pt x="65" y="255"/>
                  </a:lnTo>
                  <a:lnTo>
                    <a:pt x="64" y="256"/>
                  </a:lnTo>
                  <a:lnTo>
                    <a:pt x="61" y="259"/>
                  </a:lnTo>
                  <a:lnTo>
                    <a:pt x="58" y="263"/>
                  </a:lnTo>
                  <a:lnTo>
                    <a:pt x="53" y="267"/>
                  </a:lnTo>
                  <a:lnTo>
                    <a:pt x="49" y="272"/>
                  </a:lnTo>
                  <a:lnTo>
                    <a:pt x="46" y="278"/>
                  </a:lnTo>
                  <a:lnTo>
                    <a:pt x="45" y="282"/>
                  </a:lnTo>
                  <a:lnTo>
                    <a:pt x="45" y="283"/>
                  </a:lnTo>
                  <a:lnTo>
                    <a:pt x="45" y="283"/>
                  </a:lnTo>
                  <a:lnTo>
                    <a:pt x="46" y="283"/>
                  </a:lnTo>
                  <a:lnTo>
                    <a:pt x="47" y="282"/>
                  </a:lnTo>
                  <a:lnTo>
                    <a:pt x="50" y="282"/>
                  </a:lnTo>
                  <a:lnTo>
                    <a:pt x="53" y="283"/>
                  </a:lnTo>
                  <a:lnTo>
                    <a:pt x="56" y="285"/>
                  </a:lnTo>
                  <a:lnTo>
                    <a:pt x="57" y="286"/>
                  </a:lnTo>
                  <a:lnTo>
                    <a:pt x="60" y="290"/>
                  </a:lnTo>
                  <a:lnTo>
                    <a:pt x="72" y="301"/>
                  </a:lnTo>
                  <a:lnTo>
                    <a:pt x="73" y="303"/>
                  </a:lnTo>
                  <a:lnTo>
                    <a:pt x="76" y="303"/>
                  </a:lnTo>
                  <a:lnTo>
                    <a:pt x="80" y="304"/>
                  </a:lnTo>
                  <a:lnTo>
                    <a:pt x="86" y="307"/>
                  </a:lnTo>
                  <a:lnTo>
                    <a:pt x="90" y="308"/>
                  </a:lnTo>
                  <a:lnTo>
                    <a:pt x="95" y="311"/>
                  </a:lnTo>
                  <a:lnTo>
                    <a:pt x="98" y="314"/>
                  </a:lnTo>
                  <a:lnTo>
                    <a:pt x="101" y="316"/>
                  </a:lnTo>
                  <a:lnTo>
                    <a:pt x="117" y="336"/>
                  </a:lnTo>
                  <a:lnTo>
                    <a:pt x="123" y="341"/>
                  </a:lnTo>
                  <a:lnTo>
                    <a:pt x="131" y="32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1" name="Freeform 147"/>
            <p:cNvSpPr>
              <a:spLocks/>
            </p:cNvSpPr>
            <p:nvPr/>
          </p:nvSpPr>
          <p:spPr bwMode="auto">
            <a:xfrm>
              <a:off x="1979" y="2124"/>
              <a:ext cx="514" cy="275"/>
            </a:xfrm>
            <a:custGeom>
              <a:avLst/>
              <a:gdLst>
                <a:gd name="T0" fmla="*/ 564 w 634"/>
                <a:gd name="T1" fmla="*/ 340 h 341"/>
                <a:gd name="T2" fmla="*/ 630 w 634"/>
                <a:gd name="T3" fmla="*/ 227 h 341"/>
                <a:gd name="T4" fmla="*/ 624 w 634"/>
                <a:gd name="T5" fmla="*/ 171 h 341"/>
                <a:gd name="T6" fmla="*/ 578 w 634"/>
                <a:gd name="T7" fmla="*/ 145 h 341"/>
                <a:gd name="T8" fmla="*/ 463 w 634"/>
                <a:gd name="T9" fmla="*/ 113 h 341"/>
                <a:gd name="T10" fmla="*/ 455 w 634"/>
                <a:gd name="T11" fmla="*/ 109 h 341"/>
                <a:gd name="T12" fmla="*/ 451 w 634"/>
                <a:gd name="T13" fmla="*/ 92 h 341"/>
                <a:gd name="T14" fmla="*/ 422 w 634"/>
                <a:gd name="T15" fmla="*/ 90 h 341"/>
                <a:gd name="T16" fmla="*/ 382 w 634"/>
                <a:gd name="T17" fmla="*/ 92 h 341"/>
                <a:gd name="T18" fmla="*/ 347 w 634"/>
                <a:gd name="T19" fmla="*/ 116 h 341"/>
                <a:gd name="T20" fmla="*/ 342 w 634"/>
                <a:gd name="T21" fmla="*/ 112 h 341"/>
                <a:gd name="T22" fmla="*/ 362 w 634"/>
                <a:gd name="T23" fmla="*/ 88 h 341"/>
                <a:gd name="T24" fmla="*/ 382 w 634"/>
                <a:gd name="T25" fmla="*/ 65 h 341"/>
                <a:gd name="T26" fmla="*/ 375 w 634"/>
                <a:gd name="T27" fmla="*/ 37 h 341"/>
                <a:gd name="T28" fmla="*/ 348 w 634"/>
                <a:gd name="T29" fmla="*/ 7 h 341"/>
                <a:gd name="T30" fmla="*/ 330 w 634"/>
                <a:gd name="T31" fmla="*/ 7 h 341"/>
                <a:gd name="T32" fmla="*/ 322 w 634"/>
                <a:gd name="T33" fmla="*/ 13 h 341"/>
                <a:gd name="T34" fmla="*/ 316 w 634"/>
                <a:gd name="T35" fmla="*/ 28 h 341"/>
                <a:gd name="T36" fmla="*/ 311 w 634"/>
                <a:gd name="T37" fmla="*/ 31 h 341"/>
                <a:gd name="T38" fmla="*/ 305 w 634"/>
                <a:gd name="T39" fmla="*/ 29 h 341"/>
                <a:gd name="T40" fmla="*/ 300 w 634"/>
                <a:gd name="T41" fmla="*/ 28 h 341"/>
                <a:gd name="T42" fmla="*/ 294 w 634"/>
                <a:gd name="T43" fmla="*/ 28 h 341"/>
                <a:gd name="T44" fmla="*/ 287 w 634"/>
                <a:gd name="T45" fmla="*/ 31 h 341"/>
                <a:gd name="T46" fmla="*/ 283 w 634"/>
                <a:gd name="T47" fmla="*/ 29 h 341"/>
                <a:gd name="T48" fmla="*/ 275 w 634"/>
                <a:gd name="T49" fmla="*/ 26 h 341"/>
                <a:gd name="T50" fmla="*/ 267 w 634"/>
                <a:gd name="T51" fmla="*/ 29 h 341"/>
                <a:gd name="T52" fmla="*/ 252 w 634"/>
                <a:gd name="T53" fmla="*/ 33 h 341"/>
                <a:gd name="T54" fmla="*/ 220 w 634"/>
                <a:gd name="T55" fmla="*/ 37 h 341"/>
                <a:gd name="T56" fmla="*/ 220 w 634"/>
                <a:gd name="T57" fmla="*/ 22 h 341"/>
                <a:gd name="T58" fmla="*/ 210 w 634"/>
                <a:gd name="T59" fmla="*/ 4 h 341"/>
                <a:gd name="T60" fmla="*/ 198 w 634"/>
                <a:gd name="T61" fmla="*/ 10 h 341"/>
                <a:gd name="T62" fmla="*/ 154 w 634"/>
                <a:gd name="T63" fmla="*/ 11 h 341"/>
                <a:gd name="T64" fmla="*/ 140 w 634"/>
                <a:gd name="T65" fmla="*/ 10 h 341"/>
                <a:gd name="T66" fmla="*/ 144 w 634"/>
                <a:gd name="T67" fmla="*/ 14 h 341"/>
                <a:gd name="T68" fmla="*/ 154 w 634"/>
                <a:gd name="T69" fmla="*/ 33 h 341"/>
                <a:gd name="T70" fmla="*/ 111 w 634"/>
                <a:gd name="T71" fmla="*/ 64 h 341"/>
                <a:gd name="T72" fmla="*/ 95 w 634"/>
                <a:gd name="T73" fmla="*/ 62 h 341"/>
                <a:gd name="T74" fmla="*/ 92 w 634"/>
                <a:gd name="T75" fmla="*/ 54 h 341"/>
                <a:gd name="T76" fmla="*/ 89 w 634"/>
                <a:gd name="T77" fmla="*/ 50 h 341"/>
                <a:gd name="T78" fmla="*/ 70 w 634"/>
                <a:gd name="T79" fmla="*/ 72 h 341"/>
                <a:gd name="T80" fmla="*/ 67 w 634"/>
                <a:gd name="T81" fmla="*/ 88 h 341"/>
                <a:gd name="T82" fmla="*/ 62 w 634"/>
                <a:gd name="T83" fmla="*/ 158 h 341"/>
                <a:gd name="T84" fmla="*/ 45 w 634"/>
                <a:gd name="T85" fmla="*/ 157 h 341"/>
                <a:gd name="T86" fmla="*/ 16 w 634"/>
                <a:gd name="T87" fmla="*/ 171 h 341"/>
                <a:gd name="T88" fmla="*/ 11 w 634"/>
                <a:gd name="T89" fmla="*/ 189 h 341"/>
                <a:gd name="T90" fmla="*/ 1 w 634"/>
                <a:gd name="T91" fmla="*/ 219 h 341"/>
                <a:gd name="T92" fmla="*/ 7 w 634"/>
                <a:gd name="T93" fmla="*/ 240 h 341"/>
                <a:gd name="T94" fmla="*/ 18 w 634"/>
                <a:gd name="T95" fmla="*/ 240 h 341"/>
                <a:gd name="T96" fmla="*/ 23 w 634"/>
                <a:gd name="T97" fmla="*/ 245 h 341"/>
                <a:gd name="T98" fmla="*/ 37 w 634"/>
                <a:gd name="T99" fmla="*/ 246 h 341"/>
                <a:gd name="T100" fmla="*/ 51 w 634"/>
                <a:gd name="T101" fmla="*/ 237 h 341"/>
                <a:gd name="T102" fmla="*/ 55 w 634"/>
                <a:gd name="T103" fmla="*/ 270 h 341"/>
                <a:gd name="T104" fmla="*/ 81 w 634"/>
                <a:gd name="T105" fmla="*/ 270 h 341"/>
                <a:gd name="T106" fmla="*/ 99 w 634"/>
                <a:gd name="T107" fmla="*/ 263 h 341"/>
                <a:gd name="T108" fmla="*/ 115 w 634"/>
                <a:gd name="T109" fmla="*/ 252 h 341"/>
                <a:gd name="T110" fmla="*/ 126 w 634"/>
                <a:gd name="T111" fmla="*/ 249 h 341"/>
                <a:gd name="T112" fmla="*/ 135 w 634"/>
                <a:gd name="T113" fmla="*/ 251 h 341"/>
                <a:gd name="T114" fmla="*/ 137 w 634"/>
                <a:gd name="T115" fmla="*/ 285 h 341"/>
                <a:gd name="T116" fmla="*/ 179 w 634"/>
                <a:gd name="T117" fmla="*/ 308 h 341"/>
                <a:gd name="T118" fmla="*/ 202 w 634"/>
                <a:gd name="T119" fmla="*/ 326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4" h="341">
                  <a:moveTo>
                    <a:pt x="564" y="341"/>
                  </a:moveTo>
                  <a:lnTo>
                    <a:pt x="564" y="341"/>
                  </a:lnTo>
                  <a:lnTo>
                    <a:pt x="564" y="341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564" y="340"/>
                  </a:lnTo>
                  <a:lnTo>
                    <a:pt x="612" y="259"/>
                  </a:lnTo>
                  <a:lnTo>
                    <a:pt x="613" y="259"/>
                  </a:lnTo>
                  <a:lnTo>
                    <a:pt x="616" y="255"/>
                  </a:lnTo>
                  <a:lnTo>
                    <a:pt x="619" y="251"/>
                  </a:lnTo>
                  <a:lnTo>
                    <a:pt x="623" y="245"/>
                  </a:lnTo>
                  <a:lnTo>
                    <a:pt x="627" y="237"/>
                  </a:lnTo>
                  <a:lnTo>
                    <a:pt x="630" y="227"/>
                  </a:lnTo>
                  <a:lnTo>
                    <a:pt x="633" y="216"/>
                  </a:lnTo>
                  <a:lnTo>
                    <a:pt x="633" y="205"/>
                  </a:lnTo>
                  <a:lnTo>
                    <a:pt x="633" y="204"/>
                  </a:lnTo>
                  <a:lnTo>
                    <a:pt x="634" y="200"/>
                  </a:lnTo>
                  <a:lnTo>
                    <a:pt x="634" y="193"/>
                  </a:lnTo>
                  <a:lnTo>
                    <a:pt x="634" y="186"/>
                  </a:lnTo>
                  <a:lnTo>
                    <a:pt x="630" y="178"/>
                  </a:lnTo>
                  <a:lnTo>
                    <a:pt x="624" y="171"/>
                  </a:lnTo>
                  <a:lnTo>
                    <a:pt x="619" y="168"/>
                  </a:lnTo>
                  <a:lnTo>
                    <a:pt x="613" y="164"/>
                  </a:lnTo>
                  <a:lnTo>
                    <a:pt x="607" y="163"/>
                  </a:lnTo>
                  <a:lnTo>
                    <a:pt x="598" y="160"/>
                  </a:lnTo>
                  <a:lnTo>
                    <a:pt x="597" y="158"/>
                  </a:lnTo>
                  <a:lnTo>
                    <a:pt x="593" y="156"/>
                  </a:lnTo>
                  <a:lnTo>
                    <a:pt x="586" y="150"/>
                  </a:lnTo>
                  <a:lnTo>
                    <a:pt x="578" y="145"/>
                  </a:lnTo>
                  <a:lnTo>
                    <a:pt x="567" y="139"/>
                  </a:lnTo>
                  <a:lnTo>
                    <a:pt x="557" y="135"/>
                  </a:lnTo>
                  <a:lnTo>
                    <a:pt x="546" y="132"/>
                  </a:lnTo>
                  <a:lnTo>
                    <a:pt x="535" y="132"/>
                  </a:lnTo>
                  <a:lnTo>
                    <a:pt x="474" y="113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3" y="113"/>
                  </a:lnTo>
                  <a:lnTo>
                    <a:pt x="459" y="114"/>
                  </a:lnTo>
                  <a:lnTo>
                    <a:pt x="457" y="116"/>
                  </a:lnTo>
                  <a:lnTo>
                    <a:pt x="454" y="117"/>
                  </a:lnTo>
                  <a:lnTo>
                    <a:pt x="452" y="119"/>
                  </a:lnTo>
                  <a:lnTo>
                    <a:pt x="452" y="119"/>
                  </a:lnTo>
                  <a:lnTo>
                    <a:pt x="454" y="116"/>
                  </a:lnTo>
                  <a:lnTo>
                    <a:pt x="454" y="113"/>
                  </a:lnTo>
                  <a:lnTo>
                    <a:pt x="455" y="109"/>
                  </a:lnTo>
                  <a:lnTo>
                    <a:pt x="457" y="106"/>
                  </a:lnTo>
                  <a:lnTo>
                    <a:pt x="457" y="103"/>
                  </a:lnTo>
                  <a:lnTo>
                    <a:pt x="457" y="101"/>
                  </a:lnTo>
                  <a:lnTo>
                    <a:pt x="458" y="99"/>
                  </a:lnTo>
                  <a:lnTo>
                    <a:pt x="458" y="98"/>
                  </a:lnTo>
                  <a:lnTo>
                    <a:pt x="457" y="95"/>
                  </a:lnTo>
                  <a:lnTo>
                    <a:pt x="454" y="92"/>
                  </a:lnTo>
                  <a:lnTo>
                    <a:pt x="451" y="92"/>
                  </a:lnTo>
                  <a:lnTo>
                    <a:pt x="447" y="91"/>
                  </a:lnTo>
                  <a:lnTo>
                    <a:pt x="444" y="91"/>
                  </a:lnTo>
                  <a:lnTo>
                    <a:pt x="440" y="92"/>
                  </a:lnTo>
                  <a:lnTo>
                    <a:pt x="439" y="92"/>
                  </a:lnTo>
                  <a:lnTo>
                    <a:pt x="437" y="92"/>
                  </a:lnTo>
                  <a:lnTo>
                    <a:pt x="433" y="92"/>
                  </a:lnTo>
                  <a:lnTo>
                    <a:pt x="428" y="91"/>
                  </a:lnTo>
                  <a:lnTo>
                    <a:pt x="422" y="90"/>
                  </a:lnTo>
                  <a:lnTo>
                    <a:pt x="415" y="90"/>
                  </a:lnTo>
                  <a:lnTo>
                    <a:pt x="410" y="88"/>
                  </a:lnTo>
                  <a:lnTo>
                    <a:pt x="406" y="87"/>
                  </a:lnTo>
                  <a:lnTo>
                    <a:pt x="403" y="87"/>
                  </a:lnTo>
                  <a:lnTo>
                    <a:pt x="402" y="87"/>
                  </a:lnTo>
                  <a:lnTo>
                    <a:pt x="395" y="88"/>
                  </a:lnTo>
                  <a:lnTo>
                    <a:pt x="388" y="91"/>
                  </a:lnTo>
                  <a:lnTo>
                    <a:pt x="382" y="92"/>
                  </a:lnTo>
                  <a:lnTo>
                    <a:pt x="377" y="95"/>
                  </a:lnTo>
                  <a:lnTo>
                    <a:pt x="371" y="98"/>
                  </a:lnTo>
                  <a:lnTo>
                    <a:pt x="369" y="101"/>
                  </a:lnTo>
                  <a:lnTo>
                    <a:pt x="366" y="102"/>
                  </a:lnTo>
                  <a:lnTo>
                    <a:pt x="364" y="102"/>
                  </a:lnTo>
                  <a:lnTo>
                    <a:pt x="359" y="109"/>
                  </a:lnTo>
                  <a:lnTo>
                    <a:pt x="352" y="113"/>
                  </a:lnTo>
                  <a:lnTo>
                    <a:pt x="347" y="116"/>
                  </a:lnTo>
                  <a:lnTo>
                    <a:pt x="341" y="117"/>
                  </a:lnTo>
                  <a:lnTo>
                    <a:pt x="337" y="119"/>
                  </a:lnTo>
                  <a:lnTo>
                    <a:pt x="334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6" y="117"/>
                  </a:lnTo>
                  <a:lnTo>
                    <a:pt x="340" y="114"/>
                  </a:lnTo>
                  <a:lnTo>
                    <a:pt x="342" y="112"/>
                  </a:lnTo>
                  <a:lnTo>
                    <a:pt x="347" y="109"/>
                  </a:lnTo>
                  <a:lnTo>
                    <a:pt x="348" y="106"/>
                  </a:lnTo>
                  <a:lnTo>
                    <a:pt x="351" y="103"/>
                  </a:lnTo>
                  <a:lnTo>
                    <a:pt x="352" y="102"/>
                  </a:lnTo>
                  <a:lnTo>
                    <a:pt x="352" y="101"/>
                  </a:lnTo>
                  <a:lnTo>
                    <a:pt x="355" y="97"/>
                  </a:lnTo>
                  <a:lnTo>
                    <a:pt x="358" y="92"/>
                  </a:lnTo>
                  <a:lnTo>
                    <a:pt x="362" y="88"/>
                  </a:lnTo>
                  <a:lnTo>
                    <a:pt x="366" y="84"/>
                  </a:lnTo>
                  <a:lnTo>
                    <a:pt x="370" y="81"/>
                  </a:lnTo>
                  <a:lnTo>
                    <a:pt x="373" y="79"/>
                  </a:lnTo>
                  <a:lnTo>
                    <a:pt x="375" y="77"/>
                  </a:lnTo>
                  <a:lnTo>
                    <a:pt x="375" y="76"/>
                  </a:lnTo>
                  <a:lnTo>
                    <a:pt x="378" y="73"/>
                  </a:lnTo>
                  <a:lnTo>
                    <a:pt x="381" y="69"/>
                  </a:lnTo>
                  <a:lnTo>
                    <a:pt x="382" y="65"/>
                  </a:lnTo>
                  <a:lnTo>
                    <a:pt x="384" y="62"/>
                  </a:lnTo>
                  <a:lnTo>
                    <a:pt x="384" y="59"/>
                  </a:lnTo>
                  <a:lnTo>
                    <a:pt x="384" y="58"/>
                  </a:lnTo>
                  <a:lnTo>
                    <a:pt x="384" y="57"/>
                  </a:lnTo>
                  <a:lnTo>
                    <a:pt x="384" y="55"/>
                  </a:lnTo>
                  <a:lnTo>
                    <a:pt x="382" y="50"/>
                  </a:lnTo>
                  <a:lnTo>
                    <a:pt x="380" y="43"/>
                  </a:lnTo>
                  <a:lnTo>
                    <a:pt x="375" y="37"/>
                  </a:lnTo>
                  <a:lnTo>
                    <a:pt x="373" y="32"/>
                  </a:lnTo>
                  <a:lnTo>
                    <a:pt x="367" y="28"/>
                  </a:lnTo>
                  <a:lnTo>
                    <a:pt x="363" y="22"/>
                  </a:lnTo>
                  <a:lnTo>
                    <a:pt x="359" y="17"/>
                  </a:lnTo>
                  <a:lnTo>
                    <a:pt x="353" y="13"/>
                  </a:lnTo>
                  <a:lnTo>
                    <a:pt x="352" y="11"/>
                  </a:lnTo>
                  <a:lnTo>
                    <a:pt x="349" y="9"/>
                  </a:lnTo>
                  <a:lnTo>
                    <a:pt x="348" y="7"/>
                  </a:lnTo>
                  <a:lnTo>
                    <a:pt x="345" y="6"/>
                  </a:lnTo>
                  <a:lnTo>
                    <a:pt x="344" y="4"/>
                  </a:lnTo>
                  <a:lnTo>
                    <a:pt x="341" y="3"/>
                  </a:lnTo>
                  <a:lnTo>
                    <a:pt x="340" y="2"/>
                  </a:lnTo>
                  <a:lnTo>
                    <a:pt x="337" y="0"/>
                  </a:lnTo>
                  <a:lnTo>
                    <a:pt x="336" y="0"/>
                  </a:lnTo>
                  <a:lnTo>
                    <a:pt x="330" y="7"/>
                  </a:lnTo>
                  <a:lnTo>
                    <a:pt x="330" y="7"/>
                  </a:lnTo>
                  <a:lnTo>
                    <a:pt x="329" y="9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3"/>
                  </a:lnTo>
                  <a:lnTo>
                    <a:pt x="323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0" y="15"/>
                  </a:lnTo>
                  <a:lnTo>
                    <a:pt x="319" y="18"/>
                  </a:lnTo>
                  <a:lnTo>
                    <a:pt x="318" y="21"/>
                  </a:lnTo>
                  <a:lnTo>
                    <a:pt x="318" y="22"/>
                  </a:lnTo>
                  <a:lnTo>
                    <a:pt x="316" y="25"/>
                  </a:lnTo>
                  <a:lnTo>
                    <a:pt x="316" y="26"/>
                  </a:lnTo>
                  <a:lnTo>
                    <a:pt x="316" y="28"/>
                  </a:lnTo>
                  <a:lnTo>
                    <a:pt x="315" y="28"/>
                  </a:lnTo>
                  <a:lnTo>
                    <a:pt x="314" y="29"/>
                  </a:lnTo>
                  <a:lnTo>
                    <a:pt x="314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31"/>
                  </a:lnTo>
                  <a:lnTo>
                    <a:pt x="311" y="31"/>
                  </a:lnTo>
                  <a:lnTo>
                    <a:pt x="311" y="31"/>
                  </a:lnTo>
                  <a:lnTo>
                    <a:pt x="309" y="31"/>
                  </a:lnTo>
                  <a:lnTo>
                    <a:pt x="309" y="31"/>
                  </a:lnTo>
                  <a:lnTo>
                    <a:pt x="308" y="31"/>
                  </a:lnTo>
                  <a:lnTo>
                    <a:pt x="308" y="31"/>
                  </a:lnTo>
                  <a:lnTo>
                    <a:pt x="307" y="29"/>
                  </a:lnTo>
                  <a:lnTo>
                    <a:pt x="305" y="29"/>
                  </a:lnTo>
                  <a:lnTo>
                    <a:pt x="304" y="29"/>
                  </a:lnTo>
                  <a:lnTo>
                    <a:pt x="304" y="29"/>
                  </a:lnTo>
                  <a:lnTo>
                    <a:pt x="303" y="28"/>
                  </a:lnTo>
                  <a:lnTo>
                    <a:pt x="301" y="28"/>
                  </a:lnTo>
                  <a:lnTo>
                    <a:pt x="301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298" y="29"/>
                  </a:lnTo>
                  <a:lnTo>
                    <a:pt x="297" y="29"/>
                  </a:lnTo>
                  <a:lnTo>
                    <a:pt x="297" y="29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2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31"/>
                  </a:lnTo>
                  <a:lnTo>
                    <a:pt x="289" y="31"/>
                  </a:lnTo>
                  <a:lnTo>
                    <a:pt x="287" y="31"/>
                  </a:lnTo>
                  <a:lnTo>
                    <a:pt x="287" y="31"/>
                  </a:lnTo>
                  <a:lnTo>
                    <a:pt x="286" y="31"/>
                  </a:lnTo>
                  <a:lnTo>
                    <a:pt x="285" y="31"/>
                  </a:lnTo>
                  <a:lnTo>
                    <a:pt x="285" y="31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3" y="29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2" y="31"/>
                  </a:lnTo>
                  <a:lnTo>
                    <a:pt x="281" y="31"/>
                  </a:lnTo>
                  <a:lnTo>
                    <a:pt x="279" y="31"/>
                  </a:lnTo>
                  <a:lnTo>
                    <a:pt x="278" y="29"/>
                  </a:lnTo>
                  <a:lnTo>
                    <a:pt x="278" y="29"/>
                  </a:lnTo>
                  <a:lnTo>
                    <a:pt x="275" y="26"/>
                  </a:lnTo>
                  <a:lnTo>
                    <a:pt x="275" y="26"/>
                  </a:lnTo>
                  <a:lnTo>
                    <a:pt x="274" y="28"/>
                  </a:lnTo>
                  <a:lnTo>
                    <a:pt x="274" y="28"/>
                  </a:lnTo>
                  <a:lnTo>
                    <a:pt x="272" y="28"/>
                  </a:lnTo>
                  <a:lnTo>
                    <a:pt x="271" y="29"/>
                  </a:lnTo>
                  <a:lnTo>
                    <a:pt x="270" y="29"/>
                  </a:lnTo>
                  <a:lnTo>
                    <a:pt x="268" y="29"/>
                  </a:lnTo>
                  <a:lnTo>
                    <a:pt x="267" y="29"/>
                  </a:lnTo>
                  <a:lnTo>
                    <a:pt x="261" y="29"/>
                  </a:lnTo>
                  <a:lnTo>
                    <a:pt x="260" y="32"/>
                  </a:lnTo>
                  <a:lnTo>
                    <a:pt x="261" y="35"/>
                  </a:lnTo>
                  <a:lnTo>
                    <a:pt x="260" y="35"/>
                  </a:lnTo>
                  <a:lnTo>
                    <a:pt x="259" y="35"/>
                  </a:lnTo>
                  <a:lnTo>
                    <a:pt x="257" y="35"/>
                  </a:lnTo>
                  <a:lnTo>
                    <a:pt x="254" y="33"/>
                  </a:lnTo>
                  <a:lnTo>
                    <a:pt x="252" y="33"/>
                  </a:lnTo>
                  <a:lnTo>
                    <a:pt x="249" y="33"/>
                  </a:lnTo>
                  <a:lnTo>
                    <a:pt x="245" y="33"/>
                  </a:lnTo>
                  <a:lnTo>
                    <a:pt x="242" y="33"/>
                  </a:lnTo>
                  <a:lnTo>
                    <a:pt x="232" y="36"/>
                  </a:lnTo>
                  <a:lnTo>
                    <a:pt x="228" y="36"/>
                  </a:lnTo>
                  <a:lnTo>
                    <a:pt x="221" y="39"/>
                  </a:lnTo>
                  <a:lnTo>
                    <a:pt x="221" y="39"/>
                  </a:lnTo>
                  <a:lnTo>
                    <a:pt x="220" y="37"/>
                  </a:lnTo>
                  <a:lnTo>
                    <a:pt x="220" y="37"/>
                  </a:lnTo>
                  <a:lnTo>
                    <a:pt x="220" y="36"/>
                  </a:lnTo>
                  <a:lnTo>
                    <a:pt x="219" y="35"/>
                  </a:lnTo>
                  <a:lnTo>
                    <a:pt x="219" y="32"/>
                  </a:lnTo>
                  <a:lnTo>
                    <a:pt x="219" y="29"/>
                  </a:lnTo>
                  <a:lnTo>
                    <a:pt x="220" y="25"/>
                  </a:lnTo>
                  <a:lnTo>
                    <a:pt x="220" y="24"/>
                  </a:lnTo>
                  <a:lnTo>
                    <a:pt x="220" y="22"/>
                  </a:lnTo>
                  <a:lnTo>
                    <a:pt x="220" y="20"/>
                  </a:lnTo>
                  <a:lnTo>
                    <a:pt x="220" y="17"/>
                  </a:lnTo>
                  <a:lnTo>
                    <a:pt x="220" y="14"/>
                  </a:lnTo>
                  <a:lnTo>
                    <a:pt x="220" y="11"/>
                  </a:lnTo>
                  <a:lnTo>
                    <a:pt x="219" y="7"/>
                  </a:lnTo>
                  <a:lnTo>
                    <a:pt x="217" y="4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10" y="4"/>
                  </a:lnTo>
                  <a:lnTo>
                    <a:pt x="210" y="6"/>
                  </a:lnTo>
                  <a:lnTo>
                    <a:pt x="210" y="7"/>
                  </a:lnTo>
                  <a:lnTo>
                    <a:pt x="210" y="9"/>
                  </a:lnTo>
                  <a:lnTo>
                    <a:pt x="209" y="9"/>
                  </a:lnTo>
                  <a:lnTo>
                    <a:pt x="208" y="10"/>
                  </a:lnTo>
                  <a:lnTo>
                    <a:pt x="206" y="10"/>
                  </a:lnTo>
                  <a:lnTo>
                    <a:pt x="198" y="10"/>
                  </a:lnTo>
                  <a:lnTo>
                    <a:pt x="187" y="14"/>
                  </a:lnTo>
                  <a:lnTo>
                    <a:pt x="187" y="20"/>
                  </a:lnTo>
                  <a:lnTo>
                    <a:pt x="169" y="21"/>
                  </a:lnTo>
                  <a:lnTo>
                    <a:pt x="165" y="14"/>
                  </a:lnTo>
                  <a:lnTo>
                    <a:pt x="165" y="14"/>
                  </a:lnTo>
                  <a:lnTo>
                    <a:pt x="162" y="13"/>
                  </a:lnTo>
                  <a:lnTo>
                    <a:pt x="158" y="13"/>
                  </a:lnTo>
                  <a:lnTo>
                    <a:pt x="154" y="11"/>
                  </a:lnTo>
                  <a:lnTo>
                    <a:pt x="150" y="11"/>
                  </a:lnTo>
                  <a:lnTo>
                    <a:pt x="146" y="10"/>
                  </a:lnTo>
                  <a:lnTo>
                    <a:pt x="142" y="9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9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1"/>
                  </a:lnTo>
                  <a:lnTo>
                    <a:pt x="140" y="13"/>
                  </a:lnTo>
                  <a:lnTo>
                    <a:pt x="139" y="13"/>
                  </a:lnTo>
                  <a:lnTo>
                    <a:pt x="140" y="13"/>
                  </a:lnTo>
                  <a:lnTo>
                    <a:pt x="142" y="13"/>
                  </a:lnTo>
                  <a:lnTo>
                    <a:pt x="143" y="13"/>
                  </a:lnTo>
                  <a:lnTo>
                    <a:pt x="144" y="14"/>
                  </a:lnTo>
                  <a:lnTo>
                    <a:pt x="146" y="15"/>
                  </a:lnTo>
                  <a:lnTo>
                    <a:pt x="147" y="18"/>
                  </a:lnTo>
                  <a:lnTo>
                    <a:pt x="148" y="21"/>
                  </a:lnTo>
                  <a:lnTo>
                    <a:pt x="148" y="24"/>
                  </a:lnTo>
                  <a:lnTo>
                    <a:pt x="148" y="28"/>
                  </a:lnTo>
                  <a:lnTo>
                    <a:pt x="150" y="31"/>
                  </a:lnTo>
                  <a:lnTo>
                    <a:pt x="151" y="32"/>
                  </a:lnTo>
                  <a:lnTo>
                    <a:pt x="154" y="33"/>
                  </a:lnTo>
                  <a:lnTo>
                    <a:pt x="155" y="33"/>
                  </a:lnTo>
                  <a:lnTo>
                    <a:pt x="158" y="33"/>
                  </a:lnTo>
                  <a:lnTo>
                    <a:pt x="161" y="32"/>
                  </a:lnTo>
                  <a:lnTo>
                    <a:pt x="164" y="32"/>
                  </a:lnTo>
                  <a:lnTo>
                    <a:pt x="162" y="42"/>
                  </a:lnTo>
                  <a:lnTo>
                    <a:pt x="154" y="47"/>
                  </a:lnTo>
                  <a:lnTo>
                    <a:pt x="132" y="72"/>
                  </a:lnTo>
                  <a:lnTo>
                    <a:pt x="111" y="64"/>
                  </a:lnTo>
                  <a:lnTo>
                    <a:pt x="110" y="64"/>
                  </a:lnTo>
                  <a:lnTo>
                    <a:pt x="109" y="64"/>
                  </a:lnTo>
                  <a:lnTo>
                    <a:pt x="106" y="64"/>
                  </a:lnTo>
                  <a:lnTo>
                    <a:pt x="103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59"/>
                  </a:lnTo>
                  <a:lnTo>
                    <a:pt x="93" y="58"/>
                  </a:lnTo>
                  <a:lnTo>
                    <a:pt x="93" y="57"/>
                  </a:lnTo>
                  <a:lnTo>
                    <a:pt x="93" y="55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1" y="53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63" y="54"/>
                  </a:lnTo>
                  <a:lnTo>
                    <a:pt x="63" y="64"/>
                  </a:lnTo>
                  <a:lnTo>
                    <a:pt x="71" y="64"/>
                  </a:lnTo>
                  <a:lnTo>
                    <a:pt x="76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1" y="73"/>
                  </a:lnTo>
                  <a:lnTo>
                    <a:pt x="70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3" y="73"/>
                  </a:lnTo>
                  <a:lnTo>
                    <a:pt x="63" y="84"/>
                  </a:lnTo>
                  <a:lnTo>
                    <a:pt x="65" y="86"/>
                  </a:lnTo>
                  <a:lnTo>
                    <a:pt x="65" y="87"/>
                  </a:lnTo>
                  <a:lnTo>
                    <a:pt x="67" y="88"/>
                  </a:lnTo>
                  <a:lnTo>
                    <a:pt x="69" y="92"/>
                  </a:lnTo>
                  <a:lnTo>
                    <a:pt x="70" y="97"/>
                  </a:lnTo>
                  <a:lnTo>
                    <a:pt x="71" y="101"/>
                  </a:lnTo>
                  <a:lnTo>
                    <a:pt x="73" y="106"/>
                  </a:lnTo>
                  <a:lnTo>
                    <a:pt x="73" y="112"/>
                  </a:lnTo>
                  <a:lnTo>
                    <a:pt x="73" y="116"/>
                  </a:lnTo>
                  <a:lnTo>
                    <a:pt x="63" y="152"/>
                  </a:lnTo>
                  <a:lnTo>
                    <a:pt x="62" y="158"/>
                  </a:lnTo>
                  <a:lnTo>
                    <a:pt x="55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2" y="157"/>
                  </a:lnTo>
                  <a:lnTo>
                    <a:pt x="51" y="157"/>
                  </a:lnTo>
                  <a:lnTo>
                    <a:pt x="48" y="157"/>
                  </a:lnTo>
                  <a:lnTo>
                    <a:pt x="47" y="157"/>
                  </a:lnTo>
                  <a:lnTo>
                    <a:pt x="45" y="157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0" y="158"/>
                  </a:lnTo>
                  <a:lnTo>
                    <a:pt x="36" y="160"/>
                  </a:lnTo>
                  <a:lnTo>
                    <a:pt x="32" y="161"/>
                  </a:lnTo>
                  <a:lnTo>
                    <a:pt x="26" y="164"/>
                  </a:lnTo>
                  <a:lnTo>
                    <a:pt x="21" y="167"/>
                  </a:lnTo>
                  <a:lnTo>
                    <a:pt x="16" y="171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8"/>
                  </a:lnTo>
                  <a:lnTo>
                    <a:pt x="14" y="180"/>
                  </a:lnTo>
                  <a:lnTo>
                    <a:pt x="14" y="182"/>
                  </a:lnTo>
                  <a:lnTo>
                    <a:pt x="12" y="185"/>
                  </a:lnTo>
                  <a:lnTo>
                    <a:pt x="11" y="187"/>
                  </a:lnTo>
                  <a:lnTo>
                    <a:pt x="11" y="189"/>
                  </a:lnTo>
                  <a:lnTo>
                    <a:pt x="10" y="190"/>
                  </a:lnTo>
                  <a:lnTo>
                    <a:pt x="8" y="191"/>
                  </a:lnTo>
                  <a:lnTo>
                    <a:pt x="7" y="193"/>
                  </a:lnTo>
                  <a:lnTo>
                    <a:pt x="5" y="196"/>
                  </a:lnTo>
                  <a:lnTo>
                    <a:pt x="3" y="200"/>
                  </a:lnTo>
                  <a:lnTo>
                    <a:pt x="1" y="205"/>
                  </a:lnTo>
                  <a:lnTo>
                    <a:pt x="0" y="211"/>
                  </a:lnTo>
                  <a:lnTo>
                    <a:pt x="1" y="219"/>
                  </a:lnTo>
                  <a:lnTo>
                    <a:pt x="4" y="226"/>
                  </a:lnTo>
                  <a:lnTo>
                    <a:pt x="4" y="227"/>
                  </a:lnTo>
                  <a:lnTo>
                    <a:pt x="5" y="229"/>
                  </a:lnTo>
                  <a:lnTo>
                    <a:pt x="5" y="230"/>
                  </a:lnTo>
                  <a:lnTo>
                    <a:pt x="7" y="233"/>
                  </a:lnTo>
                  <a:lnTo>
                    <a:pt x="8" y="235"/>
                  </a:lnTo>
                  <a:lnTo>
                    <a:pt x="8" y="238"/>
                  </a:lnTo>
                  <a:lnTo>
                    <a:pt x="7" y="240"/>
                  </a:lnTo>
                  <a:lnTo>
                    <a:pt x="5" y="240"/>
                  </a:lnTo>
                  <a:lnTo>
                    <a:pt x="7" y="240"/>
                  </a:lnTo>
                  <a:lnTo>
                    <a:pt x="8" y="240"/>
                  </a:lnTo>
                  <a:lnTo>
                    <a:pt x="10" y="238"/>
                  </a:lnTo>
                  <a:lnTo>
                    <a:pt x="12" y="238"/>
                  </a:lnTo>
                  <a:lnTo>
                    <a:pt x="14" y="238"/>
                  </a:lnTo>
                  <a:lnTo>
                    <a:pt x="16" y="238"/>
                  </a:lnTo>
                  <a:lnTo>
                    <a:pt x="18" y="240"/>
                  </a:lnTo>
                  <a:lnTo>
                    <a:pt x="19" y="241"/>
                  </a:lnTo>
                  <a:lnTo>
                    <a:pt x="19" y="241"/>
                  </a:lnTo>
                  <a:lnTo>
                    <a:pt x="19" y="242"/>
                  </a:lnTo>
                  <a:lnTo>
                    <a:pt x="19" y="242"/>
                  </a:lnTo>
                  <a:lnTo>
                    <a:pt x="21" y="242"/>
                  </a:lnTo>
                  <a:lnTo>
                    <a:pt x="21" y="244"/>
                  </a:lnTo>
                  <a:lnTo>
                    <a:pt x="22" y="244"/>
                  </a:lnTo>
                  <a:lnTo>
                    <a:pt x="23" y="245"/>
                  </a:lnTo>
                  <a:lnTo>
                    <a:pt x="26" y="245"/>
                  </a:lnTo>
                  <a:lnTo>
                    <a:pt x="29" y="245"/>
                  </a:lnTo>
                  <a:lnTo>
                    <a:pt x="32" y="245"/>
                  </a:lnTo>
                  <a:lnTo>
                    <a:pt x="33" y="246"/>
                  </a:lnTo>
                  <a:lnTo>
                    <a:pt x="34" y="246"/>
                  </a:lnTo>
                  <a:lnTo>
                    <a:pt x="36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8" y="245"/>
                  </a:lnTo>
                  <a:lnTo>
                    <a:pt x="41" y="244"/>
                  </a:lnTo>
                  <a:lnTo>
                    <a:pt x="44" y="242"/>
                  </a:lnTo>
                  <a:lnTo>
                    <a:pt x="47" y="241"/>
                  </a:lnTo>
                  <a:lnTo>
                    <a:pt x="49" y="240"/>
                  </a:lnTo>
                  <a:lnTo>
                    <a:pt x="51" y="237"/>
                  </a:lnTo>
                  <a:lnTo>
                    <a:pt x="51" y="235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51" y="266"/>
                  </a:lnTo>
                  <a:lnTo>
                    <a:pt x="51" y="267"/>
                  </a:lnTo>
                  <a:lnTo>
                    <a:pt x="52" y="267"/>
                  </a:lnTo>
                  <a:lnTo>
                    <a:pt x="54" y="268"/>
                  </a:lnTo>
                  <a:lnTo>
                    <a:pt x="55" y="270"/>
                  </a:lnTo>
                  <a:lnTo>
                    <a:pt x="56" y="270"/>
                  </a:lnTo>
                  <a:lnTo>
                    <a:pt x="59" y="271"/>
                  </a:lnTo>
                  <a:lnTo>
                    <a:pt x="60" y="271"/>
                  </a:lnTo>
                  <a:lnTo>
                    <a:pt x="63" y="271"/>
                  </a:lnTo>
                  <a:lnTo>
                    <a:pt x="66" y="270"/>
                  </a:lnTo>
                  <a:lnTo>
                    <a:pt x="71" y="270"/>
                  </a:lnTo>
                  <a:lnTo>
                    <a:pt x="76" y="270"/>
                  </a:lnTo>
                  <a:lnTo>
                    <a:pt x="81" y="270"/>
                  </a:lnTo>
                  <a:lnTo>
                    <a:pt x="85" y="270"/>
                  </a:lnTo>
                  <a:lnTo>
                    <a:pt x="89" y="270"/>
                  </a:lnTo>
                  <a:lnTo>
                    <a:pt x="89" y="270"/>
                  </a:lnTo>
                  <a:lnTo>
                    <a:pt x="91" y="268"/>
                  </a:lnTo>
                  <a:lnTo>
                    <a:pt x="92" y="267"/>
                  </a:lnTo>
                  <a:lnTo>
                    <a:pt x="95" y="266"/>
                  </a:lnTo>
                  <a:lnTo>
                    <a:pt x="98" y="264"/>
                  </a:lnTo>
                  <a:lnTo>
                    <a:pt x="99" y="263"/>
                  </a:lnTo>
                  <a:lnTo>
                    <a:pt x="102" y="262"/>
                  </a:lnTo>
                  <a:lnTo>
                    <a:pt x="103" y="259"/>
                  </a:lnTo>
                  <a:lnTo>
                    <a:pt x="103" y="257"/>
                  </a:lnTo>
                  <a:lnTo>
                    <a:pt x="106" y="256"/>
                  </a:lnTo>
                  <a:lnTo>
                    <a:pt x="107" y="255"/>
                  </a:lnTo>
                  <a:lnTo>
                    <a:pt x="110" y="253"/>
                  </a:lnTo>
                  <a:lnTo>
                    <a:pt x="113" y="252"/>
                  </a:lnTo>
                  <a:lnTo>
                    <a:pt x="115" y="252"/>
                  </a:lnTo>
                  <a:lnTo>
                    <a:pt x="118" y="252"/>
                  </a:lnTo>
                  <a:lnTo>
                    <a:pt x="120" y="253"/>
                  </a:lnTo>
                  <a:lnTo>
                    <a:pt x="121" y="255"/>
                  </a:lnTo>
                  <a:lnTo>
                    <a:pt x="122" y="255"/>
                  </a:lnTo>
                  <a:lnTo>
                    <a:pt x="124" y="253"/>
                  </a:lnTo>
                  <a:lnTo>
                    <a:pt x="124" y="252"/>
                  </a:lnTo>
                  <a:lnTo>
                    <a:pt x="125" y="251"/>
                  </a:lnTo>
                  <a:lnTo>
                    <a:pt x="126" y="249"/>
                  </a:lnTo>
                  <a:lnTo>
                    <a:pt x="128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31" y="246"/>
                  </a:lnTo>
                  <a:lnTo>
                    <a:pt x="132" y="246"/>
                  </a:lnTo>
                  <a:lnTo>
                    <a:pt x="133" y="248"/>
                  </a:lnTo>
                  <a:lnTo>
                    <a:pt x="135" y="248"/>
                  </a:lnTo>
                  <a:lnTo>
                    <a:pt x="135" y="251"/>
                  </a:lnTo>
                  <a:lnTo>
                    <a:pt x="135" y="252"/>
                  </a:lnTo>
                  <a:lnTo>
                    <a:pt x="135" y="255"/>
                  </a:lnTo>
                  <a:lnTo>
                    <a:pt x="135" y="256"/>
                  </a:lnTo>
                  <a:lnTo>
                    <a:pt x="135" y="259"/>
                  </a:lnTo>
                  <a:lnTo>
                    <a:pt x="133" y="264"/>
                  </a:lnTo>
                  <a:lnTo>
                    <a:pt x="133" y="271"/>
                  </a:lnTo>
                  <a:lnTo>
                    <a:pt x="135" y="278"/>
                  </a:lnTo>
                  <a:lnTo>
                    <a:pt x="137" y="285"/>
                  </a:lnTo>
                  <a:lnTo>
                    <a:pt x="142" y="292"/>
                  </a:lnTo>
                  <a:lnTo>
                    <a:pt x="148" y="297"/>
                  </a:lnTo>
                  <a:lnTo>
                    <a:pt x="164" y="301"/>
                  </a:lnTo>
                  <a:lnTo>
                    <a:pt x="176" y="300"/>
                  </a:lnTo>
                  <a:lnTo>
                    <a:pt x="176" y="301"/>
                  </a:lnTo>
                  <a:lnTo>
                    <a:pt x="176" y="303"/>
                  </a:lnTo>
                  <a:lnTo>
                    <a:pt x="177" y="305"/>
                  </a:lnTo>
                  <a:lnTo>
                    <a:pt x="179" y="308"/>
                  </a:lnTo>
                  <a:lnTo>
                    <a:pt x="181" y="312"/>
                  </a:lnTo>
                  <a:lnTo>
                    <a:pt x="184" y="315"/>
                  </a:lnTo>
                  <a:lnTo>
                    <a:pt x="188" y="318"/>
                  </a:lnTo>
                  <a:lnTo>
                    <a:pt x="194" y="321"/>
                  </a:lnTo>
                  <a:lnTo>
                    <a:pt x="195" y="321"/>
                  </a:lnTo>
                  <a:lnTo>
                    <a:pt x="197" y="322"/>
                  </a:lnTo>
                  <a:lnTo>
                    <a:pt x="199" y="325"/>
                  </a:lnTo>
                  <a:lnTo>
                    <a:pt x="202" y="326"/>
                  </a:lnTo>
                  <a:lnTo>
                    <a:pt x="205" y="330"/>
                  </a:lnTo>
                  <a:lnTo>
                    <a:pt x="209" y="333"/>
                  </a:lnTo>
                  <a:lnTo>
                    <a:pt x="212" y="337"/>
                  </a:lnTo>
                  <a:lnTo>
                    <a:pt x="214" y="341"/>
                  </a:lnTo>
                  <a:lnTo>
                    <a:pt x="564" y="34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2" name="Freeform 148"/>
            <p:cNvSpPr>
              <a:spLocks/>
            </p:cNvSpPr>
            <p:nvPr/>
          </p:nvSpPr>
          <p:spPr bwMode="auto">
            <a:xfrm>
              <a:off x="2122" y="2465"/>
              <a:ext cx="105" cy="121"/>
            </a:xfrm>
            <a:custGeom>
              <a:avLst/>
              <a:gdLst>
                <a:gd name="T0" fmla="*/ 131 w 131"/>
                <a:gd name="T1" fmla="*/ 111 h 150"/>
                <a:gd name="T2" fmla="*/ 129 w 131"/>
                <a:gd name="T3" fmla="*/ 102 h 150"/>
                <a:gd name="T4" fmla="*/ 125 w 131"/>
                <a:gd name="T5" fmla="*/ 92 h 150"/>
                <a:gd name="T6" fmla="*/ 122 w 131"/>
                <a:gd name="T7" fmla="*/ 85 h 150"/>
                <a:gd name="T8" fmla="*/ 120 w 131"/>
                <a:gd name="T9" fmla="*/ 82 h 150"/>
                <a:gd name="T10" fmla="*/ 116 w 131"/>
                <a:gd name="T11" fmla="*/ 81 h 150"/>
                <a:gd name="T12" fmla="*/ 111 w 131"/>
                <a:gd name="T13" fmla="*/ 82 h 150"/>
                <a:gd name="T14" fmla="*/ 109 w 131"/>
                <a:gd name="T15" fmla="*/ 84 h 150"/>
                <a:gd name="T16" fmla="*/ 95 w 131"/>
                <a:gd name="T17" fmla="*/ 81 h 150"/>
                <a:gd name="T18" fmla="*/ 91 w 131"/>
                <a:gd name="T19" fmla="*/ 80 h 150"/>
                <a:gd name="T20" fmla="*/ 89 w 131"/>
                <a:gd name="T21" fmla="*/ 78 h 150"/>
                <a:gd name="T22" fmla="*/ 88 w 131"/>
                <a:gd name="T23" fmla="*/ 76 h 150"/>
                <a:gd name="T24" fmla="*/ 87 w 131"/>
                <a:gd name="T25" fmla="*/ 76 h 150"/>
                <a:gd name="T26" fmla="*/ 87 w 131"/>
                <a:gd name="T27" fmla="*/ 65 h 150"/>
                <a:gd name="T28" fmla="*/ 84 w 131"/>
                <a:gd name="T29" fmla="*/ 51 h 150"/>
                <a:gd name="T30" fmla="*/ 83 w 131"/>
                <a:gd name="T31" fmla="*/ 38 h 150"/>
                <a:gd name="T32" fmla="*/ 83 w 131"/>
                <a:gd name="T33" fmla="*/ 33 h 150"/>
                <a:gd name="T34" fmla="*/ 83 w 131"/>
                <a:gd name="T35" fmla="*/ 26 h 150"/>
                <a:gd name="T36" fmla="*/ 83 w 131"/>
                <a:gd name="T37" fmla="*/ 22 h 150"/>
                <a:gd name="T38" fmla="*/ 81 w 131"/>
                <a:gd name="T39" fmla="*/ 21 h 150"/>
                <a:gd name="T40" fmla="*/ 81 w 131"/>
                <a:gd name="T41" fmla="*/ 21 h 150"/>
                <a:gd name="T42" fmla="*/ 77 w 131"/>
                <a:gd name="T43" fmla="*/ 18 h 150"/>
                <a:gd name="T44" fmla="*/ 69 w 131"/>
                <a:gd name="T45" fmla="*/ 10 h 150"/>
                <a:gd name="T46" fmla="*/ 56 w 131"/>
                <a:gd name="T47" fmla="*/ 3 h 150"/>
                <a:gd name="T48" fmla="*/ 45 w 131"/>
                <a:gd name="T49" fmla="*/ 0 h 150"/>
                <a:gd name="T50" fmla="*/ 40 w 131"/>
                <a:gd name="T51" fmla="*/ 3 h 150"/>
                <a:gd name="T52" fmla="*/ 30 w 131"/>
                <a:gd name="T53" fmla="*/ 7 h 150"/>
                <a:gd name="T54" fmla="*/ 21 w 131"/>
                <a:gd name="T55" fmla="*/ 15 h 150"/>
                <a:gd name="T56" fmla="*/ 10 w 131"/>
                <a:gd name="T57" fmla="*/ 27 h 150"/>
                <a:gd name="T58" fmla="*/ 8 w 131"/>
                <a:gd name="T59" fmla="*/ 30 h 150"/>
                <a:gd name="T60" fmla="*/ 5 w 131"/>
                <a:gd name="T61" fmla="*/ 38 h 150"/>
                <a:gd name="T62" fmla="*/ 3 w 131"/>
                <a:gd name="T63" fmla="*/ 49 h 150"/>
                <a:gd name="T64" fmla="*/ 0 w 131"/>
                <a:gd name="T65" fmla="*/ 62 h 150"/>
                <a:gd name="T66" fmla="*/ 1 w 131"/>
                <a:gd name="T67" fmla="*/ 63 h 150"/>
                <a:gd name="T68" fmla="*/ 4 w 131"/>
                <a:gd name="T69" fmla="*/ 65 h 150"/>
                <a:gd name="T70" fmla="*/ 8 w 131"/>
                <a:gd name="T71" fmla="*/ 67 h 150"/>
                <a:gd name="T72" fmla="*/ 14 w 131"/>
                <a:gd name="T73" fmla="*/ 70 h 150"/>
                <a:gd name="T74" fmla="*/ 38 w 131"/>
                <a:gd name="T75" fmla="*/ 87 h 150"/>
                <a:gd name="T76" fmla="*/ 62 w 131"/>
                <a:gd name="T77" fmla="*/ 148 h 150"/>
                <a:gd name="T78" fmla="*/ 122 w 131"/>
                <a:gd name="T79" fmla="*/ 150 h 150"/>
                <a:gd name="T80" fmla="*/ 122 w 131"/>
                <a:gd name="T81" fmla="*/ 146 h 150"/>
                <a:gd name="T82" fmla="*/ 124 w 131"/>
                <a:gd name="T83" fmla="*/ 140 h 150"/>
                <a:gd name="T84" fmla="*/ 125 w 131"/>
                <a:gd name="T85" fmla="*/ 135 h 150"/>
                <a:gd name="T86" fmla="*/ 128 w 131"/>
                <a:gd name="T87" fmla="*/ 132 h 150"/>
                <a:gd name="T88" fmla="*/ 128 w 131"/>
                <a:gd name="T89" fmla="*/ 128 h 150"/>
                <a:gd name="T90" fmla="*/ 128 w 131"/>
                <a:gd name="T91" fmla="*/ 121 h 150"/>
                <a:gd name="T92" fmla="*/ 129 w 131"/>
                <a:gd name="T93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1" h="150">
                  <a:moveTo>
                    <a:pt x="131" y="114"/>
                  </a:moveTo>
                  <a:lnTo>
                    <a:pt x="131" y="111"/>
                  </a:lnTo>
                  <a:lnTo>
                    <a:pt x="131" y="107"/>
                  </a:lnTo>
                  <a:lnTo>
                    <a:pt x="129" y="102"/>
                  </a:lnTo>
                  <a:lnTo>
                    <a:pt x="128" y="98"/>
                  </a:lnTo>
                  <a:lnTo>
                    <a:pt x="125" y="92"/>
                  </a:lnTo>
                  <a:lnTo>
                    <a:pt x="124" y="88"/>
                  </a:lnTo>
                  <a:lnTo>
                    <a:pt x="122" y="85"/>
                  </a:lnTo>
                  <a:lnTo>
                    <a:pt x="122" y="85"/>
                  </a:lnTo>
                  <a:lnTo>
                    <a:pt x="120" y="82"/>
                  </a:lnTo>
                  <a:lnTo>
                    <a:pt x="118" y="81"/>
                  </a:lnTo>
                  <a:lnTo>
                    <a:pt x="116" y="81"/>
                  </a:lnTo>
                  <a:lnTo>
                    <a:pt x="114" y="81"/>
                  </a:lnTo>
                  <a:lnTo>
                    <a:pt x="111" y="82"/>
                  </a:lnTo>
                  <a:lnTo>
                    <a:pt x="110" y="82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95" y="81"/>
                  </a:lnTo>
                  <a:lnTo>
                    <a:pt x="94" y="81"/>
                  </a:lnTo>
                  <a:lnTo>
                    <a:pt x="91" y="80"/>
                  </a:lnTo>
                  <a:lnTo>
                    <a:pt x="91" y="78"/>
                  </a:lnTo>
                  <a:lnTo>
                    <a:pt x="89" y="78"/>
                  </a:lnTo>
                  <a:lnTo>
                    <a:pt x="88" y="77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0"/>
                  </a:lnTo>
                  <a:lnTo>
                    <a:pt x="87" y="65"/>
                  </a:lnTo>
                  <a:lnTo>
                    <a:pt x="85" y="58"/>
                  </a:lnTo>
                  <a:lnTo>
                    <a:pt x="84" y="51"/>
                  </a:lnTo>
                  <a:lnTo>
                    <a:pt x="84" y="44"/>
                  </a:lnTo>
                  <a:lnTo>
                    <a:pt x="83" y="38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29"/>
                  </a:lnTo>
                  <a:lnTo>
                    <a:pt x="83" y="26"/>
                  </a:lnTo>
                  <a:lnTo>
                    <a:pt x="83" y="23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7" y="18"/>
                  </a:lnTo>
                  <a:lnTo>
                    <a:pt x="74" y="14"/>
                  </a:lnTo>
                  <a:lnTo>
                    <a:pt x="69" y="10"/>
                  </a:lnTo>
                  <a:lnTo>
                    <a:pt x="63" y="5"/>
                  </a:lnTo>
                  <a:lnTo>
                    <a:pt x="56" y="3"/>
                  </a:lnTo>
                  <a:lnTo>
                    <a:pt x="51" y="1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25" y="11"/>
                  </a:lnTo>
                  <a:lnTo>
                    <a:pt x="21" y="15"/>
                  </a:lnTo>
                  <a:lnTo>
                    <a:pt x="15" y="21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0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4" y="44"/>
                  </a:lnTo>
                  <a:lnTo>
                    <a:pt x="3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3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5" y="66"/>
                  </a:lnTo>
                  <a:lnTo>
                    <a:pt x="8" y="67"/>
                  </a:lnTo>
                  <a:lnTo>
                    <a:pt x="11" y="69"/>
                  </a:lnTo>
                  <a:lnTo>
                    <a:pt x="14" y="70"/>
                  </a:lnTo>
                  <a:lnTo>
                    <a:pt x="32" y="77"/>
                  </a:lnTo>
                  <a:lnTo>
                    <a:pt x="38" y="87"/>
                  </a:lnTo>
                  <a:lnTo>
                    <a:pt x="81" y="107"/>
                  </a:lnTo>
                  <a:lnTo>
                    <a:pt x="62" y="148"/>
                  </a:lnTo>
                  <a:lnTo>
                    <a:pt x="122" y="150"/>
                  </a:lnTo>
                  <a:lnTo>
                    <a:pt x="122" y="150"/>
                  </a:lnTo>
                  <a:lnTo>
                    <a:pt x="122" y="148"/>
                  </a:lnTo>
                  <a:lnTo>
                    <a:pt x="122" y="146"/>
                  </a:lnTo>
                  <a:lnTo>
                    <a:pt x="122" y="143"/>
                  </a:lnTo>
                  <a:lnTo>
                    <a:pt x="124" y="140"/>
                  </a:lnTo>
                  <a:lnTo>
                    <a:pt x="124" y="137"/>
                  </a:lnTo>
                  <a:lnTo>
                    <a:pt x="125" y="135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28" y="131"/>
                  </a:lnTo>
                  <a:lnTo>
                    <a:pt x="128" y="128"/>
                  </a:lnTo>
                  <a:lnTo>
                    <a:pt x="128" y="125"/>
                  </a:lnTo>
                  <a:lnTo>
                    <a:pt x="128" y="121"/>
                  </a:lnTo>
                  <a:lnTo>
                    <a:pt x="129" y="118"/>
                  </a:lnTo>
                  <a:lnTo>
                    <a:pt x="129" y="115"/>
                  </a:lnTo>
                  <a:lnTo>
                    <a:pt x="131" y="1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3" name="Freeform 149"/>
            <p:cNvSpPr>
              <a:spLocks/>
            </p:cNvSpPr>
            <p:nvPr/>
          </p:nvSpPr>
          <p:spPr bwMode="auto">
            <a:xfrm>
              <a:off x="2122" y="2465"/>
              <a:ext cx="105" cy="121"/>
            </a:xfrm>
            <a:custGeom>
              <a:avLst/>
              <a:gdLst>
                <a:gd name="T0" fmla="*/ 131 w 131"/>
                <a:gd name="T1" fmla="*/ 111 h 150"/>
                <a:gd name="T2" fmla="*/ 129 w 131"/>
                <a:gd name="T3" fmla="*/ 102 h 150"/>
                <a:gd name="T4" fmla="*/ 125 w 131"/>
                <a:gd name="T5" fmla="*/ 92 h 150"/>
                <a:gd name="T6" fmla="*/ 122 w 131"/>
                <a:gd name="T7" fmla="*/ 85 h 150"/>
                <a:gd name="T8" fmla="*/ 118 w 131"/>
                <a:gd name="T9" fmla="*/ 81 h 150"/>
                <a:gd name="T10" fmla="*/ 114 w 131"/>
                <a:gd name="T11" fmla="*/ 81 h 150"/>
                <a:gd name="T12" fmla="*/ 110 w 131"/>
                <a:gd name="T13" fmla="*/ 82 h 150"/>
                <a:gd name="T14" fmla="*/ 95 w 131"/>
                <a:gd name="T15" fmla="*/ 81 h 150"/>
                <a:gd name="T16" fmla="*/ 91 w 131"/>
                <a:gd name="T17" fmla="*/ 80 h 150"/>
                <a:gd name="T18" fmla="*/ 89 w 131"/>
                <a:gd name="T19" fmla="*/ 78 h 150"/>
                <a:gd name="T20" fmla="*/ 88 w 131"/>
                <a:gd name="T21" fmla="*/ 76 h 150"/>
                <a:gd name="T22" fmla="*/ 87 w 131"/>
                <a:gd name="T23" fmla="*/ 70 h 150"/>
                <a:gd name="T24" fmla="*/ 85 w 131"/>
                <a:gd name="T25" fmla="*/ 58 h 150"/>
                <a:gd name="T26" fmla="*/ 84 w 131"/>
                <a:gd name="T27" fmla="*/ 44 h 150"/>
                <a:gd name="T28" fmla="*/ 83 w 131"/>
                <a:gd name="T29" fmla="*/ 34 h 150"/>
                <a:gd name="T30" fmla="*/ 83 w 131"/>
                <a:gd name="T31" fmla="*/ 29 h 150"/>
                <a:gd name="T32" fmla="*/ 83 w 131"/>
                <a:gd name="T33" fmla="*/ 23 h 150"/>
                <a:gd name="T34" fmla="*/ 81 w 131"/>
                <a:gd name="T35" fmla="*/ 21 h 150"/>
                <a:gd name="T36" fmla="*/ 77 w 131"/>
                <a:gd name="T37" fmla="*/ 18 h 150"/>
                <a:gd name="T38" fmla="*/ 69 w 131"/>
                <a:gd name="T39" fmla="*/ 10 h 150"/>
                <a:gd name="T40" fmla="*/ 56 w 131"/>
                <a:gd name="T41" fmla="*/ 3 h 150"/>
                <a:gd name="T42" fmla="*/ 45 w 131"/>
                <a:gd name="T43" fmla="*/ 0 h 150"/>
                <a:gd name="T44" fmla="*/ 40 w 131"/>
                <a:gd name="T45" fmla="*/ 3 h 150"/>
                <a:gd name="T46" fmla="*/ 30 w 131"/>
                <a:gd name="T47" fmla="*/ 7 h 150"/>
                <a:gd name="T48" fmla="*/ 21 w 131"/>
                <a:gd name="T49" fmla="*/ 15 h 150"/>
                <a:gd name="T50" fmla="*/ 10 w 131"/>
                <a:gd name="T51" fmla="*/ 27 h 150"/>
                <a:gd name="T52" fmla="*/ 8 w 131"/>
                <a:gd name="T53" fmla="*/ 30 h 150"/>
                <a:gd name="T54" fmla="*/ 5 w 131"/>
                <a:gd name="T55" fmla="*/ 38 h 150"/>
                <a:gd name="T56" fmla="*/ 3 w 131"/>
                <a:gd name="T57" fmla="*/ 49 h 150"/>
                <a:gd name="T58" fmla="*/ 0 w 131"/>
                <a:gd name="T59" fmla="*/ 62 h 150"/>
                <a:gd name="T60" fmla="*/ 1 w 131"/>
                <a:gd name="T61" fmla="*/ 63 h 150"/>
                <a:gd name="T62" fmla="*/ 4 w 131"/>
                <a:gd name="T63" fmla="*/ 65 h 150"/>
                <a:gd name="T64" fmla="*/ 8 w 131"/>
                <a:gd name="T65" fmla="*/ 67 h 150"/>
                <a:gd name="T66" fmla="*/ 14 w 131"/>
                <a:gd name="T67" fmla="*/ 70 h 150"/>
                <a:gd name="T68" fmla="*/ 38 w 131"/>
                <a:gd name="T69" fmla="*/ 87 h 150"/>
                <a:gd name="T70" fmla="*/ 62 w 131"/>
                <a:gd name="T71" fmla="*/ 148 h 150"/>
                <a:gd name="T72" fmla="*/ 122 w 131"/>
                <a:gd name="T73" fmla="*/ 148 h 150"/>
                <a:gd name="T74" fmla="*/ 122 w 131"/>
                <a:gd name="T75" fmla="*/ 143 h 150"/>
                <a:gd name="T76" fmla="*/ 124 w 131"/>
                <a:gd name="T77" fmla="*/ 137 h 150"/>
                <a:gd name="T78" fmla="*/ 128 w 131"/>
                <a:gd name="T79" fmla="*/ 132 h 150"/>
                <a:gd name="T80" fmla="*/ 128 w 131"/>
                <a:gd name="T81" fmla="*/ 128 h 150"/>
                <a:gd name="T82" fmla="*/ 128 w 131"/>
                <a:gd name="T83" fmla="*/ 121 h 150"/>
                <a:gd name="T84" fmla="*/ 129 w 131"/>
                <a:gd name="T85" fmla="*/ 11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31" h="150">
                  <a:moveTo>
                    <a:pt x="131" y="114"/>
                  </a:moveTo>
                  <a:lnTo>
                    <a:pt x="131" y="111"/>
                  </a:lnTo>
                  <a:lnTo>
                    <a:pt x="131" y="107"/>
                  </a:lnTo>
                  <a:lnTo>
                    <a:pt x="129" y="102"/>
                  </a:lnTo>
                  <a:lnTo>
                    <a:pt x="128" y="98"/>
                  </a:lnTo>
                  <a:lnTo>
                    <a:pt x="125" y="92"/>
                  </a:lnTo>
                  <a:lnTo>
                    <a:pt x="124" y="88"/>
                  </a:lnTo>
                  <a:lnTo>
                    <a:pt x="122" y="85"/>
                  </a:lnTo>
                  <a:lnTo>
                    <a:pt x="120" y="82"/>
                  </a:lnTo>
                  <a:lnTo>
                    <a:pt x="118" y="81"/>
                  </a:lnTo>
                  <a:lnTo>
                    <a:pt x="116" y="81"/>
                  </a:lnTo>
                  <a:lnTo>
                    <a:pt x="114" y="81"/>
                  </a:lnTo>
                  <a:lnTo>
                    <a:pt x="111" y="82"/>
                  </a:lnTo>
                  <a:lnTo>
                    <a:pt x="110" y="82"/>
                  </a:lnTo>
                  <a:lnTo>
                    <a:pt x="109" y="84"/>
                  </a:lnTo>
                  <a:lnTo>
                    <a:pt x="95" y="81"/>
                  </a:lnTo>
                  <a:lnTo>
                    <a:pt x="94" y="81"/>
                  </a:lnTo>
                  <a:lnTo>
                    <a:pt x="91" y="80"/>
                  </a:lnTo>
                  <a:lnTo>
                    <a:pt x="91" y="78"/>
                  </a:lnTo>
                  <a:lnTo>
                    <a:pt x="89" y="78"/>
                  </a:lnTo>
                  <a:lnTo>
                    <a:pt x="88" y="77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7" y="70"/>
                  </a:lnTo>
                  <a:lnTo>
                    <a:pt x="87" y="65"/>
                  </a:lnTo>
                  <a:lnTo>
                    <a:pt x="85" y="58"/>
                  </a:lnTo>
                  <a:lnTo>
                    <a:pt x="84" y="51"/>
                  </a:lnTo>
                  <a:lnTo>
                    <a:pt x="84" y="44"/>
                  </a:lnTo>
                  <a:lnTo>
                    <a:pt x="83" y="38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29"/>
                  </a:lnTo>
                  <a:lnTo>
                    <a:pt x="83" y="26"/>
                  </a:lnTo>
                  <a:lnTo>
                    <a:pt x="83" y="23"/>
                  </a:lnTo>
                  <a:lnTo>
                    <a:pt x="83" y="22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7" y="18"/>
                  </a:lnTo>
                  <a:lnTo>
                    <a:pt x="74" y="14"/>
                  </a:lnTo>
                  <a:lnTo>
                    <a:pt x="69" y="10"/>
                  </a:lnTo>
                  <a:lnTo>
                    <a:pt x="63" y="5"/>
                  </a:lnTo>
                  <a:lnTo>
                    <a:pt x="56" y="3"/>
                  </a:lnTo>
                  <a:lnTo>
                    <a:pt x="51" y="1"/>
                  </a:lnTo>
                  <a:lnTo>
                    <a:pt x="45" y="0"/>
                  </a:lnTo>
                  <a:lnTo>
                    <a:pt x="43" y="1"/>
                  </a:lnTo>
                  <a:lnTo>
                    <a:pt x="40" y="3"/>
                  </a:lnTo>
                  <a:lnTo>
                    <a:pt x="36" y="4"/>
                  </a:lnTo>
                  <a:lnTo>
                    <a:pt x="30" y="7"/>
                  </a:lnTo>
                  <a:lnTo>
                    <a:pt x="25" y="11"/>
                  </a:lnTo>
                  <a:lnTo>
                    <a:pt x="21" y="15"/>
                  </a:lnTo>
                  <a:lnTo>
                    <a:pt x="15" y="21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0"/>
                  </a:lnTo>
                  <a:lnTo>
                    <a:pt x="7" y="34"/>
                  </a:lnTo>
                  <a:lnTo>
                    <a:pt x="5" y="38"/>
                  </a:lnTo>
                  <a:lnTo>
                    <a:pt x="4" y="44"/>
                  </a:lnTo>
                  <a:lnTo>
                    <a:pt x="3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3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5" y="66"/>
                  </a:lnTo>
                  <a:lnTo>
                    <a:pt x="8" y="67"/>
                  </a:lnTo>
                  <a:lnTo>
                    <a:pt x="11" y="69"/>
                  </a:lnTo>
                  <a:lnTo>
                    <a:pt x="14" y="70"/>
                  </a:lnTo>
                  <a:lnTo>
                    <a:pt x="32" y="77"/>
                  </a:lnTo>
                  <a:lnTo>
                    <a:pt x="38" y="87"/>
                  </a:lnTo>
                  <a:lnTo>
                    <a:pt x="81" y="107"/>
                  </a:lnTo>
                  <a:lnTo>
                    <a:pt x="62" y="148"/>
                  </a:lnTo>
                  <a:lnTo>
                    <a:pt x="122" y="150"/>
                  </a:lnTo>
                  <a:lnTo>
                    <a:pt x="122" y="148"/>
                  </a:lnTo>
                  <a:lnTo>
                    <a:pt x="122" y="146"/>
                  </a:lnTo>
                  <a:lnTo>
                    <a:pt x="122" y="143"/>
                  </a:lnTo>
                  <a:lnTo>
                    <a:pt x="124" y="140"/>
                  </a:lnTo>
                  <a:lnTo>
                    <a:pt x="124" y="137"/>
                  </a:lnTo>
                  <a:lnTo>
                    <a:pt x="125" y="135"/>
                  </a:lnTo>
                  <a:lnTo>
                    <a:pt x="128" y="132"/>
                  </a:lnTo>
                  <a:lnTo>
                    <a:pt x="128" y="131"/>
                  </a:lnTo>
                  <a:lnTo>
                    <a:pt x="128" y="128"/>
                  </a:lnTo>
                  <a:lnTo>
                    <a:pt x="128" y="125"/>
                  </a:lnTo>
                  <a:lnTo>
                    <a:pt x="128" y="121"/>
                  </a:lnTo>
                  <a:lnTo>
                    <a:pt x="129" y="118"/>
                  </a:lnTo>
                  <a:lnTo>
                    <a:pt x="129" y="115"/>
                  </a:lnTo>
                  <a:lnTo>
                    <a:pt x="131" y="1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4" name="Freeform 150"/>
            <p:cNvSpPr>
              <a:spLocks/>
            </p:cNvSpPr>
            <p:nvPr/>
          </p:nvSpPr>
          <p:spPr bwMode="auto">
            <a:xfrm>
              <a:off x="1812" y="2006"/>
              <a:ext cx="49" cy="67"/>
            </a:xfrm>
            <a:custGeom>
              <a:avLst/>
              <a:gdLst>
                <a:gd name="T0" fmla="*/ 59 w 62"/>
                <a:gd name="T1" fmla="*/ 81 h 84"/>
                <a:gd name="T2" fmla="*/ 57 w 62"/>
                <a:gd name="T3" fmla="*/ 77 h 84"/>
                <a:gd name="T4" fmla="*/ 55 w 62"/>
                <a:gd name="T5" fmla="*/ 73 h 84"/>
                <a:gd name="T6" fmla="*/ 52 w 62"/>
                <a:gd name="T7" fmla="*/ 70 h 84"/>
                <a:gd name="T8" fmla="*/ 51 w 62"/>
                <a:gd name="T9" fmla="*/ 62 h 84"/>
                <a:gd name="T10" fmla="*/ 54 w 62"/>
                <a:gd name="T11" fmla="*/ 55 h 84"/>
                <a:gd name="T12" fmla="*/ 55 w 62"/>
                <a:gd name="T13" fmla="*/ 53 h 84"/>
                <a:gd name="T14" fmla="*/ 58 w 62"/>
                <a:gd name="T15" fmla="*/ 47 h 84"/>
                <a:gd name="T16" fmla="*/ 58 w 62"/>
                <a:gd name="T17" fmla="*/ 42 h 84"/>
                <a:gd name="T18" fmla="*/ 58 w 62"/>
                <a:gd name="T19" fmla="*/ 28 h 84"/>
                <a:gd name="T20" fmla="*/ 62 w 62"/>
                <a:gd name="T21" fmla="*/ 13 h 84"/>
                <a:gd name="T22" fmla="*/ 62 w 62"/>
                <a:gd name="T23" fmla="*/ 11 h 84"/>
                <a:gd name="T24" fmla="*/ 62 w 62"/>
                <a:gd name="T25" fmla="*/ 9 h 84"/>
                <a:gd name="T26" fmla="*/ 62 w 62"/>
                <a:gd name="T27" fmla="*/ 2 h 84"/>
                <a:gd name="T28" fmla="*/ 59 w 62"/>
                <a:gd name="T29" fmla="*/ 0 h 84"/>
                <a:gd name="T30" fmla="*/ 57 w 62"/>
                <a:gd name="T31" fmla="*/ 0 h 84"/>
                <a:gd name="T32" fmla="*/ 54 w 62"/>
                <a:gd name="T33" fmla="*/ 2 h 84"/>
                <a:gd name="T34" fmla="*/ 50 w 62"/>
                <a:gd name="T35" fmla="*/ 3 h 84"/>
                <a:gd name="T36" fmla="*/ 46 w 62"/>
                <a:gd name="T37" fmla="*/ 3 h 84"/>
                <a:gd name="T38" fmla="*/ 43 w 62"/>
                <a:gd name="T39" fmla="*/ 2 h 84"/>
                <a:gd name="T40" fmla="*/ 39 w 62"/>
                <a:gd name="T41" fmla="*/ 4 h 84"/>
                <a:gd name="T42" fmla="*/ 35 w 62"/>
                <a:gd name="T43" fmla="*/ 13 h 84"/>
                <a:gd name="T44" fmla="*/ 33 w 62"/>
                <a:gd name="T45" fmla="*/ 17 h 84"/>
                <a:gd name="T46" fmla="*/ 28 w 62"/>
                <a:gd name="T47" fmla="*/ 24 h 84"/>
                <a:gd name="T48" fmla="*/ 24 w 62"/>
                <a:gd name="T49" fmla="*/ 28 h 84"/>
                <a:gd name="T50" fmla="*/ 19 w 62"/>
                <a:gd name="T51" fmla="*/ 29 h 84"/>
                <a:gd name="T52" fmla="*/ 17 w 62"/>
                <a:gd name="T53" fmla="*/ 33 h 84"/>
                <a:gd name="T54" fmla="*/ 17 w 62"/>
                <a:gd name="T55" fmla="*/ 37 h 84"/>
                <a:gd name="T56" fmla="*/ 14 w 62"/>
                <a:gd name="T57" fmla="*/ 43 h 84"/>
                <a:gd name="T58" fmla="*/ 10 w 62"/>
                <a:gd name="T59" fmla="*/ 46 h 84"/>
                <a:gd name="T60" fmla="*/ 7 w 62"/>
                <a:gd name="T61" fmla="*/ 50 h 84"/>
                <a:gd name="T62" fmla="*/ 7 w 62"/>
                <a:gd name="T63" fmla="*/ 51 h 84"/>
                <a:gd name="T64" fmla="*/ 6 w 62"/>
                <a:gd name="T65" fmla="*/ 54 h 84"/>
                <a:gd name="T66" fmla="*/ 2 w 62"/>
                <a:gd name="T67" fmla="*/ 54 h 84"/>
                <a:gd name="T68" fmla="*/ 0 w 62"/>
                <a:gd name="T69" fmla="*/ 53 h 84"/>
                <a:gd name="T70" fmla="*/ 0 w 62"/>
                <a:gd name="T71" fmla="*/ 54 h 84"/>
                <a:gd name="T72" fmla="*/ 10 w 62"/>
                <a:gd name="T73" fmla="*/ 64 h 84"/>
                <a:gd name="T74" fmla="*/ 13 w 62"/>
                <a:gd name="T75" fmla="*/ 68 h 84"/>
                <a:gd name="T76" fmla="*/ 17 w 62"/>
                <a:gd name="T77" fmla="*/ 75 h 84"/>
                <a:gd name="T78" fmla="*/ 18 w 62"/>
                <a:gd name="T79" fmla="*/ 77 h 84"/>
                <a:gd name="T80" fmla="*/ 25 w 62"/>
                <a:gd name="T81" fmla="*/ 76 h 84"/>
                <a:gd name="T82" fmla="*/ 30 w 62"/>
                <a:gd name="T83" fmla="*/ 79 h 84"/>
                <a:gd name="T84" fmla="*/ 35 w 62"/>
                <a:gd name="T85" fmla="*/ 80 h 84"/>
                <a:gd name="T86" fmla="*/ 43 w 62"/>
                <a:gd name="T87" fmla="*/ 80 h 84"/>
                <a:gd name="T88" fmla="*/ 47 w 62"/>
                <a:gd name="T89" fmla="*/ 80 h 84"/>
                <a:gd name="T90" fmla="*/ 51 w 62"/>
                <a:gd name="T91" fmla="*/ 81 h 84"/>
                <a:gd name="T92" fmla="*/ 57 w 62"/>
                <a:gd name="T93" fmla="*/ 83 h 84"/>
                <a:gd name="T94" fmla="*/ 58 w 62"/>
                <a:gd name="T95" fmla="*/ 84 h 84"/>
                <a:gd name="T96" fmla="*/ 61 w 62"/>
                <a:gd name="T97" fmla="*/ 84 h 84"/>
                <a:gd name="T98" fmla="*/ 62 w 62"/>
                <a:gd name="T99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2" h="84">
                  <a:moveTo>
                    <a:pt x="62" y="84"/>
                  </a:moveTo>
                  <a:lnTo>
                    <a:pt x="61" y="83"/>
                  </a:lnTo>
                  <a:lnTo>
                    <a:pt x="59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5" y="75"/>
                  </a:lnTo>
                  <a:lnTo>
                    <a:pt x="55" y="73"/>
                  </a:lnTo>
                  <a:lnTo>
                    <a:pt x="55" y="73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2" y="68"/>
                  </a:lnTo>
                  <a:lnTo>
                    <a:pt x="51" y="65"/>
                  </a:lnTo>
                  <a:lnTo>
                    <a:pt x="51" y="62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7" y="50"/>
                  </a:lnTo>
                  <a:lnTo>
                    <a:pt x="58" y="48"/>
                  </a:lnTo>
                  <a:lnTo>
                    <a:pt x="58" y="47"/>
                  </a:lnTo>
                  <a:lnTo>
                    <a:pt x="58" y="44"/>
                  </a:lnTo>
                  <a:lnTo>
                    <a:pt x="58" y="43"/>
                  </a:lnTo>
                  <a:lnTo>
                    <a:pt x="58" y="42"/>
                  </a:lnTo>
                  <a:lnTo>
                    <a:pt x="58" y="37"/>
                  </a:lnTo>
                  <a:lnTo>
                    <a:pt x="58" y="32"/>
                  </a:lnTo>
                  <a:lnTo>
                    <a:pt x="58" y="28"/>
                  </a:lnTo>
                  <a:lnTo>
                    <a:pt x="59" y="22"/>
                  </a:lnTo>
                  <a:lnTo>
                    <a:pt x="61" y="17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7" y="6"/>
                  </a:lnTo>
                  <a:lnTo>
                    <a:pt x="36" y="9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3" y="17"/>
                  </a:lnTo>
                  <a:lnTo>
                    <a:pt x="32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4" y="43"/>
                  </a:lnTo>
                  <a:lnTo>
                    <a:pt x="13" y="44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8" y="47"/>
                  </a:lnTo>
                  <a:lnTo>
                    <a:pt x="6" y="48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1" y="66"/>
                  </a:lnTo>
                  <a:lnTo>
                    <a:pt x="13" y="68"/>
                  </a:lnTo>
                  <a:lnTo>
                    <a:pt x="14" y="69"/>
                  </a:lnTo>
                  <a:lnTo>
                    <a:pt x="15" y="72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21" y="76"/>
                  </a:lnTo>
                  <a:lnTo>
                    <a:pt x="22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9" y="77"/>
                  </a:lnTo>
                  <a:lnTo>
                    <a:pt x="30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5" y="80"/>
                  </a:lnTo>
                  <a:lnTo>
                    <a:pt x="37" y="80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7" y="83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5" name="Freeform 151"/>
            <p:cNvSpPr>
              <a:spLocks/>
            </p:cNvSpPr>
            <p:nvPr/>
          </p:nvSpPr>
          <p:spPr bwMode="auto">
            <a:xfrm>
              <a:off x="1812" y="2006"/>
              <a:ext cx="49" cy="67"/>
            </a:xfrm>
            <a:custGeom>
              <a:avLst/>
              <a:gdLst>
                <a:gd name="T0" fmla="*/ 61 w 62"/>
                <a:gd name="T1" fmla="*/ 83 h 84"/>
                <a:gd name="T2" fmla="*/ 59 w 62"/>
                <a:gd name="T3" fmla="*/ 80 h 84"/>
                <a:gd name="T4" fmla="*/ 57 w 62"/>
                <a:gd name="T5" fmla="*/ 77 h 84"/>
                <a:gd name="T6" fmla="*/ 55 w 62"/>
                <a:gd name="T7" fmla="*/ 75 h 84"/>
                <a:gd name="T8" fmla="*/ 54 w 62"/>
                <a:gd name="T9" fmla="*/ 72 h 84"/>
                <a:gd name="T10" fmla="*/ 52 w 62"/>
                <a:gd name="T11" fmla="*/ 68 h 84"/>
                <a:gd name="T12" fmla="*/ 51 w 62"/>
                <a:gd name="T13" fmla="*/ 62 h 84"/>
                <a:gd name="T14" fmla="*/ 54 w 62"/>
                <a:gd name="T15" fmla="*/ 57 h 84"/>
                <a:gd name="T16" fmla="*/ 55 w 62"/>
                <a:gd name="T17" fmla="*/ 54 h 84"/>
                <a:gd name="T18" fmla="*/ 57 w 62"/>
                <a:gd name="T19" fmla="*/ 50 h 84"/>
                <a:gd name="T20" fmla="*/ 58 w 62"/>
                <a:gd name="T21" fmla="*/ 47 h 84"/>
                <a:gd name="T22" fmla="*/ 58 w 62"/>
                <a:gd name="T23" fmla="*/ 43 h 84"/>
                <a:gd name="T24" fmla="*/ 58 w 62"/>
                <a:gd name="T25" fmla="*/ 37 h 84"/>
                <a:gd name="T26" fmla="*/ 58 w 62"/>
                <a:gd name="T27" fmla="*/ 28 h 84"/>
                <a:gd name="T28" fmla="*/ 61 w 62"/>
                <a:gd name="T29" fmla="*/ 17 h 84"/>
                <a:gd name="T30" fmla="*/ 62 w 62"/>
                <a:gd name="T31" fmla="*/ 11 h 84"/>
                <a:gd name="T32" fmla="*/ 62 w 62"/>
                <a:gd name="T33" fmla="*/ 9 h 84"/>
                <a:gd name="T34" fmla="*/ 62 w 62"/>
                <a:gd name="T35" fmla="*/ 4 h 84"/>
                <a:gd name="T36" fmla="*/ 61 w 62"/>
                <a:gd name="T37" fmla="*/ 2 h 84"/>
                <a:gd name="T38" fmla="*/ 59 w 62"/>
                <a:gd name="T39" fmla="*/ 0 h 84"/>
                <a:gd name="T40" fmla="*/ 57 w 62"/>
                <a:gd name="T41" fmla="*/ 0 h 84"/>
                <a:gd name="T42" fmla="*/ 54 w 62"/>
                <a:gd name="T43" fmla="*/ 2 h 84"/>
                <a:gd name="T44" fmla="*/ 50 w 62"/>
                <a:gd name="T45" fmla="*/ 3 h 84"/>
                <a:gd name="T46" fmla="*/ 47 w 62"/>
                <a:gd name="T47" fmla="*/ 3 h 84"/>
                <a:gd name="T48" fmla="*/ 44 w 62"/>
                <a:gd name="T49" fmla="*/ 2 h 84"/>
                <a:gd name="T50" fmla="*/ 41 w 62"/>
                <a:gd name="T51" fmla="*/ 3 h 84"/>
                <a:gd name="T52" fmla="*/ 39 w 62"/>
                <a:gd name="T53" fmla="*/ 4 h 84"/>
                <a:gd name="T54" fmla="*/ 36 w 62"/>
                <a:gd name="T55" fmla="*/ 9 h 84"/>
                <a:gd name="T56" fmla="*/ 35 w 62"/>
                <a:gd name="T57" fmla="*/ 14 h 84"/>
                <a:gd name="T58" fmla="*/ 32 w 62"/>
                <a:gd name="T59" fmla="*/ 20 h 84"/>
                <a:gd name="T60" fmla="*/ 28 w 62"/>
                <a:gd name="T61" fmla="*/ 24 h 84"/>
                <a:gd name="T62" fmla="*/ 24 w 62"/>
                <a:gd name="T63" fmla="*/ 28 h 84"/>
                <a:gd name="T64" fmla="*/ 21 w 62"/>
                <a:gd name="T65" fmla="*/ 28 h 84"/>
                <a:gd name="T66" fmla="*/ 18 w 62"/>
                <a:gd name="T67" fmla="*/ 29 h 84"/>
                <a:gd name="T68" fmla="*/ 17 w 62"/>
                <a:gd name="T69" fmla="*/ 33 h 84"/>
                <a:gd name="T70" fmla="*/ 17 w 62"/>
                <a:gd name="T71" fmla="*/ 37 h 84"/>
                <a:gd name="T72" fmla="*/ 15 w 62"/>
                <a:gd name="T73" fmla="*/ 40 h 84"/>
                <a:gd name="T74" fmla="*/ 13 w 62"/>
                <a:gd name="T75" fmla="*/ 44 h 84"/>
                <a:gd name="T76" fmla="*/ 10 w 62"/>
                <a:gd name="T77" fmla="*/ 46 h 84"/>
                <a:gd name="T78" fmla="*/ 6 w 62"/>
                <a:gd name="T79" fmla="*/ 48 h 84"/>
                <a:gd name="T80" fmla="*/ 7 w 62"/>
                <a:gd name="T81" fmla="*/ 51 h 84"/>
                <a:gd name="T82" fmla="*/ 6 w 62"/>
                <a:gd name="T83" fmla="*/ 53 h 84"/>
                <a:gd name="T84" fmla="*/ 4 w 62"/>
                <a:gd name="T85" fmla="*/ 54 h 84"/>
                <a:gd name="T86" fmla="*/ 2 w 62"/>
                <a:gd name="T87" fmla="*/ 53 h 84"/>
                <a:gd name="T88" fmla="*/ 0 w 62"/>
                <a:gd name="T89" fmla="*/ 54 h 84"/>
                <a:gd name="T90" fmla="*/ 8 w 62"/>
                <a:gd name="T91" fmla="*/ 64 h 84"/>
                <a:gd name="T92" fmla="*/ 10 w 62"/>
                <a:gd name="T93" fmla="*/ 65 h 84"/>
                <a:gd name="T94" fmla="*/ 13 w 62"/>
                <a:gd name="T95" fmla="*/ 68 h 84"/>
                <a:gd name="T96" fmla="*/ 15 w 62"/>
                <a:gd name="T97" fmla="*/ 72 h 84"/>
                <a:gd name="T98" fmla="*/ 17 w 62"/>
                <a:gd name="T99" fmla="*/ 77 h 84"/>
                <a:gd name="T100" fmla="*/ 21 w 62"/>
                <a:gd name="T101" fmla="*/ 76 h 84"/>
                <a:gd name="T102" fmla="*/ 25 w 62"/>
                <a:gd name="T103" fmla="*/ 76 h 84"/>
                <a:gd name="T104" fmla="*/ 29 w 62"/>
                <a:gd name="T105" fmla="*/ 77 h 84"/>
                <a:gd name="T106" fmla="*/ 32 w 62"/>
                <a:gd name="T107" fmla="*/ 79 h 84"/>
                <a:gd name="T108" fmla="*/ 35 w 62"/>
                <a:gd name="T109" fmla="*/ 80 h 84"/>
                <a:gd name="T110" fmla="*/ 40 w 62"/>
                <a:gd name="T111" fmla="*/ 80 h 84"/>
                <a:gd name="T112" fmla="*/ 44 w 62"/>
                <a:gd name="T113" fmla="*/ 80 h 84"/>
                <a:gd name="T114" fmla="*/ 48 w 62"/>
                <a:gd name="T115" fmla="*/ 80 h 84"/>
                <a:gd name="T116" fmla="*/ 51 w 62"/>
                <a:gd name="T117" fmla="*/ 81 h 84"/>
                <a:gd name="T118" fmla="*/ 55 w 62"/>
                <a:gd name="T119" fmla="*/ 83 h 84"/>
                <a:gd name="T120" fmla="*/ 58 w 62"/>
                <a:gd name="T121" fmla="*/ 84 h 84"/>
                <a:gd name="T122" fmla="*/ 61 w 62"/>
                <a:gd name="T12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" h="84">
                  <a:moveTo>
                    <a:pt x="62" y="84"/>
                  </a:moveTo>
                  <a:lnTo>
                    <a:pt x="61" y="83"/>
                  </a:lnTo>
                  <a:lnTo>
                    <a:pt x="59" y="81"/>
                  </a:lnTo>
                  <a:lnTo>
                    <a:pt x="59" y="80"/>
                  </a:lnTo>
                  <a:lnTo>
                    <a:pt x="58" y="79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5" y="75"/>
                  </a:lnTo>
                  <a:lnTo>
                    <a:pt x="55" y="73"/>
                  </a:lnTo>
                  <a:lnTo>
                    <a:pt x="54" y="72"/>
                  </a:lnTo>
                  <a:lnTo>
                    <a:pt x="52" y="70"/>
                  </a:lnTo>
                  <a:lnTo>
                    <a:pt x="52" y="68"/>
                  </a:lnTo>
                  <a:lnTo>
                    <a:pt x="51" y="65"/>
                  </a:lnTo>
                  <a:lnTo>
                    <a:pt x="51" y="62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7" y="50"/>
                  </a:lnTo>
                  <a:lnTo>
                    <a:pt x="58" y="48"/>
                  </a:lnTo>
                  <a:lnTo>
                    <a:pt x="58" y="47"/>
                  </a:lnTo>
                  <a:lnTo>
                    <a:pt x="58" y="44"/>
                  </a:lnTo>
                  <a:lnTo>
                    <a:pt x="58" y="43"/>
                  </a:lnTo>
                  <a:lnTo>
                    <a:pt x="58" y="42"/>
                  </a:lnTo>
                  <a:lnTo>
                    <a:pt x="58" y="37"/>
                  </a:lnTo>
                  <a:lnTo>
                    <a:pt x="58" y="32"/>
                  </a:lnTo>
                  <a:lnTo>
                    <a:pt x="58" y="28"/>
                  </a:lnTo>
                  <a:lnTo>
                    <a:pt x="59" y="22"/>
                  </a:lnTo>
                  <a:lnTo>
                    <a:pt x="61" y="17"/>
                  </a:lnTo>
                  <a:lnTo>
                    <a:pt x="62" y="13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0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7" y="6"/>
                  </a:lnTo>
                  <a:lnTo>
                    <a:pt x="36" y="9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3" y="17"/>
                  </a:lnTo>
                  <a:lnTo>
                    <a:pt x="32" y="20"/>
                  </a:lnTo>
                  <a:lnTo>
                    <a:pt x="30" y="22"/>
                  </a:lnTo>
                  <a:lnTo>
                    <a:pt x="28" y="24"/>
                  </a:lnTo>
                  <a:lnTo>
                    <a:pt x="26" y="26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7" y="36"/>
                  </a:lnTo>
                  <a:lnTo>
                    <a:pt x="17" y="37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4" y="43"/>
                  </a:lnTo>
                  <a:lnTo>
                    <a:pt x="13" y="44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8" y="47"/>
                  </a:lnTo>
                  <a:lnTo>
                    <a:pt x="6" y="48"/>
                  </a:lnTo>
                  <a:lnTo>
                    <a:pt x="7" y="50"/>
                  </a:lnTo>
                  <a:lnTo>
                    <a:pt x="7" y="51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0" y="55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1" y="66"/>
                  </a:lnTo>
                  <a:lnTo>
                    <a:pt x="13" y="68"/>
                  </a:lnTo>
                  <a:lnTo>
                    <a:pt x="14" y="69"/>
                  </a:lnTo>
                  <a:lnTo>
                    <a:pt x="15" y="72"/>
                  </a:lnTo>
                  <a:lnTo>
                    <a:pt x="17" y="75"/>
                  </a:lnTo>
                  <a:lnTo>
                    <a:pt x="17" y="77"/>
                  </a:lnTo>
                  <a:lnTo>
                    <a:pt x="18" y="77"/>
                  </a:lnTo>
                  <a:lnTo>
                    <a:pt x="21" y="76"/>
                  </a:lnTo>
                  <a:lnTo>
                    <a:pt x="22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9" y="77"/>
                  </a:lnTo>
                  <a:lnTo>
                    <a:pt x="30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5" y="80"/>
                  </a:lnTo>
                  <a:lnTo>
                    <a:pt x="37" y="80"/>
                  </a:lnTo>
                  <a:lnTo>
                    <a:pt x="40" y="80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7" y="83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61" y="84"/>
                  </a:lnTo>
                  <a:lnTo>
                    <a:pt x="62" y="8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6" name="Freeform 152"/>
            <p:cNvSpPr>
              <a:spLocks/>
            </p:cNvSpPr>
            <p:nvPr/>
          </p:nvSpPr>
          <p:spPr bwMode="auto">
            <a:xfrm>
              <a:off x="1754" y="1959"/>
              <a:ext cx="57" cy="71"/>
            </a:xfrm>
            <a:custGeom>
              <a:avLst/>
              <a:gdLst>
                <a:gd name="T0" fmla="*/ 69 w 69"/>
                <a:gd name="T1" fmla="*/ 48 h 88"/>
                <a:gd name="T2" fmla="*/ 67 w 69"/>
                <a:gd name="T3" fmla="*/ 52 h 88"/>
                <a:gd name="T4" fmla="*/ 63 w 69"/>
                <a:gd name="T5" fmla="*/ 58 h 88"/>
                <a:gd name="T6" fmla="*/ 56 w 69"/>
                <a:gd name="T7" fmla="*/ 62 h 88"/>
                <a:gd name="T8" fmla="*/ 54 w 69"/>
                <a:gd name="T9" fmla="*/ 62 h 88"/>
                <a:gd name="T10" fmla="*/ 52 w 69"/>
                <a:gd name="T11" fmla="*/ 63 h 88"/>
                <a:gd name="T12" fmla="*/ 50 w 69"/>
                <a:gd name="T13" fmla="*/ 65 h 88"/>
                <a:gd name="T14" fmla="*/ 47 w 69"/>
                <a:gd name="T15" fmla="*/ 67 h 88"/>
                <a:gd name="T16" fmla="*/ 45 w 69"/>
                <a:gd name="T17" fmla="*/ 69 h 88"/>
                <a:gd name="T18" fmla="*/ 44 w 69"/>
                <a:gd name="T19" fmla="*/ 70 h 88"/>
                <a:gd name="T20" fmla="*/ 43 w 69"/>
                <a:gd name="T21" fmla="*/ 73 h 88"/>
                <a:gd name="T22" fmla="*/ 39 w 69"/>
                <a:gd name="T23" fmla="*/ 74 h 88"/>
                <a:gd name="T24" fmla="*/ 37 w 69"/>
                <a:gd name="T25" fmla="*/ 74 h 88"/>
                <a:gd name="T26" fmla="*/ 34 w 69"/>
                <a:gd name="T27" fmla="*/ 76 h 88"/>
                <a:gd name="T28" fmla="*/ 32 w 69"/>
                <a:gd name="T29" fmla="*/ 77 h 88"/>
                <a:gd name="T30" fmla="*/ 28 w 69"/>
                <a:gd name="T31" fmla="*/ 80 h 88"/>
                <a:gd name="T32" fmla="*/ 18 w 69"/>
                <a:gd name="T33" fmla="*/ 88 h 88"/>
                <a:gd name="T34" fmla="*/ 12 w 69"/>
                <a:gd name="T35" fmla="*/ 84 h 88"/>
                <a:gd name="T36" fmla="*/ 8 w 69"/>
                <a:gd name="T37" fmla="*/ 81 h 88"/>
                <a:gd name="T38" fmla="*/ 6 w 69"/>
                <a:gd name="T39" fmla="*/ 77 h 88"/>
                <a:gd name="T40" fmla="*/ 3 w 69"/>
                <a:gd name="T41" fmla="*/ 74 h 88"/>
                <a:gd name="T42" fmla="*/ 0 w 69"/>
                <a:gd name="T43" fmla="*/ 65 h 88"/>
                <a:gd name="T44" fmla="*/ 1 w 69"/>
                <a:gd name="T45" fmla="*/ 62 h 88"/>
                <a:gd name="T46" fmla="*/ 3 w 69"/>
                <a:gd name="T47" fmla="*/ 56 h 88"/>
                <a:gd name="T48" fmla="*/ 6 w 69"/>
                <a:gd name="T49" fmla="*/ 51 h 88"/>
                <a:gd name="T50" fmla="*/ 7 w 69"/>
                <a:gd name="T51" fmla="*/ 49 h 88"/>
                <a:gd name="T52" fmla="*/ 8 w 69"/>
                <a:gd name="T53" fmla="*/ 48 h 88"/>
                <a:gd name="T54" fmla="*/ 8 w 69"/>
                <a:gd name="T55" fmla="*/ 45 h 88"/>
                <a:gd name="T56" fmla="*/ 7 w 69"/>
                <a:gd name="T57" fmla="*/ 43 h 88"/>
                <a:gd name="T58" fmla="*/ 6 w 69"/>
                <a:gd name="T59" fmla="*/ 40 h 88"/>
                <a:gd name="T60" fmla="*/ 6 w 69"/>
                <a:gd name="T61" fmla="*/ 38 h 88"/>
                <a:gd name="T62" fmla="*/ 6 w 69"/>
                <a:gd name="T63" fmla="*/ 36 h 88"/>
                <a:gd name="T64" fmla="*/ 7 w 69"/>
                <a:gd name="T65" fmla="*/ 34 h 88"/>
                <a:gd name="T66" fmla="*/ 37 w 69"/>
                <a:gd name="T67" fmla="*/ 33 h 88"/>
                <a:gd name="T68" fmla="*/ 26 w 69"/>
                <a:gd name="T69" fmla="*/ 10 h 88"/>
                <a:gd name="T70" fmla="*/ 29 w 69"/>
                <a:gd name="T71" fmla="*/ 0 h 88"/>
                <a:gd name="T72" fmla="*/ 54 w 69"/>
                <a:gd name="T73" fmla="*/ 3 h 88"/>
                <a:gd name="T74" fmla="*/ 62 w 69"/>
                <a:gd name="T75" fmla="*/ 38 h 88"/>
                <a:gd name="T76" fmla="*/ 62 w 69"/>
                <a:gd name="T77" fmla="*/ 40 h 88"/>
                <a:gd name="T78" fmla="*/ 62 w 69"/>
                <a:gd name="T79" fmla="*/ 43 h 88"/>
                <a:gd name="T80" fmla="*/ 65 w 69"/>
                <a:gd name="T81" fmla="*/ 45 h 88"/>
                <a:gd name="T82" fmla="*/ 69 w 69"/>
                <a:gd name="T83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9" h="88">
                  <a:moveTo>
                    <a:pt x="69" y="48"/>
                  </a:moveTo>
                  <a:lnTo>
                    <a:pt x="69" y="48"/>
                  </a:lnTo>
                  <a:lnTo>
                    <a:pt x="69" y="49"/>
                  </a:lnTo>
                  <a:lnTo>
                    <a:pt x="67" y="52"/>
                  </a:lnTo>
                  <a:lnTo>
                    <a:pt x="65" y="55"/>
                  </a:lnTo>
                  <a:lnTo>
                    <a:pt x="63" y="58"/>
                  </a:lnTo>
                  <a:lnTo>
                    <a:pt x="61" y="59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7" y="67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3" y="73"/>
                  </a:lnTo>
                  <a:lnTo>
                    <a:pt x="40" y="73"/>
                  </a:lnTo>
                  <a:lnTo>
                    <a:pt x="39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2" y="77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18" y="88"/>
                  </a:lnTo>
                  <a:lnTo>
                    <a:pt x="15" y="87"/>
                  </a:lnTo>
                  <a:lnTo>
                    <a:pt x="12" y="84"/>
                  </a:lnTo>
                  <a:lnTo>
                    <a:pt x="11" y="82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6" y="77"/>
                  </a:lnTo>
                  <a:lnTo>
                    <a:pt x="4" y="76"/>
                  </a:lnTo>
                  <a:lnTo>
                    <a:pt x="3" y="74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1" y="62"/>
                  </a:lnTo>
                  <a:lnTo>
                    <a:pt x="1" y="59"/>
                  </a:lnTo>
                  <a:lnTo>
                    <a:pt x="3" y="56"/>
                  </a:lnTo>
                  <a:lnTo>
                    <a:pt x="4" y="54"/>
                  </a:lnTo>
                  <a:lnTo>
                    <a:pt x="6" y="51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7" y="34"/>
                  </a:lnTo>
                  <a:lnTo>
                    <a:pt x="8" y="34"/>
                  </a:lnTo>
                  <a:lnTo>
                    <a:pt x="37" y="33"/>
                  </a:lnTo>
                  <a:lnTo>
                    <a:pt x="37" y="22"/>
                  </a:lnTo>
                  <a:lnTo>
                    <a:pt x="26" y="10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54" y="0"/>
                  </a:lnTo>
                  <a:lnTo>
                    <a:pt x="54" y="3"/>
                  </a:lnTo>
                  <a:lnTo>
                    <a:pt x="54" y="38"/>
                  </a:lnTo>
                  <a:lnTo>
                    <a:pt x="62" y="38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1"/>
                  </a:lnTo>
                  <a:lnTo>
                    <a:pt x="62" y="43"/>
                  </a:lnTo>
                  <a:lnTo>
                    <a:pt x="63" y="44"/>
                  </a:lnTo>
                  <a:lnTo>
                    <a:pt x="65" y="45"/>
                  </a:lnTo>
                  <a:lnTo>
                    <a:pt x="66" y="47"/>
                  </a:lnTo>
                  <a:lnTo>
                    <a:pt x="69" y="4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7" name="Freeform 153"/>
            <p:cNvSpPr>
              <a:spLocks/>
            </p:cNvSpPr>
            <p:nvPr/>
          </p:nvSpPr>
          <p:spPr bwMode="auto">
            <a:xfrm>
              <a:off x="1754" y="1959"/>
              <a:ext cx="57" cy="71"/>
            </a:xfrm>
            <a:custGeom>
              <a:avLst/>
              <a:gdLst>
                <a:gd name="T0" fmla="*/ 69 w 69"/>
                <a:gd name="T1" fmla="*/ 49 h 88"/>
                <a:gd name="T2" fmla="*/ 65 w 69"/>
                <a:gd name="T3" fmla="*/ 55 h 88"/>
                <a:gd name="T4" fmla="*/ 61 w 69"/>
                <a:gd name="T5" fmla="*/ 59 h 88"/>
                <a:gd name="T6" fmla="*/ 54 w 69"/>
                <a:gd name="T7" fmla="*/ 62 h 88"/>
                <a:gd name="T8" fmla="*/ 52 w 69"/>
                <a:gd name="T9" fmla="*/ 63 h 88"/>
                <a:gd name="T10" fmla="*/ 50 w 69"/>
                <a:gd name="T11" fmla="*/ 65 h 88"/>
                <a:gd name="T12" fmla="*/ 47 w 69"/>
                <a:gd name="T13" fmla="*/ 67 h 88"/>
                <a:gd name="T14" fmla="*/ 45 w 69"/>
                <a:gd name="T15" fmla="*/ 70 h 88"/>
                <a:gd name="T16" fmla="*/ 44 w 69"/>
                <a:gd name="T17" fmla="*/ 71 h 88"/>
                <a:gd name="T18" fmla="*/ 40 w 69"/>
                <a:gd name="T19" fmla="*/ 73 h 88"/>
                <a:gd name="T20" fmla="*/ 37 w 69"/>
                <a:gd name="T21" fmla="*/ 74 h 88"/>
                <a:gd name="T22" fmla="*/ 34 w 69"/>
                <a:gd name="T23" fmla="*/ 76 h 88"/>
                <a:gd name="T24" fmla="*/ 32 w 69"/>
                <a:gd name="T25" fmla="*/ 77 h 88"/>
                <a:gd name="T26" fmla="*/ 28 w 69"/>
                <a:gd name="T27" fmla="*/ 80 h 88"/>
                <a:gd name="T28" fmla="*/ 18 w 69"/>
                <a:gd name="T29" fmla="*/ 88 h 88"/>
                <a:gd name="T30" fmla="*/ 12 w 69"/>
                <a:gd name="T31" fmla="*/ 84 h 88"/>
                <a:gd name="T32" fmla="*/ 8 w 69"/>
                <a:gd name="T33" fmla="*/ 81 h 88"/>
                <a:gd name="T34" fmla="*/ 6 w 69"/>
                <a:gd name="T35" fmla="*/ 77 h 88"/>
                <a:gd name="T36" fmla="*/ 3 w 69"/>
                <a:gd name="T37" fmla="*/ 74 h 88"/>
                <a:gd name="T38" fmla="*/ 0 w 69"/>
                <a:gd name="T39" fmla="*/ 65 h 88"/>
                <a:gd name="T40" fmla="*/ 1 w 69"/>
                <a:gd name="T41" fmla="*/ 62 h 88"/>
                <a:gd name="T42" fmla="*/ 3 w 69"/>
                <a:gd name="T43" fmla="*/ 56 h 88"/>
                <a:gd name="T44" fmla="*/ 6 w 69"/>
                <a:gd name="T45" fmla="*/ 51 h 88"/>
                <a:gd name="T46" fmla="*/ 8 w 69"/>
                <a:gd name="T47" fmla="*/ 48 h 88"/>
                <a:gd name="T48" fmla="*/ 8 w 69"/>
                <a:gd name="T49" fmla="*/ 45 h 88"/>
                <a:gd name="T50" fmla="*/ 7 w 69"/>
                <a:gd name="T51" fmla="*/ 43 h 88"/>
                <a:gd name="T52" fmla="*/ 6 w 69"/>
                <a:gd name="T53" fmla="*/ 40 h 88"/>
                <a:gd name="T54" fmla="*/ 6 w 69"/>
                <a:gd name="T55" fmla="*/ 37 h 88"/>
                <a:gd name="T56" fmla="*/ 7 w 69"/>
                <a:gd name="T57" fmla="*/ 34 h 88"/>
                <a:gd name="T58" fmla="*/ 37 w 69"/>
                <a:gd name="T59" fmla="*/ 33 h 88"/>
                <a:gd name="T60" fmla="*/ 26 w 69"/>
                <a:gd name="T61" fmla="*/ 10 h 88"/>
                <a:gd name="T62" fmla="*/ 29 w 69"/>
                <a:gd name="T63" fmla="*/ 0 h 88"/>
                <a:gd name="T64" fmla="*/ 54 w 69"/>
                <a:gd name="T65" fmla="*/ 3 h 88"/>
                <a:gd name="T66" fmla="*/ 62 w 69"/>
                <a:gd name="T67" fmla="*/ 38 h 88"/>
                <a:gd name="T68" fmla="*/ 62 w 69"/>
                <a:gd name="T69" fmla="*/ 41 h 88"/>
                <a:gd name="T70" fmla="*/ 63 w 69"/>
                <a:gd name="T71" fmla="*/ 44 h 88"/>
                <a:gd name="T72" fmla="*/ 66 w 69"/>
                <a:gd name="T73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" h="88">
                  <a:moveTo>
                    <a:pt x="69" y="48"/>
                  </a:moveTo>
                  <a:lnTo>
                    <a:pt x="69" y="49"/>
                  </a:lnTo>
                  <a:lnTo>
                    <a:pt x="67" y="52"/>
                  </a:lnTo>
                  <a:lnTo>
                    <a:pt x="65" y="55"/>
                  </a:lnTo>
                  <a:lnTo>
                    <a:pt x="63" y="58"/>
                  </a:lnTo>
                  <a:lnTo>
                    <a:pt x="61" y="59"/>
                  </a:lnTo>
                  <a:lnTo>
                    <a:pt x="56" y="62"/>
                  </a:lnTo>
                  <a:lnTo>
                    <a:pt x="54" y="62"/>
                  </a:lnTo>
                  <a:lnTo>
                    <a:pt x="52" y="62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7" y="67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3" y="73"/>
                  </a:lnTo>
                  <a:lnTo>
                    <a:pt x="40" y="73"/>
                  </a:lnTo>
                  <a:lnTo>
                    <a:pt x="39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2" y="77"/>
                  </a:lnTo>
                  <a:lnTo>
                    <a:pt x="30" y="78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18" y="88"/>
                  </a:lnTo>
                  <a:lnTo>
                    <a:pt x="15" y="87"/>
                  </a:lnTo>
                  <a:lnTo>
                    <a:pt x="12" y="84"/>
                  </a:lnTo>
                  <a:lnTo>
                    <a:pt x="11" y="82"/>
                  </a:lnTo>
                  <a:lnTo>
                    <a:pt x="8" y="81"/>
                  </a:lnTo>
                  <a:lnTo>
                    <a:pt x="7" y="78"/>
                  </a:lnTo>
                  <a:lnTo>
                    <a:pt x="6" y="77"/>
                  </a:lnTo>
                  <a:lnTo>
                    <a:pt x="4" y="76"/>
                  </a:lnTo>
                  <a:lnTo>
                    <a:pt x="3" y="74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1" y="62"/>
                  </a:lnTo>
                  <a:lnTo>
                    <a:pt x="1" y="59"/>
                  </a:lnTo>
                  <a:lnTo>
                    <a:pt x="3" y="56"/>
                  </a:lnTo>
                  <a:lnTo>
                    <a:pt x="4" y="54"/>
                  </a:lnTo>
                  <a:lnTo>
                    <a:pt x="6" y="51"/>
                  </a:lnTo>
                  <a:lnTo>
                    <a:pt x="7" y="49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3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4"/>
                  </a:lnTo>
                  <a:lnTo>
                    <a:pt x="8" y="34"/>
                  </a:lnTo>
                  <a:lnTo>
                    <a:pt x="37" y="33"/>
                  </a:lnTo>
                  <a:lnTo>
                    <a:pt x="37" y="22"/>
                  </a:lnTo>
                  <a:lnTo>
                    <a:pt x="26" y="10"/>
                  </a:lnTo>
                  <a:lnTo>
                    <a:pt x="29" y="10"/>
                  </a:lnTo>
                  <a:lnTo>
                    <a:pt x="29" y="0"/>
                  </a:lnTo>
                  <a:lnTo>
                    <a:pt x="54" y="0"/>
                  </a:lnTo>
                  <a:lnTo>
                    <a:pt x="54" y="3"/>
                  </a:lnTo>
                  <a:lnTo>
                    <a:pt x="54" y="38"/>
                  </a:lnTo>
                  <a:lnTo>
                    <a:pt x="62" y="38"/>
                  </a:lnTo>
                  <a:lnTo>
                    <a:pt x="62" y="40"/>
                  </a:lnTo>
                  <a:lnTo>
                    <a:pt x="62" y="41"/>
                  </a:lnTo>
                  <a:lnTo>
                    <a:pt x="62" y="43"/>
                  </a:lnTo>
                  <a:lnTo>
                    <a:pt x="63" y="44"/>
                  </a:lnTo>
                  <a:lnTo>
                    <a:pt x="65" y="45"/>
                  </a:lnTo>
                  <a:lnTo>
                    <a:pt x="66" y="47"/>
                  </a:lnTo>
                  <a:lnTo>
                    <a:pt x="69" y="4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8" name="Freeform 154"/>
            <p:cNvSpPr>
              <a:spLocks/>
            </p:cNvSpPr>
            <p:nvPr/>
          </p:nvSpPr>
          <p:spPr bwMode="auto">
            <a:xfrm>
              <a:off x="1797" y="1952"/>
              <a:ext cx="15" cy="40"/>
            </a:xfrm>
            <a:custGeom>
              <a:avLst/>
              <a:gdLst>
                <a:gd name="T0" fmla="*/ 16 w 16"/>
                <a:gd name="T1" fmla="*/ 0 h 48"/>
                <a:gd name="T2" fmla="*/ 16 w 16"/>
                <a:gd name="T3" fmla="*/ 0 h 48"/>
                <a:gd name="T4" fmla="*/ 16 w 16"/>
                <a:gd name="T5" fmla="*/ 0 h 48"/>
                <a:gd name="T6" fmla="*/ 15 w 16"/>
                <a:gd name="T7" fmla="*/ 2 h 48"/>
                <a:gd name="T8" fmla="*/ 13 w 16"/>
                <a:gd name="T9" fmla="*/ 2 h 48"/>
                <a:gd name="T10" fmla="*/ 13 w 16"/>
                <a:gd name="T11" fmla="*/ 2 h 48"/>
                <a:gd name="T12" fmla="*/ 12 w 16"/>
                <a:gd name="T13" fmla="*/ 2 h 48"/>
                <a:gd name="T14" fmla="*/ 12 w 16"/>
                <a:gd name="T15" fmla="*/ 2 h 48"/>
                <a:gd name="T16" fmla="*/ 11 w 16"/>
                <a:gd name="T17" fmla="*/ 2 h 48"/>
                <a:gd name="T18" fmla="*/ 11 w 16"/>
                <a:gd name="T19" fmla="*/ 3 h 48"/>
                <a:gd name="T20" fmla="*/ 9 w 16"/>
                <a:gd name="T21" fmla="*/ 3 h 48"/>
                <a:gd name="T22" fmla="*/ 8 w 16"/>
                <a:gd name="T23" fmla="*/ 4 h 48"/>
                <a:gd name="T24" fmla="*/ 7 w 16"/>
                <a:gd name="T25" fmla="*/ 4 h 48"/>
                <a:gd name="T26" fmla="*/ 7 w 16"/>
                <a:gd name="T27" fmla="*/ 6 h 48"/>
                <a:gd name="T28" fmla="*/ 5 w 16"/>
                <a:gd name="T29" fmla="*/ 6 h 48"/>
                <a:gd name="T30" fmla="*/ 5 w 16"/>
                <a:gd name="T31" fmla="*/ 7 h 48"/>
                <a:gd name="T32" fmla="*/ 4 w 16"/>
                <a:gd name="T33" fmla="*/ 7 h 48"/>
                <a:gd name="T34" fmla="*/ 1 w 16"/>
                <a:gd name="T35" fmla="*/ 6 h 48"/>
                <a:gd name="T36" fmla="*/ 1 w 16"/>
                <a:gd name="T37" fmla="*/ 6 h 48"/>
                <a:gd name="T38" fmla="*/ 0 w 16"/>
                <a:gd name="T39" fmla="*/ 7 h 48"/>
                <a:gd name="T40" fmla="*/ 0 w 16"/>
                <a:gd name="T41" fmla="*/ 7 h 48"/>
                <a:gd name="T42" fmla="*/ 0 w 16"/>
                <a:gd name="T43" fmla="*/ 9 h 48"/>
                <a:gd name="T44" fmla="*/ 0 w 16"/>
                <a:gd name="T45" fmla="*/ 9 h 48"/>
                <a:gd name="T46" fmla="*/ 0 w 16"/>
                <a:gd name="T47" fmla="*/ 10 h 48"/>
                <a:gd name="T48" fmla="*/ 0 w 16"/>
                <a:gd name="T49" fmla="*/ 10 h 48"/>
                <a:gd name="T50" fmla="*/ 0 w 16"/>
                <a:gd name="T51" fmla="*/ 10 h 48"/>
                <a:gd name="T52" fmla="*/ 0 w 16"/>
                <a:gd name="T53" fmla="*/ 48 h 48"/>
                <a:gd name="T54" fmla="*/ 8 w 16"/>
                <a:gd name="T55" fmla="*/ 48 h 48"/>
                <a:gd name="T56" fmla="*/ 8 w 16"/>
                <a:gd name="T57" fmla="*/ 47 h 48"/>
                <a:gd name="T58" fmla="*/ 8 w 16"/>
                <a:gd name="T59" fmla="*/ 47 h 48"/>
                <a:gd name="T60" fmla="*/ 8 w 16"/>
                <a:gd name="T61" fmla="*/ 47 h 48"/>
                <a:gd name="T62" fmla="*/ 9 w 16"/>
                <a:gd name="T63" fmla="*/ 46 h 48"/>
                <a:gd name="T64" fmla="*/ 11 w 16"/>
                <a:gd name="T65" fmla="*/ 44 h 48"/>
                <a:gd name="T66" fmla="*/ 11 w 16"/>
                <a:gd name="T67" fmla="*/ 43 h 48"/>
                <a:gd name="T68" fmla="*/ 12 w 16"/>
                <a:gd name="T69" fmla="*/ 42 h 48"/>
                <a:gd name="T70" fmla="*/ 13 w 16"/>
                <a:gd name="T71" fmla="*/ 40 h 48"/>
                <a:gd name="T72" fmla="*/ 13 w 16"/>
                <a:gd name="T73" fmla="*/ 39 h 48"/>
                <a:gd name="T74" fmla="*/ 13 w 16"/>
                <a:gd name="T75" fmla="*/ 37 h 48"/>
                <a:gd name="T76" fmla="*/ 13 w 16"/>
                <a:gd name="T77" fmla="*/ 36 h 48"/>
                <a:gd name="T78" fmla="*/ 12 w 16"/>
                <a:gd name="T79" fmla="*/ 33 h 48"/>
                <a:gd name="T80" fmla="*/ 12 w 16"/>
                <a:gd name="T81" fmla="*/ 29 h 48"/>
                <a:gd name="T82" fmla="*/ 12 w 16"/>
                <a:gd name="T83" fmla="*/ 25 h 48"/>
                <a:gd name="T84" fmla="*/ 11 w 16"/>
                <a:gd name="T85" fmla="*/ 21 h 48"/>
                <a:gd name="T86" fmla="*/ 12 w 16"/>
                <a:gd name="T87" fmla="*/ 17 h 48"/>
                <a:gd name="T88" fmla="*/ 12 w 16"/>
                <a:gd name="T89" fmla="*/ 14 h 48"/>
                <a:gd name="T90" fmla="*/ 12 w 16"/>
                <a:gd name="T91" fmla="*/ 14 h 48"/>
                <a:gd name="T92" fmla="*/ 12 w 16"/>
                <a:gd name="T93" fmla="*/ 13 h 48"/>
                <a:gd name="T94" fmla="*/ 12 w 16"/>
                <a:gd name="T95" fmla="*/ 11 h 48"/>
                <a:gd name="T96" fmla="*/ 13 w 16"/>
                <a:gd name="T97" fmla="*/ 10 h 48"/>
                <a:gd name="T98" fmla="*/ 13 w 16"/>
                <a:gd name="T99" fmla="*/ 7 h 48"/>
                <a:gd name="T100" fmla="*/ 15 w 16"/>
                <a:gd name="T101" fmla="*/ 6 h 48"/>
                <a:gd name="T102" fmla="*/ 16 w 16"/>
                <a:gd name="T103" fmla="*/ 3 h 48"/>
                <a:gd name="T104" fmla="*/ 16 w 16"/>
                <a:gd name="T10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" h="48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4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9" y="46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2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29"/>
                  </a:lnTo>
                  <a:lnTo>
                    <a:pt x="12" y="25"/>
                  </a:lnTo>
                  <a:lnTo>
                    <a:pt x="11" y="21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3" y="10"/>
                  </a:lnTo>
                  <a:lnTo>
                    <a:pt x="13" y="7"/>
                  </a:lnTo>
                  <a:lnTo>
                    <a:pt x="15" y="6"/>
                  </a:lnTo>
                  <a:lnTo>
                    <a:pt x="16" y="3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9" name="Freeform 155"/>
            <p:cNvSpPr>
              <a:spLocks/>
            </p:cNvSpPr>
            <p:nvPr/>
          </p:nvSpPr>
          <p:spPr bwMode="auto">
            <a:xfrm>
              <a:off x="1797" y="1952"/>
              <a:ext cx="15" cy="40"/>
            </a:xfrm>
            <a:custGeom>
              <a:avLst/>
              <a:gdLst>
                <a:gd name="T0" fmla="*/ 16 w 16"/>
                <a:gd name="T1" fmla="*/ 0 h 48"/>
                <a:gd name="T2" fmla="*/ 15 w 16"/>
                <a:gd name="T3" fmla="*/ 2 h 48"/>
                <a:gd name="T4" fmla="*/ 13 w 16"/>
                <a:gd name="T5" fmla="*/ 2 h 48"/>
                <a:gd name="T6" fmla="*/ 12 w 16"/>
                <a:gd name="T7" fmla="*/ 2 h 48"/>
                <a:gd name="T8" fmla="*/ 11 w 16"/>
                <a:gd name="T9" fmla="*/ 2 h 48"/>
                <a:gd name="T10" fmla="*/ 11 w 16"/>
                <a:gd name="T11" fmla="*/ 3 h 48"/>
                <a:gd name="T12" fmla="*/ 9 w 16"/>
                <a:gd name="T13" fmla="*/ 3 h 48"/>
                <a:gd name="T14" fmla="*/ 8 w 16"/>
                <a:gd name="T15" fmla="*/ 4 h 48"/>
                <a:gd name="T16" fmla="*/ 7 w 16"/>
                <a:gd name="T17" fmla="*/ 4 h 48"/>
                <a:gd name="T18" fmla="*/ 7 w 16"/>
                <a:gd name="T19" fmla="*/ 6 h 48"/>
                <a:gd name="T20" fmla="*/ 5 w 16"/>
                <a:gd name="T21" fmla="*/ 6 h 48"/>
                <a:gd name="T22" fmla="*/ 5 w 16"/>
                <a:gd name="T23" fmla="*/ 7 h 48"/>
                <a:gd name="T24" fmla="*/ 4 w 16"/>
                <a:gd name="T25" fmla="*/ 7 h 48"/>
                <a:gd name="T26" fmla="*/ 1 w 16"/>
                <a:gd name="T27" fmla="*/ 6 h 48"/>
                <a:gd name="T28" fmla="*/ 0 w 16"/>
                <a:gd name="T29" fmla="*/ 7 h 48"/>
                <a:gd name="T30" fmla="*/ 0 w 16"/>
                <a:gd name="T31" fmla="*/ 9 h 48"/>
                <a:gd name="T32" fmla="*/ 0 w 16"/>
                <a:gd name="T33" fmla="*/ 10 h 48"/>
                <a:gd name="T34" fmla="*/ 0 w 16"/>
                <a:gd name="T35" fmla="*/ 48 h 48"/>
                <a:gd name="T36" fmla="*/ 8 w 16"/>
                <a:gd name="T37" fmla="*/ 48 h 48"/>
                <a:gd name="T38" fmla="*/ 8 w 16"/>
                <a:gd name="T39" fmla="*/ 47 h 48"/>
                <a:gd name="T40" fmla="*/ 9 w 16"/>
                <a:gd name="T41" fmla="*/ 46 h 48"/>
                <a:gd name="T42" fmla="*/ 11 w 16"/>
                <a:gd name="T43" fmla="*/ 44 h 48"/>
                <a:gd name="T44" fmla="*/ 11 w 16"/>
                <a:gd name="T45" fmla="*/ 43 h 48"/>
                <a:gd name="T46" fmla="*/ 12 w 16"/>
                <a:gd name="T47" fmla="*/ 42 h 48"/>
                <a:gd name="T48" fmla="*/ 13 w 16"/>
                <a:gd name="T49" fmla="*/ 40 h 48"/>
                <a:gd name="T50" fmla="*/ 13 w 16"/>
                <a:gd name="T51" fmla="*/ 39 h 48"/>
                <a:gd name="T52" fmla="*/ 13 w 16"/>
                <a:gd name="T53" fmla="*/ 37 h 48"/>
                <a:gd name="T54" fmla="*/ 13 w 16"/>
                <a:gd name="T55" fmla="*/ 36 h 48"/>
                <a:gd name="T56" fmla="*/ 12 w 16"/>
                <a:gd name="T57" fmla="*/ 33 h 48"/>
                <a:gd name="T58" fmla="*/ 12 w 16"/>
                <a:gd name="T59" fmla="*/ 29 h 48"/>
                <a:gd name="T60" fmla="*/ 12 w 16"/>
                <a:gd name="T61" fmla="*/ 25 h 48"/>
                <a:gd name="T62" fmla="*/ 11 w 16"/>
                <a:gd name="T63" fmla="*/ 21 h 48"/>
                <a:gd name="T64" fmla="*/ 12 w 16"/>
                <a:gd name="T65" fmla="*/ 17 h 48"/>
                <a:gd name="T66" fmla="*/ 12 w 16"/>
                <a:gd name="T67" fmla="*/ 14 h 48"/>
                <a:gd name="T68" fmla="*/ 12 w 16"/>
                <a:gd name="T69" fmla="*/ 13 h 48"/>
                <a:gd name="T70" fmla="*/ 12 w 16"/>
                <a:gd name="T71" fmla="*/ 11 h 48"/>
                <a:gd name="T72" fmla="*/ 13 w 16"/>
                <a:gd name="T73" fmla="*/ 10 h 48"/>
                <a:gd name="T74" fmla="*/ 13 w 16"/>
                <a:gd name="T75" fmla="*/ 7 h 48"/>
                <a:gd name="T76" fmla="*/ 15 w 16"/>
                <a:gd name="T77" fmla="*/ 6 h 48"/>
                <a:gd name="T78" fmla="*/ 16 w 16"/>
                <a:gd name="T79" fmla="*/ 3 h 48"/>
                <a:gd name="T80" fmla="*/ 16 w 16"/>
                <a:gd name="T8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" h="48">
                  <a:moveTo>
                    <a:pt x="16" y="0"/>
                  </a:moveTo>
                  <a:lnTo>
                    <a:pt x="15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4" y="7"/>
                  </a:lnTo>
                  <a:lnTo>
                    <a:pt x="1" y="6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48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6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2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29"/>
                  </a:lnTo>
                  <a:lnTo>
                    <a:pt x="12" y="25"/>
                  </a:lnTo>
                  <a:lnTo>
                    <a:pt x="11" y="21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3" y="10"/>
                  </a:lnTo>
                  <a:lnTo>
                    <a:pt x="13" y="7"/>
                  </a:lnTo>
                  <a:lnTo>
                    <a:pt x="15" y="6"/>
                  </a:lnTo>
                  <a:lnTo>
                    <a:pt x="16" y="3"/>
                  </a:lnTo>
                  <a:lnTo>
                    <a:pt x="16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0" name="Freeform 156"/>
            <p:cNvSpPr>
              <a:spLocks/>
            </p:cNvSpPr>
            <p:nvPr/>
          </p:nvSpPr>
          <p:spPr bwMode="auto">
            <a:xfrm>
              <a:off x="1825" y="2067"/>
              <a:ext cx="45" cy="39"/>
            </a:xfrm>
            <a:custGeom>
              <a:avLst/>
              <a:gdLst>
                <a:gd name="T0" fmla="*/ 56 w 57"/>
                <a:gd name="T1" fmla="*/ 21 h 48"/>
                <a:gd name="T2" fmla="*/ 56 w 57"/>
                <a:gd name="T3" fmla="*/ 21 h 48"/>
                <a:gd name="T4" fmla="*/ 56 w 57"/>
                <a:gd name="T5" fmla="*/ 21 h 48"/>
                <a:gd name="T6" fmla="*/ 53 w 57"/>
                <a:gd name="T7" fmla="*/ 18 h 48"/>
                <a:gd name="T8" fmla="*/ 51 w 57"/>
                <a:gd name="T9" fmla="*/ 15 h 48"/>
                <a:gd name="T10" fmla="*/ 48 w 57"/>
                <a:gd name="T11" fmla="*/ 12 h 48"/>
                <a:gd name="T12" fmla="*/ 46 w 57"/>
                <a:gd name="T13" fmla="*/ 10 h 48"/>
                <a:gd name="T14" fmla="*/ 45 w 57"/>
                <a:gd name="T15" fmla="*/ 8 h 48"/>
                <a:gd name="T16" fmla="*/ 45 w 57"/>
                <a:gd name="T17" fmla="*/ 8 h 48"/>
                <a:gd name="T18" fmla="*/ 42 w 57"/>
                <a:gd name="T19" fmla="*/ 8 h 48"/>
                <a:gd name="T20" fmla="*/ 41 w 57"/>
                <a:gd name="T21" fmla="*/ 8 h 48"/>
                <a:gd name="T22" fmla="*/ 37 w 57"/>
                <a:gd name="T23" fmla="*/ 7 h 48"/>
                <a:gd name="T24" fmla="*/ 31 w 57"/>
                <a:gd name="T25" fmla="*/ 5 h 48"/>
                <a:gd name="T26" fmla="*/ 27 w 57"/>
                <a:gd name="T27" fmla="*/ 4 h 48"/>
                <a:gd name="T28" fmla="*/ 20 w 57"/>
                <a:gd name="T29" fmla="*/ 4 h 48"/>
                <a:gd name="T30" fmla="*/ 15 w 57"/>
                <a:gd name="T31" fmla="*/ 3 h 48"/>
                <a:gd name="T32" fmla="*/ 9 w 57"/>
                <a:gd name="T33" fmla="*/ 1 h 48"/>
                <a:gd name="T34" fmla="*/ 4 w 57"/>
                <a:gd name="T35" fmla="*/ 1 h 48"/>
                <a:gd name="T36" fmla="*/ 0 w 57"/>
                <a:gd name="T37" fmla="*/ 3 h 48"/>
                <a:gd name="T38" fmla="*/ 1 w 57"/>
                <a:gd name="T39" fmla="*/ 5 h 48"/>
                <a:gd name="T40" fmla="*/ 1 w 57"/>
                <a:gd name="T41" fmla="*/ 7 h 48"/>
                <a:gd name="T42" fmla="*/ 1 w 57"/>
                <a:gd name="T43" fmla="*/ 10 h 48"/>
                <a:gd name="T44" fmla="*/ 1 w 57"/>
                <a:gd name="T45" fmla="*/ 14 h 48"/>
                <a:gd name="T46" fmla="*/ 2 w 57"/>
                <a:gd name="T47" fmla="*/ 23 h 48"/>
                <a:gd name="T48" fmla="*/ 11 w 57"/>
                <a:gd name="T49" fmla="*/ 27 h 48"/>
                <a:gd name="T50" fmla="*/ 9 w 57"/>
                <a:gd name="T51" fmla="*/ 25 h 48"/>
                <a:gd name="T52" fmla="*/ 8 w 57"/>
                <a:gd name="T53" fmla="*/ 22 h 48"/>
                <a:gd name="T54" fmla="*/ 9 w 57"/>
                <a:gd name="T55" fmla="*/ 21 h 48"/>
                <a:gd name="T56" fmla="*/ 13 w 57"/>
                <a:gd name="T57" fmla="*/ 23 h 48"/>
                <a:gd name="T58" fmla="*/ 23 w 57"/>
                <a:gd name="T59" fmla="*/ 33 h 48"/>
                <a:gd name="T60" fmla="*/ 26 w 57"/>
                <a:gd name="T61" fmla="*/ 38 h 48"/>
                <a:gd name="T62" fmla="*/ 26 w 57"/>
                <a:gd name="T63" fmla="*/ 40 h 48"/>
                <a:gd name="T64" fmla="*/ 27 w 57"/>
                <a:gd name="T65" fmla="*/ 42 h 48"/>
                <a:gd name="T66" fmla="*/ 29 w 57"/>
                <a:gd name="T67" fmla="*/ 44 h 48"/>
                <a:gd name="T68" fmla="*/ 30 w 57"/>
                <a:gd name="T69" fmla="*/ 44 h 48"/>
                <a:gd name="T70" fmla="*/ 30 w 57"/>
                <a:gd name="T71" fmla="*/ 42 h 48"/>
                <a:gd name="T72" fmla="*/ 30 w 57"/>
                <a:gd name="T73" fmla="*/ 41 h 48"/>
                <a:gd name="T74" fmla="*/ 31 w 57"/>
                <a:gd name="T75" fmla="*/ 41 h 48"/>
                <a:gd name="T76" fmla="*/ 31 w 57"/>
                <a:gd name="T77" fmla="*/ 42 h 48"/>
                <a:gd name="T78" fmla="*/ 33 w 57"/>
                <a:gd name="T79" fmla="*/ 45 h 48"/>
                <a:gd name="T80" fmla="*/ 38 w 57"/>
                <a:gd name="T81" fmla="*/ 48 h 48"/>
                <a:gd name="T82" fmla="*/ 40 w 57"/>
                <a:gd name="T83" fmla="*/ 47 h 48"/>
                <a:gd name="T84" fmla="*/ 44 w 57"/>
                <a:gd name="T85" fmla="*/ 44 h 48"/>
                <a:gd name="T86" fmla="*/ 46 w 57"/>
                <a:gd name="T87" fmla="*/ 38 h 48"/>
                <a:gd name="T88" fmla="*/ 48 w 57"/>
                <a:gd name="T89" fmla="*/ 34 h 48"/>
                <a:gd name="T90" fmla="*/ 51 w 57"/>
                <a:gd name="T91" fmla="*/ 3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7" h="48">
                  <a:moveTo>
                    <a:pt x="57" y="22"/>
                  </a:moveTo>
                  <a:lnTo>
                    <a:pt x="57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6"/>
                  </a:lnTo>
                  <a:lnTo>
                    <a:pt x="51" y="15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7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3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1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6" y="26"/>
                  </a:lnTo>
                  <a:lnTo>
                    <a:pt x="19" y="29"/>
                  </a:lnTo>
                  <a:lnTo>
                    <a:pt x="23" y="33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7" y="42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4" y="47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2" y="45"/>
                  </a:lnTo>
                  <a:lnTo>
                    <a:pt x="44" y="44"/>
                  </a:lnTo>
                  <a:lnTo>
                    <a:pt x="45" y="41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7" y="2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1" name="Freeform 157"/>
            <p:cNvSpPr>
              <a:spLocks/>
            </p:cNvSpPr>
            <p:nvPr/>
          </p:nvSpPr>
          <p:spPr bwMode="auto">
            <a:xfrm>
              <a:off x="1825" y="2067"/>
              <a:ext cx="45" cy="39"/>
            </a:xfrm>
            <a:custGeom>
              <a:avLst/>
              <a:gdLst>
                <a:gd name="T0" fmla="*/ 57 w 57"/>
                <a:gd name="T1" fmla="*/ 21 h 48"/>
                <a:gd name="T2" fmla="*/ 56 w 57"/>
                <a:gd name="T3" fmla="*/ 19 h 48"/>
                <a:gd name="T4" fmla="*/ 53 w 57"/>
                <a:gd name="T5" fmla="*/ 18 h 48"/>
                <a:gd name="T6" fmla="*/ 51 w 57"/>
                <a:gd name="T7" fmla="*/ 15 h 48"/>
                <a:gd name="T8" fmla="*/ 48 w 57"/>
                <a:gd name="T9" fmla="*/ 14 h 48"/>
                <a:gd name="T10" fmla="*/ 46 w 57"/>
                <a:gd name="T11" fmla="*/ 12 h 48"/>
                <a:gd name="T12" fmla="*/ 46 w 57"/>
                <a:gd name="T13" fmla="*/ 10 h 48"/>
                <a:gd name="T14" fmla="*/ 45 w 57"/>
                <a:gd name="T15" fmla="*/ 8 h 48"/>
                <a:gd name="T16" fmla="*/ 42 w 57"/>
                <a:gd name="T17" fmla="*/ 8 h 48"/>
                <a:gd name="T18" fmla="*/ 40 w 57"/>
                <a:gd name="T19" fmla="*/ 8 h 48"/>
                <a:gd name="T20" fmla="*/ 37 w 57"/>
                <a:gd name="T21" fmla="*/ 7 h 48"/>
                <a:gd name="T22" fmla="*/ 33 w 57"/>
                <a:gd name="T23" fmla="*/ 5 h 48"/>
                <a:gd name="T24" fmla="*/ 30 w 57"/>
                <a:gd name="T25" fmla="*/ 4 h 48"/>
                <a:gd name="T26" fmla="*/ 26 w 57"/>
                <a:gd name="T27" fmla="*/ 5 h 48"/>
                <a:gd name="T28" fmla="*/ 20 w 57"/>
                <a:gd name="T29" fmla="*/ 4 h 48"/>
                <a:gd name="T30" fmla="*/ 16 w 57"/>
                <a:gd name="T31" fmla="*/ 3 h 48"/>
                <a:gd name="T32" fmla="*/ 13 w 57"/>
                <a:gd name="T33" fmla="*/ 3 h 48"/>
                <a:gd name="T34" fmla="*/ 9 w 57"/>
                <a:gd name="T35" fmla="*/ 1 h 48"/>
                <a:gd name="T36" fmla="*/ 5 w 57"/>
                <a:gd name="T37" fmla="*/ 1 h 48"/>
                <a:gd name="T38" fmla="*/ 1 w 57"/>
                <a:gd name="T39" fmla="*/ 1 h 48"/>
                <a:gd name="T40" fmla="*/ 1 w 57"/>
                <a:gd name="T41" fmla="*/ 4 h 48"/>
                <a:gd name="T42" fmla="*/ 1 w 57"/>
                <a:gd name="T43" fmla="*/ 7 h 48"/>
                <a:gd name="T44" fmla="*/ 1 w 57"/>
                <a:gd name="T45" fmla="*/ 10 h 48"/>
                <a:gd name="T46" fmla="*/ 1 w 57"/>
                <a:gd name="T47" fmla="*/ 14 h 48"/>
                <a:gd name="T48" fmla="*/ 1 w 57"/>
                <a:gd name="T49" fmla="*/ 19 h 48"/>
                <a:gd name="T50" fmla="*/ 5 w 57"/>
                <a:gd name="T51" fmla="*/ 26 h 48"/>
                <a:gd name="T52" fmla="*/ 11 w 57"/>
                <a:gd name="T53" fmla="*/ 27 h 48"/>
                <a:gd name="T54" fmla="*/ 9 w 57"/>
                <a:gd name="T55" fmla="*/ 26 h 48"/>
                <a:gd name="T56" fmla="*/ 8 w 57"/>
                <a:gd name="T57" fmla="*/ 25 h 48"/>
                <a:gd name="T58" fmla="*/ 8 w 57"/>
                <a:gd name="T59" fmla="*/ 22 h 48"/>
                <a:gd name="T60" fmla="*/ 9 w 57"/>
                <a:gd name="T61" fmla="*/ 21 h 48"/>
                <a:gd name="T62" fmla="*/ 12 w 57"/>
                <a:gd name="T63" fmla="*/ 22 h 48"/>
                <a:gd name="T64" fmla="*/ 16 w 57"/>
                <a:gd name="T65" fmla="*/ 26 h 48"/>
                <a:gd name="T66" fmla="*/ 23 w 57"/>
                <a:gd name="T67" fmla="*/ 33 h 48"/>
                <a:gd name="T68" fmla="*/ 26 w 57"/>
                <a:gd name="T69" fmla="*/ 38 h 48"/>
                <a:gd name="T70" fmla="*/ 26 w 57"/>
                <a:gd name="T71" fmla="*/ 41 h 48"/>
                <a:gd name="T72" fmla="*/ 27 w 57"/>
                <a:gd name="T73" fmla="*/ 42 h 48"/>
                <a:gd name="T74" fmla="*/ 29 w 57"/>
                <a:gd name="T75" fmla="*/ 44 h 48"/>
                <a:gd name="T76" fmla="*/ 30 w 57"/>
                <a:gd name="T77" fmla="*/ 42 h 48"/>
                <a:gd name="T78" fmla="*/ 31 w 57"/>
                <a:gd name="T79" fmla="*/ 41 h 48"/>
                <a:gd name="T80" fmla="*/ 31 w 57"/>
                <a:gd name="T81" fmla="*/ 44 h 48"/>
                <a:gd name="T82" fmla="*/ 33 w 57"/>
                <a:gd name="T83" fmla="*/ 45 h 48"/>
                <a:gd name="T84" fmla="*/ 35 w 57"/>
                <a:gd name="T85" fmla="*/ 48 h 48"/>
                <a:gd name="T86" fmla="*/ 40 w 57"/>
                <a:gd name="T87" fmla="*/ 47 h 48"/>
                <a:gd name="T88" fmla="*/ 42 w 57"/>
                <a:gd name="T89" fmla="*/ 45 h 48"/>
                <a:gd name="T90" fmla="*/ 45 w 57"/>
                <a:gd name="T91" fmla="*/ 41 h 48"/>
                <a:gd name="T92" fmla="*/ 46 w 57"/>
                <a:gd name="T93" fmla="*/ 38 h 48"/>
                <a:gd name="T94" fmla="*/ 46 w 57"/>
                <a:gd name="T95" fmla="*/ 36 h 48"/>
                <a:gd name="T96" fmla="*/ 48 w 57"/>
                <a:gd name="T97" fmla="*/ 33 h 48"/>
                <a:gd name="T98" fmla="*/ 51 w 57"/>
                <a:gd name="T99" fmla="*/ 30 h 48"/>
                <a:gd name="T100" fmla="*/ 57 w 57"/>
                <a:gd name="T101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7" h="48">
                  <a:moveTo>
                    <a:pt x="57" y="22"/>
                  </a:moveTo>
                  <a:lnTo>
                    <a:pt x="57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3" y="18"/>
                  </a:lnTo>
                  <a:lnTo>
                    <a:pt x="52" y="16"/>
                  </a:lnTo>
                  <a:lnTo>
                    <a:pt x="51" y="15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38" y="8"/>
                  </a:lnTo>
                  <a:lnTo>
                    <a:pt x="37" y="7"/>
                  </a:lnTo>
                  <a:lnTo>
                    <a:pt x="34" y="7"/>
                  </a:lnTo>
                  <a:lnTo>
                    <a:pt x="33" y="5"/>
                  </a:lnTo>
                  <a:lnTo>
                    <a:pt x="31" y="5"/>
                  </a:lnTo>
                  <a:lnTo>
                    <a:pt x="30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3" y="4"/>
                  </a:lnTo>
                  <a:lnTo>
                    <a:pt x="20" y="4"/>
                  </a:lnTo>
                  <a:lnTo>
                    <a:pt x="18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1"/>
                  </a:lnTo>
                  <a:lnTo>
                    <a:pt x="9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1" y="16"/>
                  </a:lnTo>
                  <a:lnTo>
                    <a:pt x="1" y="19"/>
                  </a:lnTo>
                  <a:lnTo>
                    <a:pt x="2" y="23"/>
                  </a:lnTo>
                  <a:lnTo>
                    <a:pt x="5" y="26"/>
                  </a:lnTo>
                  <a:lnTo>
                    <a:pt x="9" y="30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1" y="21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6" y="26"/>
                  </a:lnTo>
                  <a:lnTo>
                    <a:pt x="19" y="29"/>
                  </a:lnTo>
                  <a:lnTo>
                    <a:pt x="23" y="33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7" y="42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31" y="45"/>
                  </a:lnTo>
                  <a:lnTo>
                    <a:pt x="33" y="45"/>
                  </a:lnTo>
                  <a:lnTo>
                    <a:pt x="34" y="47"/>
                  </a:lnTo>
                  <a:lnTo>
                    <a:pt x="35" y="48"/>
                  </a:lnTo>
                  <a:lnTo>
                    <a:pt x="38" y="48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2" y="45"/>
                  </a:lnTo>
                  <a:lnTo>
                    <a:pt x="44" y="44"/>
                  </a:lnTo>
                  <a:lnTo>
                    <a:pt x="45" y="41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7" y="2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2" name="Freeform 158"/>
            <p:cNvSpPr>
              <a:spLocks/>
            </p:cNvSpPr>
            <p:nvPr/>
          </p:nvSpPr>
          <p:spPr bwMode="auto">
            <a:xfrm>
              <a:off x="1857" y="2087"/>
              <a:ext cx="79" cy="27"/>
            </a:xfrm>
            <a:custGeom>
              <a:avLst/>
              <a:gdLst>
                <a:gd name="T0" fmla="*/ 12 w 97"/>
                <a:gd name="T1" fmla="*/ 6 h 33"/>
                <a:gd name="T2" fmla="*/ 9 w 97"/>
                <a:gd name="T3" fmla="*/ 11 h 33"/>
                <a:gd name="T4" fmla="*/ 6 w 97"/>
                <a:gd name="T5" fmla="*/ 15 h 33"/>
                <a:gd name="T6" fmla="*/ 5 w 97"/>
                <a:gd name="T7" fmla="*/ 19 h 33"/>
                <a:gd name="T8" fmla="*/ 1 w 97"/>
                <a:gd name="T9" fmla="*/ 22 h 33"/>
                <a:gd name="T10" fmla="*/ 0 w 97"/>
                <a:gd name="T11" fmla="*/ 22 h 33"/>
                <a:gd name="T12" fmla="*/ 6 w 97"/>
                <a:gd name="T13" fmla="*/ 23 h 33"/>
                <a:gd name="T14" fmla="*/ 8 w 97"/>
                <a:gd name="T15" fmla="*/ 23 h 33"/>
                <a:gd name="T16" fmla="*/ 12 w 97"/>
                <a:gd name="T17" fmla="*/ 22 h 33"/>
                <a:gd name="T18" fmla="*/ 16 w 97"/>
                <a:gd name="T19" fmla="*/ 22 h 33"/>
                <a:gd name="T20" fmla="*/ 26 w 97"/>
                <a:gd name="T21" fmla="*/ 20 h 33"/>
                <a:gd name="T22" fmla="*/ 35 w 97"/>
                <a:gd name="T23" fmla="*/ 20 h 33"/>
                <a:gd name="T24" fmla="*/ 41 w 97"/>
                <a:gd name="T25" fmla="*/ 20 h 33"/>
                <a:gd name="T26" fmla="*/ 48 w 97"/>
                <a:gd name="T27" fmla="*/ 22 h 33"/>
                <a:gd name="T28" fmla="*/ 50 w 97"/>
                <a:gd name="T29" fmla="*/ 24 h 33"/>
                <a:gd name="T30" fmla="*/ 52 w 97"/>
                <a:gd name="T31" fmla="*/ 28 h 33"/>
                <a:gd name="T32" fmla="*/ 59 w 97"/>
                <a:gd name="T33" fmla="*/ 33 h 33"/>
                <a:gd name="T34" fmla="*/ 61 w 97"/>
                <a:gd name="T35" fmla="*/ 33 h 33"/>
                <a:gd name="T36" fmla="*/ 66 w 97"/>
                <a:gd name="T37" fmla="*/ 31 h 33"/>
                <a:gd name="T38" fmla="*/ 67 w 97"/>
                <a:gd name="T39" fmla="*/ 30 h 33"/>
                <a:gd name="T40" fmla="*/ 67 w 97"/>
                <a:gd name="T41" fmla="*/ 28 h 33"/>
                <a:gd name="T42" fmla="*/ 67 w 97"/>
                <a:gd name="T43" fmla="*/ 27 h 33"/>
                <a:gd name="T44" fmla="*/ 64 w 97"/>
                <a:gd name="T45" fmla="*/ 26 h 33"/>
                <a:gd name="T46" fmla="*/ 61 w 97"/>
                <a:gd name="T47" fmla="*/ 24 h 33"/>
                <a:gd name="T48" fmla="*/ 64 w 97"/>
                <a:gd name="T49" fmla="*/ 22 h 33"/>
                <a:gd name="T50" fmla="*/ 67 w 97"/>
                <a:gd name="T51" fmla="*/ 22 h 33"/>
                <a:gd name="T52" fmla="*/ 72 w 97"/>
                <a:gd name="T53" fmla="*/ 19 h 33"/>
                <a:gd name="T54" fmla="*/ 74 w 97"/>
                <a:gd name="T55" fmla="*/ 16 h 33"/>
                <a:gd name="T56" fmla="*/ 75 w 97"/>
                <a:gd name="T57" fmla="*/ 13 h 33"/>
                <a:gd name="T58" fmla="*/ 78 w 97"/>
                <a:gd name="T59" fmla="*/ 12 h 33"/>
                <a:gd name="T60" fmla="*/ 81 w 97"/>
                <a:gd name="T61" fmla="*/ 11 h 33"/>
                <a:gd name="T62" fmla="*/ 85 w 97"/>
                <a:gd name="T63" fmla="*/ 11 h 33"/>
                <a:gd name="T64" fmla="*/ 90 w 97"/>
                <a:gd name="T65" fmla="*/ 15 h 33"/>
                <a:gd name="T66" fmla="*/ 90 w 97"/>
                <a:gd name="T67" fmla="*/ 16 h 33"/>
                <a:gd name="T68" fmla="*/ 93 w 97"/>
                <a:gd name="T69" fmla="*/ 17 h 33"/>
                <a:gd name="T70" fmla="*/ 97 w 97"/>
                <a:gd name="T71" fmla="*/ 15 h 33"/>
                <a:gd name="T72" fmla="*/ 97 w 97"/>
                <a:gd name="T73" fmla="*/ 13 h 33"/>
                <a:gd name="T74" fmla="*/ 96 w 97"/>
                <a:gd name="T75" fmla="*/ 12 h 33"/>
                <a:gd name="T76" fmla="*/ 96 w 97"/>
                <a:gd name="T77" fmla="*/ 9 h 33"/>
                <a:gd name="T78" fmla="*/ 89 w 97"/>
                <a:gd name="T79" fmla="*/ 4 h 33"/>
                <a:gd name="T80" fmla="*/ 83 w 97"/>
                <a:gd name="T81" fmla="*/ 4 h 33"/>
                <a:gd name="T82" fmla="*/ 79 w 97"/>
                <a:gd name="T83" fmla="*/ 4 h 33"/>
                <a:gd name="T84" fmla="*/ 77 w 97"/>
                <a:gd name="T85" fmla="*/ 2 h 33"/>
                <a:gd name="T86" fmla="*/ 75 w 97"/>
                <a:gd name="T87" fmla="*/ 2 h 33"/>
                <a:gd name="T88" fmla="*/ 63 w 97"/>
                <a:gd name="T89" fmla="*/ 5 h 33"/>
                <a:gd name="T90" fmla="*/ 55 w 97"/>
                <a:gd name="T91" fmla="*/ 8 h 33"/>
                <a:gd name="T92" fmla="*/ 50 w 97"/>
                <a:gd name="T93" fmla="*/ 9 h 33"/>
                <a:gd name="T94" fmla="*/ 46 w 97"/>
                <a:gd name="T95" fmla="*/ 9 h 33"/>
                <a:gd name="T96" fmla="*/ 41 w 97"/>
                <a:gd name="T97" fmla="*/ 8 h 33"/>
                <a:gd name="T98" fmla="*/ 39 w 97"/>
                <a:gd name="T99" fmla="*/ 6 h 33"/>
                <a:gd name="T100" fmla="*/ 38 w 97"/>
                <a:gd name="T101" fmla="*/ 6 h 33"/>
                <a:gd name="T102" fmla="*/ 35 w 97"/>
                <a:gd name="T103" fmla="*/ 5 h 33"/>
                <a:gd name="T104" fmla="*/ 19 w 97"/>
                <a:gd name="T10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7" h="33">
                  <a:moveTo>
                    <a:pt x="19" y="0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11" y="8"/>
                  </a:lnTo>
                  <a:lnTo>
                    <a:pt x="9" y="9"/>
                  </a:lnTo>
                  <a:lnTo>
                    <a:pt x="9" y="11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5" y="30"/>
                  </a:lnTo>
                  <a:lnTo>
                    <a:pt x="56" y="31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4" y="31"/>
                  </a:lnTo>
                  <a:lnTo>
                    <a:pt x="66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1" y="24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6" y="12"/>
                  </a:lnTo>
                  <a:lnTo>
                    <a:pt x="88" y="13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4" y="6"/>
                  </a:lnTo>
                  <a:lnTo>
                    <a:pt x="92" y="5"/>
                  </a:lnTo>
                  <a:lnTo>
                    <a:pt x="89" y="4"/>
                  </a:lnTo>
                  <a:lnTo>
                    <a:pt x="86" y="4"/>
                  </a:lnTo>
                  <a:lnTo>
                    <a:pt x="85" y="4"/>
                  </a:lnTo>
                  <a:lnTo>
                    <a:pt x="83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79" y="4"/>
                  </a:lnTo>
                  <a:lnTo>
                    <a:pt x="78" y="4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67" y="5"/>
                  </a:lnTo>
                  <a:lnTo>
                    <a:pt x="63" y="5"/>
                  </a:lnTo>
                  <a:lnTo>
                    <a:pt x="60" y="6"/>
                  </a:lnTo>
                  <a:lnTo>
                    <a:pt x="57" y="6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4" y="8"/>
                  </a:lnTo>
                  <a:lnTo>
                    <a:pt x="41" y="8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0" y="4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3" name="Freeform 159"/>
            <p:cNvSpPr>
              <a:spLocks/>
            </p:cNvSpPr>
            <p:nvPr/>
          </p:nvSpPr>
          <p:spPr bwMode="auto">
            <a:xfrm>
              <a:off x="1857" y="2087"/>
              <a:ext cx="79" cy="27"/>
            </a:xfrm>
            <a:custGeom>
              <a:avLst/>
              <a:gdLst>
                <a:gd name="T0" fmla="*/ 13 w 97"/>
                <a:gd name="T1" fmla="*/ 6 h 33"/>
                <a:gd name="T2" fmla="*/ 11 w 97"/>
                <a:gd name="T3" fmla="*/ 8 h 33"/>
                <a:gd name="T4" fmla="*/ 9 w 97"/>
                <a:gd name="T5" fmla="*/ 11 h 33"/>
                <a:gd name="T6" fmla="*/ 8 w 97"/>
                <a:gd name="T7" fmla="*/ 13 h 33"/>
                <a:gd name="T8" fmla="*/ 6 w 97"/>
                <a:gd name="T9" fmla="*/ 17 h 33"/>
                <a:gd name="T10" fmla="*/ 4 w 97"/>
                <a:gd name="T11" fmla="*/ 20 h 33"/>
                <a:gd name="T12" fmla="*/ 1 w 97"/>
                <a:gd name="T13" fmla="*/ 22 h 33"/>
                <a:gd name="T14" fmla="*/ 6 w 97"/>
                <a:gd name="T15" fmla="*/ 23 h 33"/>
                <a:gd name="T16" fmla="*/ 9 w 97"/>
                <a:gd name="T17" fmla="*/ 23 h 33"/>
                <a:gd name="T18" fmla="*/ 12 w 97"/>
                <a:gd name="T19" fmla="*/ 22 h 33"/>
                <a:gd name="T20" fmla="*/ 16 w 97"/>
                <a:gd name="T21" fmla="*/ 22 h 33"/>
                <a:gd name="T22" fmla="*/ 22 w 97"/>
                <a:gd name="T23" fmla="*/ 20 h 33"/>
                <a:gd name="T24" fmla="*/ 30 w 97"/>
                <a:gd name="T25" fmla="*/ 20 h 33"/>
                <a:gd name="T26" fmla="*/ 35 w 97"/>
                <a:gd name="T27" fmla="*/ 20 h 33"/>
                <a:gd name="T28" fmla="*/ 38 w 97"/>
                <a:gd name="T29" fmla="*/ 20 h 33"/>
                <a:gd name="T30" fmla="*/ 44 w 97"/>
                <a:gd name="T31" fmla="*/ 20 h 33"/>
                <a:gd name="T32" fmla="*/ 48 w 97"/>
                <a:gd name="T33" fmla="*/ 22 h 33"/>
                <a:gd name="T34" fmla="*/ 50 w 97"/>
                <a:gd name="T35" fmla="*/ 24 h 33"/>
                <a:gd name="T36" fmla="*/ 52 w 97"/>
                <a:gd name="T37" fmla="*/ 27 h 33"/>
                <a:gd name="T38" fmla="*/ 55 w 97"/>
                <a:gd name="T39" fmla="*/ 30 h 33"/>
                <a:gd name="T40" fmla="*/ 59 w 97"/>
                <a:gd name="T41" fmla="*/ 33 h 33"/>
                <a:gd name="T42" fmla="*/ 61 w 97"/>
                <a:gd name="T43" fmla="*/ 33 h 33"/>
                <a:gd name="T44" fmla="*/ 64 w 97"/>
                <a:gd name="T45" fmla="*/ 31 h 33"/>
                <a:gd name="T46" fmla="*/ 67 w 97"/>
                <a:gd name="T47" fmla="*/ 30 h 33"/>
                <a:gd name="T48" fmla="*/ 67 w 97"/>
                <a:gd name="T49" fmla="*/ 27 h 33"/>
                <a:gd name="T50" fmla="*/ 64 w 97"/>
                <a:gd name="T51" fmla="*/ 26 h 33"/>
                <a:gd name="T52" fmla="*/ 63 w 97"/>
                <a:gd name="T53" fmla="*/ 24 h 33"/>
                <a:gd name="T54" fmla="*/ 61 w 97"/>
                <a:gd name="T55" fmla="*/ 23 h 33"/>
                <a:gd name="T56" fmla="*/ 64 w 97"/>
                <a:gd name="T57" fmla="*/ 22 h 33"/>
                <a:gd name="T58" fmla="*/ 67 w 97"/>
                <a:gd name="T59" fmla="*/ 22 h 33"/>
                <a:gd name="T60" fmla="*/ 70 w 97"/>
                <a:gd name="T61" fmla="*/ 20 h 33"/>
                <a:gd name="T62" fmla="*/ 74 w 97"/>
                <a:gd name="T63" fmla="*/ 17 h 33"/>
                <a:gd name="T64" fmla="*/ 74 w 97"/>
                <a:gd name="T65" fmla="*/ 15 h 33"/>
                <a:gd name="T66" fmla="*/ 75 w 97"/>
                <a:gd name="T67" fmla="*/ 13 h 33"/>
                <a:gd name="T68" fmla="*/ 78 w 97"/>
                <a:gd name="T69" fmla="*/ 12 h 33"/>
                <a:gd name="T70" fmla="*/ 79 w 97"/>
                <a:gd name="T71" fmla="*/ 11 h 33"/>
                <a:gd name="T72" fmla="*/ 82 w 97"/>
                <a:gd name="T73" fmla="*/ 11 h 33"/>
                <a:gd name="T74" fmla="*/ 85 w 97"/>
                <a:gd name="T75" fmla="*/ 11 h 33"/>
                <a:gd name="T76" fmla="*/ 88 w 97"/>
                <a:gd name="T77" fmla="*/ 13 h 33"/>
                <a:gd name="T78" fmla="*/ 90 w 97"/>
                <a:gd name="T79" fmla="*/ 16 h 33"/>
                <a:gd name="T80" fmla="*/ 93 w 97"/>
                <a:gd name="T81" fmla="*/ 17 h 33"/>
                <a:gd name="T82" fmla="*/ 96 w 97"/>
                <a:gd name="T83" fmla="*/ 19 h 33"/>
                <a:gd name="T84" fmla="*/ 97 w 97"/>
                <a:gd name="T85" fmla="*/ 13 h 33"/>
                <a:gd name="T86" fmla="*/ 96 w 97"/>
                <a:gd name="T87" fmla="*/ 11 h 33"/>
                <a:gd name="T88" fmla="*/ 94 w 97"/>
                <a:gd name="T89" fmla="*/ 6 h 33"/>
                <a:gd name="T90" fmla="*/ 89 w 97"/>
                <a:gd name="T91" fmla="*/ 4 h 33"/>
                <a:gd name="T92" fmla="*/ 85 w 97"/>
                <a:gd name="T93" fmla="*/ 4 h 33"/>
                <a:gd name="T94" fmla="*/ 82 w 97"/>
                <a:gd name="T95" fmla="*/ 4 h 33"/>
                <a:gd name="T96" fmla="*/ 78 w 97"/>
                <a:gd name="T97" fmla="*/ 4 h 33"/>
                <a:gd name="T98" fmla="*/ 75 w 97"/>
                <a:gd name="T99" fmla="*/ 2 h 33"/>
                <a:gd name="T100" fmla="*/ 63 w 97"/>
                <a:gd name="T101" fmla="*/ 5 h 33"/>
                <a:gd name="T102" fmla="*/ 57 w 97"/>
                <a:gd name="T103" fmla="*/ 6 h 33"/>
                <a:gd name="T104" fmla="*/ 53 w 97"/>
                <a:gd name="T105" fmla="*/ 8 h 33"/>
                <a:gd name="T106" fmla="*/ 50 w 97"/>
                <a:gd name="T107" fmla="*/ 9 h 33"/>
                <a:gd name="T108" fmla="*/ 46 w 97"/>
                <a:gd name="T109" fmla="*/ 9 h 33"/>
                <a:gd name="T110" fmla="*/ 44 w 97"/>
                <a:gd name="T111" fmla="*/ 8 h 33"/>
                <a:gd name="T112" fmla="*/ 39 w 97"/>
                <a:gd name="T113" fmla="*/ 6 h 33"/>
                <a:gd name="T114" fmla="*/ 37 w 97"/>
                <a:gd name="T115" fmla="*/ 5 h 33"/>
                <a:gd name="T116" fmla="*/ 33 w 97"/>
                <a:gd name="T117" fmla="*/ 5 h 33"/>
                <a:gd name="T118" fmla="*/ 19 w 97"/>
                <a:gd name="T11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33">
                  <a:moveTo>
                    <a:pt x="19" y="0"/>
                  </a:moveTo>
                  <a:lnTo>
                    <a:pt x="13" y="6"/>
                  </a:lnTo>
                  <a:lnTo>
                    <a:pt x="12" y="6"/>
                  </a:lnTo>
                  <a:lnTo>
                    <a:pt x="11" y="8"/>
                  </a:lnTo>
                  <a:lnTo>
                    <a:pt x="9" y="9"/>
                  </a:lnTo>
                  <a:lnTo>
                    <a:pt x="9" y="11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5" y="19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4" y="20"/>
                  </a:lnTo>
                  <a:lnTo>
                    <a:pt x="46" y="20"/>
                  </a:lnTo>
                  <a:lnTo>
                    <a:pt x="48" y="22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0" y="26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5" y="30"/>
                  </a:lnTo>
                  <a:lnTo>
                    <a:pt x="56" y="31"/>
                  </a:lnTo>
                  <a:lnTo>
                    <a:pt x="59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4" y="31"/>
                  </a:lnTo>
                  <a:lnTo>
                    <a:pt x="66" y="31"/>
                  </a:lnTo>
                  <a:lnTo>
                    <a:pt x="67" y="30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4"/>
                  </a:lnTo>
                  <a:lnTo>
                    <a:pt x="61" y="24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4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2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6" y="12"/>
                  </a:lnTo>
                  <a:lnTo>
                    <a:pt x="88" y="13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3" y="17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7" y="15"/>
                  </a:lnTo>
                  <a:lnTo>
                    <a:pt x="97" y="13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4" y="6"/>
                  </a:lnTo>
                  <a:lnTo>
                    <a:pt x="92" y="5"/>
                  </a:lnTo>
                  <a:lnTo>
                    <a:pt x="89" y="4"/>
                  </a:lnTo>
                  <a:lnTo>
                    <a:pt x="86" y="4"/>
                  </a:lnTo>
                  <a:lnTo>
                    <a:pt x="85" y="4"/>
                  </a:lnTo>
                  <a:lnTo>
                    <a:pt x="83" y="4"/>
                  </a:lnTo>
                  <a:lnTo>
                    <a:pt x="82" y="4"/>
                  </a:lnTo>
                  <a:lnTo>
                    <a:pt x="79" y="4"/>
                  </a:lnTo>
                  <a:lnTo>
                    <a:pt x="78" y="4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67" y="5"/>
                  </a:lnTo>
                  <a:lnTo>
                    <a:pt x="63" y="5"/>
                  </a:lnTo>
                  <a:lnTo>
                    <a:pt x="60" y="6"/>
                  </a:lnTo>
                  <a:lnTo>
                    <a:pt x="57" y="6"/>
                  </a:lnTo>
                  <a:lnTo>
                    <a:pt x="55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4" y="8"/>
                  </a:lnTo>
                  <a:lnTo>
                    <a:pt x="41" y="8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7" y="5"/>
                  </a:lnTo>
                  <a:lnTo>
                    <a:pt x="35" y="5"/>
                  </a:lnTo>
                  <a:lnTo>
                    <a:pt x="33" y="5"/>
                  </a:lnTo>
                  <a:lnTo>
                    <a:pt x="30" y="4"/>
                  </a:lnTo>
                  <a:lnTo>
                    <a:pt x="19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4" name="Freeform 160"/>
            <p:cNvSpPr>
              <a:spLocks/>
            </p:cNvSpPr>
            <p:nvPr/>
          </p:nvSpPr>
          <p:spPr bwMode="auto">
            <a:xfrm>
              <a:off x="1450" y="1774"/>
              <a:ext cx="372" cy="239"/>
            </a:xfrm>
            <a:custGeom>
              <a:avLst/>
              <a:gdLst>
                <a:gd name="T0" fmla="*/ 450 w 460"/>
                <a:gd name="T1" fmla="*/ 213 h 296"/>
                <a:gd name="T2" fmla="*/ 456 w 460"/>
                <a:gd name="T3" fmla="*/ 207 h 296"/>
                <a:gd name="T4" fmla="*/ 460 w 460"/>
                <a:gd name="T5" fmla="*/ 201 h 296"/>
                <a:gd name="T6" fmla="*/ 459 w 460"/>
                <a:gd name="T7" fmla="*/ 194 h 296"/>
                <a:gd name="T8" fmla="*/ 445 w 460"/>
                <a:gd name="T9" fmla="*/ 191 h 296"/>
                <a:gd name="T10" fmla="*/ 419 w 460"/>
                <a:gd name="T11" fmla="*/ 196 h 296"/>
                <a:gd name="T12" fmla="*/ 409 w 460"/>
                <a:gd name="T13" fmla="*/ 196 h 296"/>
                <a:gd name="T14" fmla="*/ 399 w 460"/>
                <a:gd name="T15" fmla="*/ 198 h 296"/>
                <a:gd name="T16" fmla="*/ 397 w 460"/>
                <a:gd name="T17" fmla="*/ 212 h 296"/>
                <a:gd name="T18" fmla="*/ 394 w 460"/>
                <a:gd name="T19" fmla="*/ 223 h 296"/>
                <a:gd name="T20" fmla="*/ 383 w 460"/>
                <a:gd name="T21" fmla="*/ 229 h 296"/>
                <a:gd name="T22" fmla="*/ 372 w 460"/>
                <a:gd name="T23" fmla="*/ 234 h 296"/>
                <a:gd name="T24" fmla="*/ 339 w 460"/>
                <a:gd name="T25" fmla="*/ 233 h 296"/>
                <a:gd name="T26" fmla="*/ 313 w 460"/>
                <a:gd name="T27" fmla="*/ 222 h 296"/>
                <a:gd name="T28" fmla="*/ 304 w 460"/>
                <a:gd name="T29" fmla="*/ 208 h 296"/>
                <a:gd name="T30" fmla="*/ 295 w 460"/>
                <a:gd name="T31" fmla="*/ 174 h 296"/>
                <a:gd name="T32" fmla="*/ 289 w 460"/>
                <a:gd name="T33" fmla="*/ 143 h 296"/>
                <a:gd name="T34" fmla="*/ 277 w 460"/>
                <a:gd name="T35" fmla="*/ 108 h 296"/>
                <a:gd name="T36" fmla="*/ 247 w 460"/>
                <a:gd name="T37" fmla="*/ 70 h 296"/>
                <a:gd name="T38" fmla="*/ 225 w 460"/>
                <a:gd name="T39" fmla="*/ 61 h 296"/>
                <a:gd name="T40" fmla="*/ 200 w 460"/>
                <a:gd name="T41" fmla="*/ 60 h 296"/>
                <a:gd name="T42" fmla="*/ 171 w 460"/>
                <a:gd name="T43" fmla="*/ 16 h 296"/>
                <a:gd name="T44" fmla="*/ 144 w 460"/>
                <a:gd name="T45" fmla="*/ 13 h 296"/>
                <a:gd name="T46" fmla="*/ 116 w 460"/>
                <a:gd name="T47" fmla="*/ 24 h 296"/>
                <a:gd name="T48" fmla="*/ 64 w 460"/>
                <a:gd name="T49" fmla="*/ 16 h 296"/>
                <a:gd name="T50" fmla="*/ 31 w 460"/>
                <a:gd name="T51" fmla="*/ 0 h 296"/>
                <a:gd name="T52" fmla="*/ 7 w 460"/>
                <a:gd name="T53" fmla="*/ 25 h 296"/>
                <a:gd name="T54" fmla="*/ 28 w 460"/>
                <a:gd name="T55" fmla="*/ 70 h 296"/>
                <a:gd name="T56" fmla="*/ 39 w 460"/>
                <a:gd name="T57" fmla="*/ 97 h 296"/>
                <a:gd name="T58" fmla="*/ 67 w 460"/>
                <a:gd name="T59" fmla="*/ 125 h 296"/>
                <a:gd name="T60" fmla="*/ 94 w 460"/>
                <a:gd name="T61" fmla="*/ 165 h 296"/>
                <a:gd name="T62" fmla="*/ 116 w 460"/>
                <a:gd name="T63" fmla="*/ 176 h 296"/>
                <a:gd name="T64" fmla="*/ 104 w 460"/>
                <a:gd name="T65" fmla="*/ 149 h 296"/>
                <a:gd name="T66" fmla="*/ 86 w 460"/>
                <a:gd name="T67" fmla="*/ 120 h 296"/>
                <a:gd name="T68" fmla="*/ 57 w 460"/>
                <a:gd name="T69" fmla="*/ 77 h 296"/>
                <a:gd name="T70" fmla="*/ 35 w 460"/>
                <a:gd name="T71" fmla="*/ 25 h 296"/>
                <a:gd name="T72" fmla="*/ 51 w 460"/>
                <a:gd name="T73" fmla="*/ 24 h 296"/>
                <a:gd name="T74" fmla="*/ 93 w 460"/>
                <a:gd name="T75" fmla="*/ 91 h 296"/>
                <a:gd name="T76" fmla="*/ 116 w 460"/>
                <a:gd name="T77" fmla="*/ 108 h 296"/>
                <a:gd name="T78" fmla="*/ 155 w 460"/>
                <a:gd name="T79" fmla="*/ 156 h 296"/>
                <a:gd name="T80" fmla="*/ 174 w 460"/>
                <a:gd name="T81" fmla="*/ 198 h 296"/>
                <a:gd name="T82" fmla="*/ 183 w 460"/>
                <a:gd name="T83" fmla="*/ 238 h 296"/>
                <a:gd name="T84" fmla="*/ 214 w 460"/>
                <a:gd name="T85" fmla="*/ 245 h 296"/>
                <a:gd name="T86" fmla="*/ 270 w 460"/>
                <a:gd name="T87" fmla="*/ 267 h 296"/>
                <a:gd name="T88" fmla="*/ 324 w 460"/>
                <a:gd name="T89" fmla="*/ 285 h 296"/>
                <a:gd name="T90" fmla="*/ 357 w 460"/>
                <a:gd name="T91" fmla="*/ 285 h 296"/>
                <a:gd name="T92" fmla="*/ 372 w 460"/>
                <a:gd name="T93" fmla="*/ 289 h 296"/>
                <a:gd name="T94" fmla="*/ 379 w 460"/>
                <a:gd name="T95" fmla="*/ 286 h 296"/>
                <a:gd name="T96" fmla="*/ 384 w 460"/>
                <a:gd name="T97" fmla="*/ 277 h 296"/>
                <a:gd name="T98" fmla="*/ 382 w 460"/>
                <a:gd name="T99" fmla="*/ 268 h 296"/>
                <a:gd name="T100" fmla="*/ 413 w 460"/>
                <a:gd name="T101" fmla="*/ 252 h 296"/>
                <a:gd name="T102" fmla="*/ 430 w 460"/>
                <a:gd name="T103" fmla="*/ 229 h 296"/>
                <a:gd name="T104" fmla="*/ 435 w 460"/>
                <a:gd name="T105" fmla="*/ 227 h 296"/>
                <a:gd name="T106" fmla="*/ 441 w 460"/>
                <a:gd name="T107" fmla="*/ 222 h 296"/>
                <a:gd name="T108" fmla="*/ 446 w 460"/>
                <a:gd name="T109" fmla="*/ 22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0" h="296">
                  <a:moveTo>
                    <a:pt x="446" y="220"/>
                  </a:moveTo>
                  <a:lnTo>
                    <a:pt x="448" y="220"/>
                  </a:lnTo>
                  <a:lnTo>
                    <a:pt x="448" y="219"/>
                  </a:lnTo>
                  <a:lnTo>
                    <a:pt x="449" y="218"/>
                  </a:lnTo>
                  <a:lnTo>
                    <a:pt x="449" y="216"/>
                  </a:lnTo>
                  <a:lnTo>
                    <a:pt x="450" y="215"/>
                  </a:lnTo>
                  <a:lnTo>
                    <a:pt x="450" y="213"/>
                  </a:lnTo>
                  <a:lnTo>
                    <a:pt x="452" y="212"/>
                  </a:lnTo>
                  <a:lnTo>
                    <a:pt x="452" y="211"/>
                  </a:lnTo>
                  <a:lnTo>
                    <a:pt x="452" y="211"/>
                  </a:lnTo>
                  <a:lnTo>
                    <a:pt x="452" y="211"/>
                  </a:lnTo>
                  <a:lnTo>
                    <a:pt x="453" y="209"/>
                  </a:lnTo>
                  <a:lnTo>
                    <a:pt x="454" y="208"/>
                  </a:lnTo>
                  <a:lnTo>
                    <a:pt x="456" y="207"/>
                  </a:lnTo>
                  <a:lnTo>
                    <a:pt x="456" y="205"/>
                  </a:lnTo>
                  <a:lnTo>
                    <a:pt x="457" y="204"/>
                  </a:lnTo>
                  <a:lnTo>
                    <a:pt x="457" y="204"/>
                  </a:lnTo>
                  <a:lnTo>
                    <a:pt x="457" y="202"/>
                  </a:lnTo>
                  <a:lnTo>
                    <a:pt x="459" y="202"/>
                  </a:lnTo>
                  <a:lnTo>
                    <a:pt x="459" y="201"/>
                  </a:lnTo>
                  <a:lnTo>
                    <a:pt x="460" y="201"/>
                  </a:lnTo>
                  <a:lnTo>
                    <a:pt x="460" y="200"/>
                  </a:lnTo>
                  <a:lnTo>
                    <a:pt x="460" y="198"/>
                  </a:lnTo>
                  <a:lnTo>
                    <a:pt x="460" y="197"/>
                  </a:lnTo>
                  <a:lnTo>
                    <a:pt x="460" y="196"/>
                  </a:lnTo>
                  <a:lnTo>
                    <a:pt x="460" y="194"/>
                  </a:lnTo>
                  <a:lnTo>
                    <a:pt x="460" y="194"/>
                  </a:lnTo>
                  <a:lnTo>
                    <a:pt x="459" y="194"/>
                  </a:lnTo>
                  <a:lnTo>
                    <a:pt x="457" y="194"/>
                  </a:lnTo>
                  <a:lnTo>
                    <a:pt x="456" y="193"/>
                  </a:lnTo>
                  <a:lnTo>
                    <a:pt x="454" y="193"/>
                  </a:lnTo>
                  <a:lnTo>
                    <a:pt x="452" y="193"/>
                  </a:lnTo>
                  <a:lnTo>
                    <a:pt x="448" y="193"/>
                  </a:lnTo>
                  <a:lnTo>
                    <a:pt x="448" y="193"/>
                  </a:lnTo>
                  <a:lnTo>
                    <a:pt x="445" y="191"/>
                  </a:lnTo>
                  <a:lnTo>
                    <a:pt x="441" y="191"/>
                  </a:lnTo>
                  <a:lnTo>
                    <a:pt x="437" y="191"/>
                  </a:lnTo>
                  <a:lnTo>
                    <a:pt x="432" y="193"/>
                  </a:lnTo>
                  <a:lnTo>
                    <a:pt x="427" y="193"/>
                  </a:lnTo>
                  <a:lnTo>
                    <a:pt x="423" y="194"/>
                  </a:lnTo>
                  <a:lnTo>
                    <a:pt x="419" y="196"/>
                  </a:lnTo>
                  <a:lnTo>
                    <a:pt x="419" y="196"/>
                  </a:lnTo>
                  <a:lnTo>
                    <a:pt x="419" y="196"/>
                  </a:lnTo>
                  <a:lnTo>
                    <a:pt x="416" y="196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2" y="196"/>
                  </a:lnTo>
                  <a:lnTo>
                    <a:pt x="409" y="196"/>
                  </a:lnTo>
                  <a:lnTo>
                    <a:pt x="409" y="196"/>
                  </a:lnTo>
                  <a:lnTo>
                    <a:pt x="408" y="196"/>
                  </a:lnTo>
                  <a:lnTo>
                    <a:pt x="408" y="196"/>
                  </a:lnTo>
                  <a:lnTo>
                    <a:pt x="406" y="194"/>
                  </a:lnTo>
                  <a:lnTo>
                    <a:pt x="405" y="194"/>
                  </a:lnTo>
                  <a:lnTo>
                    <a:pt x="402" y="194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201"/>
                  </a:lnTo>
                  <a:lnTo>
                    <a:pt x="398" y="201"/>
                  </a:lnTo>
                  <a:lnTo>
                    <a:pt x="398" y="202"/>
                  </a:lnTo>
                  <a:lnTo>
                    <a:pt x="398" y="204"/>
                  </a:lnTo>
                  <a:lnTo>
                    <a:pt x="398" y="207"/>
                  </a:lnTo>
                  <a:lnTo>
                    <a:pt x="397" y="209"/>
                  </a:lnTo>
                  <a:lnTo>
                    <a:pt x="397" y="212"/>
                  </a:lnTo>
                  <a:lnTo>
                    <a:pt x="397" y="215"/>
                  </a:lnTo>
                  <a:lnTo>
                    <a:pt x="397" y="216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9"/>
                  </a:lnTo>
                  <a:lnTo>
                    <a:pt x="395" y="222"/>
                  </a:lnTo>
                  <a:lnTo>
                    <a:pt x="394" y="223"/>
                  </a:lnTo>
                  <a:lnTo>
                    <a:pt x="393" y="224"/>
                  </a:lnTo>
                  <a:lnTo>
                    <a:pt x="391" y="227"/>
                  </a:lnTo>
                  <a:lnTo>
                    <a:pt x="388" y="227"/>
                  </a:lnTo>
                  <a:lnTo>
                    <a:pt x="387" y="229"/>
                  </a:lnTo>
                  <a:lnTo>
                    <a:pt x="387" y="229"/>
                  </a:lnTo>
                  <a:lnTo>
                    <a:pt x="384" y="229"/>
                  </a:lnTo>
                  <a:lnTo>
                    <a:pt x="383" y="229"/>
                  </a:lnTo>
                  <a:lnTo>
                    <a:pt x="380" y="230"/>
                  </a:lnTo>
                  <a:lnTo>
                    <a:pt x="379" y="230"/>
                  </a:lnTo>
                  <a:lnTo>
                    <a:pt x="376" y="231"/>
                  </a:lnTo>
                  <a:lnTo>
                    <a:pt x="375" y="233"/>
                  </a:lnTo>
                  <a:lnTo>
                    <a:pt x="375" y="233"/>
                  </a:lnTo>
                  <a:lnTo>
                    <a:pt x="373" y="233"/>
                  </a:lnTo>
                  <a:lnTo>
                    <a:pt x="372" y="234"/>
                  </a:lnTo>
                  <a:lnTo>
                    <a:pt x="369" y="234"/>
                  </a:lnTo>
                  <a:lnTo>
                    <a:pt x="365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1" y="234"/>
                  </a:lnTo>
                  <a:lnTo>
                    <a:pt x="344" y="233"/>
                  </a:lnTo>
                  <a:lnTo>
                    <a:pt x="339" y="233"/>
                  </a:lnTo>
                  <a:lnTo>
                    <a:pt x="333" y="231"/>
                  </a:lnTo>
                  <a:lnTo>
                    <a:pt x="329" y="230"/>
                  </a:lnTo>
                  <a:lnTo>
                    <a:pt x="324" y="229"/>
                  </a:lnTo>
                  <a:lnTo>
                    <a:pt x="320" y="227"/>
                  </a:lnTo>
                  <a:lnTo>
                    <a:pt x="316" y="224"/>
                  </a:lnTo>
                  <a:lnTo>
                    <a:pt x="313" y="222"/>
                  </a:lnTo>
                  <a:lnTo>
                    <a:pt x="313" y="222"/>
                  </a:lnTo>
                  <a:lnTo>
                    <a:pt x="311" y="222"/>
                  </a:lnTo>
                  <a:lnTo>
                    <a:pt x="310" y="222"/>
                  </a:lnTo>
                  <a:lnTo>
                    <a:pt x="309" y="220"/>
                  </a:lnTo>
                  <a:lnTo>
                    <a:pt x="307" y="218"/>
                  </a:lnTo>
                  <a:lnTo>
                    <a:pt x="306" y="215"/>
                  </a:lnTo>
                  <a:lnTo>
                    <a:pt x="304" y="212"/>
                  </a:lnTo>
                  <a:lnTo>
                    <a:pt x="304" y="208"/>
                  </a:lnTo>
                  <a:lnTo>
                    <a:pt x="304" y="207"/>
                  </a:lnTo>
                  <a:lnTo>
                    <a:pt x="303" y="204"/>
                  </a:lnTo>
                  <a:lnTo>
                    <a:pt x="303" y="198"/>
                  </a:lnTo>
                  <a:lnTo>
                    <a:pt x="302" y="193"/>
                  </a:lnTo>
                  <a:lnTo>
                    <a:pt x="300" y="186"/>
                  </a:lnTo>
                  <a:lnTo>
                    <a:pt x="298" y="179"/>
                  </a:lnTo>
                  <a:lnTo>
                    <a:pt x="295" y="174"/>
                  </a:lnTo>
                  <a:lnTo>
                    <a:pt x="292" y="168"/>
                  </a:lnTo>
                  <a:lnTo>
                    <a:pt x="292" y="167"/>
                  </a:lnTo>
                  <a:lnTo>
                    <a:pt x="291" y="164"/>
                  </a:lnTo>
                  <a:lnTo>
                    <a:pt x="291" y="158"/>
                  </a:lnTo>
                  <a:lnTo>
                    <a:pt x="289" y="154"/>
                  </a:lnTo>
                  <a:lnTo>
                    <a:pt x="289" y="149"/>
                  </a:lnTo>
                  <a:lnTo>
                    <a:pt x="289" y="143"/>
                  </a:lnTo>
                  <a:lnTo>
                    <a:pt x="291" y="138"/>
                  </a:lnTo>
                  <a:lnTo>
                    <a:pt x="292" y="134"/>
                  </a:lnTo>
                  <a:lnTo>
                    <a:pt x="289" y="114"/>
                  </a:lnTo>
                  <a:lnTo>
                    <a:pt x="289" y="114"/>
                  </a:lnTo>
                  <a:lnTo>
                    <a:pt x="287" y="113"/>
                  </a:lnTo>
                  <a:lnTo>
                    <a:pt x="281" y="110"/>
                  </a:lnTo>
                  <a:lnTo>
                    <a:pt x="277" y="108"/>
                  </a:lnTo>
                  <a:lnTo>
                    <a:pt x="270" y="102"/>
                  </a:lnTo>
                  <a:lnTo>
                    <a:pt x="263" y="95"/>
                  </a:lnTo>
                  <a:lnTo>
                    <a:pt x="258" y="87"/>
                  </a:lnTo>
                  <a:lnTo>
                    <a:pt x="251" y="76"/>
                  </a:lnTo>
                  <a:lnTo>
                    <a:pt x="251" y="76"/>
                  </a:lnTo>
                  <a:lnTo>
                    <a:pt x="249" y="73"/>
                  </a:lnTo>
                  <a:lnTo>
                    <a:pt x="247" y="70"/>
                  </a:lnTo>
                  <a:lnTo>
                    <a:pt x="244" y="68"/>
                  </a:lnTo>
                  <a:lnTo>
                    <a:pt x="240" y="64"/>
                  </a:lnTo>
                  <a:lnTo>
                    <a:pt x="236" y="61"/>
                  </a:lnTo>
                  <a:lnTo>
                    <a:pt x="232" y="60"/>
                  </a:lnTo>
                  <a:lnTo>
                    <a:pt x="226" y="60"/>
                  </a:lnTo>
                  <a:lnTo>
                    <a:pt x="226" y="61"/>
                  </a:lnTo>
                  <a:lnTo>
                    <a:pt x="225" y="61"/>
                  </a:lnTo>
                  <a:lnTo>
                    <a:pt x="222" y="62"/>
                  </a:lnTo>
                  <a:lnTo>
                    <a:pt x="219" y="64"/>
                  </a:lnTo>
                  <a:lnTo>
                    <a:pt x="215" y="65"/>
                  </a:lnTo>
                  <a:lnTo>
                    <a:pt x="211" y="65"/>
                  </a:lnTo>
                  <a:lnTo>
                    <a:pt x="207" y="64"/>
                  </a:lnTo>
                  <a:lnTo>
                    <a:pt x="201" y="60"/>
                  </a:lnTo>
                  <a:lnTo>
                    <a:pt x="200" y="60"/>
                  </a:lnTo>
                  <a:lnTo>
                    <a:pt x="196" y="57"/>
                  </a:lnTo>
                  <a:lnTo>
                    <a:pt x="192" y="54"/>
                  </a:lnTo>
                  <a:lnTo>
                    <a:pt x="186" y="49"/>
                  </a:lnTo>
                  <a:lnTo>
                    <a:pt x="182" y="43"/>
                  </a:lnTo>
                  <a:lnTo>
                    <a:pt x="177" y="35"/>
                  </a:lnTo>
                  <a:lnTo>
                    <a:pt x="174" y="27"/>
                  </a:lnTo>
                  <a:lnTo>
                    <a:pt x="171" y="16"/>
                  </a:lnTo>
                  <a:lnTo>
                    <a:pt x="170" y="16"/>
                  </a:lnTo>
                  <a:lnTo>
                    <a:pt x="168" y="14"/>
                  </a:lnTo>
                  <a:lnTo>
                    <a:pt x="164" y="13"/>
                  </a:lnTo>
                  <a:lnTo>
                    <a:pt x="159" y="11"/>
                  </a:lnTo>
                  <a:lnTo>
                    <a:pt x="155" y="10"/>
                  </a:lnTo>
                  <a:lnTo>
                    <a:pt x="149" y="11"/>
                  </a:lnTo>
                  <a:lnTo>
                    <a:pt x="144" y="13"/>
                  </a:lnTo>
                  <a:lnTo>
                    <a:pt x="139" y="16"/>
                  </a:lnTo>
                  <a:lnTo>
                    <a:pt x="138" y="16"/>
                  </a:lnTo>
                  <a:lnTo>
                    <a:pt x="137" y="17"/>
                  </a:lnTo>
                  <a:lnTo>
                    <a:pt x="133" y="20"/>
                  </a:lnTo>
                  <a:lnTo>
                    <a:pt x="128" y="21"/>
                  </a:lnTo>
                  <a:lnTo>
                    <a:pt x="123" y="22"/>
                  </a:lnTo>
                  <a:lnTo>
                    <a:pt x="116" y="24"/>
                  </a:lnTo>
                  <a:lnTo>
                    <a:pt x="108" y="25"/>
                  </a:lnTo>
                  <a:lnTo>
                    <a:pt x="100" y="24"/>
                  </a:lnTo>
                  <a:lnTo>
                    <a:pt x="97" y="24"/>
                  </a:lnTo>
                  <a:lnTo>
                    <a:pt x="91" y="22"/>
                  </a:lnTo>
                  <a:lnTo>
                    <a:pt x="83" y="21"/>
                  </a:lnTo>
                  <a:lnTo>
                    <a:pt x="73" y="18"/>
                  </a:lnTo>
                  <a:lnTo>
                    <a:pt x="64" y="16"/>
                  </a:lnTo>
                  <a:lnTo>
                    <a:pt x="54" y="13"/>
                  </a:lnTo>
                  <a:lnTo>
                    <a:pt x="46" y="9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8" y="2"/>
                  </a:lnTo>
                  <a:lnTo>
                    <a:pt x="10" y="6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8"/>
                  </a:lnTo>
                  <a:lnTo>
                    <a:pt x="7" y="25"/>
                  </a:lnTo>
                  <a:lnTo>
                    <a:pt x="11" y="35"/>
                  </a:lnTo>
                  <a:lnTo>
                    <a:pt x="16" y="43"/>
                  </a:lnTo>
                  <a:lnTo>
                    <a:pt x="21" y="53"/>
                  </a:lnTo>
                  <a:lnTo>
                    <a:pt x="24" y="61"/>
                  </a:lnTo>
                  <a:lnTo>
                    <a:pt x="28" y="68"/>
                  </a:lnTo>
                  <a:lnTo>
                    <a:pt x="28" y="69"/>
                  </a:lnTo>
                  <a:lnTo>
                    <a:pt x="28" y="70"/>
                  </a:lnTo>
                  <a:lnTo>
                    <a:pt x="29" y="73"/>
                  </a:lnTo>
                  <a:lnTo>
                    <a:pt x="31" y="76"/>
                  </a:lnTo>
                  <a:lnTo>
                    <a:pt x="32" y="80"/>
                  </a:lnTo>
                  <a:lnTo>
                    <a:pt x="35" y="86"/>
                  </a:lnTo>
                  <a:lnTo>
                    <a:pt x="36" y="90"/>
                  </a:lnTo>
                  <a:lnTo>
                    <a:pt x="38" y="95"/>
                  </a:lnTo>
                  <a:lnTo>
                    <a:pt x="39" y="97"/>
                  </a:lnTo>
                  <a:lnTo>
                    <a:pt x="42" y="97"/>
                  </a:lnTo>
                  <a:lnTo>
                    <a:pt x="45" y="99"/>
                  </a:lnTo>
                  <a:lnTo>
                    <a:pt x="49" y="102"/>
                  </a:lnTo>
                  <a:lnTo>
                    <a:pt x="54" y="105"/>
                  </a:lnTo>
                  <a:lnTo>
                    <a:pt x="60" y="110"/>
                  </a:lnTo>
                  <a:lnTo>
                    <a:pt x="64" y="117"/>
                  </a:lnTo>
                  <a:lnTo>
                    <a:pt x="67" y="125"/>
                  </a:lnTo>
                  <a:lnTo>
                    <a:pt x="68" y="127"/>
                  </a:lnTo>
                  <a:lnTo>
                    <a:pt x="71" y="131"/>
                  </a:lnTo>
                  <a:lnTo>
                    <a:pt x="75" y="138"/>
                  </a:lnTo>
                  <a:lnTo>
                    <a:pt x="79" y="145"/>
                  </a:lnTo>
                  <a:lnTo>
                    <a:pt x="84" y="153"/>
                  </a:lnTo>
                  <a:lnTo>
                    <a:pt x="89" y="160"/>
                  </a:lnTo>
                  <a:lnTo>
                    <a:pt x="94" y="165"/>
                  </a:lnTo>
                  <a:lnTo>
                    <a:pt x="97" y="169"/>
                  </a:lnTo>
                  <a:lnTo>
                    <a:pt x="101" y="172"/>
                  </a:lnTo>
                  <a:lnTo>
                    <a:pt x="104" y="174"/>
                  </a:lnTo>
                  <a:lnTo>
                    <a:pt x="108" y="175"/>
                  </a:lnTo>
                  <a:lnTo>
                    <a:pt x="112" y="176"/>
                  </a:lnTo>
                  <a:lnTo>
                    <a:pt x="115" y="176"/>
                  </a:lnTo>
                  <a:lnTo>
                    <a:pt x="116" y="176"/>
                  </a:lnTo>
                  <a:lnTo>
                    <a:pt x="117" y="175"/>
                  </a:lnTo>
                  <a:lnTo>
                    <a:pt x="116" y="172"/>
                  </a:lnTo>
                  <a:lnTo>
                    <a:pt x="115" y="168"/>
                  </a:lnTo>
                  <a:lnTo>
                    <a:pt x="112" y="164"/>
                  </a:lnTo>
                  <a:lnTo>
                    <a:pt x="109" y="158"/>
                  </a:lnTo>
                  <a:lnTo>
                    <a:pt x="106" y="154"/>
                  </a:lnTo>
                  <a:lnTo>
                    <a:pt x="104" y="149"/>
                  </a:lnTo>
                  <a:lnTo>
                    <a:pt x="101" y="145"/>
                  </a:lnTo>
                  <a:lnTo>
                    <a:pt x="98" y="141"/>
                  </a:lnTo>
                  <a:lnTo>
                    <a:pt x="95" y="138"/>
                  </a:lnTo>
                  <a:lnTo>
                    <a:pt x="93" y="135"/>
                  </a:lnTo>
                  <a:lnTo>
                    <a:pt x="90" y="131"/>
                  </a:lnTo>
                  <a:lnTo>
                    <a:pt x="89" y="125"/>
                  </a:lnTo>
                  <a:lnTo>
                    <a:pt x="86" y="120"/>
                  </a:lnTo>
                  <a:lnTo>
                    <a:pt x="83" y="114"/>
                  </a:lnTo>
                  <a:lnTo>
                    <a:pt x="80" y="109"/>
                  </a:lnTo>
                  <a:lnTo>
                    <a:pt x="78" y="103"/>
                  </a:lnTo>
                  <a:lnTo>
                    <a:pt x="73" y="98"/>
                  </a:lnTo>
                  <a:lnTo>
                    <a:pt x="69" y="92"/>
                  </a:lnTo>
                  <a:lnTo>
                    <a:pt x="64" y="86"/>
                  </a:lnTo>
                  <a:lnTo>
                    <a:pt x="57" y="77"/>
                  </a:lnTo>
                  <a:lnTo>
                    <a:pt x="51" y="68"/>
                  </a:lnTo>
                  <a:lnTo>
                    <a:pt x="46" y="58"/>
                  </a:lnTo>
                  <a:lnTo>
                    <a:pt x="40" y="49"/>
                  </a:lnTo>
                  <a:lnTo>
                    <a:pt x="38" y="39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9" y="18"/>
                  </a:lnTo>
                  <a:lnTo>
                    <a:pt x="42" y="17"/>
                  </a:lnTo>
                  <a:lnTo>
                    <a:pt x="45" y="18"/>
                  </a:lnTo>
                  <a:lnTo>
                    <a:pt x="50" y="21"/>
                  </a:lnTo>
                  <a:lnTo>
                    <a:pt x="51" y="24"/>
                  </a:lnTo>
                  <a:lnTo>
                    <a:pt x="54" y="31"/>
                  </a:lnTo>
                  <a:lnTo>
                    <a:pt x="60" y="40"/>
                  </a:lnTo>
                  <a:lnTo>
                    <a:pt x="65" y="51"/>
                  </a:lnTo>
                  <a:lnTo>
                    <a:pt x="71" y="62"/>
                  </a:lnTo>
                  <a:lnTo>
                    <a:pt x="79" y="75"/>
                  </a:lnTo>
                  <a:lnTo>
                    <a:pt x="86" y="84"/>
                  </a:lnTo>
                  <a:lnTo>
                    <a:pt x="93" y="91"/>
                  </a:lnTo>
                  <a:lnTo>
                    <a:pt x="94" y="91"/>
                  </a:lnTo>
                  <a:lnTo>
                    <a:pt x="97" y="92"/>
                  </a:lnTo>
                  <a:lnTo>
                    <a:pt x="101" y="94"/>
                  </a:lnTo>
                  <a:lnTo>
                    <a:pt x="105" y="95"/>
                  </a:lnTo>
                  <a:lnTo>
                    <a:pt x="111" y="98"/>
                  </a:lnTo>
                  <a:lnTo>
                    <a:pt x="113" y="102"/>
                  </a:lnTo>
                  <a:lnTo>
                    <a:pt x="116" y="108"/>
                  </a:lnTo>
                  <a:lnTo>
                    <a:pt x="116" y="113"/>
                  </a:lnTo>
                  <a:lnTo>
                    <a:pt x="119" y="114"/>
                  </a:lnTo>
                  <a:lnTo>
                    <a:pt x="123" y="120"/>
                  </a:lnTo>
                  <a:lnTo>
                    <a:pt x="130" y="127"/>
                  </a:lnTo>
                  <a:lnTo>
                    <a:pt x="138" y="136"/>
                  </a:lnTo>
                  <a:lnTo>
                    <a:pt x="146" y="146"/>
                  </a:lnTo>
                  <a:lnTo>
                    <a:pt x="155" y="156"/>
                  </a:lnTo>
                  <a:lnTo>
                    <a:pt x="161" y="164"/>
                  </a:lnTo>
                  <a:lnTo>
                    <a:pt x="167" y="169"/>
                  </a:lnTo>
                  <a:lnTo>
                    <a:pt x="167" y="171"/>
                  </a:lnTo>
                  <a:lnTo>
                    <a:pt x="168" y="175"/>
                  </a:lnTo>
                  <a:lnTo>
                    <a:pt x="171" y="180"/>
                  </a:lnTo>
                  <a:lnTo>
                    <a:pt x="172" y="189"/>
                  </a:lnTo>
                  <a:lnTo>
                    <a:pt x="174" y="198"/>
                  </a:lnTo>
                  <a:lnTo>
                    <a:pt x="175" y="209"/>
                  </a:lnTo>
                  <a:lnTo>
                    <a:pt x="177" y="222"/>
                  </a:lnTo>
                  <a:lnTo>
                    <a:pt x="178" y="235"/>
                  </a:lnTo>
                  <a:lnTo>
                    <a:pt x="178" y="235"/>
                  </a:lnTo>
                  <a:lnTo>
                    <a:pt x="179" y="235"/>
                  </a:lnTo>
                  <a:lnTo>
                    <a:pt x="181" y="237"/>
                  </a:lnTo>
                  <a:lnTo>
                    <a:pt x="183" y="238"/>
                  </a:lnTo>
                  <a:lnTo>
                    <a:pt x="188" y="238"/>
                  </a:lnTo>
                  <a:lnTo>
                    <a:pt x="192" y="240"/>
                  </a:lnTo>
                  <a:lnTo>
                    <a:pt x="197" y="241"/>
                  </a:lnTo>
                  <a:lnTo>
                    <a:pt x="203" y="241"/>
                  </a:lnTo>
                  <a:lnTo>
                    <a:pt x="204" y="242"/>
                  </a:lnTo>
                  <a:lnTo>
                    <a:pt x="208" y="244"/>
                  </a:lnTo>
                  <a:lnTo>
                    <a:pt x="214" y="245"/>
                  </a:lnTo>
                  <a:lnTo>
                    <a:pt x="222" y="248"/>
                  </a:lnTo>
                  <a:lnTo>
                    <a:pt x="229" y="252"/>
                  </a:lnTo>
                  <a:lnTo>
                    <a:pt x="237" y="256"/>
                  </a:lnTo>
                  <a:lnTo>
                    <a:pt x="244" y="262"/>
                  </a:lnTo>
                  <a:lnTo>
                    <a:pt x="249" y="267"/>
                  </a:lnTo>
                  <a:lnTo>
                    <a:pt x="269" y="267"/>
                  </a:lnTo>
                  <a:lnTo>
                    <a:pt x="270" y="267"/>
                  </a:lnTo>
                  <a:lnTo>
                    <a:pt x="273" y="268"/>
                  </a:lnTo>
                  <a:lnTo>
                    <a:pt x="278" y="271"/>
                  </a:lnTo>
                  <a:lnTo>
                    <a:pt x="285" y="274"/>
                  </a:lnTo>
                  <a:lnTo>
                    <a:pt x="293" y="277"/>
                  </a:lnTo>
                  <a:lnTo>
                    <a:pt x="303" y="279"/>
                  </a:lnTo>
                  <a:lnTo>
                    <a:pt x="313" y="282"/>
                  </a:lnTo>
                  <a:lnTo>
                    <a:pt x="324" y="285"/>
                  </a:lnTo>
                  <a:lnTo>
                    <a:pt x="325" y="285"/>
                  </a:lnTo>
                  <a:lnTo>
                    <a:pt x="328" y="285"/>
                  </a:lnTo>
                  <a:lnTo>
                    <a:pt x="332" y="285"/>
                  </a:lnTo>
                  <a:lnTo>
                    <a:pt x="339" y="285"/>
                  </a:lnTo>
                  <a:lnTo>
                    <a:pt x="344" y="285"/>
                  </a:lnTo>
                  <a:lnTo>
                    <a:pt x="351" y="285"/>
                  </a:lnTo>
                  <a:lnTo>
                    <a:pt x="357" y="285"/>
                  </a:lnTo>
                  <a:lnTo>
                    <a:pt x="362" y="285"/>
                  </a:lnTo>
                  <a:lnTo>
                    <a:pt x="362" y="285"/>
                  </a:lnTo>
                  <a:lnTo>
                    <a:pt x="364" y="285"/>
                  </a:lnTo>
                  <a:lnTo>
                    <a:pt x="365" y="285"/>
                  </a:lnTo>
                  <a:lnTo>
                    <a:pt x="368" y="286"/>
                  </a:lnTo>
                  <a:lnTo>
                    <a:pt x="369" y="288"/>
                  </a:lnTo>
                  <a:lnTo>
                    <a:pt x="372" y="289"/>
                  </a:lnTo>
                  <a:lnTo>
                    <a:pt x="373" y="292"/>
                  </a:lnTo>
                  <a:lnTo>
                    <a:pt x="376" y="296"/>
                  </a:lnTo>
                  <a:lnTo>
                    <a:pt x="376" y="295"/>
                  </a:lnTo>
                  <a:lnTo>
                    <a:pt x="376" y="293"/>
                  </a:lnTo>
                  <a:lnTo>
                    <a:pt x="377" y="292"/>
                  </a:lnTo>
                  <a:lnTo>
                    <a:pt x="377" y="289"/>
                  </a:lnTo>
                  <a:lnTo>
                    <a:pt x="379" y="286"/>
                  </a:lnTo>
                  <a:lnTo>
                    <a:pt x="380" y="284"/>
                  </a:lnTo>
                  <a:lnTo>
                    <a:pt x="382" y="281"/>
                  </a:lnTo>
                  <a:lnTo>
                    <a:pt x="383" y="279"/>
                  </a:lnTo>
                  <a:lnTo>
                    <a:pt x="383" y="279"/>
                  </a:lnTo>
                  <a:lnTo>
                    <a:pt x="383" y="279"/>
                  </a:lnTo>
                  <a:lnTo>
                    <a:pt x="384" y="278"/>
                  </a:lnTo>
                  <a:lnTo>
                    <a:pt x="384" y="277"/>
                  </a:lnTo>
                  <a:lnTo>
                    <a:pt x="384" y="275"/>
                  </a:lnTo>
                  <a:lnTo>
                    <a:pt x="384" y="274"/>
                  </a:lnTo>
                  <a:lnTo>
                    <a:pt x="383" y="273"/>
                  </a:lnTo>
                  <a:lnTo>
                    <a:pt x="383" y="270"/>
                  </a:lnTo>
                  <a:lnTo>
                    <a:pt x="382" y="270"/>
                  </a:lnTo>
                  <a:lnTo>
                    <a:pt x="382" y="270"/>
                  </a:lnTo>
                  <a:lnTo>
                    <a:pt x="382" y="268"/>
                  </a:lnTo>
                  <a:lnTo>
                    <a:pt x="382" y="267"/>
                  </a:lnTo>
                  <a:lnTo>
                    <a:pt x="382" y="266"/>
                  </a:lnTo>
                  <a:lnTo>
                    <a:pt x="382" y="266"/>
                  </a:lnTo>
                  <a:lnTo>
                    <a:pt x="383" y="264"/>
                  </a:lnTo>
                  <a:lnTo>
                    <a:pt x="384" y="264"/>
                  </a:lnTo>
                  <a:lnTo>
                    <a:pt x="413" y="263"/>
                  </a:lnTo>
                  <a:lnTo>
                    <a:pt x="413" y="252"/>
                  </a:lnTo>
                  <a:lnTo>
                    <a:pt x="402" y="240"/>
                  </a:lnTo>
                  <a:lnTo>
                    <a:pt x="405" y="240"/>
                  </a:lnTo>
                  <a:lnTo>
                    <a:pt x="405" y="230"/>
                  </a:lnTo>
                  <a:lnTo>
                    <a:pt x="430" y="230"/>
                  </a:lnTo>
                  <a:lnTo>
                    <a:pt x="430" y="230"/>
                  </a:lnTo>
                  <a:lnTo>
                    <a:pt x="430" y="230"/>
                  </a:lnTo>
                  <a:lnTo>
                    <a:pt x="430" y="229"/>
                  </a:lnTo>
                  <a:lnTo>
                    <a:pt x="430" y="229"/>
                  </a:lnTo>
                  <a:lnTo>
                    <a:pt x="430" y="227"/>
                  </a:lnTo>
                  <a:lnTo>
                    <a:pt x="430" y="227"/>
                  </a:lnTo>
                  <a:lnTo>
                    <a:pt x="431" y="226"/>
                  </a:lnTo>
                  <a:lnTo>
                    <a:pt x="431" y="226"/>
                  </a:lnTo>
                  <a:lnTo>
                    <a:pt x="434" y="227"/>
                  </a:lnTo>
                  <a:lnTo>
                    <a:pt x="435" y="227"/>
                  </a:lnTo>
                  <a:lnTo>
                    <a:pt x="435" y="226"/>
                  </a:lnTo>
                  <a:lnTo>
                    <a:pt x="437" y="226"/>
                  </a:lnTo>
                  <a:lnTo>
                    <a:pt x="437" y="224"/>
                  </a:lnTo>
                  <a:lnTo>
                    <a:pt x="438" y="224"/>
                  </a:lnTo>
                  <a:lnTo>
                    <a:pt x="439" y="223"/>
                  </a:lnTo>
                  <a:lnTo>
                    <a:pt x="441" y="223"/>
                  </a:lnTo>
                  <a:lnTo>
                    <a:pt x="441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3" y="222"/>
                  </a:lnTo>
                  <a:lnTo>
                    <a:pt x="443" y="222"/>
                  </a:lnTo>
                  <a:lnTo>
                    <a:pt x="445" y="222"/>
                  </a:lnTo>
                  <a:lnTo>
                    <a:pt x="446" y="222"/>
                  </a:lnTo>
                  <a:lnTo>
                    <a:pt x="446" y="222"/>
                  </a:lnTo>
                  <a:lnTo>
                    <a:pt x="446" y="22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5" name="Freeform 161"/>
            <p:cNvSpPr>
              <a:spLocks/>
            </p:cNvSpPr>
            <p:nvPr/>
          </p:nvSpPr>
          <p:spPr bwMode="auto">
            <a:xfrm>
              <a:off x="1450" y="1774"/>
              <a:ext cx="372" cy="239"/>
            </a:xfrm>
            <a:custGeom>
              <a:avLst/>
              <a:gdLst>
                <a:gd name="T0" fmla="*/ 450 w 460"/>
                <a:gd name="T1" fmla="*/ 215 h 296"/>
                <a:gd name="T2" fmla="*/ 456 w 460"/>
                <a:gd name="T3" fmla="*/ 207 h 296"/>
                <a:gd name="T4" fmla="*/ 460 w 460"/>
                <a:gd name="T5" fmla="*/ 201 h 296"/>
                <a:gd name="T6" fmla="*/ 459 w 460"/>
                <a:gd name="T7" fmla="*/ 194 h 296"/>
                <a:gd name="T8" fmla="*/ 445 w 460"/>
                <a:gd name="T9" fmla="*/ 191 h 296"/>
                <a:gd name="T10" fmla="*/ 419 w 460"/>
                <a:gd name="T11" fmla="*/ 196 h 296"/>
                <a:gd name="T12" fmla="*/ 408 w 460"/>
                <a:gd name="T13" fmla="*/ 196 h 296"/>
                <a:gd name="T14" fmla="*/ 399 w 460"/>
                <a:gd name="T15" fmla="*/ 201 h 296"/>
                <a:gd name="T16" fmla="*/ 397 w 460"/>
                <a:gd name="T17" fmla="*/ 212 h 296"/>
                <a:gd name="T18" fmla="*/ 394 w 460"/>
                <a:gd name="T19" fmla="*/ 223 h 296"/>
                <a:gd name="T20" fmla="*/ 383 w 460"/>
                <a:gd name="T21" fmla="*/ 229 h 296"/>
                <a:gd name="T22" fmla="*/ 372 w 460"/>
                <a:gd name="T23" fmla="*/ 234 h 296"/>
                <a:gd name="T24" fmla="*/ 344 w 460"/>
                <a:gd name="T25" fmla="*/ 233 h 296"/>
                <a:gd name="T26" fmla="*/ 316 w 460"/>
                <a:gd name="T27" fmla="*/ 224 h 296"/>
                <a:gd name="T28" fmla="*/ 306 w 460"/>
                <a:gd name="T29" fmla="*/ 215 h 296"/>
                <a:gd name="T30" fmla="*/ 302 w 460"/>
                <a:gd name="T31" fmla="*/ 193 h 296"/>
                <a:gd name="T32" fmla="*/ 291 w 460"/>
                <a:gd name="T33" fmla="*/ 164 h 296"/>
                <a:gd name="T34" fmla="*/ 292 w 460"/>
                <a:gd name="T35" fmla="*/ 134 h 296"/>
                <a:gd name="T36" fmla="*/ 263 w 460"/>
                <a:gd name="T37" fmla="*/ 95 h 296"/>
                <a:gd name="T38" fmla="*/ 240 w 460"/>
                <a:gd name="T39" fmla="*/ 64 h 296"/>
                <a:gd name="T40" fmla="*/ 222 w 460"/>
                <a:gd name="T41" fmla="*/ 62 h 296"/>
                <a:gd name="T42" fmla="*/ 200 w 460"/>
                <a:gd name="T43" fmla="*/ 60 h 296"/>
                <a:gd name="T44" fmla="*/ 174 w 460"/>
                <a:gd name="T45" fmla="*/ 27 h 296"/>
                <a:gd name="T46" fmla="*/ 155 w 460"/>
                <a:gd name="T47" fmla="*/ 10 h 296"/>
                <a:gd name="T48" fmla="*/ 133 w 460"/>
                <a:gd name="T49" fmla="*/ 20 h 296"/>
                <a:gd name="T50" fmla="*/ 97 w 460"/>
                <a:gd name="T51" fmla="*/ 24 h 296"/>
                <a:gd name="T52" fmla="*/ 46 w 460"/>
                <a:gd name="T53" fmla="*/ 9 h 296"/>
                <a:gd name="T54" fmla="*/ 25 w 460"/>
                <a:gd name="T55" fmla="*/ 0 h 296"/>
                <a:gd name="T56" fmla="*/ 7 w 460"/>
                <a:gd name="T57" fmla="*/ 25 h 296"/>
                <a:gd name="T58" fmla="*/ 28 w 460"/>
                <a:gd name="T59" fmla="*/ 69 h 296"/>
                <a:gd name="T60" fmla="*/ 36 w 460"/>
                <a:gd name="T61" fmla="*/ 90 h 296"/>
                <a:gd name="T62" fmla="*/ 54 w 460"/>
                <a:gd name="T63" fmla="*/ 105 h 296"/>
                <a:gd name="T64" fmla="*/ 75 w 460"/>
                <a:gd name="T65" fmla="*/ 138 h 296"/>
                <a:gd name="T66" fmla="*/ 101 w 460"/>
                <a:gd name="T67" fmla="*/ 172 h 296"/>
                <a:gd name="T68" fmla="*/ 117 w 460"/>
                <a:gd name="T69" fmla="*/ 175 h 296"/>
                <a:gd name="T70" fmla="*/ 104 w 460"/>
                <a:gd name="T71" fmla="*/ 149 h 296"/>
                <a:gd name="T72" fmla="*/ 89 w 460"/>
                <a:gd name="T73" fmla="*/ 125 h 296"/>
                <a:gd name="T74" fmla="*/ 69 w 460"/>
                <a:gd name="T75" fmla="*/ 92 h 296"/>
                <a:gd name="T76" fmla="*/ 38 w 460"/>
                <a:gd name="T77" fmla="*/ 39 h 296"/>
                <a:gd name="T78" fmla="*/ 39 w 460"/>
                <a:gd name="T79" fmla="*/ 18 h 296"/>
                <a:gd name="T80" fmla="*/ 60 w 460"/>
                <a:gd name="T81" fmla="*/ 40 h 296"/>
                <a:gd name="T82" fmla="*/ 94 w 460"/>
                <a:gd name="T83" fmla="*/ 91 h 296"/>
                <a:gd name="T84" fmla="*/ 116 w 460"/>
                <a:gd name="T85" fmla="*/ 108 h 296"/>
                <a:gd name="T86" fmla="*/ 146 w 460"/>
                <a:gd name="T87" fmla="*/ 146 h 296"/>
                <a:gd name="T88" fmla="*/ 171 w 460"/>
                <a:gd name="T89" fmla="*/ 180 h 296"/>
                <a:gd name="T90" fmla="*/ 179 w 460"/>
                <a:gd name="T91" fmla="*/ 235 h 296"/>
                <a:gd name="T92" fmla="*/ 203 w 460"/>
                <a:gd name="T93" fmla="*/ 241 h 296"/>
                <a:gd name="T94" fmla="*/ 237 w 460"/>
                <a:gd name="T95" fmla="*/ 256 h 296"/>
                <a:gd name="T96" fmla="*/ 278 w 460"/>
                <a:gd name="T97" fmla="*/ 271 h 296"/>
                <a:gd name="T98" fmla="*/ 325 w 460"/>
                <a:gd name="T99" fmla="*/ 285 h 296"/>
                <a:gd name="T100" fmla="*/ 357 w 460"/>
                <a:gd name="T101" fmla="*/ 285 h 296"/>
                <a:gd name="T102" fmla="*/ 372 w 460"/>
                <a:gd name="T103" fmla="*/ 289 h 296"/>
                <a:gd name="T104" fmla="*/ 377 w 460"/>
                <a:gd name="T105" fmla="*/ 289 h 296"/>
                <a:gd name="T106" fmla="*/ 384 w 460"/>
                <a:gd name="T107" fmla="*/ 277 h 296"/>
                <a:gd name="T108" fmla="*/ 382 w 460"/>
                <a:gd name="T109" fmla="*/ 268 h 296"/>
                <a:gd name="T110" fmla="*/ 413 w 460"/>
                <a:gd name="T111" fmla="*/ 252 h 296"/>
                <a:gd name="T112" fmla="*/ 430 w 460"/>
                <a:gd name="T113" fmla="*/ 227 h 296"/>
                <a:gd name="T114" fmla="*/ 437 w 460"/>
                <a:gd name="T115" fmla="*/ 224 h 296"/>
                <a:gd name="T116" fmla="*/ 443 w 460"/>
                <a:gd name="T117" fmla="*/ 22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0" h="296">
                  <a:moveTo>
                    <a:pt x="446" y="220"/>
                  </a:moveTo>
                  <a:lnTo>
                    <a:pt x="448" y="220"/>
                  </a:lnTo>
                  <a:lnTo>
                    <a:pt x="448" y="219"/>
                  </a:lnTo>
                  <a:lnTo>
                    <a:pt x="449" y="218"/>
                  </a:lnTo>
                  <a:lnTo>
                    <a:pt x="449" y="216"/>
                  </a:lnTo>
                  <a:lnTo>
                    <a:pt x="450" y="215"/>
                  </a:lnTo>
                  <a:lnTo>
                    <a:pt x="450" y="213"/>
                  </a:lnTo>
                  <a:lnTo>
                    <a:pt x="452" y="212"/>
                  </a:lnTo>
                  <a:lnTo>
                    <a:pt x="452" y="211"/>
                  </a:lnTo>
                  <a:lnTo>
                    <a:pt x="453" y="209"/>
                  </a:lnTo>
                  <a:lnTo>
                    <a:pt x="454" y="208"/>
                  </a:lnTo>
                  <a:lnTo>
                    <a:pt x="456" y="207"/>
                  </a:lnTo>
                  <a:lnTo>
                    <a:pt x="456" y="205"/>
                  </a:lnTo>
                  <a:lnTo>
                    <a:pt x="457" y="204"/>
                  </a:lnTo>
                  <a:lnTo>
                    <a:pt x="457" y="202"/>
                  </a:lnTo>
                  <a:lnTo>
                    <a:pt x="459" y="202"/>
                  </a:lnTo>
                  <a:lnTo>
                    <a:pt x="459" y="201"/>
                  </a:lnTo>
                  <a:lnTo>
                    <a:pt x="460" y="201"/>
                  </a:lnTo>
                  <a:lnTo>
                    <a:pt x="460" y="200"/>
                  </a:lnTo>
                  <a:lnTo>
                    <a:pt x="460" y="198"/>
                  </a:lnTo>
                  <a:lnTo>
                    <a:pt x="460" y="197"/>
                  </a:lnTo>
                  <a:lnTo>
                    <a:pt x="460" y="196"/>
                  </a:lnTo>
                  <a:lnTo>
                    <a:pt x="460" y="194"/>
                  </a:lnTo>
                  <a:lnTo>
                    <a:pt x="459" y="194"/>
                  </a:lnTo>
                  <a:lnTo>
                    <a:pt x="457" y="194"/>
                  </a:lnTo>
                  <a:lnTo>
                    <a:pt x="456" y="193"/>
                  </a:lnTo>
                  <a:lnTo>
                    <a:pt x="454" y="193"/>
                  </a:lnTo>
                  <a:lnTo>
                    <a:pt x="452" y="193"/>
                  </a:lnTo>
                  <a:lnTo>
                    <a:pt x="448" y="193"/>
                  </a:lnTo>
                  <a:lnTo>
                    <a:pt x="445" y="191"/>
                  </a:lnTo>
                  <a:lnTo>
                    <a:pt x="441" y="191"/>
                  </a:lnTo>
                  <a:lnTo>
                    <a:pt x="437" y="191"/>
                  </a:lnTo>
                  <a:lnTo>
                    <a:pt x="432" y="193"/>
                  </a:lnTo>
                  <a:lnTo>
                    <a:pt x="427" y="193"/>
                  </a:lnTo>
                  <a:lnTo>
                    <a:pt x="423" y="194"/>
                  </a:lnTo>
                  <a:lnTo>
                    <a:pt x="419" y="196"/>
                  </a:lnTo>
                  <a:lnTo>
                    <a:pt x="416" y="196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2" y="196"/>
                  </a:lnTo>
                  <a:lnTo>
                    <a:pt x="409" y="196"/>
                  </a:lnTo>
                  <a:lnTo>
                    <a:pt x="408" y="196"/>
                  </a:lnTo>
                  <a:lnTo>
                    <a:pt x="406" y="194"/>
                  </a:lnTo>
                  <a:lnTo>
                    <a:pt x="405" y="194"/>
                  </a:lnTo>
                  <a:lnTo>
                    <a:pt x="402" y="194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201"/>
                  </a:lnTo>
                  <a:lnTo>
                    <a:pt x="398" y="201"/>
                  </a:lnTo>
                  <a:lnTo>
                    <a:pt x="398" y="202"/>
                  </a:lnTo>
                  <a:lnTo>
                    <a:pt x="398" y="204"/>
                  </a:lnTo>
                  <a:lnTo>
                    <a:pt x="398" y="207"/>
                  </a:lnTo>
                  <a:lnTo>
                    <a:pt x="397" y="209"/>
                  </a:lnTo>
                  <a:lnTo>
                    <a:pt x="397" y="212"/>
                  </a:lnTo>
                  <a:lnTo>
                    <a:pt x="397" y="215"/>
                  </a:lnTo>
                  <a:lnTo>
                    <a:pt x="397" y="216"/>
                  </a:lnTo>
                  <a:lnTo>
                    <a:pt x="397" y="218"/>
                  </a:lnTo>
                  <a:lnTo>
                    <a:pt x="397" y="219"/>
                  </a:lnTo>
                  <a:lnTo>
                    <a:pt x="395" y="222"/>
                  </a:lnTo>
                  <a:lnTo>
                    <a:pt x="394" y="223"/>
                  </a:lnTo>
                  <a:lnTo>
                    <a:pt x="393" y="224"/>
                  </a:lnTo>
                  <a:lnTo>
                    <a:pt x="391" y="227"/>
                  </a:lnTo>
                  <a:lnTo>
                    <a:pt x="388" y="227"/>
                  </a:lnTo>
                  <a:lnTo>
                    <a:pt x="387" y="229"/>
                  </a:lnTo>
                  <a:lnTo>
                    <a:pt x="384" y="229"/>
                  </a:lnTo>
                  <a:lnTo>
                    <a:pt x="383" y="229"/>
                  </a:lnTo>
                  <a:lnTo>
                    <a:pt x="380" y="230"/>
                  </a:lnTo>
                  <a:lnTo>
                    <a:pt x="379" y="230"/>
                  </a:lnTo>
                  <a:lnTo>
                    <a:pt x="376" y="231"/>
                  </a:lnTo>
                  <a:lnTo>
                    <a:pt x="375" y="233"/>
                  </a:lnTo>
                  <a:lnTo>
                    <a:pt x="373" y="233"/>
                  </a:lnTo>
                  <a:lnTo>
                    <a:pt x="372" y="234"/>
                  </a:lnTo>
                  <a:lnTo>
                    <a:pt x="369" y="234"/>
                  </a:lnTo>
                  <a:lnTo>
                    <a:pt x="365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1" y="234"/>
                  </a:lnTo>
                  <a:lnTo>
                    <a:pt x="344" y="233"/>
                  </a:lnTo>
                  <a:lnTo>
                    <a:pt x="339" y="233"/>
                  </a:lnTo>
                  <a:lnTo>
                    <a:pt x="333" y="231"/>
                  </a:lnTo>
                  <a:lnTo>
                    <a:pt x="329" y="230"/>
                  </a:lnTo>
                  <a:lnTo>
                    <a:pt x="324" y="229"/>
                  </a:lnTo>
                  <a:lnTo>
                    <a:pt x="320" y="227"/>
                  </a:lnTo>
                  <a:lnTo>
                    <a:pt x="316" y="224"/>
                  </a:lnTo>
                  <a:lnTo>
                    <a:pt x="313" y="222"/>
                  </a:lnTo>
                  <a:lnTo>
                    <a:pt x="311" y="222"/>
                  </a:lnTo>
                  <a:lnTo>
                    <a:pt x="310" y="222"/>
                  </a:lnTo>
                  <a:lnTo>
                    <a:pt x="309" y="220"/>
                  </a:lnTo>
                  <a:lnTo>
                    <a:pt x="307" y="218"/>
                  </a:lnTo>
                  <a:lnTo>
                    <a:pt x="306" y="215"/>
                  </a:lnTo>
                  <a:lnTo>
                    <a:pt x="304" y="212"/>
                  </a:lnTo>
                  <a:lnTo>
                    <a:pt x="304" y="208"/>
                  </a:lnTo>
                  <a:lnTo>
                    <a:pt x="304" y="207"/>
                  </a:lnTo>
                  <a:lnTo>
                    <a:pt x="303" y="204"/>
                  </a:lnTo>
                  <a:lnTo>
                    <a:pt x="303" y="198"/>
                  </a:lnTo>
                  <a:lnTo>
                    <a:pt x="302" y="193"/>
                  </a:lnTo>
                  <a:lnTo>
                    <a:pt x="300" y="186"/>
                  </a:lnTo>
                  <a:lnTo>
                    <a:pt x="298" y="179"/>
                  </a:lnTo>
                  <a:lnTo>
                    <a:pt x="295" y="174"/>
                  </a:lnTo>
                  <a:lnTo>
                    <a:pt x="292" y="168"/>
                  </a:lnTo>
                  <a:lnTo>
                    <a:pt x="292" y="167"/>
                  </a:lnTo>
                  <a:lnTo>
                    <a:pt x="291" y="164"/>
                  </a:lnTo>
                  <a:lnTo>
                    <a:pt x="291" y="158"/>
                  </a:lnTo>
                  <a:lnTo>
                    <a:pt x="289" y="154"/>
                  </a:lnTo>
                  <a:lnTo>
                    <a:pt x="289" y="149"/>
                  </a:lnTo>
                  <a:lnTo>
                    <a:pt x="289" y="143"/>
                  </a:lnTo>
                  <a:lnTo>
                    <a:pt x="291" y="138"/>
                  </a:lnTo>
                  <a:lnTo>
                    <a:pt x="292" y="134"/>
                  </a:lnTo>
                  <a:lnTo>
                    <a:pt x="289" y="114"/>
                  </a:lnTo>
                  <a:lnTo>
                    <a:pt x="287" y="113"/>
                  </a:lnTo>
                  <a:lnTo>
                    <a:pt x="281" y="110"/>
                  </a:lnTo>
                  <a:lnTo>
                    <a:pt x="277" y="108"/>
                  </a:lnTo>
                  <a:lnTo>
                    <a:pt x="270" y="102"/>
                  </a:lnTo>
                  <a:lnTo>
                    <a:pt x="263" y="95"/>
                  </a:lnTo>
                  <a:lnTo>
                    <a:pt x="258" y="87"/>
                  </a:lnTo>
                  <a:lnTo>
                    <a:pt x="251" y="76"/>
                  </a:lnTo>
                  <a:lnTo>
                    <a:pt x="249" y="73"/>
                  </a:lnTo>
                  <a:lnTo>
                    <a:pt x="247" y="70"/>
                  </a:lnTo>
                  <a:lnTo>
                    <a:pt x="244" y="68"/>
                  </a:lnTo>
                  <a:lnTo>
                    <a:pt x="240" y="64"/>
                  </a:lnTo>
                  <a:lnTo>
                    <a:pt x="236" y="61"/>
                  </a:lnTo>
                  <a:lnTo>
                    <a:pt x="232" y="60"/>
                  </a:lnTo>
                  <a:lnTo>
                    <a:pt x="226" y="60"/>
                  </a:lnTo>
                  <a:lnTo>
                    <a:pt x="226" y="61"/>
                  </a:lnTo>
                  <a:lnTo>
                    <a:pt x="225" y="61"/>
                  </a:lnTo>
                  <a:lnTo>
                    <a:pt x="222" y="62"/>
                  </a:lnTo>
                  <a:lnTo>
                    <a:pt x="219" y="64"/>
                  </a:lnTo>
                  <a:lnTo>
                    <a:pt x="215" y="65"/>
                  </a:lnTo>
                  <a:lnTo>
                    <a:pt x="211" y="65"/>
                  </a:lnTo>
                  <a:lnTo>
                    <a:pt x="207" y="64"/>
                  </a:lnTo>
                  <a:lnTo>
                    <a:pt x="201" y="60"/>
                  </a:lnTo>
                  <a:lnTo>
                    <a:pt x="200" y="60"/>
                  </a:lnTo>
                  <a:lnTo>
                    <a:pt x="196" y="57"/>
                  </a:lnTo>
                  <a:lnTo>
                    <a:pt x="192" y="54"/>
                  </a:lnTo>
                  <a:lnTo>
                    <a:pt x="186" y="49"/>
                  </a:lnTo>
                  <a:lnTo>
                    <a:pt x="182" y="43"/>
                  </a:lnTo>
                  <a:lnTo>
                    <a:pt x="177" y="35"/>
                  </a:lnTo>
                  <a:lnTo>
                    <a:pt x="174" y="27"/>
                  </a:lnTo>
                  <a:lnTo>
                    <a:pt x="171" y="16"/>
                  </a:lnTo>
                  <a:lnTo>
                    <a:pt x="170" y="16"/>
                  </a:lnTo>
                  <a:lnTo>
                    <a:pt x="168" y="14"/>
                  </a:lnTo>
                  <a:lnTo>
                    <a:pt x="164" y="13"/>
                  </a:lnTo>
                  <a:lnTo>
                    <a:pt x="159" y="11"/>
                  </a:lnTo>
                  <a:lnTo>
                    <a:pt x="155" y="10"/>
                  </a:lnTo>
                  <a:lnTo>
                    <a:pt x="149" y="11"/>
                  </a:lnTo>
                  <a:lnTo>
                    <a:pt x="144" y="13"/>
                  </a:lnTo>
                  <a:lnTo>
                    <a:pt x="139" y="16"/>
                  </a:lnTo>
                  <a:lnTo>
                    <a:pt x="138" y="16"/>
                  </a:lnTo>
                  <a:lnTo>
                    <a:pt x="137" y="17"/>
                  </a:lnTo>
                  <a:lnTo>
                    <a:pt x="133" y="20"/>
                  </a:lnTo>
                  <a:lnTo>
                    <a:pt x="128" y="21"/>
                  </a:lnTo>
                  <a:lnTo>
                    <a:pt x="123" y="22"/>
                  </a:lnTo>
                  <a:lnTo>
                    <a:pt x="116" y="24"/>
                  </a:lnTo>
                  <a:lnTo>
                    <a:pt x="108" y="25"/>
                  </a:lnTo>
                  <a:lnTo>
                    <a:pt x="100" y="24"/>
                  </a:lnTo>
                  <a:lnTo>
                    <a:pt x="97" y="24"/>
                  </a:lnTo>
                  <a:lnTo>
                    <a:pt x="91" y="22"/>
                  </a:lnTo>
                  <a:lnTo>
                    <a:pt x="83" y="21"/>
                  </a:lnTo>
                  <a:lnTo>
                    <a:pt x="73" y="18"/>
                  </a:lnTo>
                  <a:lnTo>
                    <a:pt x="64" y="16"/>
                  </a:lnTo>
                  <a:lnTo>
                    <a:pt x="54" y="13"/>
                  </a:lnTo>
                  <a:lnTo>
                    <a:pt x="46" y="9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8" y="2"/>
                  </a:lnTo>
                  <a:lnTo>
                    <a:pt x="10" y="6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8"/>
                  </a:lnTo>
                  <a:lnTo>
                    <a:pt x="7" y="25"/>
                  </a:lnTo>
                  <a:lnTo>
                    <a:pt x="11" y="35"/>
                  </a:lnTo>
                  <a:lnTo>
                    <a:pt x="16" y="43"/>
                  </a:lnTo>
                  <a:lnTo>
                    <a:pt x="21" y="53"/>
                  </a:lnTo>
                  <a:lnTo>
                    <a:pt x="24" y="61"/>
                  </a:lnTo>
                  <a:lnTo>
                    <a:pt x="28" y="68"/>
                  </a:lnTo>
                  <a:lnTo>
                    <a:pt x="28" y="69"/>
                  </a:lnTo>
                  <a:lnTo>
                    <a:pt x="28" y="70"/>
                  </a:lnTo>
                  <a:lnTo>
                    <a:pt x="29" y="73"/>
                  </a:lnTo>
                  <a:lnTo>
                    <a:pt x="31" y="76"/>
                  </a:lnTo>
                  <a:lnTo>
                    <a:pt x="32" y="80"/>
                  </a:lnTo>
                  <a:lnTo>
                    <a:pt x="35" y="86"/>
                  </a:lnTo>
                  <a:lnTo>
                    <a:pt x="36" y="90"/>
                  </a:lnTo>
                  <a:lnTo>
                    <a:pt x="38" y="95"/>
                  </a:lnTo>
                  <a:lnTo>
                    <a:pt x="39" y="97"/>
                  </a:lnTo>
                  <a:lnTo>
                    <a:pt x="42" y="97"/>
                  </a:lnTo>
                  <a:lnTo>
                    <a:pt x="45" y="99"/>
                  </a:lnTo>
                  <a:lnTo>
                    <a:pt x="49" y="102"/>
                  </a:lnTo>
                  <a:lnTo>
                    <a:pt x="54" y="105"/>
                  </a:lnTo>
                  <a:lnTo>
                    <a:pt x="60" y="110"/>
                  </a:lnTo>
                  <a:lnTo>
                    <a:pt x="64" y="117"/>
                  </a:lnTo>
                  <a:lnTo>
                    <a:pt x="67" y="125"/>
                  </a:lnTo>
                  <a:lnTo>
                    <a:pt x="68" y="127"/>
                  </a:lnTo>
                  <a:lnTo>
                    <a:pt x="71" y="131"/>
                  </a:lnTo>
                  <a:lnTo>
                    <a:pt x="75" y="138"/>
                  </a:lnTo>
                  <a:lnTo>
                    <a:pt x="79" y="145"/>
                  </a:lnTo>
                  <a:lnTo>
                    <a:pt x="84" y="153"/>
                  </a:lnTo>
                  <a:lnTo>
                    <a:pt x="89" y="160"/>
                  </a:lnTo>
                  <a:lnTo>
                    <a:pt x="94" y="165"/>
                  </a:lnTo>
                  <a:lnTo>
                    <a:pt x="97" y="169"/>
                  </a:lnTo>
                  <a:lnTo>
                    <a:pt x="101" y="172"/>
                  </a:lnTo>
                  <a:lnTo>
                    <a:pt x="104" y="174"/>
                  </a:lnTo>
                  <a:lnTo>
                    <a:pt x="108" y="175"/>
                  </a:lnTo>
                  <a:lnTo>
                    <a:pt x="112" y="176"/>
                  </a:lnTo>
                  <a:lnTo>
                    <a:pt x="115" y="176"/>
                  </a:lnTo>
                  <a:lnTo>
                    <a:pt x="116" y="176"/>
                  </a:lnTo>
                  <a:lnTo>
                    <a:pt x="117" y="175"/>
                  </a:lnTo>
                  <a:lnTo>
                    <a:pt x="116" y="172"/>
                  </a:lnTo>
                  <a:lnTo>
                    <a:pt x="115" y="168"/>
                  </a:lnTo>
                  <a:lnTo>
                    <a:pt x="112" y="164"/>
                  </a:lnTo>
                  <a:lnTo>
                    <a:pt x="109" y="158"/>
                  </a:lnTo>
                  <a:lnTo>
                    <a:pt x="106" y="154"/>
                  </a:lnTo>
                  <a:lnTo>
                    <a:pt x="104" y="149"/>
                  </a:lnTo>
                  <a:lnTo>
                    <a:pt x="101" y="145"/>
                  </a:lnTo>
                  <a:lnTo>
                    <a:pt x="98" y="141"/>
                  </a:lnTo>
                  <a:lnTo>
                    <a:pt x="95" y="138"/>
                  </a:lnTo>
                  <a:lnTo>
                    <a:pt x="93" y="135"/>
                  </a:lnTo>
                  <a:lnTo>
                    <a:pt x="90" y="131"/>
                  </a:lnTo>
                  <a:lnTo>
                    <a:pt x="89" y="125"/>
                  </a:lnTo>
                  <a:lnTo>
                    <a:pt x="86" y="120"/>
                  </a:lnTo>
                  <a:lnTo>
                    <a:pt x="83" y="114"/>
                  </a:lnTo>
                  <a:lnTo>
                    <a:pt x="80" y="109"/>
                  </a:lnTo>
                  <a:lnTo>
                    <a:pt x="78" y="103"/>
                  </a:lnTo>
                  <a:lnTo>
                    <a:pt x="73" y="98"/>
                  </a:lnTo>
                  <a:lnTo>
                    <a:pt x="69" y="92"/>
                  </a:lnTo>
                  <a:lnTo>
                    <a:pt x="64" y="86"/>
                  </a:lnTo>
                  <a:lnTo>
                    <a:pt x="57" y="77"/>
                  </a:lnTo>
                  <a:lnTo>
                    <a:pt x="51" y="68"/>
                  </a:lnTo>
                  <a:lnTo>
                    <a:pt x="46" y="58"/>
                  </a:lnTo>
                  <a:lnTo>
                    <a:pt x="40" y="49"/>
                  </a:lnTo>
                  <a:lnTo>
                    <a:pt x="38" y="39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9" y="18"/>
                  </a:lnTo>
                  <a:lnTo>
                    <a:pt x="42" y="17"/>
                  </a:lnTo>
                  <a:lnTo>
                    <a:pt x="45" y="18"/>
                  </a:lnTo>
                  <a:lnTo>
                    <a:pt x="50" y="21"/>
                  </a:lnTo>
                  <a:lnTo>
                    <a:pt x="51" y="24"/>
                  </a:lnTo>
                  <a:lnTo>
                    <a:pt x="54" y="31"/>
                  </a:lnTo>
                  <a:lnTo>
                    <a:pt x="60" y="40"/>
                  </a:lnTo>
                  <a:lnTo>
                    <a:pt x="65" y="51"/>
                  </a:lnTo>
                  <a:lnTo>
                    <a:pt x="71" y="62"/>
                  </a:lnTo>
                  <a:lnTo>
                    <a:pt x="79" y="75"/>
                  </a:lnTo>
                  <a:lnTo>
                    <a:pt x="86" y="84"/>
                  </a:lnTo>
                  <a:lnTo>
                    <a:pt x="93" y="91"/>
                  </a:lnTo>
                  <a:lnTo>
                    <a:pt x="94" y="91"/>
                  </a:lnTo>
                  <a:lnTo>
                    <a:pt x="97" y="92"/>
                  </a:lnTo>
                  <a:lnTo>
                    <a:pt x="101" y="94"/>
                  </a:lnTo>
                  <a:lnTo>
                    <a:pt x="105" y="95"/>
                  </a:lnTo>
                  <a:lnTo>
                    <a:pt x="111" y="98"/>
                  </a:lnTo>
                  <a:lnTo>
                    <a:pt x="113" y="102"/>
                  </a:lnTo>
                  <a:lnTo>
                    <a:pt x="116" y="108"/>
                  </a:lnTo>
                  <a:lnTo>
                    <a:pt x="116" y="113"/>
                  </a:lnTo>
                  <a:lnTo>
                    <a:pt x="119" y="114"/>
                  </a:lnTo>
                  <a:lnTo>
                    <a:pt x="123" y="120"/>
                  </a:lnTo>
                  <a:lnTo>
                    <a:pt x="130" y="127"/>
                  </a:lnTo>
                  <a:lnTo>
                    <a:pt x="138" y="136"/>
                  </a:lnTo>
                  <a:lnTo>
                    <a:pt x="146" y="146"/>
                  </a:lnTo>
                  <a:lnTo>
                    <a:pt x="155" y="156"/>
                  </a:lnTo>
                  <a:lnTo>
                    <a:pt x="161" y="164"/>
                  </a:lnTo>
                  <a:lnTo>
                    <a:pt x="167" y="169"/>
                  </a:lnTo>
                  <a:lnTo>
                    <a:pt x="167" y="171"/>
                  </a:lnTo>
                  <a:lnTo>
                    <a:pt x="168" y="175"/>
                  </a:lnTo>
                  <a:lnTo>
                    <a:pt x="171" y="180"/>
                  </a:lnTo>
                  <a:lnTo>
                    <a:pt x="172" y="189"/>
                  </a:lnTo>
                  <a:lnTo>
                    <a:pt x="174" y="198"/>
                  </a:lnTo>
                  <a:lnTo>
                    <a:pt x="175" y="209"/>
                  </a:lnTo>
                  <a:lnTo>
                    <a:pt x="177" y="222"/>
                  </a:lnTo>
                  <a:lnTo>
                    <a:pt x="178" y="235"/>
                  </a:lnTo>
                  <a:lnTo>
                    <a:pt x="179" y="235"/>
                  </a:lnTo>
                  <a:lnTo>
                    <a:pt x="181" y="237"/>
                  </a:lnTo>
                  <a:lnTo>
                    <a:pt x="183" y="238"/>
                  </a:lnTo>
                  <a:lnTo>
                    <a:pt x="188" y="238"/>
                  </a:lnTo>
                  <a:lnTo>
                    <a:pt x="192" y="240"/>
                  </a:lnTo>
                  <a:lnTo>
                    <a:pt x="197" y="241"/>
                  </a:lnTo>
                  <a:lnTo>
                    <a:pt x="203" y="241"/>
                  </a:lnTo>
                  <a:lnTo>
                    <a:pt x="204" y="242"/>
                  </a:lnTo>
                  <a:lnTo>
                    <a:pt x="208" y="244"/>
                  </a:lnTo>
                  <a:lnTo>
                    <a:pt x="214" y="245"/>
                  </a:lnTo>
                  <a:lnTo>
                    <a:pt x="222" y="248"/>
                  </a:lnTo>
                  <a:lnTo>
                    <a:pt x="229" y="252"/>
                  </a:lnTo>
                  <a:lnTo>
                    <a:pt x="237" y="256"/>
                  </a:lnTo>
                  <a:lnTo>
                    <a:pt x="244" y="262"/>
                  </a:lnTo>
                  <a:lnTo>
                    <a:pt x="249" y="267"/>
                  </a:lnTo>
                  <a:lnTo>
                    <a:pt x="269" y="267"/>
                  </a:lnTo>
                  <a:lnTo>
                    <a:pt x="270" y="267"/>
                  </a:lnTo>
                  <a:lnTo>
                    <a:pt x="273" y="268"/>
                  </a:lnTo>
                  <a:lnTo>
                    <a:pt x="278" y="271"/>
                  </a:lnTo>
                  <a:lnTo>
                    <a:pt x="285" y="274"/>
                  </a:lnTo>
                  <a:lnTo>
                    <a:pt x="293" y="277"/>
                  </a:lnTo>
                  <a:lnTo>
                    <a:pt x="303" y="279"/>
                  </a:lnTo>
                  <a:lnTo>
                    <a:pt x="313" y="282"/>
                  </a:lnTo>
                  <a:lnTo>
                    <a:pt x="324" y="285"/>
                  </a:lnTo>
                  <a:lnTo>
                    <a:pt x="325" y="285"/>
                  </a:lnTo>
                  <a:lnTo>
                    <a:pt x="328" y="285"/>
                  </a:lnTo>
                  <a:lnTo>
                    <a:pt x="332" y="285"/>
                  </a:lnTo>
                  <a:lnTo>
                    <a:pt x="339" y="285"/>
                  </a:lnTo>
                  <a:lnTo>
                    <a:pt x="344" y="285"/>
                  </a:lnTo>
                  <a:lnTo>
                    <a:pt x="351" y="285"/>
                  </a:lnTo>
                  <a:lnTo>
                    <a:pt x="357" y="285"/>
                  </a:lnTo>
                  <a:lnTo>
                    <a:pt x="362" y="285"/>
                  </a:lnTo>
                  <a:lnTo>
                    <a:pt x="364" y="285"/>
                  </a:lnTo>
                  <a:lnTo>
                    <a:pt x="365" y="285"/>
                  </a:lnTo>
                  <a:lnTo>
                    <a:pt x="368" y="286"/>
                  </a:lnTo>
                  <a:lnTo>
                    <a:pt x="369" y="288"/>
                  </a:lnTo>
                  <a:lnTo>
                    <a:pt x="372" y="289"/>
                  </a:lnTo>
                  <a:lnTo>
                    <a:pt x="373" y="292"/>
                  </a:lnTo>
                  <a:lnTo>
                    <a:pt x="376" y="296"/>
                  </a:lnTo>
                  <a:lnTo>
                    <a:pt x="376" y="295"/>
                  </a:lnTo>
                  <a:lnTo>
                    <a:pt x="376" y="293"/>
                  </a:lnTo>
                  <a:lnTo>
                    <a:pt x="377" y="292"/>
                  </a:lnTo>
                  <a:lnTo>
                    <a:pt x="377" y="289"/>
                  </a:lnTo>
                  <a:lnTo>
                    <a:pt x="379" y="286"/>
                  </a:lnTo>
                  <a:lnTo>
                    <a:pt x="380" y="284"/>
                  </a:lnTo>
                  <a:lnTo>
                    <a:pt x="382" y="281"/>
                  </a:lnTo>
                  <a:lnTo>
                    <a:pt x="383" y="279"/>
                  </a:lnTo>
                  <a:lnTo>
                    <a:pt x="384" y="278"/>
                  </a:lnTo>
                  <a:lnTo>
                    <a:pt x="384" y="277"/>
                  </a:lnTo>
                  <a:lnTo>
                    <a:pt x="384" y="275"/>
                  </a:lnTo>
                  <a:lnTo>
                    <a:pt x="384" y="274"/>
                  </a:lnTo>
                  <a:lnTo>
                    <a:pt x="383" y="273"/>
                  </a:lnTo>
                  <a:lnTo>
                    <a:pt x="383" y="270"/>
                  </a:lnTo>
                  <a:lnTo>
                    <a:pt x="382" y="270"/>
                  </a:lnTo>
                  <a:lnTo>
                    <a:pt x="382" y="268"/>
                  </a:lnTo>
                  <a:lnTo>
                    <a:pt x="382" y="267"/>
                  </a:lnTo>
                  <a:lnTo>
                    <a:pt x="382" y="266"/>
                  </a:lnTo>
                  <a:lnTo>
                    <a:pt x="383" y="264"/>
                  </a:lnTo>
                  <a:lnTo>
                    <a:pt x="384" y="264"/>
                  </a:lnTo>
                  <a:lnTo>
                    <a:pt x="413" y="263"/>
                  </a:lnTo>
                  <a:lnTo>
                    <a:pt x="413" y="252"/>
                  </a:lnTo>
                  <a:lnTo>
                    <a:pt x="402" y="240"/>
                  </a:lnTo>
                  <a:lnTo>
                    <a:pt x="405" y="240"/>
                  </a:lnTo>
                  <a:lnTo>
                    <a:pt x="405" y="230"/>
                  </a:lnTo>
                  <a:lnTo>
                    <a:pt x="430" y="230"/>
                  </a:lnTo>
                  <a:lnTo>
                    <a:pt x="430" y="229"/>
                  </a:lnTo>
                  <a:lnTo>
                    <a:pt x="430" y="227"/>
                  </a:lnTo>
                  <a:lnTo>
                    <a:pt x="431" y="226"/>
                  </a:lnTo>
                  <a:lnTo>
                    <a:pt x="434" y="227"/>
                  </a:lnTo>
                  <a:lnTo>
                    <a:pt x="435" y="227"/>
                  </a:lnTo>
                  <a:lnTo>
                    <a:pt x="435" y="226"/>
                  </a:lnTo>
                  <a:lnTo>
                    <a:pt x="437" y="226"/>
                  </a:lnTo>
                  <a:lnTo>
                    <a:pt x="437" y="224"/>
                  </a:lnTo>
                  <a:lnTo>
                    <a:pt x="438" y="224"/>
                  </a:lnTo>
                  <a:lnTo>
                    <a:pt x="439" y="223"/>
                  </a:lnTo>
                  <a:lnTo>
                    <a:pt x="441" y="223"/>
                  </a:lnTo>
                  <a:lnTo>
                    <a:pt x="441" y="222"/>
                  </a:lnTo>
                  <a:lnTo>
                    <a:pt x="442" y="222"/>
                  </a:lnTo>
                  <a:lnTo>
                    <a:pt x="443" y="222"/>
                  </a:lnTo>
                  <a:lnTo>
                    <a:pt x="445" y="222"/>
                  </a:lnTo>
                  <a:lnTo>
                    <a:pt x="446" y="222"/>
                  </a:lnTo>
                  <a:lnTo>
                    <a:pt x="446" y="22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6" name="Freeform 162"/>
            <p:cNvSpPr>
              <a:spLocks/>
            </p:cNvSpPr>
            <p:nvPr/>
          </p:nvSpPr>
          <p:spPr bwMode="auto">
            <a:xfrm>
              <a:off x="1782" y="1998"/>
              <a:ext cx="79" cy="46"/>
            </a:xfrm>
            <a:custGeom>
              <a:avLst/>
              <a:gdLst>
                <a:gd name="T0" fmla="*/ 97 w 98"/>
                <a:gd name="T1" fmla="*/ 9 h 56"/>
                <a:gd name="T2" fmla="*/ 94 w 98"/>
                <a:gd name="T3" fmla="*/ 9 h 56"/>
                <a:gd name="T4" fmla="*/ 90 w 98"/>
                <a:gd name="T5" fmla="*/ 11 h 56"/>
                <a:gd name="T6" fmla="*/ 87 w 98"/>
                <a:gd name="T7" fmla="*/ 11 h 56"/>
                <a:gd name="T8" fmla="*/ 83 w 98"/>
                <a:gd name="T9" fmla="*/ 12 h 56"/>
                <a:gd name="T10" fmla="*/ 80 w 98"/>
                <a:gd name="T11" fmla="*/ 11 h 56"/>
                <a:gd name="T12" fmla="*/ 76 w 98"/>
                <a:gd name="T13" fmla="*/ 12 h 56"/>
                <a:gd name="T14" fmla="*/ 72 w 98"/>
                <a:gd name="T15" fmla="*/ 18 h 56"/>
                <a:gd name="T16" fmla="*/ 71 w 98"/>
                <a:gd name="T17" fmla="*/ 23 h 56"/>
                <a:gd name="T18" fmla="*/ 66 w 98"/>
                <a:gd name="T19" fmla="*/ 31 h 56"/>
                <a:gd name="T20" fmla="*/ 60 w 98"/>
                <a:gd name="T21" fmla="*/ 37 h 56"/>
                <a:gd name="T22" fmla="*/ 57 w 98"/>
                <a:gd name="T23" fmla="*/ 37 h 56"/>
                <a:gd name="T24" fmla="*/ 53 w 98"/>
                <a:gd name="T25" fmla="*/ 40 h 56"/>
                <a:gd name="T26" fmla="*/ 53 w 98"/>
                <a:gd name="T27" fmla="*/ 45 h 56"/>
                <a:gd name="T28" fmla="*/ 51 w 98"/>
                <a:gd name="T29" fmla="*/ 49 h 56"/>
                <a:gd name="T30" fmla="*/ 47 w 98"/>
                <a:gd name="T31" fmla="*/ 55 h 56"/>
                <a:gd name="T32" fmla="*/ 42 w 98"/>
                <a:gd name="T33" fmla="*/ 56 h 56"/>
                <a:gd name="T34" fmla="*/ 40 w 98"/>
                <a:gd name="T35" fmla="*/ 52 h 56"/>
                <a:gd name="T36" fmla="*/ 39 w 98"/>
                <a:gd name="T37" fmla="*/ 52 h 56"/>
                <a:gd name="T38" fmla="*/ 39 w 98"/>
                <a:gd name="T39" fmla="*/ 52 h 56"/>
                <a:gd name="T40" fmla="*/ 38 w 98"/>
                <a:gd name="T41" fmla="*/ 52 h 56"/>
                <a:gd name="T42" fmla="*/ 36 w 98"/>
                <a:gd name="T43" fmla="*/ 53 h 56"/>
                <a:gd name="T44" fmla="*/ 36 w 98"/>
                <a:gd name="T45" fmla="*/ 51 h 56"/>
                <a:gd name="T46" fmla="*/ 36 w 98"/>
                <a:gd name="T47" fmla="*/ 46 h 56"/>
                <a:gd name="T48" fmla="*/ 36 w 98"/>
                <a:gd name="T49" fmla="*/ 45 h 56"/>
                <a:gd name="T50" fmla="*/ 36 w 98"/>
                <a:gd name="T51" fmla="*/ 42 h 56"/>
                <a:gd name="T52" fmla="*/ 32 w 98"/>
                <a:gd name="T53" fmla="*/ 38 h 56"/>
                <a:gd name="T54" fmla="*/ 28 w 98"/>
                <a:gd name="T55" fmla="*/ 37 h 56"/>
                <a:gd name="T56" fmla="*/ 24 w 98"/>
                <a:gd name="T57" fmla="*/ 35 h 56"/>
                <a:gd name="T58" fmla="*/ 21 w 98"/>
                <a:gd name="T59" fmla="*/ 38 h 56"/>
                <a:gd name="T60" fmla="*/ 20 w 98"/>
                <a:gd name="T61" fmla="*/ 40 h 56"/>
                <a:gd name="T62" fmla="*/ 16 w 98"/>
                <a:gd name="T63" fmla="*/ 38 h 56"/>
                <a:gd name="T64" fmla="*/ 13 w 98"/>
                <a:gd name="T65" fmla="*/ 35 h 56"/>
                <a:gd name="T66" fmla="*/ 10 w 98"/>
                <a:gd name="T67" fmla="*/ 33 h 56"/>
                <a:gd name="T68" fmla="*/ 5 w 98"/>
                <a:gd name="T69" fmla="*/ 30 h 56"/>
                <a:gd name="T70" fmla="*/ 0 w 98"/>
                <a:gd name="T71" fmla="*/ 29 h 56"/>
                <a:gd name="T72" fmla="*/ 2 w 98"/>
                <a:gd name="T73" fmla="*/ 27 h 56"/>
                <a:gd name="T74" fmla="*/ 3 w 98"/>
                <a:gd name="T75" fmla="*/ 27 h 56"/>
                <a:gd name="T76" fmla="*/ 3 w 98"/>
                <a:gd name="T77" fmla="*/ 27 h 56"/>
                <a:gd name="T78" fmla="*/ 6 w 98"/>
                <a:gd name="T79" fmla="*/ 26 h 56"/>
                <a:gd name="T80" fmla="*/ 10 w 98"/>
                <a:gd name="T81" fmla="*/ 23 h 56"/>
                <a:gd name="T82" fmla="*/ 11 w 98"/>
                <a:gd name="T83" fmla="*/ 22 h 56"/>
                <a:gd name="T84" fmla="*/ 16 w 98"/>
                <a:gd name="T85" fmla="*/ 18 h 56"/>
                <a:gd name="T86" fmla="*/ 18 w 98"/>
                <a:gd name="T87" fmla="*/ 15 h 56"/>
                <a:gd name="T88" fmla="*/ 22 w 98"/>
                <a:gd name="T89" fmla="*/ 15 h 56"/>
                <a:gd name="T90" fmla="*/ 31 w 98"/>
                <a:gd name="T91" fmla="*/ 8 h 56"/>
                <a:gd name="T92" fmla="*/ 33 w 98"/>
                <a:gd name="T93" fmla="*/ 2 h 56"/>
                <a:gd name="T94" fmla="*/ 36 w 98"/>
                <a:gd name="T95" fmla="*/ 1 h 56"/>
                <a:gd name="T96" fmla="*/ 39 w 98"/>
                <a:gd name="T97" fmla="*/ 1 h 56"/>
                <a:gd name="T98" fmla="*/ 40 w 98"/>
                <a:gd name="T99" fmla="*/ 1 h 56"/>
                <a:gd name="T100" fmla="*/ 43 w 98"/>
                <a:gd name="T101" fmla="*/ 1 h 56"/>
                <a:gd name="T102" fmla="*/ 49 w 98"/>
                <a:gd name="T103" fmla="*/ 1 h 56"/>
                <a:gd name="T104" fmla="*/ 50 w 98"/>
                <a:gd name="T105" fmla="*/ 1 h 56"/>
                <a:gd name="T106" fmla="*/ 57 w 98"/>
                <a:gd name="T107" fmla="*/ 0 h 56"/>
                <a:gd name="T108" fmla="*/ 68 w 98"/>
                <a:gd name="T109" fmla="*/ 1 h 56"/>
                <a:gd name="T110" fmla="*/ 80 w 98"/>
                <a:gd name="T111" fmla="*/ 2 h 56"/>
                <a:gd name="T112" fmla="*/ 90 w 98"/>
                <a:gd name="T113" fmla="*/ 4 h 56"/>
                <a:gd name="T114" fmla="*/ 95 w 98"/>
                <a:gd name="T115" fmla="*/ 5 h 56"/>
                <a:gd name="T116" fmla="*/ 98 w 98"/>
                <a:gd name="T117" fmla="*/ 5 h 56"/>
                <a:gd name="T118" fmla="*/ 98 w 98"/>
                <a:gd name="T119" fmla="*/ 8 h 56"/>
                <a:gd name="T120" fmla="*/ 98 w 98"/>
                <a:gd name="T121" fmla="*/ 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" h="56">
                  <a:moveTo>
                    <a:pt x="98" y="11"/>
                  </a:moveTo>
                  <a:lnTo>
                    <a:pt x="97" y="11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5" y="13"/>
                  </a:lnTo>
                  <a:lnTo>
                    <a:pt x="73" y="15"/>
                  </a:lnTo>
                  <a:lnTo>
                    <a:pt x="72" y="18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69" y="26"/>
                  </a:lnTo>
                  <a:lnTo>
                    <a:pt x="68" y="29"/>
                  </a:lnTo>
                  <a:lnTo>
                    <a:pt x="66" y="31"/>
                  </a:lnTo>
                  <a:lnTo>
                    <a:pt x="64" y="33"/>
                  </a:lnTo>
                  <a:lnTo>
                    <a:pt x="62" y="35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58" y="37"/>
                  </a:lnTo>
                  <a:lnTo>
                    <a:pt x="57" y="37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40"/>
                  </a:lnTo>
                  <a:lnTo>
                    <a:pt x="53" y="42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3" y="46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50" y="52"/>
                  </a:lnTo>
                  <a:lnTo>
                    <a:pt x="49" y="53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2" y="55"/>
                  </a:lnTo>
                  <a:lnTo>
                    <a:pt x="42" y="53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5" y="52"/>
                  </a:lnTo>
                  <a:lnTo>
                    <a:pt x="36" y="51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5" y="41"/>
                  </a:lnTo>
                  <a:lnTo>
                    <a:pt x="33" y="40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0" y="33"/>
                  </a:lnTo>
                  <a:lnTo>
                    <a:pt x="9" y="31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7" y="13"/>
                  </a:lnTo>
                  <a:lnTo>
                    <a:pt x="28" y="11"/>
                  </a:lnTo>
                  <a:lnTo>
                    <a:pt x="31" y="8"/>
                  </a:lnTo>
                  <a:lnTo>
                    <a:pt x="32" y="7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4" y="1"/>
                  </a:lnTo>
                  <a:lnTo>
                    <a:pt x="68" y="1"/>
                  </a:lnTo>
                  <a:lnTo>
                    <a:pt x="72" y="1"/>
                  </a:lnTo>
                  <a:lnTo>
                    <a:pt x="76" y="1"/>
                  </a:lnTo>
                  <a:lnTo>
                    <a:pt x="80" y="2"/>
                  </a:lnTo>
                  <a:lnTo>
                    <a:pt x="84" y="2"/>
                  </a:lnTo>
                  <a:lnTo>
                    <a:pt x="87" y="2"/>
                  </a:lnTo>
                  <a:lnTo>
                    <a:pt x="90" y="4"/>
                  </a:lnTo>
                  <a:lnTo>
                    <a:pt x="93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1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7" name="Freeform 163"/>
            <p:cNvSpPr>
              <a:spLocks/>
            </p:cNvSpPr>
            <p:nvPr/>
          </p:nvSpPr>
          <p:spPr bwMode="auto">
            <a:xfrm>
              <a:off x="1782" y="1998"/>
              <a:ext cx="79" cy="46"/>
            </a:xfrm>
            <a:custGeom>
              <a:avLst/>
              <a:gdLst>
                <a:gd name="T0" fmla="*/ 97 w 98"/>
                <a:gd name="T1" fmla="*/ 9 h 56"/>
                <a:gd name="T2" fmla="*/ 93 w 98"/>
                <a:gd name="T3" fmla="*/ 9 h 56"/>
                <a:gd name="T4" fmla="*/ 88 w 98"/>
                <a:gd name="T5" fmla="*/ 11 h 56"/>
                <a:gd name="T6" fmla="*/ 84 w 98"/>
                <a:gd name="T7" fmla="*/ 12 h 56"/>
                <a:gd name="T8" fmla="*/ 80 w 98"/>
                <a:gd name="T9" fmla="*/ 11 h 56"/>
                <a:gd name="T10" fmla="*/ 76 w 98"/>
                <a:gd name="T11" fmla="*/ 12 h 56"/>
                <a:gd name="T12" fmla="*/ 72 w 98"/>
                <a:gd name="T13" fmla="*/ 18 h 56"/>
                <a:gd name="T14" fmla="*/ 69 w 98"/>
                <a:gd name="T15" fmla="*/ 26 h 56"/>
                <a:gd name="T16" fmla="*/ 64 w 98"/>
                <a:gd name="T17" fmla="*/ 33 h 56"/>
                <a:gd name="T18" fmla="*/ 58 w 98"/>
                <a:gd name="T19" fmla="*/ 37 h 56"/>
                <a:gd name="T20" fmla="*/ 54 w 98"/>
                <a:gd name="T21" fmla="*/ 38 h 56"/>
                <a:gd name="T22" fmla="*/ 53 w 98"/>
                <a:gd name="T23" fmla="*/ 45 h 56"/>
                <a:gd name="T24" fmla="*/ 51 w 98"/>
                <a:gd name="T25" fmla="*/ 49 h 56"/>
                <a:gd name="T26" fmla="*/ 47 w 98"/>
                <a:gd name="T27" fmla="*/ 55 h 56"/>
                <a:gd name="T28" fmla="*/ 42 w 98"/>
                <a:gd name="T29" fmla="*/ 56 h 56"/>
                <a:gd name="T30" fmla="*/ 40 w 98"/>
                <a:gd name="T31" fmla="*/ 52 h 56"/>
                <a:gd name="T32" fmla="*/ 38 w 98"/>
                <a:gd name="T33" fmla="*/ 53 h 56"/>
                <a:gd name="T34" fmla="*/ 36 w 98"/>
                <a:gd name="T35" fmla="*/ 51 h 56"/>
                <a:gd name="T36" fmla="*/ 36 w 98"/>
                <a:gd name="T37" fmla="*/ 46 h 56"/>
                <a:gd name="T38" fmla="*/ 36 w 98"/>
                <a:gd name="T39" fmla="*/ 42 h 56"/>
                <a:gd name="T40" fmla="*/ 32 w 98"/>
                <a:gd name="T41" fmla="*/ 38 h 56"/>
                <a:gd name="T42" fmla="*/ 28 w 98"/>
                <a:gd name="T43" fmla="*/ 37 h 56"/>
                <a:gd name="T44" fmla="*/ 24 w 98"/>
                <a:gd name="T45" fmla="*/ 35 h 56"/>
                <a:gd name="T46" fmla="*/ 20 w 98"/>
                <a:gd name="T47" fmla="*/ 38 h 56"/>
                <a:gd name="T48" fmla="*/ 17 w 98"/>
                <a:gd name="T49" fmla="*/ 38 h 56"/>
                <a:gd name="T50" fmla="*/ 14 w 98"/>
                <a:gd name="T51" fmla="*/ 35 h 56"/>
                <a:gd name="T52" fmla="*/ 10 w 98"/>
                <a:gd name="T53" fmla="*/ 33 h 56"/>
                <a:gd name="T54" fmla="*/ 5 w 98"/>
                <a:gd name="T55" fmla="*/ 30 h 56"/>
                <a:gd name="T56" fmla="*/ 2 w 98"/>
                <a:gd name="T57" fmla="*/ 29 h 56"/>
                <a:gd name="T58" fmla="*/ 5 w 98"/>
                <a:gd name="T59" fmla="*/ 27 h 56"/>
                <a:gd name="T60" fmla="*/ 10 w 98"/>
                <a:gd name="T61" fmla="*/ 24 h 56"/>
                <a:gd name="T62" fmla="*/ 11 w 98"/>
                <a:gd name="T63" fmla="*/ 22 h 56"/>
                <a:gd name="T64" fmla="*/ 16 w 98"/>
                <a:gd name="T65" fmla="*/ 18 h 56"/>
                <a:gd name="T66" fmla="*/ 18 w 98"/>
                <a:gd name="T67" fmla="*/ 15 h 56"/>
                <a:gd name="T68" fmla="*/ 27 w 98"/>
                <a:gd name="T69" fmla="*/ 13 h 56"/>
                <a:gd name="T70" fmla="*/ 32 w 98"/>
                <a:gd name="T71" fmla="*/ 7 h 56"/>
                <a:gd name="T72" fmla="*/ 36 w 98"/>
                <a:gd name="T73" fmla="*/ 1 h 56"/>
                <a:gd name="T74" fmla="*/ 40 w 98"/>
                <a:gd name="T75" fmla="*/ 1 h 56"/>
                <a:gd name="T76" fmla="*/ 46 w 98"/>
                <a:gd name="T77" fmla="*/ 1 h 56"/>
                <a:gd name="T78" fmla="*/ 50 w 98"/>
                <a:gd name="T79" fmla="*/ 1 h 56"/>
                <a:gd name="T80" fmla="*/ 57 w 98"/>
                <a:gd name="T81" fmla="*/ 0 h 56"/>
                <a:gd name="T82" fmla="*/ 68 w 98"/>
                <a:gd name="T83" fmla="*/ 1 h 56"/>
                <a:gd name="T84" fmla="*/ 80 w 98"/>
                <a:gd name="T85" fmla="*/ 2 h 56"/>
                <a:gd name="T86" fmla="*/ 90 w 98"/>
                <a:gd name="T87" fmla="*/ 4 h 56"/>
                <a:gd name="T88" fmla="*/ 95 w 98"/>
                <a:gd name="T89" fmla="*/ 5 h 56"/>
                <a:gd name="T90" fmla="*/ 98 w 98"/>
                <a:gd name="T91" fmla="*/ 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8" h="56">
                  <a:moveTo>
                    <a:pt x="98" y="11"/>
                  </a:moveTo>
                  <a:lnTo>
                    <a:pt x="97" y="11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1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6" y="12"/>
                  </a:lnTo>
                  <a:lnTo>
                    <a:pt x="84" y="12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5" y="13"/>
                  </a:lnTo>
                  <a:lnTo>
                    <a:pt x="73" y="15"/>
                  </a:lnTo>
                  <a:lnTo>
                    <a:pt x="72" y="18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69" y="26"/>
                  </a:lnTo>
                  <a:lnTo>
                    <a:pt x="68" y="29"/>
                  </a:lnTo>
                  <a:lnTo>
                    <a:pt x="66" y="31"/>
                  </a:lnTo>
                  <a:lnTo>
                    <a:pt x="64" y="33"/>
                  </a:lnTo>
                  <a:lnTo>
                    <a:pt x="62" y="35"/>
                  </a:lnTo>
                  <a:lnTo>
                    <a:pt x="60" y="37"/>
                  </a:lnTo>
                  <a:lnTo>
                    <a:pt x="58" y="37"/>
                  </a:lnTo>
                  <a:lnTo>
                    <a:pt x="57" y="37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40"/>
                  </a:lnTo>
                  <a:lnTo>
                    <a:pt x="53" y="42"/>
                  </a:lnTo>
                  <a:lnTo>
                    <a:pt x="53" y="45"/>
                  </a:lnTo>
                  <a:lnTo>
                    <a:pt x="53" y="46"/>
                  </a:lnTo>
                  <a:lnTo>
                    <a:pt x="51" y="48"/>
                  </a:lnTo>
                  <a:lnTo>
                    <a:pt x="51" y="49"/>
                  </a:lnTo>
                  <a:lnTo>
                    <a:pt x="50" y="52"/>
                  </a:lnTo>
                  <a:lnTo>
                    <a:pt x="49" y="53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42" y="55"/>
                  </a:lnTo>
                  <a:lnTo>
                    <a:pt x="42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3"/>
                  </a:lnTo>
                  <a:lnTo>
                    <a:pt x="36" y="53"/>
                  </a:lnTo>
                  <a:lnTo>
                    <a:pt x="35" y="52"/>
                  </a:lnTo>
                  <a:lnTo>
                    <a:pt x="36" y="51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2"/>
                  </a:lnTo>
                  <a:lnTo>
                    <a:pt x="35" y="41"/>
                  </a:lnTo>
                  <a:lnTo>
                    <a:pt x="33" y="40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2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0" y="33"/>
                  </a:lnTo>
                  <a:lnTo>
                    <a:pt x="9" y="31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6" y="26"/>
                  </a:lnTo>
                  <a:lnTo>
                    <a:pt x="9" y="26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7" y="13"/>
                  </a:lnTo>
                  <a:lnTo>
                    <a:pt x="28" y="11"/>
                  </a:lnTo>
                  <a:lnTo>
                    <a:pt x="31" y="8"/>
                  </a:lnTo>
                  <a:lnTo>
                    <a:pt x="32" y="7"/>
                  </a:lnTo>
                  <a:lnTo>
                    <a:pt x="33" y="4"/>
                  </a:lnTo>
                  <a:lnTo>
                    <a:pt x="33" y="2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4" y="1"/>
                  </a:lnTo>
                  <a:lnTo>
                    <a:pt x="68" y="1"/>
                  </a:lnTo>
                  <a:lnTo>
                    <a:pt x="72" y="1"/>
                  </a:lnTo>
                  <a:lnTo>
                    <a:pt x="76" y="1"/>
                  </a:lnTo>
                  <a:lnTo>
                    <a:pt x="80" y="2"/>
                  </a:lnTo>
                  <a:lnTo>
                    <a:pt x="84" y="2"/>
                  </a:lnTo>
                  <a:lnTo>
                    <a:pt x="87" y="2"/>
                  </a:lnTo>
                  <a:lnTo>
                    <a:pt x="90" y="4"/>
                  </a:lnTo>
                  <a:lnTo>
                    <a:pt x="93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1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8" name="Freeform 164"/>
            <p:cNvSpPr>
              <a:spLocks/>
            </p:cNvSpPr>
            <p:nvPr/>
          </p:nvSpPr>
          <p:spPr bwMode="auto">
            <a:xfrm>
              <a:off x="1770" y="2022"/>
              <a:ext cx="43" cy="23"/>
            </a:xfrm>
            <a:custGeom>
              <a:avLst/>
              <a:gdLst>
                <a:gd name="T0" fmla="*/ 51 w 53"/>
                <a:gd name="T1" fmla="*/ 23 h 27"/>
                <a:gd name="T2" fmla="*/ 50 w 53"/>
                <a:gd name="T3" fmla="*/ 25 h 27"/>
                <a:gd name="T4" fmla="*/ 50 w 53"/>
                <a:gd name="T5" fmla="*/ 26 h 27"/>
                <a:gd name="T6" fmla="*/ 48 w 53"/>
                <a:gd name="T7" fmla="*/ 27 h 27"/>
                <a:gd name="T8" fmla="*/ 42 w 53"/>
                <a:gd name="T9" fmla="*/ 27 h 27"/>
                <a:gd name="T10" fmla="*/ 29 w 53"/>
                <a:gd name="T11" fmla="*/ 25 h 27"/>
                <a:gd name="T12" fmla="*/ 21 w 53"/>
                <a:gd name="T13" fmla="*/ 22 h 27"/>
                <a:gd name="T14" fmla="*/ 15 w 53"/>
                <a:gd name="T15" fmla="*/ 19 h 27"/>
                <a:gd name="T16" fmla="*/ 13 w 53"/>
                <a:gd name="T17" fmla="*/ 19 h 27"/>
                <a:gd name="T18" fmla="*/ 10 w 53"/>
                <a:gd name="T19" fmla="*/ 16 h 27"/>
                <a:gd name="T20" fmla="*/ 7 w 53"/>
                <a:gd name="T21" fmla="*/ 15 h 27"/>
                <a:gd name="T22" fmla="*/ 4 w 53"/>
                <a:gd name="T23" fmla="*/ 14 h 27"/>
                <a:gd name="T24" fmla="*/ 0 w 53"/>
                <a:gd name="T25" fmla="*/ 12 h 27"/>
                <a:gd name="T26" fmla="*/ 10 w 53"/>
                <a:gd name="T27" fmla="*/ 4 h 27"/>
                <a:gd name="T28" fmla="*/ 11 w 53"/>
                <a:gd name="T29" fmla="*/ 3 h 27"/>
                <a:gd name="T30" fmla="*/ 14 w 53"/>
                <a:gd name="T31" fmla="*/ 1 h 27"/>
                <a:gd name="T32" fmla="*/ 15 w 53"/>
                <a:gd name="T33" fmla="*/ 0 h 27"/>
                <a:gd name="T34" fmla="*/ 17 w 53"/>
                <a:gd name="T35" fmla="*/ 0 h 27"/>
                <a:gd name="T36" fmla="*/ 18 w 53"/>
                <a:gd name="T37" fmla="*/ 0 h 27"/>
                <a:gd name="T38" fmla="*/ 22 w 53"/>
                <a:gd name="T39" fmla="*/ 1 h 27"/>
                <a:gd name="T40" fmla="*/ 26 w 53"/>
                <a:gd name="T41" fmla="*/ 3 h 27"/>
                <a:gd name="T42" fmla="*/ 29 w 53"/>
                <a:gd name="T43" fmla="*/ 5 h 27"/>
                <a:gd name="T44" fmla="*/ 31 w 53"/>
                <a:gd name="T45" fmla="*/ 7 h 27"/>
                <a:gd name="T46" fmla="*/ 32 w 53"/>
                <a:gd name="T47" fmla="*/ 8 h 27"/>
                <a:gd name="T48" fmla="*/ 33 w 53"/>
                <a:gd name="T49" fmla="*/ 10 h 27"/>
                <a:gd name="T50" fmla="*/ 36 w 53"/>
                <a:gd name="T51" fmla="*/ 10 h 27"/>
                <a:gd name="T52" fmla="*/ 37 w 53"/>
                <a:gd name="T53" fmla="*/ 8 h 27"/>
                <a:gd name="T54" fmla="*/ 40 w 53"/>
                <a:gd name="T55" fmla="*/ 7 h 27"/>
                <a:gd name="T56" fmla="*/ 43 w 53"/>
                <a:gd name="T57" fmla="*/ 7 h 27"/>
                <a:gd name="T58" fmla="*/ 46 w 53"/>
                <a:gd name="T59" fmla="*/ 7 h 27"/>
                <a:gd name="T60" fmla="*/ 47 w 53"/>
                <a:gd name="T61" fmla="*/ 8 h 27"/>
                <a:gd name="T62" fmla="*/ 50 w 53"/>
                <a:gd name="T63" fmla="*/ 11 h 27"/>
                <a:gd name="T64" fmla="*/ 53 w 53"/>
                <a:gd name="T65" fmla="*/ 12 h 27"/>
                <a:gd name="T66" fmla="*/ 53 w 53"/>
                <a:gd name="T67" fmla="*/ 14 h 27"/>
                <a:gd name="T68" fmla="*/ 53 w 53"/>
                <a:gd name="T69" fmla="*/ 15 h 27"/>
                <a:gd name="T70" fmla="*/ 53 w 53"/>
                <a:gd name="T71" fmla="*/ 18 h 27"/>
                <a:gd name="T72" fmla="*/ 53 w 53"/>
                <a:gd name="T73" fmla="*/ 19 h 27"/>
                <a:gd name="T74" fmla="*/ 53 w 53"/>
                <a:gd name="T7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3" h="27">
                  <a:moveTo>
                    <a:pt x="53" y="23"/>
                  </a:moveTo>
                  <a:lnTo>
                    <a:pt x="51" y="23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2" y="27"/>
                  </a:lnTo>
                  <a:lnTo>
                    <a:pt x="36" y="26"/>
                  </a:lnTo>
                  <a:lnTo>
                    <a:pt x="29" y="25"/>
                  </a:lnTo>
                  <a:lnTo>
                    <a:pt x="25" y="23"/>
                  </a:lnTo>
                  <a:lnTo>
                    <a:pt x="21" y="22"/>
                  </a:lnTo>
                  <a:lnTo>
                    <a:pt x="17" y="21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3" y="12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3" y="2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9" name="Freeform 165"/>
            <p:cNvSpPr>
              <a:spLocks/>
            </p:cNvSpPr>
            <p:nvPr/>
          </p:nvSpPr>
          <p:spPr bwMode="auto">
            <a:xfrm>
              <a:off x="1770" y="2022"/>
              <a:ext cx="43" cy="23"/>
            </a:xfrm>
            <a:custGeom>
              <a:avLst/>
              <a:gdLst>
                <a:gd name="T0" fmla="*/ 53 w 53"/>
                <a:gd name="T1" fmla="*/ 23 h 27"/>
                <a:gd name="T2" fmla="*/ 51 w 53"/>
                <a:gd name="T3" fmla="*/ 23 h 27"/>
                <a:gd name="T4" fmla="*/ 51 w 53"/>
                <a:gd name="T5" fmla="*/ 25 h 27"/>
                <a:gd name="T6" fmla="*/ 50 w 53"/>
                <a:gd name="T7" fmla="*/ 25 h 27"/>
                <a:gd name="T8" fmla="*/ 50 w 53"/>
                <a:gd name="T9" fmla="*/ 26 h 27"/>
                <a:gd name="T10" fmla="*/ 50 w 53"/>
                <a:gd name="T11" fmla="*/ 27 h 27"/>
                <a:gd name="T12" fmla="*/ 48 w 53"/>
                <a:gd name="T13" fmla="*/ 27 h 27"/>
                <a:gd name="T14" fmla="*/ 42 w 53"/>
                <a:gd name="T15" fmla="*/ 27 h 27"/>
                <a:gd name="T16" fmla="*/ 36 w 53"/>
                <a:gd name="T17" fmla="*/ 26 h 27"/>
                <a:gd name="T18" fmla="*/ 29 w 53"/>
                <a:gd name="T19" fmla="*/ 25 h 27"/>
                <a:gd name="T20" fmla="*/ 25 w 53"/>
                <a:gd name="T21" fmla="*/ 23 h 27"/>
                <a:gd name="T22" fmla="*/ 21 w 53"/>
                <a:gd name="T23" fmla="*/ 22 h 27"/>
                <a:gd name="T24" fmla="*/ 17 w 53"/>
                <a:gd name="T25" fmla="*/ 21 h 27"/>
                <a:gd name="T26" fmla="*/ 15 w 53"/>
                <a:gd name="T27" fmla="*/ 19 h 27"/>
                <a:gd name="T28" fmla="*/ 13 w 53"/>
                <a:gd name="T29" fmla="*/ 19 h 27"/>
                <a:gd name="T30" fmla="*/ 11 w 53"/>
                <a:gd name="T31" fmla="*/ 18 h 27"/>
                <a:gd name="T32" fmla="*/ 10 w 53"/>
                <a:gd name="T33" fmla="*/ 16 h 27"/>
                <a:gd name="T34" fmla="*/ 9 w 53"/>
                <a:gd name="T35" fmla="*/ 16 h 27"/>
                <a:gd name="T36" fmla="*/ 7 w 53"/>
                <a:gd name="T37" fmla="*/ 15 h 27"/>
                <a:gd name="T38" fmla="*/ 6 w 53"/>
                <a:gd name="T39" fmla="*/ 15 h 27"/>
                <a:gd name="T40" fmla="*/ 4 w 53"/>
                <a:gd name="T41" fmla="*/ 14 h 27"/>
                <a:gd name="T42" fmla="*/ 3 w 53"/>
                <a:gd name="T43" fmla="*/ 12 h 27"/>
                <a:gd name="T44" fmla="*/ 0 w 53"/>
                <a:gd name="T45" fmla="*/ 12 h 27"/>
                <a:gd name="T46" fmla="*/ 10 w 53"/>
                <a:gd name="T47" fmla="*/ 4 h 27"/>
                <a:gd name="T48" fmla="*/ 11 w 53"/>
                <a:gd name="T49" fmla="*/ 3 h 27"/>
                <a:gd name="T50" fmla="*/ 13 w 53"/>
                <a:gd name="T51" fmla="*/ 1 h 27"/>
                <a:gd name="T52" fmla="*/ 14 w 53"/>
                <a:gd name="T53" fmla="*/ 1 h 27"/>
                <a:gd name="T54" fmla="*/ 15 w 53"/>
                <a:gd name="T55" fmla="*/ 0 h 27"/>
                <a:gd name="T56" fmla="*/ 17 w 53"/>
                <a:gd name="T57" fmla="*/ 0 h 27"/>
                <a:gd name="T58" fmla="*/ 18 w 53"/>
                <a:gd name="T59" fmla="*/ 0 h 27"/>
                <a:gd name="T60" fmla="*/ 21 w 53"/>
                <a:gd name="T61" fmla="*/ 0 h 27"/>
                <a:gd name="T62" fmla="*/ 22 w 53"/>
                <a:gd name="T63" fmla="*/ 1 h 27"/>
                <a:gd name="T64" fmla="*/ 25 w 53"/>
                <a:gd name="T65" fmla="*/ 1 h 27"/>
                <a:gd name="T66" fmla="*/ 26 w 53"/>
                <a:gd name="T67" fmla="*/ 3 h 27"/>
                <a:gd name="T68" fmla="*/ 29 w 53"/>
                <a:gd name="T69" fmla="*/ 5 h 27"/>
                <a:gd name="T70" fmla="*/ 31 w 53"/>
                <a:gd name="T71" fmla="*/ 7 h 27"/>
                <a:gd name="T72" fmla="*/ 32 w 53"/>
                <a:gd name="T73" fmla="*/ 8 h 27"/>
                <a:gd name="T74" fmla="*/ 33 w 53"/>
                <a:gd name="T75" fmla="*/ 10 h 27"/>
                <a:gd name="T76" fmla="*/ 35 w 53"/>
                <a:gd name="T77" fmla="*/ 10 h 27"/>
                <a:gd name="T78" fmla="*/ 36 w 53"/>
                <a:gd name="T79" fmla="*/ 10 h 27"/>
                <a:gd name="T80" fmla="*/ 36 w 53"/>
                <a:gd name="T81" fmla="*/ 8 h 27"/>
                <a:gd name="T82" fmla="*/ 37 w 53"/>
                <a:gd name="T83" fmla="*/ 8 h 27"/>
                <a:gd name="T84" fmla="*/ 39 w 53"/>
                <a:gd name="T85" fmla="*/ 7 h 27"/>
                <a:gd name="T86" fmla="*/ 40 w 53"/>
                <a:gd name="T87" fmla="*/ 7 h 27"/>
                <a:gd name="T88" fmla="*/ 42 w 53"/>
                <a:gd name="T89" fmla="*/ 7 h 27"/>
                <a:gd name="T90" fmla="*/ 43 w 53"/>
                <a:gd name="T91" fmla="*/ 7 h 27"/>
                <a:gd name="T92" fmla="*/ 44 w 53"/>
                <a:gd name="T93" fmla="*/ 7 h 27"/>
                <a:gd name="T94" fmla="*/ 46 w 53"/>
                <a:gd name="T95" fmla="*/ 7 h 27"/>
                <a:gd name="T96" fmla="*/ 46 w 53"/>
                <a:gd name="T97" fmla="*/ 8 h 27"/>
                <a:gd name="T98" fmla="*/ 47 w 53"/>
                <a:gd name="T99" fmla="*/ 8 h 27"/>
                <a:gd name="T100" fmla="*/ 48 w 53"/>
                <a:gd name="T101" fmla="*/ 10 h 27"/>
                <a:gd name="T102" fmla="*/ 50 w 53"/>
                <a:gd name="T103" fmla="*/ 11 h 27"/>
                <a:gd name="T104" fmla="*/ 51 w 53"/>
                <a:gd name="T105" fmla="*/ 11 h 27"/>
                <a:gd name="T106" fmla="*/ 53 w 53"/>
                <a:gd name="T107" fmla="*/ 12 h 27"/>
                <a:gd name="T108" fmla="*/ 53 w 53"/>
                <a:gd name="T109" fmla="*/ 14 h 27"/>
                <a:gd name="T110" fmla="*/ 53 w 53"/>
                <a:gd name="T111" fmla="*/ 15 h 27"/>
                <a:gd name="T112" fmla="*/ 53 w 53"/>
                <a:gd name="T113" fmla="*/ 16 h 27"/>
                <a:gd name="T114" fmla="*/ 53 w 53"/>
                <a:gd name="T115" fmla="*/ 18 h 27"/>
                <a:gd name="T116" fmla="*/ 53 w 53"/>
                <a:gd name="T117" fmla="*/ 19 h 27"/>
                <a:gd name="T118" fmla="*/ 53 w 53"/>
                <a:gd name="T119" fmla="*/ 21 h 27"/>
                <a:gd name="T120" fmla="*/ 53 w 53"/>
                <a:gd name="T121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27">
                  <a:moveTo>
                    <a:pt x="53" y="23"/>
                  </a:moveTo>
                  <a:lnTo>
                    <a:pt x="51" y="23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48" y="27"/>
                  </a:lnTo>
                  <a:lnTo>
                    <a:pt x="42" y="27"/>
                  </a:lnTo>
                  <a:lnTo>
                    <a:pt x="36" y="26"/>
                  </a:lnTo>
                  <a:lnTo>
                    <a:pt x="29" y="25"/>
                  </a:lnTo>
                  <a:lnTo>
                    <a:pt x="25" y="23"/>
                  </a:lnTo>
                  <a:lnTo>
                    <a:pt x="21" y="22"/>
                  </a:lnTo>
                  <a:lnTo>
                    <a:pt x="17" y="21"/>
                  </a:lnTo>
                  <a:lnTo>
                    <a:pt x="15" y="19"/>
                  </a:lnTo>
                  <a:lnTo>
                    <a:pt x="13" y="19"/>
                  </a:lnTo>
                  <a:lnTo>
                    <a:pt x="11" y="18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1" y="0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26" y="3"/>
                  </a:lnTo>
                  <a:lnTo>
                    <a:pt x="29" y="5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3" y="12"/>
                  </a:lnTo>
                  <a:lnTo>
                    <a:pt x="53" y="14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3" y="21"/>
                  </a:lnTo>
                  <a:lnTo>
                    <a:pt x="53" y="2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0" name="Freeform 166"/>
            <p:cNvSpPr>
              <a:spLocks/>
            </p:cNvSpPr>
            <p:nvPr/>
          </p:nvSpPr>
          <p:spPr bwMode="auto">
            <a:xfrm>
              <a:off x="2143" y="2030"/>
              <a:ext cx="7" cy="8"/>
            </a:xfrm>
            <a:custGeom>
              <a:avLst/>
              <a:gdLst>
                <a:gd name="T0" fmla="*/ 6 w 10"/>
                <a:gd name="T1" fmla="*/ 8 h 8"/>
                <a:gd name="T2" fmla="*/ 6 w 10"/>
                <a:gd name="T3" fmla="*/ 8 h 8"/>
                <a:gd name="T4" fmla="*/ 7 w 10"/>
                <a:gd name="T5" fmla="*/ 8 h 8"/>
                <a:gd name="T6" fmla="*/ 7 w 10"/>
                <a:gd name="T7" fmla="*/ 8 h 8"/>
                <a:gd name="T8" fmla="*/ 8 w 10"/>
                <a:gd name="T9" fmla="*/ 7 h 8"/>
                <a:gd name="T10" fmla="*/ 8 w 10"/>
                <a:gd name="T11" fmla="*/ 7 h 8"/>
                <a:gd name="T12" fmla="*/ 10 w 10"/>
                <a:gd name="T13" fmla="*/ 5 h 8"/>
                <a:gd name="T14" fmla="*/ 10 w 10"/>
                <a:gd name="T15" fmla="*/ 5 h 8"/>
                <a:gd name="T16" fmla="*/ 10 w 10"/>
                <a:gd name="T17" fmla="*/ 4 h 8"/>
                <a:gd name="T18" fmla="*/ 10 w 10"/>
                <a:gd name="T19" fmla="*/ 3 h 8"/>
                <a:gd name="T20" fmla="*/ 10 w 10"/>
                <a:gd name="T21" fmla="*/ 3 h 8"/>
                <a:gd name="T22" fmla="*/ 8 w 10"/>
                <a:gd name="T23" fmla="*/ 1 h 8"/>
                <a:gd name="T24" fmla="*/ 8 w 10"/>
                <a:gd name="T25" fmla="*/ 1 h 8"/>
                <a:gd name="T26" fmla="*/ 7 w 10"/>
                <a:gd name="T27" fmla="*/ 0 h 8"/>
                <a:gd name="T28" fmla="*/ 7 w 10"/>
                <a:gd name="T29" fmla="*/ 0 h 8"/>
                <a:gd name="T30" fmla="*/ 6 w 10"/>
                <a:gd name="T31" fmla="*/ 0 h 8"/>
                <a:gd name="T32" fmla="*/ 6 w 10"/>
                <a:gd name="T33" fmla="*/ 0 h 8"/>
                <a:gd name="T34" fmla="*/ 4 w 10"/>
                <a:gd name="T35" fmla="*/ 0 h 8"/>
                <a:gd name="T36" fmla="*/ 3 w 10"/>
                <a:gd name="T37" fmla="*/ 0 h 8"/>
                <a:gd name="T38" fmla="*/ 3 w 10"/>
                <a:gd name="T39" fmla="*/ 0 h 8"/>
                <a:gd name="T40" fmla="*/ 1 w 10"/>
                <a:gd name="T41" fmla="*/ 1 h 8"/>
                <a:gd name="T42" fmla="*/ 1 w 10"/>
                <a:gd name="T43" fmla="*/ 1 h 8"/>
                <a:gd name="T44" fmla="*/ 1 w 10"/>
                <a:gd name="T45" fmla="*/ 3 h 8"/>
                <a:gd name="T46" fmla="*/ 0 w 10"/>
                <a:gd name="T47" fmla="*/ 3 h 8"/>
                <a:gd name="T48" fmla="*/ 0 w 10"/>
                <a:gd name="T49" fmla="*/ 4 h 8"/>
                <a:gd name="T50" fmla="*/ 0 w 10"/>
                <a:gd name="T51" fmla="*/ 5 h 8"/>
                <a:gd name="T52" fmla="*/ 1 w 10"/>
                <a:gd name="T53" fmla="*/ 5 h 8"/>
                <a:gd name="T54" fmla="*/ 1 w 10"/>
                <a:gd name="T55" fmla="*/ 7 h 8"/>
                <a:gd name="T56" fmla="*/ 1 w 10"/>
                <a:gd name="T57" fmla="*/ 7 h 8"/>
                <a:gd name="T58" fmla="*/ 3 w 10"/>
                <a:gd name="T59" fmla="*/ 8 h 8"/>
                <a:gd name="T60" fmla="*/ 3 w 10"/>
                <a:gd name="T61" fmla="*/ 8 h 8"/>
                <a:gd name="T62" fmla="*/ 4 w 10"/>
                <a:gd name="T63" fmla="*/ 8 h 8"/>
                <a:gd name="T64" fmla="*/ 6 w 10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8">
                  <a:moveTo>
                    <a:pt x="6" y="8"/>
                  </a:move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1" name="Freeform 167"/>
            <p:cNvSpPr>
              <a:spLocks/>
            </p:cNvSpPr>
            <p:nvPr/>
          </p:nvSpPr>
          <p:spPr bwMode="auto">
            <a:xfrm>
              <a:off x="2143" y="2030"/>
              <a:ext cx="7" cy="8"/>
            </a:xfrm>
            <a:custGeom>
              <a:avLst/>
              <a:gdLst>
                <a:gd name="T0" fmla="*/ 6 w 10"/>
                <a:gd name="T1" fmla="*/ 8 h 8"/>
                <a:gd name="T2" fmla="*/ 7 w 10"/>
                <a:gd name="T3" fmla="*/ 8 h 8"/>
                <a:gd name="T4" fmla="*/ 8 w 10"/>
                <a:gd name="T5" fmla="*/ 7 h 8"/>
                <a:gd name="T6" fmla="*/ 10 w 10"/>
                <a:gd name="T7" fmla="*/ 5 h 8"/>
                <a:gd name="T8" fmla="*/ 10 w 10"/>
                <a:gd name="T9" fmla="*/ 4 h 8"/>
                <a:gd name="T10" fmla="*/ 10 w 10"/>
                <a:gd name="T11" fmla="*/ 3 h 8"/>
                <a:gd name="T12" fmla="*/ 8 w 10"/>
                <a:gd name="T13" fmla="*/ 1 h 8"/>
                <a:gd name="T14" fmla="*/ 7 w 10"/>
                <a:gd name="T15" fmla="*/ 0 h 8"/>
                <a:gd name="T16" fmla="*/ 6 w 10"/>
                <a:gd name="T17" fmla="*/ 0 h 8"/>
                <a:gd name="T18" fmla="*/ 4 w 10"/>
                <a:gd name="T19" fmla="*/ 0 h 8"/>
                <a:gd name="T20" fmla="*/ 3 w 10"/>
                <a:gd name="T21" fmla="*/ 0 h 8"/>
                <a:gd name="T22" fmla="*/ 1 w 10"/>
                <a:gd name="T23" fmla="*/ 1 h 8"/>
                <a:gd name="T24" fmla="*/ 1 w 10"/>
                <a:gd name="T25" fmla="*/ 3 h 8"/>
                <a:gd name="T26" fmla="*/ 0 w 10"/>
                <a:gd name="T27" fmla="*/ 3 h 8"/>
                <a:gd name="T28" fmla="*/ 0 w 10"/>
                <a:gd name="T29" fmla="*/ 4 h 8"/>
                <a:gd name="T30" fmla="*/ 0 w 10"/>
                <a:gd name="T31" fmla="*/ 5 h 8"/>
                <a:gd name="T32" fmla="*/ 1 w 10"/>
                <a:gd name="T33" fmla="*/ 5 h 8"/>
                <a:gd name="T34" fmla="*/ 1 w 10"/>
                <a:gd name="T35" fmla="*/ 7 h 8"/>
                <a:gd name="T36" fmla="*/ 3 w 10"/>
                <a:gd name="T37" fmla="*/ 8 h 8"/>
                <a:gd name="T38" fmla="*/ 4 w 10"/>
                <a:gd name="T39" fmla="*/ 8 h 8"/>
                <a:gd name="T40" fmla="*/ 6 w 10"/>
                <a:gd name="T4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8">
                  <a:moveTo>
                    <a:pt x="6" y="8"/>
                  </a:moveTo>
                  <a:lnTo>
                    <a:pt x="7" y="8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2" name="Freeform 168"/>
            <p:cNvSpPr>
              <a:spLocks/>
            </p:cNvSpPr>
            <p:nvPr/>
          </p:nvSpPr>
          <p:spPr bwMode="auto">
            <a:xfrm>
              <a:off x="2130" y="1972"/>
              <a:ext cx="9" cy="4"/>
            </a:xfrm>
            <a:custGeom>
              <a:avLst/>
              <a:gdLst>
                <a:gd name="T0" fmla="*/ 5 w 10"/>
                <a:gd name="T1" fmla="*/ 7 h 7"/>
                <a:gd name="T2" fmla="*/ 7 w 10"/>
                <a:gd name="T3" fmla="*/ 7 h 7"/>
                <a:gd name="T4" fmla="*/ 7 w 10"/>
                <a:gd name="T5" fmla="*/ 7 h 7"/>
                <a:gd name="T6" fmla="*/ 8 w 10"/>
                <a:gd name="T7" fmla="*/ 7 h 7"/>
                <a:gd name="T8" fmla="*/ 8 w 10"/>
                <a:gd name="T9" fmla="*/ 7 h 7"/>
                <a:gd name="T10" fmla="*/ 10 w 10"/>
                <a:gd name="T11" fmla="*/ 5 h 7"/>
                <a:gd name="T12" fmla="*/ 10 w 10"/>
                <a:gd name="T13" fmla="*/ 5 h 7"/>
                <a:gd name="T14" fmla="*/ 10 w 10"/>
                <a:gd name="T15" fmla="*/ 4 h 7"/>
                <a:gd name="T16" fmla="*/ 10 w 10"/>
                <a:gd name="T17" fmla="*/ 4 h 7"/>
                <a:gd name="T18" fmla="*/ 10 w 10"/>
                <a:gd name="T19" fmla="*/ 2 h 7"/>
                <a:gd name="T20" fmla="*/ 10 w 10"/>
                <a:gd name="T21" fmla="*/ 2 h 7"/>
                <a:gd name="T22" fmla="*/ 10 w 10"/>
                <a:gd name="T23" fmla="*/ 1 h 7"/>
                <a:gd name="T24" fmla="*/ 8 w 10"/>
                <a:gd name="T25" fmla="*/ 1 h 7"/>
                <a:gd name="T26" fmla="*/ 8 w 10"/>
                <a:gd name="T27" fmla="*/ 0 h 7"/>
                <a:gd name="T28" fmla="*/ 7 w 10"/>
                <a:gd name="T29" fmla="*/ 0 h 7"/>
                <a:gd name="T30" fmla="*/ 7 w 10"/>
                <a:gd name="T31" fmla="*/ 0 h 7"/>
                <a:gd name="T32" fmla="*/ 5 w 10"/>
                <a:gd name="T33" fmla="*/ 0 h 7"/>
                <a:gd name="T34" fmla="*/ 4 w 10"/>
                <a:gd name="T35" fmla="*/ 0 h 7"/>
                <a:gd name="T36" fmla="*/ 3 w 10"/>
                <a:gd name="T37" fmla="*/ 0 h 7"/>
                <a:gd name="T38" fmla="*/ 3 w 10"/>
                <a:gd name="T39" fmla="*/ 0 h 7"/>
                <a:gd name="T40" fmla="*/ 1 w 10"/>
                <a:gd name="T41" fmla="*/ 1 h 7"/>
                <a:gd name="T42" fmla="*/ 1 w 10"/>
                <a:gd name="T43" fmla="*/ 1 h 7"/>
                <a:gd name="T44" fmla="*/ 1 w 10"/>
                <a:gd name="T45" fmla="*/ 2 h 7"/>
                <a:gd name="T46" fmla="*/ 0 w 10"/>
                <a:gd name="T47" fmla="*/ 2 h 7"/>
                <a:gd name="T48" fmla="*/ 0 w 10"/>
                <a:gd name="T49" fmla="*/ 4 h 7"/>
                <a:gd name="T50" fmla="*/ 0 w 10"/>
                <a:gd name="T51" fmla="*/ 4 h 7"/>
                <a:gd name="T52" fmla="*/ 1 w 10"/>
                <a:gd name="T53" fmla="*/ 5 h 7"/>
                <a:gd name="T54" fmla="*/ 1 w 10"/>
                <a:gd name="T55" fmla="*/ 5 h 7"/>
                <a:gd name="T56" fmla="*/ 1 w 10"/>
                <a:gd name="T57" fmla="*/ 7 h 7"/>
                <a:gd name="T58" fmla="*/ 3 w 10"/>
                <a:gd name="T59" fmla="*/ 7 h 7"/>
                <a:gd name="T60" fmla="*/ 3 w 10"/>
                <a:gd name="T61" fmla="*/ 7 h 7"/>
                <a:gd name="T62" fmla="*/ 4 w 10"/>
                <a:gd name="T63" fmla="*/ 7 h 7"/>
                <a:gd name="T64" fmla="*/ 5 w 10"/>
                <a:gd name="T6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7">
                  <a:moveTo>
                    <a:pt x="5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3" name="Freeform 169"/>
            <p:cNvSpPr>
              <a:spLocks/>
            </p:cNvSpPr>
            <p:nvPr/>
          </p:nvSpPr>
          <p:spPr bwMode="auto">
            <a:xfrm>
              <a:off x="2130" y="1972"/>
              <a:ext cx="9" cy="4"/>
            </a:xfrm>
            <a:custGeom>
              <a:avLst/>
              <a:gdLst>
                <a:gd name="T0" fmla="*/ 5 w 10"/>
                <a:gd name="T1" fmla="*/ 7 h 7"/>
                <a:gd name="T2" fmla="*/ 7 w 10"/>
                <a:gd name="T3" fmla="*/ 7 h 7"/>
                <a:gd name="T4" fmla="*/ 8 w 10"/>
                <a:gd name="T5" fmla="*/ 7 h 7"/>
                <a:gd name="T6" fmla="*/ 10 w 10"/>
                <a:gd name="T7" fmla="*/ 5 h 7"/>
                <a:gd name="T8" fmla="*/ 10 w 10"/>
                <a:gd name="T9" fmla="*/ 4 h 7"/>
                <a:gd name="T10" fmla="*/ 10 w 10"/>
                <a:gd name="T11" fmla="*/ 2 h 7"/>
                <a:gd name="T12" fmla="*/ 10 w 10"/>
                <a:gd name="T13" fmla="*/ 1 h 7"/>
                <a:gd name="T14" fmla="*/ 8 w 10"/>
                <a:gd name="T15" fmla="*/ 1 h 7"/>
                <a:gd name="T16" fmla="*/ 8 w 10"/>
                <a:gd name="T17" fmla="*/ 0 h 7"/>
                <a:gd name="T18" fmla="*/ 7 w 10"/>
                <a:gd name="T19" fmla="*/ 0 h 7"/>
                <a:gd name="T20" fmla="*/ 5 w 10"/>
                <a:gd name="T21" fmla="*/ 0 h 7"/>
                <a:gd name="T22" fmla="*/ 4 w 10"/>
                <a:gd name="T23" fmla="*/ 0 h 7"/>
                <a:gd name="T24" fmla="*/ 3 w 10"/>
                <a:gd name="T25" fmla="*/ 0 h 7"/>
                <a:gd name="T26" fmla="*/ 1 w 10"/>
                <a:gd name="T27" fmla="*/ 1 h 7"/>
                <a:gd name="T28" fmla="*/ 1 w 10"/>
                <a:gd name="T29" fmla="*/ 2 h 7"/>
                <a:gd name="T30" fmla="*/ 0 w 10"/>
                <a:gd name="T31" fmla="*/ 2 h 7"/>
                <a:gd name="T32" fmla="*/ 0 w 10"/>
                <a:gd name="T33" fmla="*/ 4 h 7"/>
                <a:gd name="T34" fmla="*/ 1 w 10"/>
                <a:gd name="T35" fmla="*/ 5 h 7"/>
                <a:gd name="T36" fmla="*/ 1 w 10"/>
                <a:gd name="T37" fmla="*/ 7 h 7"/>
                <a:gd name="T38" fmla="*/ 3 w 10"/>
                <a:gd name="T39" fmla="*/ 7 h 7"/>
                <a:gd name="T40" fmla="*/ 4 w 10"/>
                <a:gd name="T41" fmla="*/ 7 h 7"/>
                <a:gd name="T42" fmla="*/ 5 w 10"/>
                <a:gd name="T4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7">
                  <a:moveTo>
                    <a:pt x="5" y="7"/>
                  </a:moveTo>
                  <a:lnTo>
                    <a:pt x="7" y="7"/>
                  </a:lnTo>
                  <a:lnTo>
                    <a:pt x="8" y="7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4" name="Freeform 170"/>
            <p:cNvSpPr>
              <a:spLocks/>
            </p:cNvSpPr>
            <p:nvPr/>
          </p:nvSpPr>
          <p:spPr bwMode="auto">
            <a:xfrm>
              <a:off x="2145" y="1990"/>
              <a:ext cx="6" cy="5"/>
            </a:xfrm>
            <a:custGeom>
              <a:avLst/>
              <a:gdLst>
                <a:gd name="T0" fmla="*/ 4 w 8"/>
                <a:gd name="T1" fmla="*/ 8 h 8"/>
                <a:gd name="T2" fmla="*/ 5 w 8"/>
                <a:gd name="T3" fmla="*/ 8 h 8"/>
                <a:gd name="T4" fmla="*/ 5 w 8"/>
                <a:gd name="T5" fmla="*/ 8 h 8"/>
                <a:gd name="T6" fmla="*/ 7 w 8"/>
                <a:gd name="T7" fmla="*/ 8 h 8"/>
                <a:gd name="T8" fmla="*/ 7 w 8"/>
                <a:gd name="T9" fmla="*/ 7 h 8"/>
                <a:gd name="T10" fmla="*/ 8 w 8"/>
                <a:gd name="T11" fmla="*/ 7 h 8"/>
                <a:gd name="T12" fmla="*/ 8 w 8"/>
                <a:gd name="T13" fmla="*/ 5 h 8"/>
                <a:gd name="T14" fmla="*/ 8 w 8"/>
                <a:gd name="T15" fmla="*/ 5 h 8"/>
                <a:gd name="T16" fmla="*/ 8 w 8"/>
                <a:gd name="T17" fmla="*/ 4 h 8"/>
                <a:gd name="T18" fmla="*/ 8 w 8"/>
                <a:gd name="T19" fmla="*/ 4 h 8"/>
                <a:gd name="T20" fmla="*/ 8 w 8"/>
                <a:gd name="T21" fmla="*/ 2 h 8"/>
                <a:gd name="T22" fmla="*/ 8 w 8"/>
                <a:gd name="T23" fmla="*/ 1 h 8"/>
                <a:gd name="T24" fmla="*/ 7 w 8"/>
                <a:gd name="T25" fmla="*/ 1 h 8"/>
                <a:gd name="T26" fmla="*/ 7 w 8"/>
                <a:gd name="T27" fmla="*/ 0 h 8"/>
                <a:gd name="T28" fmla="*/ 5 w 8"/>
                <a:gd name="T29" fmla="*/ 0 h 8"/>
                <a:gd name="T30" fmla="*/ 5 w 8"/>
                <a:gd name="T31" fmla="*/ 0 h 8"/>
                <a:gd name="T32" fmla="*/ 4 w 8"/>
                <a:gd name="T33" fmla="*/ 0 h 8"/>
                <a:gd name="T34" fmla="*/ 4 w 8"/>
                <a:gd name="T35" fmla="*/ 0 h 8"/>
                <a:gd name="T36" fmla="*/ 3 w 8"/>
                <a:gd name="T37" fmla="*/ 0 h 8"/>
                <a:gd name="T38" fmla="*/ 1 w 8"/>
                <a:gd name="T39" fmla="*/ 0 h 8"/>
                <a:gd name="T40" fmla="*/ 1 w 8"/>
                <a:gd name="T41" fmla="*/ 1 h 8"/>
                <a:gd name="T42" fmla="*/ 0 w 8"/>
                <a:gd name="T43" fmla="*/ 1 h 8"/>
                <a:gd name="T44" fmla="*/ 0 w 8"/>
                <a:gd name="T45" fmla="*/ 2 h 8"/>
                <a:gd name="T46" fmla="*/ 0 w 8"/>
                <a:gd name="T47" fmla="*/ 4 h 8"/>
                <a:gd name="T48" fmla="*/ 0 w 8"/>
                <a:gd name="T49" fmla="*/ 4 h 8"/>
                <a:gd name="T50" fmla="*/ 0 w 8"/>
                <a:gd name="T51" fmla="*/ 5 h 8"/>
                <a:gd name="T52" fmla="*/ 0 w 8"/>
                <a:gd name="T53" fmla="*/ 5 h 8"/>
                <a:gd name="T54" fmla="*/ 0 w 8"/>
                <a:gd name="T55" fmla="*/ 7 h 8"/>
                <a:gd name="T56" fmla="*/ 1 w 8"/>
                <a:gd name="T57" fmla="*/ 7 h 8"/>
                <a:gd name="T58" fmla="*/ 1 w 8"/>
                <a:gd name="T59" fmla="*/ 8 h 8"/>
                <a:gd name="T60" fmla="*/ 3 w 8"/>
                <a:gd name="T61" fmla="*/ 8 h 8"/>
                <a:gd name="T62" fmla="*/ 4 w 8"/>
                <a:gd name="T63" fmla="*/ 8 h 8"/>
                <a:gd name="T64" fmla="*/ 4 w 8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5" name="Freeform 171"/>
            <p:cNvSpPr>
              <a:spLocks/>
            </p:cNvSpPr>
            <p:nvPr/>
          </p:nvSpPr>
          <p:spPr bwMode="auto">
            <a:xfrm>
              <a:off x="2145" y="1990"/>
              <a:ext cx="6" cy="5"/>
            </a:xfrm>
            <a:custGeom>
              <a:avLst/>
              <a:gdLst>
                <a:gd name="T0" fmla="*/ 4 w 8"/>
                <a:gd name="T1" fmla="*/ 8 h 8"/>
                <a:gd name="T2" fmla="*/ 5 w 8"/>
                <a:gd name="T3" fmla="*/ 8 h 8"/>
                <a:gd name="T4" fmla="*/ 7 w 8"/>
                <a:gd name="T5" fmla="*/ 8 h 8"/>
                <a:gd name="T6" fmla="*/ 7 w 8"/>
                <a:gd name="T7" fmla="*/ 7 h 8"/>
                <a:gd name="T8" fmla="*/ 8 w 8"/>
                <a:gd name="T9" fmla="*/ 7 h 8"/>
                <a:gd name="T10" fmla="*/ 8 w 8"/>
                <a:gd name="T11" fmla="*/ 5 h 8"/>
                <a:gd name="T12" fmla="*/ 8 w 8"/>
                <a:gd name="T13" fmla="*/ 4 h 8"/>
                <a:gd name="T14" fmla="*/ 8 w 8"/>
                <a:gd name="T15" fmla="*/ 2 h 8"/>
                <a:gd name="T16" fmla="*/ 8 w 8"/>
                <a:gd name="T17" fmla="*/ 1 h 8"/>
                <a:gd name="T18" fmla="*/ 7 w 8"/>
                <a:gd name="T19" fmla="*/ 1 h 8"/>
                <a:gd name="T20" fmla="*/ 7 w 8"/>
                <a:gd name="T21" fmla="*/ 0 h 8"/>
                <a:gd name="T22" fmla="*/ 5 w 8"/>
                <a:gd name="T23" fmla="*/ 0 h 8"/>
                <a:gd name="T24" fmla="*/ 4 w 8"/>
                <a:gd name="T25" fmla="*/ 0 h 8"/>
                <a:gd name="T26" fmla="*/ 3 w 8"/>
                <a:gd name="T27" fmla="*/ 0 h 8"/>
                <a:gd name="T28" fmla="*/ 1 w 8"/>
                <a:gd name="T29" fmla="*/ 0 h 8"/>
                <a:gd name="T30" fmla="*/ 1 w 8"/>
                <a:gd name="T31" fmla="*/ 1 h 8"/>
                <a:gd name="T32" fmla="*/ 0 w 8"/>
                <a:gd name="T33" fmla="*/ 1 h 8"/>
                <a:gd name="T34" fmla="*/ 0 w 8"/>
                <a:gd name="T35" fmla="*/ 2 h 8"/>
                <a:gd name="T36" fmla="*/ 0 w 8"/>
                <a:gd name="T37" fmla="*/ 4 h 8"/>
                <a:gd name="T38" fmla="*/ 0 w 8"/>
                <a:gd name="T39" fmla="*/ 5 h 8"/>
                <a:gd name="T40" fmla="*/ 0 w 8"/>
                <a:gd name="T41" fmla="*/ 7 h 8"/>
                <a:gd name="T42" fmla="*/ 1 w 8"/>
                <a:gd name="T43" fmla="*/ 7 h 8"/>
                <a:gd name="T44" fmla="*/ 1 w 8"/>
                <a:gd name="T45" fmla="*/ 8 h 8"/>
                <a:gd name="T46" fmla="*/ 3 w 8"/>
                <a:gd name="T47" fmla="*/ 8 h 8"/>
                <a:gd name="T48" fmla="*/ 4 w 8"/>
                <a:gd name="T4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" h="8">
                  <a:moveTo>
                    <a:pt x="4" y="8"/>
                  </a:move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6" name="Freeform 172"/>
            <p:cNvSpPr>
              <a:spLocks/>
            </p:cNvSpPr>
            <p:nvPr/>
          </p:nvSpPr>
          <p:spPr bwMode="auto">
            <a:xfrm>
              <a:off x="2145" y="2016"/>
              <a:ext cx="5" cy="9"/>
            </a:xfrm>
            <a:custGeom>
              <a:avLst/>
              <a:gdLst>
                <a:gd name="T0" fmla="*/ 4 w 7"/>
                <a:gd name="T1" fmla="*/ 10 h 10"/>
                <a:gd name="T2" fmla="*/ 4 w 7"/>
                <a:gd name="T3" fmla="*/ 10 h 10"/>
                <a:gd name="T4" fmla="*/ 5 w 7"/>
                <a:gd name="T5" fmla="*/ 8 h 10"/>
                <a:gd name="T6" fmla="*/ 5 w 7"/>
                <a:gd name="T7" fmla="*/ 8 h 10"/>
                <a:gd name="T8" fmla="*/ 7 w 7"/>
                <a:gd name="T9" fmla="*/ 8 h 10"/>
                <a:gd name="T10" fmla="*/ 7 w 7"/>
                <a:gd name="T11" fmla="*/ 7 h 10"/>
                <a:gd name="T12" fmla="*/ 7 w 7"/>
                <a:gd name="T13" fmla="*/ 7 h 10"/>
                <a:gd name="T14" fmla="*/ 7 w 7"/>
                <a:gd name="T15" fmla="*/ 6 h 10"/>
                <a:gd name="T16" fmla="*/ 7 w 7"/>
                <a:gd name="T17" fmla="*/ 6 h 10"/>
                <a:gd name="T18" fmla="*/ 7 w 7"/>
                <a:gd name="T19" fmla="*/ 4 h 10"/>
                <a:gd name="T20" fmla="*/ 7 w 7"/>
                <a:gd name="T21" fmla="*/ 3 h 10"/>
                <a:gd name="T22" fmla="*/ 7 w 7"/>
                <a:gd name="T23" fmla="*/ 3 h 10"/>
                <a:gd name="T24" fmla="*/ 7 w 7"/>
                <a:gd name="T25" fmla="*/ 1 h 10"/>
                <a:gd name="T26" fmla="*/ 5 w 7"/>
                <a:gd name="T27" fmla="*/ 1 h 10"/>
                <a:gd name="T28" fmla="*/ 5 w 7"/>
                <a:gd name="T29" fmla="*/ 1 h 10"/>
                <a:gd name="T30" fmla="*/ 4 w 7"/>
                <a:gd name="T31" fmla="*/ 0 h 10"/>
                <a:gd name="T32" fmla="*/ 4 w 7"/>
                <a:gd name="T33" fmla="*/ 0 h 10"/>
                <a:gd name="T34" fmla="*/ 3 w 7"/>
                <a:gd name="T35" fmla="*/ 0 h 10"/>
                <a:gd name="T36" fmla="*/ 3 w 7"/>
                <a:gd name="T37" fmla="*/ 1 h 10"/>
                <a:gd name="T38" fmla="*/ 1 w 7"/>
                <a:gd name="T39" fmla="*/ 1 h 10"/>
                <a:gd name="T40" fmla="*/ 1 w 7"/>
                <a:gd name="T41" fmla="*/ 1 h 10"/>
                <a:gd name="T42" fmla="*/ 0 w 7"/>
                <a:gd name="T43" fmla="*/ 3 h 10"/>
                <a:gd name="T44" fmla="*/ 0 w 7"/>
                <a:gd name="T45" fmla="*/ 3 h 10"/>
                <a:gd name="T46" fmla="*/ 0 w 7"/>
                <a:gd name="T47" fmla="*/ 4 h 10"/>
                <a:gd name="T48" fmla="*/ 0 w 7"/>
                <a:gd name="T49" fmla="*/ 6 h 10"/>
                <a:gd name="T50" fmla="*/ 0 w 7"/>
                <a:gd name="T51" fmla="*/ 6 h 10"/>
                <a:gd name="T52" fmla="*/ 0 w 7"/>
                <a:gd name="T53" fmla="*/ 7 h 10"/>
                <a:gd name="T54" fmla="*/ 0 w 7"/>
                <a:gd name="T55" fmla="*/ 7 h 10"/>
                <a:gd name="T56" fmla="*/ 1 w 7"/>
                <a:gd name="T57" fmla="*/ 8 h 10"/>
                <a:gd name="T58" fmla="*/ 1 w 7"/>
                <a:gd name="T59" fmla="*/ 8 h 10"/>
                <a:gd name="T60" fmla="*/ 3 w 7"/>
                <a:gd name="T61" fmla="*/ 8 h 10"/>
                <a:gd name="T62" fmla="*/ 3 w 7"/>
                <a:gd name="T63" fmla="*/ 10 h 10"/>
                <a:gd name="T64" fmla="*/ 4 w 7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lnTo>
                    <a:pt x="4" y="10"/>
                  </a:lnTo>
                  <a:lnTo>
                    <a:pt x="5" y="8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7" name="Freeform 173"/>
            <p:cNvSpPr>
              <a:spLocks/>
            </p:cNvSpPr>
            <p:nvPr/>
          </p:nvSpPr>
          <p:spPr bwMode="auto">
            <a:xfrm>
              <a:off x="2145" y="2016"/>
              <a:ext cx="5" cy="9"/>
            </a:xfrm>
            <a:custGeom>
              <a:avLst/>
              <a:gdLst>
                <a:gd name="T0" fmla="*/ 4 w 7"/>
                <a:gd name="T1" fmla="*/ 10 h 10"/>
                <a:gd name="T2" fmla="*/ 5 w 7"/>
                <a:gd name="T3" fmla="*/ 8 h 10"/>
                <a:gd name="T4" fmla="*/ 7 w 7"/>
                <a:gd name="T5" fmla="*/ 8 h 10"/>
                <a:gd name="T6" fmla="*/ 7 w 7"/>
                <a:gd name="T7" fmla="*/ 7 h 10"/>
                <a:gd name="T8" fmla="*/ 7 w 7"/>
                <a:gd name="T9" fmla="*/ 6 h 10"/>
                <a:gd name="T10" fmla="*/ 7 w 7"/>
                <a:gd name="T11" fmla="*/ 4 h 10"/>
                <a:gd name="T12" fmla="*/ 7 w 7"/>
                <a:gd name="T13" fmla="*/ 3 h 10"/>
                <a:gd name="T14" fmla="*/ 7 w 7"/>
                <a:gd name="T15" fmla="*/ 1 h 10"/>
                <a:gd name="T16" fmla="*/ 5 w 7"/>
                <a:gd name="T17" fmla="*/ 1 h 10"/>
                <a:gd name="T18" fmla="*/ 4 w 7"/>
                <a:gd name="T19" fmla="*/ 0 h 10"/>
                <a:gd name="T20" fmla="*/ 3 w 7"/>
                <a:gd name="T21" fmla="*/ 0 h 10"/>
                <a:gd name="T22" fmla="*/ 3 w 7"/>
                <a:gd name="T23" fmla="*/ 1 h 10"/>
                <a:gd name="T24" fmla="*/ 1 w 7"/>
                <a:gd name="T25" fmla="*/ 1 h 10"/>
                <a:gd name="T26" fmla="*/ 0 w 7"/>
                <a:gd name="T27" fmla="*/ 3 h 10"/>
                <a:gd name="T28" fmla="*/ 0 w 7"/>
                <a:gd name="T29" fmla="*/ 4 h 10"/>
                <a:gd name="T30" fmla="*/ 0 w 7"/>
                <a:gd name="T31" fmla="*/ 6 h 10"/>
                <a:gd name="T32" fmla="*/ 0 w 7"/>
                <a:gd name="T33" fmla="*/ 7 h 10"/>
                <a:gd name="T34" fmla="*/ 1 w 7"/>
                <a:gd name="T35" fmla="*/ 8 h 10"/>
                <a:gd name="T36" fmla="*/ 3 w 7"/>
                <a:gd name="T37" fmla="*/ 8 h 10"/>
                <a:gd name="T38" fmla="*/ 3 w 7"/>
                <a:gd name="T39" fmla="*/ 10 h 10"/>
                <a:gd name="T40" fmla="*/ 4 w 7"/>
                <a:gd name="T4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10">
                  <a:moveTo>
                    <a:pt x="4" y="10"/>
                  </a:move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4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8" name="Freeform 174"/>
            <p:cNvSpPr>
              <a:spLocks/>
            </p:cNvSpPr>
            <p:nvPr/>
          </p:nvSpPr>
          <p:spPr bwMode="auto">
            <a:xfrm>
              <a:off x="2148" y="2001"/>
              <a:ext cx="2" cy="10"/>
            </a:xfrm>
            <a:custGeom>
              <a:avLst/>
              <a:gdLst>
                <a:gd name="T0" fmla="*/ 1 w 3"/>
                <a:gd name="T1" fmla="*/ 12 h 12"/>
                <a:gd name="T2" fmla="*/ 1 w 3"/>
                <a:gd name="T3" fmla="*/ 12 h 12"/>
                <a:gd name="T4" fmla="*/ 1 w 3"/>
                <a:gd name="T5" fmla="*/ 11 h 12"/>
                <a:gd name="T6" fmla="*/ 1 w 3"/>
                <a:gd name="T7" fmla="*/ 11 h 12"/>
                <a:gd name="T8" fmla="*/ 1 w 3"/>
                <a:gd name="T9" fmla="*/ 11 h 12"/>
                <a:gd name="T10" fmla="*/ 3 w 3"/>
                <a:gd name="T11" fmla="*/ 9 h 12"/>
                <a:gd name="T12" fmla="*/ 3 w 3"/>
                <a:gd name="T13" fmla="*/ 8 h 12"/>
                <a:gd name="T14" fmla="*/ 3 w 3"/>
                <a:gd name="T15" fmla="*/ 8 h 12"/>
                <a:gd name="T16" fmla="*/ 3 w 3"/>
                <a:gd name="T17" fmla="*/ 7 h 12"/>
                <a:gd name="T18" fmla="*/ 3 w 3"/>
                <a:gd name="T19" fmla="*/ 5 h 12"/>
                <a:gd name="T20" fmla="*/ 3 w 3"/>
                <a:gd name="T21" fmla="*/ 4 h 12"/>
                <a:gd name="T22" fmla="*/ 3 w 3"/>
                <a:gd name="T23" fmla="*/ 3 h 12"/>
                <a:gd name="T24" fmla="*/ 1 w 3"/>
                <a:gd name="T25" fmla="*/ 3 h 12"/>
                <a:gd name="T26" fmla="*/ 1 w 3"/>
                <a:gd name="T27" fmla="*/ 1 h 12"/>
                <a:gd name="T28" fmla="*/ 1 w 3"/>
                <a:gd name="T29" fmla="*/ 1 h 12"/>
                <a:gd name="T30" fmla="*/ 1 w 3"/>
                <a:gd name="T31" fmla="*/ 0 h 12"/>
                <a:gd name="T32" fmla="*/ 1 w 3"/>
                <a:gd name="T33" fmla="*/ 0 h 12"/>
                <a:gd name="T34" fmla="*/ 1 w 3"/>
                <a:gd name="T35" fmla="*/ 0 h 12"/>
                <a:gd name="T36" fmla="*/ 0 w 3"/>
                <a:gd name="T37" fmla="*/ 1 h 12"/>
                <a:gd name="T38" fmla="*/ 0 w 3"/>
                <a:gd name="T39" fmla="*/ 1 h 12"/>
                <a:gd name="T40" fmla="*/ 0 w 3"/>
                <a:gd name="T41" fmla="*/ 3 h 12"/>
                <a:gd name="T42" fmla="*/ 0 w 3"/>
                <a:gd name="T43" fmla="*/ 3 h 12"/>
                <a:gd name="T44" fmla="*/ 0 w 3"/>
                <a:gd name="T45" fmla="*/ 4 h 12"/>
                <a:gd name="T46" fmla="*/ 0 w 3"/>
                <a:gd name="T47" fmla="*/ 5 h 12"/>
                <a:gd name="T48" fmla="*/ 0 w 3"/>
                <a:gd name="T49" fmla="*/ 7 h 12"/>
                <a:gd name="T50" fmla="*/ 0 w 3"/>
                <a:gd name="T51" fmla="*/ 8 h 12"/>
                <a:gd name="T52" fmla="*/ 0 w 3"/>
                <a:gd name="T53" fmla="*/ 8 h 12"/>
                <a:gd name="T54" fmla="*/ 0 w 3"/>
                <a:gd name="T55" fmla="*/ 9 h 12"/>
                <a:gd name="T56" fmla="*/ 0 w 3"/>
                <a:gd name="T57" fmla="*/ 11 h 12"/>
                <a:gd name="T58" fmla="*/ 0 w 3"/>
                <a:gd name="T59" fmla="*/ 11 h 12"/>
                <a:gd name="T60" fmla="*/ 0 w 3"/>
                <a:gd name="T61" fmla="*/ 11 h 12"/>
                <a:gd name="T62" fmla="*/ 1 w 3"/>
                <a:gd name="T63" fmla="*/ 12 h 12"/>
                <a:gd name="T64" fmla="*/ 1 w 3"/>
                <a:gd name="T6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" h="12">
                  <a:moveTo>
                    <a:pt x="1" y="12"/>
                  </a:move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12"/>
                  </a:lnTo>
                  <a:lnTo>
                    <a:pt x="1" y="1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9" name="Freeform 175"/>
            <p:cNvSpPr>
              <a:spLocks/>
            </p:cNvSpPr>
            <p:nvPr/>
          </p:nvSpPr>
          <p:spPr bwMode="auto">
            <a:xfrm>
              <a:off x="2148" y="2001"/>
              <a:ext cx="2" cy="10"/>
            </a:xfrm>
            <a:custGeom>
              <a:avLst/>
              <a:gdLst>
                <a:gd name="T0" fmla="*/ 1 w 3"/>
                <a:gd name="T1" fmla="*/ 12 h 12"/>
                <a:gd name="T2" fmla="*/ 1 w 3"/>
                <a:gd name="T3" fmla="*/ 11 h 12"/>
                <a:gd name="T4" fmla="*/ 3 w 3"/>
                <a:gd name="T5" fmla="*/ 9 h 12"/>
                <a:gd name="T6" fmla="*/ 3 w 3"/>
                <a:gd name="T7" fmla="*/ 8 h 12"/>
                <a:gd name="T8" fmla="*/ 3 w 3"/>
                <a:gd name="T9" fmla="*/ 7 h 12"/>
                <a:gd name="T10" fmla="*/ 3 w 3"/>
                <a:gd name="T11" fmla="*/ 5 h 12"/>
                <a:gd name="T12" fmla="*/ 3 w 3"/>
                <a:gd name="T13" fmla="*/ 4 h 12"/>
                <a:gd name="T14" fmla="*/ 3 w 3"/>
                <a:gd name="T15" fmla="*/ 3 h 12"/>
                <a:gd name="T16" fmla="*/ 1 w 3"/>
                <a:gd name="T17" fmla="*/ 3 h 12"/>
                <a:gd name="T18" fmla="*/ 1 w 3"/>
                <a:gd name="T19" fmla="*/ 1 h 12"/>
                <a:gd name="T20" fmla="*/ 1 w 3"/>
                <a:gd name="T21" fmla="*/ 0 h 12"/>
                <a:gd name="T22" fmla="*/ 0 w 3"/>
                <a:gd name="T23" fmla="*/ 1 h 12"/>
                <a:gd name="T24" fmla="*/ 0 w 3"/>
                <a:gd name="T25" fmla="*/ 3 h 12"/>
                <a:gd name="T26" fmla="*/ 0 w 3"/>
                <a:gd name="T27" fmla="*/ 4 h 12"/>
                <a:gd name="T28" fmla="*/ 0 w 3"/>
                <a:gd name="T29" fmla="*/ 5 h 12"/>
                <a:gd name="T30" fmla="*/ 0 w 3"/>
                <a:gd name="T31" fmla="*/ 7 h 12"/>
                <a:gd name="T32" fmla="*/ 0 w 3"/>
                <a:gd name="T33" fmla="*/ 8 h 12"/>
                <a:gd name="T34" fmla="*/ 0 w 3"/>
                <a:gd name="T35" fmla="*/ 9 h 12"/>
                <a:gd name="T36" fmla="*/ 0 w 3"/>
                <a:gd name="T37" fmla="*/ 11 h 12"/>
                <a:gd name="T38" fmla="*/ 1 w 3"/>
                <a:gd name="T3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" h="12">
                  <a:moveTo>
                    <a:pt x="1" y="12"/>
                  </a:moveTo>
                  <a:lnTo>
                    <a:pt x="1" y="11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3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0" name="Freeform 176"/>
            <p:cNvSpPr>
              <a:spLocks/>
            </p:cNvSpPr>
            <p:nvPr/>
          </p:nvSpPr>
          <p:spPr bwMode="auto">
            <a:xfrm>
              <a:off x="2095" y="1968"/>
              <a:ext cx="13" cy="5"/>
            </a:xfrm>
            <a:custGeom>
              <a:avLst/>
              <a:gdLst>
                <a:gd name="T0" fmla="*/ 7 w 15"/>
                <a:gd name="T1" fmla="*/ 6 h 6"/>
                <a:gd name="T2" fmla="*/ 10 w 15"/>
                <a:gd name="T3" fmla="*/ 6 h 6"/>
                <a:gd name="T4" fmla="*/ 11 w 15"/>
                <a:gd name="T5" fmla="*/ 6 h 6"/>
                <a:gd name="T6" fmla="*/ 11 w 15"/>
                <a:gd name="T7" fmla="*/ 6 h 6"/>
                <a:gd name="T8" fmla="*/ 13 w 15"/>
                <a:gd name="T9" fmla="*/ 6 h 6"/>
                <a:gd name="T10" fmla="*/ 14 w 15"/>
                <a:gd name="T11" fmla="*/ 5 h 6"/>
                <a:gd name="T12" fmla="*/ 14 w 15"/>
                <a:gd name="T13" fmla="*/ 5 h 6"/>
                <a:gd name="T14" fmla="*/ 15 w 15"/>
                <a:gd name="T15" fmla="*/ 4 h 6"/>
                <a:gd name="T16" fmla="*/ 15 w 15"/>
                <a:gd name="T17" fmla="*/ 2 h 6"/>
                <a:gd name="T18" fmla="*/ 15 w 15"/>
                <a:gd name="T19" fmla="*/ 2 h 6"/>
                <a:gd name="T20" fmla="*/ 14 w 15"/>
                <a:gd name="T21" fmla="*/ 1 h 6"/>
                <a:gd name="T22" fmla="*/ 14 w 15"/>
                <a:gd name="T23" fmla="*/ 1 h 6"/>
                <a:gd name="T24" fmla="*/ 13 w 15"/>
                <a:gd name="T25" fmla="*/ 1 h 6"/>
                <a:gd name="T26" fmla="*/ 11 w 15"/>
                <a:gd name="T27" fmla="*/ 0 h 6"/>
                <a:gd name="T28" fmla="*/ 11 w 15"/>
                <a:gd name="T29" fmla="*/ 0 h 6"/>
                <a:gd name="T30" fmla="*/ 10 w 15"/>
                <a:gd name="T31" fmla="*/ 0 h 6"/>
                <a:gd name="T32" fmla="*/ 7 w 15"/>
                <a:gd name="T33" fmla="*/ 0 h 6"/>
                <a:gd name="T34" fmla="*/ 6 w 15"/>
                <a:gd name="T35" fmla="*/ 0 h 6"/>
                <a:gd name="T36" fmla="*/ 4 w 15"/>
                <a:gd name="T37" fmla="*/ 0 h 6"/>
                <a:gd name="T38" fmla="*/ 3 w 15"/>
                <a:gd name="T39" fmla="*/ 0 h 6"/>
                <a:gd name="T40" fmla="*/ 3 w 15"/>
                <a:gd name="T41" fmla="*/ 1 h 6"/>
                <a:gd name="T42" fmla="*/ 2 w 15"/>
                <a:gd name="T43" fmla="*/ 1 h 6"/>
                <a:gd name="T44" fmla="*/ 0 w 15"/>
                <a:gd name="T45" fmla="*/ 1 h 6"/>
                <a:gd name="T46" fmla="*/ 0 w 15"/>
                <a:gd name="T47" fmla="*/ 2 h 6"/>
                <a:gd name="T48" fmla="*/ 0 w 15"/>
                <a:gd name="T49" fmla="*/ 2 h 6"/>
                <a:gd name="T50" fmla="*/ 0 w 15"/>
                <a:gd name="T51" fmla="*/ 4 h 6"/>
                <a:gd name="T52" fmla="*/ 0 w 15"/>
                <a:gd name="T53" fmla="*/ 5 h 6"/>
                <a:gd name="T54" fmla="*/ 2 w 15"/>
                <a:gd name="T55" fmla="*/ 5 h 6"/>
                <a:gd name="T56" fmla="*/ 3 w 15"/>
                <a:gd name="T57" fmla="*/ 6 h 6"/>
                <a:gd name="T58" fmla="*/ 3 w 15"/>
                <a:gd name="T59" fmla="*/ 6 h 6"/>
                <a:gd name="T60" fmla="*/ 4 w 15"/>
                <a:gd name="T61" fmla="*/ 6 h 6"/>
                <a:gd name="T62" fmla="*/ 6 w 15"/>
                <a:gd name="T63" fmla="*/ 6 h 6"/>
                <a:gd name="T64" fmla="*/ 7 w 15"/>
                <a:gd name="T6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1" name="Freeform 177"/>
            <p:cNvSpPr>
              <a:spLocks/>
            </p:cNvSpPr>
            <p:nvPr/>
          </p:nvSpPr>
          <p:spPr bwMode="auto">
            <a:xfrm>
              <a:off x="2095" y="1968"/>
              <a:ext cx="13" cy="5"/>
            </a:xfrm>
            <a:custGeom>
              <a:avLst/>
              <a:gdLst>
                <a:gd name="T0" fmla="*/ 7 w 15"/>
                <a:gd name="T1" fmla="*/ 6 h 6"/>
                <a:gd name="T2" fmla="*/ 10 w 15"/>
                <a:gd name="T3" fmla="*/ 6 h 6"/>
                <a:gd name="T4" fmla="*/ 11 w 15"/>
                <a:gd name="T5" fmla="*/ 6 h 6"/>
                <a:gd name="T6" fmla="*/ 13 w 15"/>
                <a:gd name="T7" fmla="*/ 6 h 6"/>
                <a:gd name="T8" fmla="*/ 14 w 15"/>
                <a:gd name="T9" fmla="*/ 5 h 6"/>
                <a:gd name="T10" fmla="*/ 15 w 15"/>
                <a:gd name="T11" fmla="*/ 4 h 6"/>
                <a:gd name="T12" fmla="*/ 15 w 15"/>
                <a:gd name="T13" fmla="*/ 2 h 6"/>
                <a:gd name="T14" fmla="*/ 14 w 15"/>
                <a:gd name="T15" fmla="*/ 1 h 6"/>
                <a:gd name="T16" fmla="*/ 13 w 15"/>
                <a:gd name="T17" fmla="*/ 1 h 6"/>
                <a:gd name="T18" fmla="*/ 11 w 15"/>
                <a:gd name="T19" fmla="*/ 0 h 6"/>
                <a:gd name="T20" fmla="*/ 10 w 15"/>
                <a:gd name="T21" fmla="*/ 0 h 6"/>
                <a:gd name="T22" fmla="*/ 7 w 15"/>
                <a:gd name="T23" fmla="*/ 0 h 6"/>
                <a:gd name="T24" fmla="*/ 6 w 15"/>
                <a:gd name="T25" fmla="*/ 0 h 6"/>
                <a:gd name="T26" fmla="*/ 4 w 15"/>
                <a:gd name="T27" fmla="*/ 0 h 6"/>
                <a:gd name="T28" fmla="*/ 3 w 15"/>
                <a:gd name="T29" fmla="*/ 0 h 6"/>
                <a:gd name="T30" fmla="*/ 3 w 15"/>
                <a:gd name="T31" fmla="*/ 1 h 6"/>
                <a:gd name="T32" fmla="*/ 2 w 15"/>
                <a:gd name="T33" fmla="*/ 1 h 6"/>
                <a:gd name="T34" fmla="*/ 0 w 15"/>
                <a:gd name="T35" fmla="*/ 1 h 6"/>
                <a:gd name="T36" fmla="*/ 0 w 15"/>
                <a:gd name="T37" fmla="*/ 2 h 6"/>
                <a:gd name="T38" fmla="*/ 0 w 15"/>
                <a:gd name="T39" fmla="*/ 4 h 6"/>
                <a:gd name="T40" fmla="*/ 0 w 15"/>
                <a:gd name="T41" fmla="*/ 5 h 6"/>
                <a:gd name="T42" fmla="*/ 2 w 15"/>
                <a:gd name="T43" fmla="*/ 5 h 6"/>
                <a:gd name="T44" fmla="*/ 3 w 15"/>
                <a:gd name="T45" fmla="*/ 6 h 6"/>
                <a:gd name="T46" fmla="*/ 4 w 15"/>
                <a:gd name="T47" fmla="*/ 6 h 6"/>
                <a:gd name="T48" fmla="*/ 6 w 15"/>
                <a:gd name="T49" fmla="*/ 6 h 6"/>
                <a:gd name="T50" fmla="*/ 7 w 15"/>
                <a:gd name="T5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6">
                  <a:moveTo>
                    <a:pt x="7" y="6"/>
                  </a:moveTo>
                  <a:lnTo>
                    <a:pt x="10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4" y="5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2" name="Freeform 178"/>
            <p:cNvSpPr>
              <a:spLocks/>
            </p:cNvSpPr>
            <p:nvPr/>
          </p:nvSpPr>
          <p:spPr bwMode="auto">
            <a:xfrm>
              <a:off x="1926" y="1851"/>
              <a:ext cx="21" cy="5"/>
            </a:xfrm>
            <a:custGeom>
              <a:avLst/>
              <a:gdLst>
                <a:gd name="T0" fmla="*/ 12 w 26"/>
                <a:gd name="T1" fmla="*/ 8 h 8"/>
                <a:gd name="T2" fmla="*/ 15 w 26"/>
                <a:gd name="T3" fmla="*/ 8 h 8"/>
                <a:gd name="T4" fmla="*/ 18 w 26"/>
                <a:gd name="T5" fmla="*/ 8 h 8"/>
                <a:gd name="T6" fmla="*/ 21 w 26"/>
                <a:gd name="T7" fmla="*/ 7 h 8"/>
                <a:gd name="T8" fmla="*/ 22 w 26"/>
                <a:gd name="T9" fmla="*/ 7 h 8"/>
                <a:gd name="T10" fmla="*/ 23 w 26"/>
                <a:gd name="T11" fmla="*/ 7 h 8"/>
                <a:gd name="T12" fmla="*/ 25 w 26"/>
                <a:gd name="T13" fmla="*/ 5 h 8"/>
                <a:gd name="T14" fmla="*/ 26 w 26"/>
                <a:gd name="T15" fmla="*/ 5 h 8"/>
                <a:gd name="T16" fmla="*/ 26 w 26"/>
                <a:gd name="T17" fmla="*/ 4 h 8"/>
                <a:gd name="T18" fmla="*/ 26 w 26"/>
                <a:gd name="T19" fmla="*/ 4 h 8"/>
                <a:gd name="T20" fmla="*/ 25 w 26"/>
                <a:gd name="T21" fmla="*/ 3 h 8"/>
                <a:gd name="T22" fmla="*/ 23 w 26"/>
                <a:gd name="T23" fmla="*/ 3 h 8"/>
                <a:gd name="T24" fmla="*/ 22 w 26"/>
                <a:gd name="T25" fmla="*/ 1 h 8"/>
                <a:gd name="T26" fmla="*/ 21 w 26"/>
                <a:gd name="T27" fmla="*/ 1 h 8"/>
                <a:gd name="T28" fmla="*/ 18 w 26"/>
                <a:gd name="T29" fmla="*/ 1 h 8"/>
                <a:gd name="T30" fmla="*/ 15 w 26"/>
                <a:gd name="T31" fmla="*/ 0 h 8"/>
                <a:gd name="T32" fmla="*/ 12 w 26"/>
                <a:gd name="T33" fmla="*/ 0 h 8"/>
                <a:gd name="T34" fmla="*/ 9 w 26"/>
                <a:gd name="T35" fmla="*/ 0 h 8"/>
                <a:gd name="T36" fmla="*/ 8 w 26"/>
                <a:gd name="T37" fmla="*/ 1 h 8"/>
                <a:gd name="T38" fmla="*/ 5 w 26"/>
                <a:gd name="T39" fmla="*/ 1 h 8"/>
                <a:gd name="T40" fmla="*/ 3 w 26"/>
                <a:gd name="T41" fmla="*/ 1 h 8"/>
                <a:gd name="T42" fmla="*/ 1 w 26"/>
                <a:gd name="T43" fmla="*/ 3 h 8"/>
                <a:gd name="T44" fmla="*/ 0 w 26"/>
                <a:gd name="T45" fmla="*/ 3 h 8"/>
                <a:gd name="T46" fmla="*/ 0 w 26"/>
                <a:gd name="T47" fmla="*/ 4 h 8"/>
                <a:gd name="T48" fmla="*/ 0 w 26"/>
                <a:gd name="T49" fmla="*/ 4 h 8"/>
                <a:gd name="T50" fmla="*/ 0 w 26"/>
                <a:gd name="T51" fmla="*/ 5 h 8"/>
                <a:gd name="T52" fmla="*/ 0 w 26"/>
                <a:gd name="T53" fmla="*/ 5 h 8"/>
                <a:gd name="T54" fmla="*/ 1 w 26"/>
                <a:gd name="T55" fmla="*/ 7 h 8"/>
                <a:gd name="T56" fmla="*/ 3 w 26"/>
                <a:gd name="T57" fmla="*/ 7 h 8"/>
                <a:gd name="T58" fmla="*/ 5 w 26"/>
                <a:gd name="T59" fmla="*/ 7 h 8"/>
                <a:gd name="T60" fmla="*/ 8 w 26"/>
                <a:gd name="T61" fmla="*/ 8 h 8"/>
                <a:gd name="T62" fmla="*/ 9 w 26"/>
                <a:gd name="T63" fmla="*/ 8 h 8"/>
                <a:gd name="T64" fmla="*/ 12 w 26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8">
                  <a:moveTo>
                    <a:pt x="12" y="8"/>
                  </a:moveTo>
                  <a:lnTo>
                    <a:pt x="15" y="8"/>
                  </a:lnTo>
                  <a:lnTo>
                    <a:pt x="18" y="8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5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3" name="Freeform 179"/>
            <p:cNvSpPr>
              <a:spLocks/>
            </p:cNvSpPr>
            <p:nvPr/>
          </p:nvSpPr>
          <p:spPr bwMode="auto">
            <a:xfrm>
              <a:off x="1926" y="1851"/>
              <a:ext cx="21" cy="5"/>
            </a:xfrm>
            <a:custGeom>
              <a:avLst/>
              <a:gdLst>
                <a:gd name="T0" fmla="*/ 12 w 26"/>
                <a:gd name="T1" fmla="*/ 8 h 8"/>
                <a:gd name="T2" fmla="*/ 15 w 26"/>
                <a:gd name="T3" fmla="*/ 8 h 8"/>
                <a:gd name="T4" fmla="*/ 18 w 26"/>
                <a:gd name="T5" fmla="*/ 8 h 8"/>
                <a:gd name="T6" fmla="*/ 21 w 26"/>
                <a:gd name="T7" fmla="*/ 7 h 8"/>
                <a:gd name="T8" fmla="*/ 22 w 26"/>
                <a:gd name="T9" fmla="*/ 7 h 8"/>
                <a:gd name="T10" fmla="*/ 23 w 26"/>
                <a:gd name="T11" fmla="*/ 7 h 8"/>
                <a:gd name="T12" fmla="*/ 25 w 26"/>
                <a:gd name="T13" fmla="*/ 5 h 8"/>
                <a:gd name="T14" fmla="*/ 26 w 26"/>
                <a:gd name="T15" fmla="*/ 5 h 8"/>
                <a:gd name="T16" fmla="*/ 26 w 26"/>
                <a:gd name="T17" fmla="*/ 4 h 8"/>
                <a:gd name="T18" fmla="*/ 25 w 26"/>
                <a:gd name="T19" fmla="*/ 3 h 8"/>
                <a:gd name="T20" fmla="*/ 23 w 26"/>
                <a:gd name="T21" fmla="*/ 3 h 8"/>
                <a:gd name="T22" fmla="*/ 22 w 26"/>
                <a:gd name="T23" fmla="*/ 1 h 8"/>
                <a:gd name="T24" fmla="*/ 21 w 26"/>
                <a:gd name="T25" fmla="*/ 1 h 8"/>
                <a:gd name="T26" fmla="*/ 18 w 26"/>
                <a:gd name="T27" fmla="*/ 1 h 8"/>
                <a:gd name="T28" fmla="*/ 15 w 26"/>
                <a:gd name="T29" fmla="*/ 0 h 8"/>
                <a:gd name="T30" fmla="*/ 12 w 26"/>
                <a:gd name="T31" fmla="*/ 0 h 8"/>
                <a:gd name="T32" fmla="*/ 9 w 26"/>
                <a:gd name="T33" fmla="*/ 0 h 8"/>
                <a:gd name="T34" fmla="*/ 8 w 26"/>
                <a:gd name="T35" fmla="*/ 1 h 8"/>
                <a:gd name="T36" fmla="*/ 5 w 26"/>
                <a:gd name="T37" fmla="*/ 1 h 8"/>
                <a:gd name="T38" fmla="*/ 3 w 26"/>
                <a:gd name="T39" fmla="*/ 1 h 8"/>
                <a:gd name="T40" fmla="*/ 1 w 26"/>
                <a:gd name="T41" fmla="*/ 3 h 8"/>
                <a:gd name="T42" fmla="*/ 0 w 26"/>
                <a:gd name="T43" fmla="*/ 3 h 8"/>
                <a:gd name="T44" fmla="*/ 0 w 26"/>
                <a:gd name="T45" fmla="*/ 4 h 8"/>
                <a:gd name="T46" fmla="*/ 0 w 26"/>
                <a:gd name="T47" fmla="*/ 5 h 8"/>
                <a:gd name="T48" fmla="*/ 1 w 26"/>
                <a:gd name="T49" fmla="*/ 7 h 8"/>
                <a:gd name="T50" fmla="*/ 3 w 26"/>
                <a:gd name="T51" fmla="*/ 7 h 8"/>
                <a:gd name="T52" fmla="*/ 5 w 26"/>
                <a:gd name="T53" fmla="*/ 7 h 8"/>
                <a:gd name="T54" fmla="*/ 8 w 26"/>
                <a:gd name="T55" fmla="*/ 8 h 8"/>
                <a:gd name="T56" fmla="*/ 9 w 26"/>
                <a:gd name="T57" fmla="*/ 8 h 8"/>
                <a:gd name="T58" fmla="*/ 12 w 26"/>
                <a:gd name="T5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8">
                  <a:moveTo>
                    <a:pt x="12" y="8"/>
                  </a:moveTo>
                  <a:lnTo>
                    <a:pt x="15" y="8"/>
                  </a:lnTo>
                  <a:lnTo>
                    <a:pt x="18" y="8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7"/>
                  </a:lnTo>
                  <a:lnTo>
                    <a:pt x="3" y="7"/>
                  </a:lnTo>
                  <a:lnTo>
                    <a:pt x="5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2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4" name="Freeform 180"/>
            <p:cNvSpPr>
              <a:spLocks/>
            </p:cNvSpPr>
            <p:nvPr/>
          </p:nvSpPr>
          <p:spPr bwMode="auto">
            <a:xfrm>
              <a:off x="1962" y="1851"/>
              <a:ext cx="6" cy="23"/>
            </a:xfrm>
            <a:custGeom>
              <a:avLst/>
              <a:gdLst>
                <a:gd name="T0" fmla="*/ 4 w 7"/>
                <a:gd name="T1" fmla="*/ 29 h 29"/>
                <a:gd name="T2" fmla="*/ 4 w 7"/>
                <a:gd name="T3" fmla="*/ 29 h 29"/>
                <a:gd name="T4" fmla="*/ 6 w 7"/>
                <a:gd name="T5" fmla="*/ 28 h 29"/>
                <a:gd name="T6" fmla="*/ 6 w 7"/>
                <a:gd name="T7" fmla="*/ 26 h 29"/>
                <a:gd name="T8" fmla="*/ 7 w 7"/>
                <a:gd name="T9" fmla="*/ 25 h 29"/>
                <a:gd name="T10" fmla="*/ 7 w 7"/>
                <a:gd name="T11" fmla="*/ 22 h 29"/>
                <a:gd name="T12" fmla="*/ 7 w 7"/>
                <a:gd name="T13" fmla="*/ 21 h 29"/>
                <a:gd name="T14" fmla="*/ 7 w 7"/>
                <a:gd name="T15" fmla="*/ 18 h 29"/>
                <a:gd name="T16" fmla="*/ 7 w 7"/>
                <a:gd name="T17" fmla="*/ 15 h 29"/>
                <a:gd name="T18" fmla="*/ 7 w 7"/>
                <a:gd name="T19" fmla="*/ 13 h 29"/>
                <a:gd name="T20" fmla="*/ 7 w 7"/>
                <a:gd name="T21" fmla="*/ 10 h 29"/>
                <a:gd name="T22" fmla="*/ 7 w 7"/>
                <a:gd name="T23" fmla="*/ 7 h 29"/>
                <a:gd name="T24" fmla="*/ 7 w 7"/>
                <a:gd name="T25" fmla="*/ 4 h 29"/>
                <a:gd name="T26" fmla="*/ 6 w 7"/>
                <a:gd name="T27" fmla="*/ 3 h 29"/>
                <a:gd name="T28" fmla="*/ 6 w 7"/>
                <a:gd name="T29" fmla="*/ 2 h 29"/>
                <a:gd name="T30" fmla="*/ 4 w 7"/>
                <a:gd name="T31" fmla="*/ 0 h 29"/>
                <a:gd name="T32" fmla="*/ 4 w 7"/>
                <a:gd name="T33" fmla="*/ 0 h 29"/>
                <a:gd name="T34" fmla="*/ 3 w 7"/>
                <a:gd name="T35" fmla="*/ 0 h 29"/>
                <a:gd name="T36" fmla="*/ 3 w 7"/>
                <a:gd name="T37" fmla="*/ 2 h 29"/>
                <a:gd name="T38" fmla="*/ 2 w 7"/>
                <a:gd name="T39" fmla="*/ 3 h 29"/>
                <a:gd name="T40" fmla="*/ 2 w 7"/>
                <a:gd name="T41" fmla="*/ 4 h 29"/>
                <a:gd name="T42" fmla="*/ 2 w 7"/>
                <a:gd name="T43" fmla="*/ 7 h 29"/>
                <a:gd name="T44" fmla="*/ 2 w 7"/>
                <a:gd name="T45" fmla="*/ 10 h 29"/>
                <a:gd name="T46" fmla="*/ 0 w 7"/>
                <a:gd name="T47" fmla="*/ 13 h 29"/>
                <a:gd name="T48" fmla="*/ 0 w 7"/>
                <a:gd name="T49" fmla="*/ 15 h 29"/>
                <a:gd name="T50" fmla="*/ 0 w 7"/>
                <a:gd name="T51" fmla="*/ 18 h 29"/>
                <a:gd name="T52" fmla="*/ 2 w 7"/>
                <a:gd name="T53" fmla="*/ 21 h 29"/>
                <a:gd name="T54" fmla="*/ 2 w 7"/>
                <a:gd name="T55" fmla="*/ 22 h 29"/>
                <a:gd name="T56" fmla="*/ 2 w 7"/>
                <a:gd name="T57" fmla="*/ 25 h 29"/>
                <a:gd name="T58" fmla="*/ 2 w 7"/>
                <a:gd name="T59" fmla="*/ 26 h 29"/>
                <a:gd name="T60" fmla="*/ 3 w 7"/>
                <a:gd name="T61" fmla="*/ 28 h 29"/>
                <a:gd name="T62" fmla="*/ 3 w 7"/>
                <a:gd name="T63" fmla="*/ 29 h 29"/>
                <a:gd name="T64" fmla="*/ 4 w 7"/>
                <a:gd name="T6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29">
                  <a:moveTo>
                    <a:pt x="4" y="29"/>
                  </a:moveTo>
                  <a:lnTo>
                    <a:pt x="4" y="29"/>
                  </a:lnTo>
                  <a:lnTo>
                    <a:pt x="6" y="28"/>
                  </a:lnTo>
                  <a:lnTo>
                    <a:pt x="6" y="26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4" y="2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5" name="Freeform 181"/>
            <p:cNvSpPr>
              <a:spLocks/>
            </p:cNvSpPr>
            <p:nvPr/>
          </p:nvSpPr>
          <p:spPr bwMode="auto">
            <a:xfrm>
              <a:off x="1962" y="1851"/>
              <a:ext cx="6" cy="23"/>
            </a:xfrm>
            <a:custGeom>
              <a:avLst/>
              <a:gdLst>
                <a:gd name="T0" fmla="*/ 4 w 7"/>
                <a:gd name="T1" fmla="*/ 29 h 29"/>
                <a:gd name="T2" fmla="*/ 6 w 7"/>
                <a:gd name="T3" fmla="*/ 28 h 29"/>
                <a:gd name="T4" fmla="*/ 6 w 7"/>
                <a:gd name="T5" fmla="*/ 26 h 29"/>
                <a:gd name="T6" fmla="*/ 7 w 7"/>
                <a:gd name="T7" fmla="*/ 25 h 29"/>
                <a:gd name="T8" fmla="*/ 7 w 7"/>
                <a:gd name="T9" fmla="*/ 22 h 29"/>
                <a:gd name="T10" fmla="*/ 7 w 7"/>
                <a:gd name="T11" fmla="*/ 21 h 29"/>
                <a:gd name="T12" fmla="*/ 7 w 7"/>
                <a:gd name="T13" fmla="*/ 18 h 29"/>
                <a:gd name="T14" fmla="*/ 7 w 7"/>
                <a:gd name="T15" fmla="*/ 15 h 29"/>
                <a:gd name="T16" fmla="*/ 7 w 7"/>
                <a:gd name="T17" fmla="*/ 13 h 29"/>
                <a:gd name="T18" fmla="*/ 7 w 7"/>
                <a:gd name="T19" fmla="*/ 10 h 29"/>
                <a:gd name="T20" fmla="*/ 7 w 7"/>
                <a:gd name="T21" fmla="*/ 7 h 29"/>
                <a:gd name="T22" fmla="*/ 7 w 7"/>
                <a:gd name="T23" fmla="*/ 4 h 29"/>
                <a:gd name="T24" fmla="*/ 6 w 7"/>
                <a:gd name="T25" fmla="*/ 3 h 29"/>
                <a:gd name="T26" fmla="*/ 6 w 7"/>
                <a:gd name="T27" fmla="*/ 2 h 29"/>
                <a:gd name="T28" fmla="*/ 4 w 7"/>
                <a:gd name="T29" fmla="*/ 0 h 29"/>
                <a:gd name="T30" fmla="*/ 3 w 7"/>
                <a:gd name="T31" fmla="*/ 0 h 29"/>
                <a:gd name="T32" fmla="*/ 3 w 7"/>
                <a:gd name="T33" fmla="*/ 2 h 29"/>
                <a:gd name="T34" fmla="*/ 2 w 7"/>
                <a:gd name="T35" fmla="*/ 3 h 29"/>
                <a:gd name="T36" fmla="*/ 2 w 7"/>
                <a:gd name="T37" fmla="*/ 4 h 29"/>
                <a:gd name="T38" fmla="*/ 2 w 7"/>
                <a:gd name="T39" fmla="*/ 7 h 29"/>
                <a:gd name="T40" fmla="*/ 2 w 7"/>
                <a:gd name="T41" fmla="*/ 10 h 29"/>
                <a:gd name="T42" fmla="*/ 0 w 7"/>
                <a:gd name="T43" fmla="*/ 13 h 29"/>
                <a:gd name="T44" fmla="*/ 0 w 7"/>
                <a:gd name="T45" fmla="*/ 15 h 29"/>
                <a:gd name="T46" fmla="*/ 0 w 7"/>
                <a:gd name="T47" fmla="*/ 18 h 29"/>
                <a:gd name="T48" fmla="*/ 2 w 7"/>
                <a:gd name="T49" fmla="*/ 21 h 29"/>
                <a:gd name="T50" fmla="*/ 2 w 7"/>
                <a:gd name="T51" fmla="*/ 22 h 29"/>
                <a:gd name="T52" fmla="*/ 2 w 7"/>
                <a:gd name="T53" fmla="*/ 25 h 29"/>
                <a:gd name="T54" fmla="*/ 2 w 7"/>
                <a:gd name="T55" fmla="*/ 26 h 29"/>
                <a:gd name="T56" fmla="*/ 3 w 7"/>
                <a:gd name="T57" fmla="*/ 28 h 29"/>
                <a:gd name="T58" fmla="*/ 3 w 7"/>
                <a:gd name="T59" fmla="*/ 29 h 29"/>
                <a:gd name="T60" fmla="*/ 4 w 7"/>
                <a:gd name="T6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" h="29">
                  <a:moveTo>
                    <a:pt x="4" y="29"/>
                  </a:moveTo>
                  <a:lnTo>
                    <a:pt x="6" y="28"/>
                  </a:lnTo>
                  <a:lnTo>
                    <a:pt x="6" y="26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lnTo>
                    <a:pt x="6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8"/>
                  </a:lnTo>
                  <a:lnTo>
                    <a:pt x="3" y="29"/>
                  </a:lnTo>
                  <a:lnTo>
                    <a:pt x="4" y="2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6" name="Freeform 182"/>
            <p:cNvSpPr>
              <a:spLocks/>
            </p:cNvSpPr>
            <p:nvPr/>
          </p:nvSpPr>
          <p:spPr bwMode="auto">
            <a:xfrm>
              <a:off x="1984" y="1894"/>
              <a:ext cx="5" cy="7"/>
            </a:xfrm>
            <a:custGeom>
              <a:avLst/>
              <a:gdLst>
                <a:gd name="T0" fmla="*/ 3 w 7"/>
                <a:gd name="T1" fmla="*/ 8 h 8"/>
                <a:gd name="T2" fmla="*/ 5 w 7"/>
                <a:gd name="T3" fmla="*/ 8 h 8"/>
                <a:gd name="T4" fmla="*/ 5 w 7"/>
                <a:gd name="T5" fmla="*/ 8 h 8"/>
                <a:gd name="T6" fmla="*/ 6 w 7"/>
                <a:gd name="T7" fmla="*/ 8 h 8"/>
                <a:gd name="T8" fmla="*/ 6 w 7"/>
                <a:gd name="T9" fmla="*/ 7 h 8"/>
                <a:gd name="T10" fmla="*/ 7 w 7"/>
                <a:gd name="T11" fmla="*/ 7 h 8"/>
                <a:gd name="T12" fmla="*/ 7 w 7"/>
                <a:gd name="T13" fmla="*/ 5 h 8"/>
                <a:gd name="T14" fmla="*/ 7 w 7"/>
                <a:gd name="T15" fmla="*/ 4 h 8"/>
                <a:gd name="T16" fmla="*/ 7 w 7"/>
                <a:gd name="T17" fmla="*/ 4 h 8"/>
                <a:gd name="T18" fmla="*/ 7 w 7"/>
                <a:gd name="T19" fmla="*/ 3 h 8"/>
                <a:gd name="T20" fmla="*/ 7 w 7"/>
                <a:gd name="T21" fmla="*/ 3 h 8"/>
                <a:gd name="T22" fmla="*/ 7 w 7"/>
                <a:gd name="T23" fmla="*/ 1 h 8"/>
                <a:gd name="T24" fmla="*/ 6 w 7"/>
                <a:gd name="T25" fmla="*/ 1 h 8"/>
                <a:gd name="T26" fmla="*/ 6 w 7"/>
                <a:gd name="T27" fmla="*/ 0 h 8"/>
                <a:gd name="T28" fmla="*/ 5 w 7"/>
                <a:gd name="T29" fmla="*/ 0 h 8"/>
                <a:gd name="T30" fmla="*/ 5 w 7"/>
                <a:gd name="T31" fmla="*/ 0 h 8"/>
                <a:gd name="T32" fmla="*/ 3 w 7"/>
                <a:gd name="T33" fmla="*/ 0 h 8"/>
                <a:gd name="T34" fmla="*/ 3 w 7"/>
                <a:gd name="T35" fmla="*/ 0 h 8"/>
                <a:gd name="T36" fmla="*/ 2 w 7"/>
                <a:gd name="T37" fmla="*/ 0 h 8"/>
                <a:gd name="T38" fmla="*/ 2 w 7"/>
                <a:gd name="T39" fmla="*/ 0 h 8"/>
                <a:gd name="T40" fmla="*/ 2 w 7"/>
                <a:gd name="T41" fmla="*/ 1 h 8"/>
                <a:gd name="T42" fmla="*/ 0 w 7"/>
                <a:gd name="T43" fmla="*/ 1 h 8"/>
                <a:gd name="T44" fmla="*/ 0 w 7"/>
                <a:gd name="T45" fmla="*/ 3 h 8"/>
                <a:gd name="T46" fmla="*/ 0 w 7"/>
                <a:gd name="T47" fmla="*/ 3 h 8"/>
                <a:gd name="T48" fmla="*/ 0 w 7"/>
                <a:gd name="T49" fmla="*/ 4 h 8"/>
                <a:gd name="T50" fmla="*/ 0 w 7"/>
                <a:gd name="T51" fmla="*/ 4 h 8"/>
                <a:gd name="T52" fmla="*/ 0 w 7"/>
                <a:gd name="T53" fmla="*/ 5 h 8"/>
                <a:gd name="T54" fmla="*/ 0 w 7"/>
                <a:gd name="T55" fmla="*/ 7 h 8"/>
                <a:gd name="T56" fmla="*/ 2 w 7"/>
                <a:gd name="T57" fmla="*/ 7 h 8"/>
                <a:gd name="T58" fmla="*/ 2 w 7"/>
                <a:gd name="T59" fmla="*/ 8 h 8"/>
                <a:gd name="T60" fmla="*/ 2 w 7"/>
                <a:gd name="T61" fmla="*/ 8 h 8"/>
                <a:gd name="T62" fmla="*/ 3 w 7"/>
                <a:gd name="T63" fmla="*/ 8 h 8"/>
                <a:gd name="T64" fmla="*/ 3 w 7"/>
                <a:gd name="T6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7" name="Freeform 183"/>
            <p:cNvSpPr>
              <a:spLocks/>
            </p:cNvSpPr>
            <p:nvPr/>
          </p:nvSpPr>
          <p:spPr bwMode="auto">
            <a:xfrm>
              <a:off x="1984" y="1894"/>
              <a:ext cx="5" cy="7"/>
            </a:xfrm>
            <a:custGeom>
              <a:avLst/>
              <a:gdLst>
                <a:gd name="T0" fmla="*/ 3 w 7"/>
                <a:gd name="T1" fmla="*/ 8 h 8"/>
                <a:gd name="T2" fmla="*/ 5 w 7"/>
                <a:gd name="T3" fmla="*/ 8 h 8"/>
                <a:gd name="T4" fmla="*/ 6 w 7"/>
                <a:gd name="T5" fmla="*/ 8 h 8"/>
                <a:gd name="T6" fmla="*/ 6 w 7"/>
                <a:gd name="T7" fmla="*/ 7 h 8"/>
                <a:gd name="T8" fmla="*/ 7 w 7"/>
                <a:gd name="T9" fmla="*/ 7 h 8"/>
                <a:gd name="T10" fmla="*/ 7 w 7"/>
                <a:gd name="T11" fmla="*/ 5 h 8"/>
                <a:gd name="T12" fmla="*/ 7 w 7"/>
                <a:gd name="T13" fmla="*/ 4 h 8"/>
                <a:gd name="T14" fmla="*/ 7 w 7"/>
                <a:gd name="T15" fmla="*/ 3 h 8"/>
                <a:gd name="T16" fmla="*/ 7 w 7"/>
                <a:gd name="T17" fmla="*/ 1 h 8"/>
                <a:gd name="T18" fmla="*/ 6 w 7"/>
                <a:gd name="T19" fmla="*/ 1 h 8"/>
                <a:gd name="T20" fmla="*/ 6 w 7"/>
                <a:gd name="T21" fmla="*/ 0 h 8"/>
                <a:gd name="T22" fmla="*/ 5 w 7"/>
                <a:gd name="T23" fmla="*/ 0 h 8"/>
                <a:gd name="T24" fmla="*/ 3 w 7"/>
                <a:gd name="T25" fmla="*/ 0 h 8"/>
                <a:gd name="T26" fmla="*/ 2 w 7"/>
                <a:gd name="T27" fmla="*/ 0 h 8"/>
                <a:gd name="T28" fmla="*/ 2 w 7"/>
                <a:gd name="T29" fmla="*/ 1 h 8"/>
                <a:gd name="T30" fmla="*/ 0 w 7"/>
                <a:gd name="T31" fmla="*/ 1 h 8"/>
                <a:gd name="T32" fmla="*/ 0 w 7"/>
                <a:gd name="T33" fmla="*/ 3 h 8"/>
                <a:gd name="T34" fmla="*/ 0 w 7"/>
                <a:gd name="T35" fmla="*/ 4 h 8"/>
                <a:gd name="T36" fmla="*/ 0 w 7"/>
                <a:gd name="T37" fmla="*/ 5 h 8"/>
                <a:gd name="T38" fmla="*/ 0 w 7"/>
                <a:gd name="T39" fmla="*/ 7 h 8"/>
                <a:gd name="T40" fmla="*/ 2 w 7"/>
                <a:gd name="T41" fmla="*/ 7 h 8"/>
                <a:gd name="T42" fmla="*/ 2 w 7"/>
                <a:gd name="T43" fmla="*/ 8 h 8"/>
                <a:gd name="T44" fmla="*/ 3 w 7"/>
                <a:gd name="T4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" h="8">
                  <a:moveTo>
                    <a:pt x="3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3" y="8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8" name="Freeform 184"/>
            <p:cNvSpPr>
              <a:spLocks/>
            </p:cNvSpPr>
            <p:nvPr/>
          </p:nvSpPr>
          <p:spPr bwMode="auto">
            <a:xfrm>
              <a:off x="1998" y="1897"/>
              <a:ext cx="8" cy="4"/>
            </a:xfrm>
            <a:custGeom>
              <a:avLst/>
              <a:gdLst>
                <a:gd name="T0" fmla="*/ 4 w 9"/>
                <a:gd name="T1" fmla="*/ 5 h 5"/>
                <a:gd name="T2" fmla="*/ 6 w 9"/>
                <a:gd name="T3" fmla="*/ 5 h 5"/>
                <a:gd name="T4" fmla="*/ 6 w 9"/>
                <a:gd name="T5" fmla="*/ 4 h 5"/>
                <a:gd name="T6" fmla="*/ 7 w 9"/>
                <a:gd name="T7" fmla="*/ 4 h 5"/>
                <a:gd name="T8" fmla="*/ 7 w 9"/>
                <a:gd name="T9" fmla="*/ 4 h 5"/>
                <a:gd name="T10" fmla="*/ 7 w 9"/>
                <a:gd name="T11" fmla="*/ 4 h 5"/>
                <a:gd name="T12" fmla="*/ 9 w 9"/>
                <a:gd name="T13" fmla="*/ 2 h 5"/>
                <a:gd name="T14" fmla="*/ 9 w 9"/>
                <a:gd name="T15" fmla="*/ 2 h 5"/>
                <a:gd name="T16" fmla="*/ 9 w 9"/>
                <a:gd name="T17" fmla="*/ 2 h 5"/>
                <a:gd name="T18" fmla="*/ 9 w 9"/>
                <a:gd name="T19" fmla="*/ 1 h 5"/>
                <a:gd name="T20" fmla="*/ 9 w 9"/>
                <a:gd name="T21" fmla="*/ 1 h 5"/>
                <a:gd name="T22" fmla="*/ 7 w 9"/>
                <a:gd name="T23" fmla="*/ 1 h 5"/>
                <a:gd name="T24" fmla="*/ 7 w 9"/>
                <a:gd name="T25" fmla="*/ 0 h 5"/>
                <a:gd name="T26" fmla="*/ 7 w 9"/>
                <a:gd name="T27" fmla="*/ 0 h 5"/>
                <a:gd name="T28" fmla="*/ 6 w 9"/>
                <a:gd name="T29" fmla="*/ 0 h 5"/>
                <a:gd name="T30" fmla="*/ 6 w 9"/>
                <a:gd name="T31" fmla="*/ 0 h 5"/>
                <a:gd name="T32" fmla="*/ 4 w 9"/>
                <a:gd name="T33" fmla="*/ 0 h 5"/>
                <a:gd name="T34" fmla="*/ 4 w 9"/>
                <a:gd name="T35" fmla="*/ 0 h 5"/>
                <a:gd name="T36" fmla="*/ 3 w 9"/>
                <a:gd name="T37" fmla="*/ 0 h 5"/>
                <a:gd name="T38" fmla="*/ 3 w 9"/>
                <a:gd name="T39" fmla="*/ 0 h 5"/>
                <a:gd name="T40" fmla="*/ 2 w 9"/>
                <a:gd name="T41" fmla="*/ 0 h 5"/>
                <a:gd name="T42" fmla="*/ 2 w 9"/>
                <a:gd name="T43" fmla="*/ 1 h 5"/>
                <a:gd name="T44" fmla="*/ 2 w 9"/>
                <a:gd name="T45" fmla="*/ 1 h 5"/>
                <a:gd name="T46" fmla="*/ 0 w 9"/>
                <a:gd name="T47" fmla="*/ 1 h 5"/>
                <a:gd name="T48" fmla="*/ 0 w 9"/>
                <a:gd name="T49" fmla="*/ 2 h 5"/>
                <a:gd name="T50" fmla="*/ 0 w 9"/>
                <a:gd name="T51" fmla="*/ 2 h 5"/>
                <a:gd name="T52" fmla="*/ 2 w 9"/>
                <a:gd name="T53" fmla="*/ 2 h 5"/>
                <a:gd name="T54" fmla="*/ 2 w 9"/>
                <a:gd name="T55" fmla="*/ 4 h 5"/>
                <a:gd name="T56" fmla="*/ 2 w 9"/>
                <a:gd name="T57" fmla="*/ 4 h 5"/>
                <a:gd name="T58" fmla="*/ 3 w 9"/>
                <a:gd name="T59" fmla="*/ 4 h 5"/>
                <a:gd name="T60" fmla="*/ 3 w 9"/>
                <a:gd name="T61" fmla="*/ 4 h 5"/>
                <a:gd name="T62" fmla="*/ 4 w 9"/>
                <a:gd name="T63" fmla="*/ 5 h 5"/>
                <a:gd name="T64" fmla="*/ 4 w 9"/>
                <a:gd name="T6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lnTo>
                    <a:pt x="6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9" name="Freeform 185"/>
            <p:cNvSpPr>
              <a:spLocks/>
            </p:cNvSpPr>
            <p:nvPr/>
          </p:nvSpPr>
          <p:spPr bwMode="auto">
            <a:xfrm>
              <a:off x="1998" y="1897"/>
              <a:ext cx="8" cy="4"/>
            </a:xfrm>
            <a:custGeom>
              <a:avLst/>
              <a:gdLst>
                <a:gd name="T0" fmla="*/ 4 w 9"/>
                <a:gd name="T1" fmla="*/ 5 h 5"/>
                <a:gd name="T2" fmla="*/ 6 w 9"/>
                <a:gd name="T3" fmla="*/ 5 h 5"/>
                <a:gd name="T4" fmla="*/ 6 w 9"/>
                <a:gd name="T5" fmla="*/ 4 h 5"/>
                <a:gd name="T6" fmla="*/ 7 w 9"/>
                <a:gd name="T7" fmla="*/ 4 h 5"/>
                <a:gd name="T8" fmla="*/ 9 w 9"/>
                <a:gd name="T9" fmla="*/ 2 h 5"/>
                <a:gd name="T10" fmla="*/ 9 w 9"/>
                <a:gd name="T11" fmla="*/ 1 h 5"/>
                <a:gd name="T12" fmla="*/ 7 w 9"/>
                <a:gd name="T13" fmla="*/ 1 h 5"/>
                <a:gd name="T14" fmla="*/ 7 w 9"/>
                <a:gd name="T15" fmla="*/ 0 h 5"/>
                <a:gd name="T16" fmla="*/ 6 w 9"/>
                <a:gd name="T17" fmla="*/ 0 h 5"/>
                <a:gd name="T18" fmla="*/ 4 w 9"/>
                <a:gd name="T19" fmla="*/ 0 h 5"/>
                <a:gd name="T20" fmla="*/ 3 w 9"/>
                <a:gd name="T21" fmla="*/ 0 h 5"/>
                <a:gd name="T22" fmla="*/ 2 w 9"/>
                <a:gd name="T23" fmla="*/ 0 h 5"/>
                <a:gd name="T24" fmla="*/ 2 w 9"/>
                <a:gd name="T25" fmla="*/ 1 h 5"/>
                <a:gd name="T26" fmla="*/ 0 w 9"/>
                <a:gd name="T27" fmla="*/ 1 h 5"/>
                <a:gd name="T28" fmla="*/ 0 w 9"/>
                <a:gd name="T29" fmla="*/ 2 h 5"/>
                <a:gd name="T30" fmla="*/ 2 w 9"/>
                <a:gd name="T31" fmla="*/ 2 h 5"/>
                <a:gd name="T32" fmla="*/ 2 w 9"/>
                <a:gd name="T33" fmla="*/ 4 h 5"/>
                <a:gd name="T34" fmla="*/ 3 w 9"/>
                <a:gd name="T35" fmla="*/ 4 h 5"/>
                <a:gd name="T36" fmla="*/ 4 w 9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" h="5">
                  <a:moveTo>
                    <a:pt x="4" y="5"/>
                  </a:moveTo>
                  <a:lnTo>
                    <a:pt x="6" y="5"/>
                  </a:lnTo>
                  <a:lnTo>
                    <a:pt x="6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0" name="Freeform 186"/>
            <p:cNvSpPr>
              <a:spLocks/>
            </p:cNvSpPr>
            <p:nvPr/>
          </p:nvSpPr>
          <p:spPr bwMode="auto">
            <a:xfrm>
              <a:off x="1991" y="1931"/>
              <a:ext cx="18" cy="10"/>
            </a:xfrm>
            <a:custGeom>
              <a:avLst/>
              <a:gdLst>
                <a:gd name="T0" fmla="*/ 0 w 23"/>
                <a:gd name="T1" fmla="*/ 7 h 13"/>
                <a:gd name="T2" fmla="*/ 4 w 23"/>
                <a:gd name="T3" fmla="*/ 3 h 13"/>
                <a:gd name="T4" fmla="*/ 12 w 23"/>
                <a:gd name="T5" fmla="*/ 0 h 13"/>
                <a:gd name="T6" fmla="*/ 18 w 23"/>
                <a:gd name="T7" fmla="*/ 4 h 13"/>
                <a:gd name="T8" fmla="*/ 23 w 23"/>
                <a:gd name="T9" fmla="*/ 10 h 13"/>
                <a:gd name="T10" fmla="*/ 11 w 23"/>
                <a:gd name="T11" fmla="*/ 13 h 13"/>
                <a:gd name="T12" fmla="*/ 0 w 23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">
                  <a:moveTo>
                    <a:pt x="0" y="7"/>
                  </a:moveTo>
                  <a:lnTo>
                    <a:pt x="4" y="3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3" y="10"/>
                  </a:lnTo>
                  <a:lnTo>
                    <a:pt x="11" y="13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1" name="Freeform 187"/>
            <p:cNvSpPr>
              <a:spLocks/>
            </p:cNvSpPr>
            <p:nvPr/>
          </p:nvSpPr>
          <p:spPr bwMode="auto">
            <a:xfrm>
              <a:off x="1991" y="1931"/>
              <a:ext cx="18" cy="10"/>
            </a:xfrm>
            <a:custGeom>
              <a:avLst/>
              <a:gdLst>
                <a:gd name="T0" fmla="*/ 0 w 23"/>
                <a:gd name="T1" fmla="*/ 7 h 13"/>
                <a:gd name="T2" fmla="*/ 4 w 23"/>
                <a:gd name="T3" fmla="*/ 3 h 13"/>
                <a:gd name="T4" fmla="*/ 12 w 23"/>
                <a:gd name="T5" fmla="*/ 0 h 13"/>
                <a:gd name="T6" fmla="*/ 18 w 23"/>
                <a:gd name="T7" fmla="*/ 4 h 13"/>
                <a:gd name="T8" fmla="*/ 23 w 23"/>
                <a:gd name="T9" fmla="*/ 10 h 13"/>
                <a:gd name="T10" fmla="*/ 11 w 23"/>
                <a:gd name="T11" fmla="*/ 13 h 13"/>
                <a:gd name="T12" fmla="*/ 0 w 23"/>
                <a:gd name="T1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3">
                  <a:moveTo>
                    <a:pt x="0" y="7"/>
                  </a:moveTo>
                  <a:lnTo>
                    <a:pt x="4" y="3"/>
                  </a:lnTo>
                  <a:lnTo>
                    <a:pt x="12" y="0"/>
                  </a:lnTo>
                  <a:lnTo>
                    <a:pt x="18" y="4"/>
                  </a:lnTo>
                  <a:lnTo>
                    <a:pt x="23" y="10"/>
                  </a:lnTo>
                  <a:lnTo>
                    <a:pt x="11" y="13"/>
                  </a:lnTo>
                  <a:lnTo>
                    <a:pt x="0" y="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2" name="Freeform 188"/>
            <p:cNvSpPr>
              <a:spLocks/>
            </p:cNvSpPr>
            <p:nvPr/>
          </p:nvSpPr>
          <p:spPr bwMode="auto">
            <a:xfrm>
              <a:off x="1954" y="1893"/>
              <a:ext cx="14" cy="20"/>
            </a:xfrm>
            <a:custGeom>
              <a:avLst/>
              <a:gdLst>
                <a:gd name="T0" fmla="*/ 7 w 17"/>
                <a:gd name="T1" fmla="*/ 0 h 25"/>
                <a:gd name="T2" fmla="*/ 0 w 17"/>
                <a:gd name="T3" fmla="*/ 5 h 25"/>
                <a:gd name="T4" fmla="*/ 4 w 17"/>
                <a:gd name="T5" fmla="*/ 13 h 25"/>
                <a:gd name="T6" fmla="*/ 10 w 17"/>
                <a:gd name="T7" fmla="*/ 25 h 25"/>
                <a:gd name="T8" fmla="*/ 10 w 17"/>
                <a:gd name="T9" fmla="*/ 25 h 25"/>
                <a:gd name="T10" fmla="*/ 11 w 17"/>
                <a:gd name="T11" fmla="*/ 25 h 25"/>
                <a:gd name="T12" fmla="*/ 11 w 17"/>
                <a:gd name="T13" fmla="*/ 25 h 25"/>
                <a:gd name="T14" fmla="*/ 13 w 17"/>
                <a:gd name="T15" fmla="*/ 25 h 25"/>
                <a:gd name="T16" fmla="*/ 14 w 17"/>
                <a:gd name="T17" fmla="*/ 25 h 25"/>
                <a:gd name="T18" fmla="*/ 15 w 17"/>
                <a:gd name="T19" fmla="*/ 24 h 25"/>
                <a:gd name="T20" fmla="*/ 17 w 17"/>
                <a:gd name="T21" fmla="*/ 24 h 25"/>
                <a:gd name="T22" fmla="*/ 17 w 17"/>
                <a:gd name="T23" fmla="*/ 22 h 25"/>
                <a:gd name="T24" fmla="*/ 17 w 17"/>
                <a:gd name="T25" fmla="*/ 20 h 25"/>
                <a:gd name="T26" fmla="*/ 17 w 17"/>
                <a:gd name="T27" fmla="*/ 17 h 25"/>
                <a:gd name="T28" fmla="*/ 15 w 17"/>
                <a:gd name="T29" fmla="*/ 16 h 25"/>
                <a:gd name="T30" fmla="*/ 15 w 17"/>
                <a:gd name="T31" fmla="*/ 13 h 25"/>
                <a:gd name="T32" fmla="*/ 15 w 17"/>
                <a:gd name="T33" fmla="*/ 11 h 25"/>
                <a:gd name="T34" fmla="*/ 14 w 17"/>
                <a:gd name="T35" fmla="*/ 10 h 25"/>
                <a:gd name="T36" fmla="*/ 14 w 17"/>
                <a:gd name="T37" fmla="*/ 9 h 25"/>
                <a:gd name="T38" fmla="*/ 14 w 17"/>
                <a:gd name="T39" fmla="*/ 9 h 25"/>
                <a:gd name="T40" fmla="*/ 7 w 17"/>
                <a:gd name="T4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25">
                  <a:moveTo>
                    <a:pt x="7" y="0"/>
                  </a:moveTo>
                  <a:lnTo>
                    <a:pt x="0" y="5"/>
                  </a:lnTo>
                  <a:lnTo>
                    <a:pt x="4" y="13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3" name="Freeform 189"/>
            <p:cNvSpPr>
              <a:spLocks/>
            </p:cNvSpPr>
            <p:nvPr/>
          </p:nvSpPr>
          <p:spPr bwMode="auto">
            <a:xfrm>
              <a:off x="1954" y="1893"/>
              <a:ext cx="14" cy="20"/>
            </a:xfrm>
            <a:custGeom>
              <a:avLst/>
              <a:gdLst>
                <a:gd name="T0" fmla="*/ 7 w 17"/>
                <a:gd name="T1" fmla="*/ 0 h 25"/>
                <a:gd name="T2" fmla="*/ 0 w 17"/>
                <a:gd name="T3" fmla="*/ 5 h 25"/>
                <a:gd name="T4" fmla="*/ 4 w 17"/>
                <a:gd name="T5" fmla="*/ 13 h 25"/>
                <a:gd name="T6" fmla="*/ 10 w 17"/>
                <a:gd name="T7" fmla="*/ 25 h 25"/>
                <a:gd name="T8" fmla="*/ 11 w 17"/>
                <a:gd name="T9" fmla="*/ 25 h 25"/>
                <a:gd name="T10" fmla="*/ 13 w 17"/>
                <a:gd name="T11" fmla="*/ 25 h 25"/>
                <a:gd name="T12" fmla="*/ 14 w 17"/>
                <a:gd name="T13" fmla="*/ 25 h 25"/>
                <a:gd name="T14" fmla="*/ 15 w 17"/>
                <a:gd name="T15" fmla="*/ 24 h 25"/>
                <a:gd name="T16" fmla="*/ 17 w 17"/>
                <a:gd name="T17" fmla="*/ 24 h 25"/>
                <a:gd name="T18" fmla="*/ 17 w 17"/>
                <a:gd name="T19" fmla="*/ 22 h 25"/>
                <a:gd name="T20" fmla="*/ 17 w 17"/>
                <a:gd name="T21" fmla="*/ 20 h 25"/>
                <a:gd name="T22" fmla="*/ 17 w 17"/>
                <a:gd name="T23" fmla="*/ 17 h 25"/>
                <a:gd name="T24" fmla="*/ 15 w 17"/>
                <a:gd name="T25" fmla="*/ 16 h 25"/>
                <a:gd name="T26" fmla="*/ 15 w 17"/>
                <a:gd name="T27" fmla="*/ 13 h 25"/>
                <a:gd name="T28" fmla="*/ 15 w 17"/>
                <a:gd name="T29" fmla="*/ 11 h 25"/>
                <a:gd name="T30" fmla="*/ 14 w 17"/>
                <a:gd name="T31" fmla="*/ 10 h 25"/>
                <a:gd name="T32" fmla="*/ 14 w 17"/>
                <a:gd name="T33" fmla="*/ 9 h 25"/>
                <a:gd name="T34" fmla="*/ 7 w 17"/>
                <a:gd name="T3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25">
                  <a:moveTo>
                    <a:pt x="7" y="0"/>
                  </a:moveTo>
                  <a:lnTo>
                    <a:pt x="0" y="5"/>
                  </a:lnTo>
                  <a:lnTo>
                    <a:pt x="4" y="13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17" y="22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7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4" name="Freeform 190"/>
            <p:cNvSpPr>
              <a:spLocks/>
            </p:cNvSpPr>
            <p:nvPr/>
          </p:nvSpPr>
          <p:spPr bwMode="auto">
            <a:xfrm>
              <a:off x="2011" y="1952"/>
              <a:ext cx="36" cy="28"/>
            </a:xfrm>
            <a:custGeom>
              <a:avLst/>
              <a:gdLst>
                <a:gd name="T0" fmla="*/ 5 w 45"/>
                <a:gd name="T1" fmla="*/ 0 h 35"/>
                <a:gd name="T2" fmla="*/ 7 w 45"/>
                <a:gd name="T3" fmla="*/ 3 h 35"/>
                <a:gd name="T4" fmla="*/ 7 w 45"/>
                <a:gd name="T5" fmla="*/ 6 h 35"/>
                <a:gd name="T6" fmla="*/ 7 w 45"/>
                <a:gd name="T7" fmla="*/ 9 h 35"/>
                <a:gd name="T8" fmla="*/ 5 w 45"/>
                <a:gd name="T9" fmla="*/ 11 h 35"/>
                <a:gd name="T10" fmla="*/ 4 w 45"/>
                <a:gd name="T11" fmla="*/ 14 h 35"/>
                <a:gd name="T12" fmla="*/ 3 w 45"/>
                <a:gd name="T13" fmla="*/ 15 h 35"/>
                <a:gd name="T14" fmla="*/ 1 w 45"/>
                <a:gd name="T15" fmla="*/ 17 h 35"/>
                <a:gd name="T16" fmla="*/ 0 w 45"/>
                <a:gd name="T17" fmla="*/ 17 h 35"/>
                <a:gd name="T18" fmla="*/ 0 w 45"/>
                <a:gd name="T19" fmla="*/ 20 h 35"/>
                <a:gd name="T20" fmla="*/ 0 w 45"/>
                <a:gd name="T21" fmla="*/ 21 h 35"/>
                <a:gd name="T22" fmla="*/ 0 w 45"/>
                <a:gd name="T23" fmla="*/ 24 h 35"/>
                <a:gd name="T24" fmla="*/ 0 w 45"/>
                <a:gd name="T25" fmla="*/ 25 h 35"/>
                <a:gd name="T26" fmla="*/ 1 w 45"/>
                <a:gd name="T27" fmla="*/ 28 h 35"/>
                <a:gd name="T28" fmla="*/ 3 w 45"/>
                <a:gd name="T29" fmla="*/ 29 h 35"/>
                <a:gd name="T30" fmla="*/ 3 w 45"/>
                <a:gd name="T31" fmla="*/ 31 h 35"/>
                <a:gd name="T32" fmla="*/ 3 w 45"/>
                <a:gd name="T33" fmla="*/ 31 h 35"/>
                <a:gd name="T34" fmla="*/ 4 w 45"/>
                <a:gd name="T35" fmla="*/ 32 h 35"/>
                <a:gd name="T36" fmla="*/ 4 w 45"/>
                <a:gd name="T37" fmla="*/ 32 h 35"/>
                <a:gd name="T38" fmla="*/ 4 w 45"/>
                <a:gd name="T39" fmla="*/ 33 h 35"/>
                <a:gd name="T40" fmla="*/ 4 w 45"/>
                <a:gd name="T41" fmla="*/ 33 h 35"/>
                <a:gd name="T42" fmla="*/ 5 w 45"/>
                <a:gd name="T43" fmla="*/ 33 h 35"/>
                <a:gd name="T44" fmla="*/ 5 w 45"/>
                <a:gd name="T45" fmla="*/ 35 h 35"/>
                <a:gd name="T46" fmla="*/ 5 w 45"/>
                <a:gd name="T47" fmla="*/ 35 h 35"/>
                <a:gd name="T48" fmla="*/ 5 w 45"/>
                <a:gd name="T49" fmla="*/ 35 h 35"/>
                <a:gd name="T50" fmla="*/ 5 w 45"/>
                <a:gd name="T51" fmla="*/ 35 h 35"/>
                <a:gd name="T52" fmla="*/ 7 w 45"/>
                <a:gd name="T53" fmla="*/ 35 h 35"/>
                <a:gd name="T54" fmla="*/ 8 w 45"/>
                <a:gd name="T55" fmla="*/ 35 h 35"/>
                <a:gd name="T56" fmla="*/ 9 w 45"/>
                <a:gd name="T57" fmla="*/ 35 h 35"/>
                <a:gd name="T58" fmla="*/ 12 w 45"/>
                <a:gd name="T59" fmla="*/ 33 h 35"/>
                <a:gd name="T60" fmla="*/ 14 w 45"/>
                <a:gd name="T61" fmla="*/ 33 h 35"/>
                <a:gd name="T62" fmla="*/ 15 w 45"/>
                <a:gd name="T63" fmla="*/ 32 h 35"/>
                <a:gd name="T64" fmla="*/ 16 w 45"/>
                <a:gd name="T65" fmla="*/ 31 h 35"/>
                <a:gd name="T66" fmla="*/ 16 w 45"/>
                <a:gd name="T67" fmla="*/ 29 h 35"/>
                <a:gd name="T68" fmla="*/ 18 w 45"/>
                <a:gd name="T69" fmla="*/ 28 h 35"/>
                <a:gd name="T70" fmla="*/ 19 w 45"/>
                <a:gd name="T71" fmla="*/ 28 h 35"/>
                <a:gd name="T72" fmla="*/ 22 w 45"/>
                <a:gd name="T73" fmla="*/ 28 h 35"/>
                <a:gd name="T74" fmla="*/ 23 w 45"/>
                <a:gd name="T75" fmla="*/ 28 h 35"/>
                <a:gd name="T76" fmla="*/ 25 w 45"/>
                <a:gd name="T77" fmla="*/ 29 h 35"/>
                <a:gd name="T78" fmla="*/ 26 w 45"/>
                <a:gd name="T79" fmla="*/ 29 h 35"/>
                <a:gd name="T80" fmla="*/ 26 w 45"/>
                <a:gd name="T81" fmla="*/ 29 h 35"/>
                <a:gd name="T82" fmla="*/ 38 w 45"/>
                <a:gd name="T83" fmla="*/ 28 h 35"/>
                <a:gd name="T84" fmla="*/ 45 w 45"/>
                <a:gd name="T85" fmla="*/ 24 h 35"/>
                <a:gd name="T86" fmla="*/ 44 w 45"/>
                <a:gd name="T87" fmla="*/ 15 h 35"/>
                <a:gd name="T88" fmla="*/ 37 w 45"/>
                <a:gd name="T89" fmla="*/ 11 h 35"/>
                <a:gd name="T90" fmla="*/ 27 w 45"/>
                <a:gd name="T91" fmla="*/ 11 h 35"/>
                <a:gd name="T92" fmla="*/ 34 w 45"/>
                <a:gd name="T93" fmla="*/ 7 h 35"/>
                <a:gd name="T94" fmla="*/ 23 w 45"/>
                <a:gd name="T95" fmla="*/ 7 h 35"/>
                <a:gd name="T96" fmla="*/ 16 w 45"/>
                <a:gd name="T97" fmla="*/ 2 h 35"/>
                <a:gd name="T98" fmla="*/ 5 w 45"/>
                <a:gd name="T9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5" h="35">
                  <a:moveTo>
                    <a:pt x="5" y="0"/>
                  </a:moveTo>
                  <a:lnTo>
                    <a:pt x="7" y="3"/>
                  </a:lnTo>
                  <a:lnTo>
                    <a:pt x="7" y="6"/>
                  </a:lnTo>
                  <a:lnTo>
                    <a:pt x="7" y="9"/>
                  </a:lnTo>
                  <a:lnTo>
                    <a:pt x="5" y="11"/>
                  </a:lnTo>
                  <a:lnTo>
                    <a:pt x="4" y="14"/>
                  </a:lnTo>
                  <a:lnTo>
                    <a:pt x="3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8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38" y="28"/>
                  </a:lnTo>
                  <a:lnTo>
                    <a:pt x="45" y="24"/>
                  </a:lnTo>
                  <a:lnTo>
                    <a:pt x="44" y="15"/>
                  </a:lnTo>
                  <a:lnTo>
                    <a:pt x="37" y="11"/>
                  </a:lnTo>
                  <a:lnTo>
                    <a:pt x="27" y="11"/>
                  </a:lnTo>
                  <a:lnTo>
                    <a:pt x="34" y="7"/>
                  </a:lnTo>
                  <a:lnTo>
                    <a:pt x="23" y="7"/>
                  </a:lnTo>
                  <a:lnTo>
                    <a:pt x="16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5" name="Freeform 191"/>
            <p:cNvSpPr>
              <a:spLocks/>
            </p:cNvSpPr>
            <p:nvPr/>
          </p:nvSpPr>
          <p:spPr bwMode="auto">
            <a:xfrm>
              <a:off x="2011" y="1952"/>
              <a:ext cx="36" cy="28"/>
            </a:xfrm>
            <a:custGeom>
              <a:avLst/>
              <a:gdLst>
                <a:gd name="T0" fmla="*/ 5 w 45"/>
                <a:gd name="T1" fmla="*/ 0 h 35"/>
                <a:gd name="T2" fmla="*/ 7 w 45"/>
                <a:gd name="T3" fmla="*/ 3 h 35"/>
                <a:gd name="T4" fmla="*/ 7 w 45"/>
                <a:gd name="T5" fmla="*/ 6 h 35"/>
                <a:gd name="T6" fmla="*/ 7 w 45"/>
                <a:gd name="T7" fmla="*/ 9 h 35"/>
                <a:gd name="T8" fmla="*/ 5 w 45"/>
                <a:gd name="T9" fmla="*/ 11 h 35"/>
                <a:gd name="T10" fmla="*/ 4 w 45"/>
                <a:gd name="T11" fmla="*/ 14 h 35"/>
                <a:gd name="T12" fmla="*/ 3 w 45"/>
                <a:gd name="T13" fmla="*/ 15 h 35"/>
                <a:gd name="T14" fmla="*/ 1 w 45"/>
                <a:gd name="T15" fmla="*/ 17 h 35"/>
                <a:gd name="T16" fmla="*/ 0 w 45"/>
                <a:gd name="T17" fmla="*/ 17 h 35"/>
                <a:gd name="T18" fmla="*/ 0 w 45"/>
                <a:gd name="T19" fmla="*/ 20 h 35"/>
                <a:gd name="T20" fmla="*/ 0 w 45"/>
                <a:gd name="T21" fmla="*/ 21 h 35"/>
                <a:gd name="T22" fmla="*/ 0 w 45"/>
                <a:gd name="T23" fmla="*/ 24 h 35"/>
                <a:gd name="T24" fmla="*/ 0 w 45"/>
                <a:gd name="T25" fmla="*/ 25 h 35"/>
                <a:gd name="T26" fmla="*/ 1 w 45"/>
                <a:gd name="T27" fmla="*/ 28 h 35"/>
                <a:gd name="T28" fmla="*/ 3 w 45"/>
                <a:gd name="T29" fmla="*/ 29 h 35"/>
                <a:gd name="T30" fmla="*/ 3 w 45"/>
                <a:gd name="T31" fmla="*/ 31 h 35"/>
                <a:gd name="T32" fmla="*/ 4 w 45"/>
                <a:gd name="T33" fmla="*/ 32 h 35"/>
                <a:gd name="T34" fmla="*/ 4 w 45"/>
                <a:gd name="T35" fmla="*/ 33 h 35"/>
                <a:gd name="T36" fmla="*/ 5 w 45"/>
                <a:gd name="T37" fmla="*/ 33 h 35"/>
                <a:gd name="T38" fmla="*/ 5 w 45"/>
                <a:gd name="T39" fmla="*/ 35 h 35"/>
                <a:gd name="T40" fmla="*/ 7 w 45"/>
                <a:gd name="T41" fmla="*/ 35 h 35"/>
                <a:gd name="T42" fmla="*/ 8 w 45"/>
                <a:gd name="T43" fmla="*/ 35 h 35"/>
                <a:gd name="T44" fmla="*/ 9 w 45"/>
                <a:gd name="T45" fmla="*/ 35 h 35"/>
                <a:gd name="T46" fmla="*/ 12 w 45"/>
                <a:gd name="T47" fmla="*/ 33 h 35"/>
                <a:gd name="T48" fmla="*/ 14 w 45"/>
                <a:gd name="T49" fmla="*/ 33 h 35"/>
                <a:gd name="T50" fmla="*/ 15 w 45"/>
                <a:gd name="T51" fmla="*/ 32 h 35"/>
                <a:gd name="T52" fmla="*/ 16 w 45"/>
                <a:gd name="T53" fmla="*/ 31 h 35"/>
                <a:gd name="T54" fmla="*/ 16 w 45"/>
                <a:gd name="T55" fmla="*/ 29 h 35"/>
                <a:gd name="T56" fmla="*/ 18 w 45"/>
                <a:gd name="T57" fmla="*/ 28 h 35"/>
                <a:gd name="T58" fmla="*/ 19 w 45"/>
                <a:gd name="T59" fmla="*/ 28 h 35"/>
                <a:gd name="T60" fmla="*/ 22 w 45"/>
                <a:gd name="T61" fmla="*/ 28 h 35"/>
                <a:gd name="T62" fmla="*/ 23 w 45"/>
                <a:gd name="T63" fmla="*/ 28 h 35"/>
                <a:gd name="T64" fmla="*/ 25 w 45"/>
                <a:gd name="T65" fmla="*/ 29 h 35"/>
                <a:gd name="T66" fmla="*/ 26 w 45"/>
                <a:gd name="T67" fmla="*/ 29 h 35"/>
                <a:gd name="T68" fmla="*/ 38 w 45"/>
                <a:gd name="T69" fmla="*/ 28 h 35"/>
                <a:gd name="T70" fmla="*/ 45 w 45"/>
                <a:gd name="T71" fmla="*/ 24 h 35"/>
                <a:gd name="T72" fmla="*/ 44 w 45"/>
                <a:gd name="T73" fmla="*/ 15 h 35"/>
                <a:gd name="T74" fmla="*/ 37 w 45"/>
                <a:gd name="T75" fmla="*/ 11 h 35"/>
                <a:gd name="T76" fmla="*/ 27 w 45"/>
                <a:gd name="T77" fmla="*/ 11 h 35"/>
                <a:gd name="T78" fmla="*/ 34 w 45"/>
                <a:gd name="T79" fmla="*/ 7 h 35"/>
                <a:gd name="T80" fmla="*/ 23 w 45"/>
                <a:gd name="T81" fmla="*/ 7 h 35"/>
                <a:gd name="T82" fmla="*/ 16 w 45"/>
                <a:gd name="T83" fmla="*/ 2 h 35"/>
                <a:gd name="T84" fmla="*/ 5 w 45"/>
                <a:gd name="T8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5" h="35">
                  <a:moveTo>
                    <a:pt x="5" y="0"/>
                  </a:moveTo>
                  <a:lnTo>
                    <a:pt x="7" y="3"/>
                  </a:lnTo>
                  <a:lnTo>
                    <a:pt x="7" y="6"/>
                  </a:lnTo>
                  <a:lnTo>
                    <a:pt x="7" y="9"/>
                  </a:lnTo>
                  <a:lnTo>
                    <a:pt x="5" y="11"/>
                  </a:lnTo>
                  <a:lnTo>
                    <a:pt x="4" y="14"/>
                  </a:lnTo>
                  <a:lnTo>
                    <a:pt x="3" y="15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8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5" y="32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38" y="28"/>
                  </a:lnTo>
                  <a:lnTo>
                    <a:pt x="45" y="24"/>
                  </a:lnTo>
                  <a:lnTo>
                    <a:pt x="44" y="15"/>
                  </a:lnTo>
                  <a:lnTo>
                    <a:pt x="37" y="11"/>
                  </a:lnTo>
                  <a:lnTo>
                    <a:pt x="27" y="11"/>
                  </a:lnTo>
                  <a:lnTo>
                    <a:pt x="34" y="7"/>
                  </a:lnTo>
                  <a:lnTo>
                    <a:pt x="23" y="7"/>
                  </a:lnTo>
                  <a:lnTo>
                    <a:pt x="16" y="2"/>
                  </a:lnTo>
                  <a:lnTo>
                    <a:pt x="5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6" name="Freeform 192"/>
            <p:cNvSpPr>
              <a:spLocks/>
            </p:cNvSpPr>
            <p:nvPr/>
          </p:nvSpPr>
          <p:spPr bwMode="auto">
            <a:xfrm>
              <a:off x="1974" y="1946"/>
              <a:ext cx="43" cy="36"/>
            </a:xfrm>
            <a:custGeom>
              <a:avLst/>
              <a:gdLst>
                <a:gd name="T0" fmla="*/ 9 w 53"/>
                <a:gd name="T1" fmla="*/ 9 h 44"/>
                <a:gd name="T2" fmla="*/ 16 w 53"/>
                <a:gd name="T3" fmla="*/ 11 h 44"/>
                <a:gd name="T4" fmla="*/ 20 w 53"/>
                <a:gd name="T5" fmla="*/ 11 h 44"/>
                <a:gd name="T6" fmla="*/ 25 w 53"/>
                <a:gd name="T7" fmla="*/ 11 h 44"/>
                <a:gd name="T8" fmla="*/ 29 w 53"/>
                <a:gd name="T9" fmla="*/ 14 h 44"/>
                <a:gd name="T10" fmla="*/ 31 w 53"/>
                <a:gd name="T11" fmla="*/ 17 h 44"/>
                <a:gd name="T12" fmla="*/ 32 w 53"/>
                <a:gd name="T13" fmla="*/ 20 h 44"/>
                <a:gd name="T14" fmla="*/ 31 w 53"/>
                <a:gd name="T15" fmla="*/ 24 h 44"/>
                <a:gd name="T16" fmla="*/ 27 w 53"/>
                <a:gd name="T17" fmla="*/ 27 h 44"/>
                <a:gd name="T18" fmla="*/ 11 w 53"/>
                <a:gd name="T19" fmla="*/ 22 h 44"/>
                <a:gd name="T20" fmla="*/ 0 w 53"/>
                <a:gd name="T21" fmla="*/ 28 h 44"/>
                <a:gd name="T22" fmla="*/ 7 w 53"/>
                <a:gd name="T23" fmla="*/ 31 h 44"/>
                <a:gd name="T24" fmla="*/ 10 w 53"/>
                <a:gd name="T25" fmla="*/ 31 h 44"/>
                <a:gd name="T26" fmla="*/ 16 w 53"/>
                <a:gd name="T27" fmla="*/ 32 h 44"/>
                <a:gd name="T28" fmla="*/ 21 w 53"/>
                <a:gd name="T29" fmla="*/ 33 h 44"/>
                <a:gd name="T30" fmla="*/ 24 w 53"/>
                <a:gd name="T31" fmla="*/ 35 h 44"/>
                <a:gd name="T32" fmla="*/ 27 w 53"/>
                <a:gd name="T33" fmla="*/ 38 h 44"/>
                <a:gd name="T34" fmla="*/ 31 w 53"/>
                <a:gd name="T35" fmla="*/ 42 h 44"/>
                <a:gd name="T36" fmla="*/ 36 w 53"/>
                <a:gd name="T37" fmla="*/ 44 h 44"/>
                <a:gd name="T38" fmla="*/ 42 w 53"/>
                <a:gd name="T39" fmla="*/ 44 h 44"/>
                <a:gd name="T40" fmla="*/ 47 w 53"/>
                <a:gd name="T41" fmla="*/ 43 h 44"/>
                <a:gd name="T42" fmla="*/ 50 w 53"/>
                <a:gd name="T43" fmla="*/ 42 h 44"/>
                <a:gd name="T44" fmla="*/ 50 w 53"/>
                <a:gd name="T45" fmla="*/ 39 h 44"/>
                <a:gd name="T46" fmla="*/ 49 w 53"/>
                <a:gd name="T47" fmla="*/ 38 h 44"/>
                <a:gd name="T48" fmla="*/ 47 w 53"/>
                <a:gd name="T49" fmla="*/ 33 h 44"/>
                <a:gd name="T50" fmla="*/ 46 w 53"/>
                <a:gd name="T51" fmla="*/ 29 h 44"/>
                <a:gd name="T52" fmla="*/ 46 w 53"/>
                <a:gd name="T53" fmla="*/ 25 h 44"/>
                <a:gd name="T54" fmla="*/ 47 w 53"/>
                <a:gd name="T55" fmla="*/ 22 h 44"/>
                <a:gd name="T56" fmla="*/ 50 w 53"/>
                <a:gd name="T57" fmla="*/ 20 h 44"/>
                <a:gd name="T58" fmla="*/ 53 w 53"/>
                <a:gd name="T59" fmla="*/ 16 h 44"/>
                <a:gd name="T60" fmla="*/ 53 w 53"/>
                <a:gd name="T61" fmla="*/ 10 h 44"/>
                <a:gd name="T62" fmla="*/ 35 w 53"/>
                <a:gd name="T63" fmla="*/ 3 h 44"/>
                <a:gd name="T64" fmla="*/ 13 w 53"/>
                <a:gd name="T6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3" h="44">
                  <a:moveTo>
                    <a:pt x="13" y="3"/>
                  </a:moveTo>
                  <a:lnTo>
                    <a:pt x="9" y="9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1" y="24"/>
                  </a:lnTo>
                  <a:lnTo>
                    <a:pt x="29" y="25"/>
                  </a:lnTo>
                  <a:lnTo>
                    <a:pt x="27" y="27"/>
                  </a:lnTo>
                  <a:lnTo>
                    <a:pt x="24" y="25"/>
                  </a:lnTo>
                  <a:lnTo>
                    <a:pt x="11" y="22"/>
                  </a:lnTo>
                  <a:lnTo>
                    <a:pt x="3" y="22"/>
                  </a:lnTo>
                  <a:lnTo>
                    <a:pt x="0" y="28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3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1" y="33"/>
                  </a:lnTo>
                  <a:lnTo>
                    <a:pt x="22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7" y="38"/>
                  </a:lnTo>
                  <a:lnTo>
                    <a:pt x="28" y="39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0" y="39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6"/>
                  </a:lnTo>
                  <a:lnTo>
                    <a:pt x="47" y="33"/>
                  </a:lnTo>
                  <a:lnTo>
                    <a:pt x="46" y="32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3" y="16"/>
                  </a:lnTo>
                  <a:lnTo>
                    <a:pt x="53" y="13"/>
                  </a:lnTo>
                  <a:lnTo>
                    <a:pt x="53" y="10"/>
                  </a:lnTo>
                  <a:lnTo>
                    <a:pt x="51" y="6"/>
                  </a:lnTo>
                  <a:lnTo>
                    <a:pt x="35" y="3"/>
                  </a:lnTo>
                  <a:lnTo>
                    <a:pt x="24" y="0"/>
                  </a:lnTo>
                  <a:lnTo>
                    <a:pt x="13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7" name="Freeform 193"/>
            <p:cNvSpPr>
              <a:spLocks/>
            </p:cNvSpPr>
            <p:nvPr/>
          </p:nvSpPr>
          <p:spPr bwMode="auto">
            <a:xfrm>
              <a:off x="1974" y="1946"/>
              <a:ext cx="43" cy="36"/>
            </a:xfrm>
            <a:custGeom>
              <a:avLst/>
              <a:gdLst>
                <a:gd name="T0" fmla="*/ 13 w 53"/>
                <a:gd name="T1" fmla="*/ 3 h 44"/>
                <a:gd name="T2" fmla="*/ 9 w 53"/>
                <a:gd name="T3" fmla="*/ 9 h 44"/>
                <a:gd name="T4" fmla="*/ 16 w 53"/>
                <a:gd name="T5" fmla="*/ 11 h 44"/>
                <a:gd name="T6" fmla="*/ 17 w 53"/>
                <a:gd name="T7" fmla="*/ 11 h 44"/>
                <a:gd name="T8" fmla="*/ 20 w 53"/>
                <a:gd name="T9" fmla="*/ 11 h 44"/>
                <a:gd name="T10" fmla="*/ 22 w 53"/>
                <a:gd name="T11" fmla="*/ 11 h 44"/>
                <a:gd name="T12" fmla="*/ 25 w 53"/>
                <a:gd name="T13" fmla="*/ 11 h 44"/>
                <a:gd name="T14" fmla="*/ 28 w 53"/>
                <a:gd name="T15" fmla="*/ 13 h 44"/>
                <a:gd name="T16" fmla="*/ 29 w 53"/>
                <a:gd name="T17" fmla="*/ 14 h 44"/>
                <a:gd name="T18" fmla="*/ 31 w 53"/>
                <a:gd name="T19" fmla="*/ 17 h 44"/>
                <a:gd name="T20" fmla="*/ 32 w 53"/>
                <a:gd name="T21" fmla="*/ 18 h 44"/>
                <a:gd name="T22" fmla="*/ 32 w 53"/>
                <a:gd name="T23" fmla="*/ 20 h 44"/>
                <a:gd name="T24" fmla="*/ 32 w 53"/>
                <a:gd name="T25" fmla="*/ 22 h 44"/>
                <a:gd name="T26" fmla="*/ 31 w 53"/>
                <a:gd name="T27" fmla="*/ 24 h 44"/>
                <a:gd name="T28" fmla="*/ 29 w 53"/>
                <a:gd name="T29" fmla="*/ 25 h 44"/>
                <a:gd name="T30" fmla="*/ 27 w 53"/>
                <a:gd name="T31" fmla="*/ 27 h 44"/>
                <a:gd name="T32" fmla="*/ 24 w 53"/>
                <a:gd name="T33" fmla="*/ 25 h 44"/>
                <a:gd name="T34" fmla="*/ 11 w 53"/>
                <a:gd name="T35" fmla="*/ 22 h 44"/>
                <a:gd name="T36" fmla="*/ 3 w 53"/>
                <a:gd name="T37" fmla="*/ 22 h 44"/>
                <a:gd name="T38" fmla="*/ 0 w 53"/>
                <a:gd name="T39" fmla="*/ 28 h 44"/>
                <a:gd name="T40" fmla="*/ 6 w 53"/>
                <a:gd name="T41" fmla="*/ 31 h 44"/>
                <a:gd name="T42" fmla="*/ 7 w 53"/>
                <a:gd name="T43" fmla="*/ 31 h 44"/>
                <a:gd name="T44" fmla="*/ 9 w 53"/>
                <a:gd name="T45" fmla="*/ 31 h 44"/>
                <a:gd name="T46" fmla="*/ 10 w 53"/>
                <a:gd name="T47" fmla="*/ 31 h 44"/>
                <a:gd name="T48" fmla="*/ 13 w 53"/>
                <a:gd name="T49" fmla="*/ 31 h 44"/>
                <a:gd name="T50" fmla="*/ 16 w 53"/>
                <a:gd name="T51" fmla="*/ 32 h 44"/>
                <a:gd name="T52" fmla="*/ 18 w 53"/>
                <a:gd name="T53" fmla="*/ 32 h 44"/>
                <a:gd name="T54" fmla="*/ 21 w 53"/>
                <a:gd name="T55" fmla="*/ 33 h 44"/>
                <a:gd name="T56" fmla="*/ 22 w 53"/>
                <a:gd name="T57" fmla="*/ 35 h 44"/>
                <a:gd name="T58" fmla="*/ 24 w 53"/>
                <a:gd name="T59" fmla="*/ 35 h 44"/>
                <a:gd name="T60" fmla="*/ 24 w 53"/>
                <a:gd name="T61" fmla="*/ 36 h 44"/>
                <a:gd name="T62" fmla="*/ 27 w 53"/>
                <a:gd name="T63" fmla="*/ 38 h 44"/>
                <a:gd name="T64" fmla="*/ 28 w 53"/>
                <a:gd name="T65" fmla="*/ 39 h 44"/>
                <a:gd name="T66" fmla="*/ 31 w 53"/>
                <a:gd name="T67" fmla="*/ 42 h 44"/>
                <a:gd name="T68" fmla="*/ 33 w 53"/>
                <a:gd name="T69" fmla="*/ 43 h 44"/>
                <a:gd name="T70" fmla="*/ 36 w 53"/>
                <a:gd name="T71" fmla="*/ 44 h 44"/>
                <a:gd name="T72" fmla="*/ 39 w 53"/>
                <a:gd name="T73" fmla="*/ 44 h 44"/>
                <a:gd name="T74" fmla="*/ 42 w 53"/>
                <a:gd name="T75" fmla="*/ 44 h 44"/>
                <a:gd name="T76" fmla="*/ 44 w 53"/>
                <a:gd name="T77" fmla="*/ 44 h 44"/>
                <a:gd name="T78" fmla="*/ 47 w 53"/>
                <a:gd name="T79" fmla="*/ 43 h 44"/>
                <a:gd name="T80" fmla="*/ 49 w 53"/>
                <a:gd name="T81" fmla="*/ 43 h 44"/>
                <a:gd name="T82" fmla="*/ 50 w 53"/>
                <a:gd name="T83" fmla="*/ 42 h 44"/>
                <a:gd name="T84" fmla="*/ 51 w 53"/>
                <a:gd name="T85" fmla="*/ 42 h 44"/>
                <a:gd name="T86" fmla="*/ 50 w 53"/>
                <a:gd name="T87" fmla="*/ 39 h 44"/>
                <a:gd name="T88" fmla="*/ 49 w 53"/>
                <a:gd name="T89" fmla="*/ 38 h 44"/>
                <a:gd name="T90" fmla="*/ 49 w 53"/>
                <a:gd name="T91" fmla="*/ 36 h 44"/>
                <a:gd name="T92" fmla="*/ 47 w 53"/>
                <a:gd name="T93" fmla="*/ 33 h 44"/>
                <a:gd name="T94" fmla="*/ 46 w 53"/>
                <a:gd name="T95" fmla="*/ 32 h 44"/>
                <a:gd name="T96" fmla="*/ 46 w 53"/>
                <a:gd name="T97" fmla="*/ 29 h 44"/>
                <a:gd name="T98" fmla="*/ 46 w 53"/>
                <a:gd name="T99" fmla="*/ 27 h 44"/>
                <a:gd name="T100" fmla="*/ 46 w 53"/>
                <a:gd name="T101" fmla="*/ 25 h 44"/>
                <a:gd name="T102" fmla="*/ 46 w 53"/>
                <a:gd name="T103" fmla="*/ 22 h 44"/>
                <a:gd name="T104" fmla="*/ 47 w 53"/>
                <a:gd name="T105" fmla="*/ 22 h 44"/>
                <a:gd name="T106" fmla="*/ 49 w 53"/>
                <a:gd name="T107" fmla="*/ 21 h 44"/>
                <a:gd name="T108" fmla="*/ 50 w 53"/>
                <a:gd name="T109" fmla="*/ 20 h 44"/>
                <a:gd name="T110" fmla="*/ 51 w 53"/>
                <a:gd name="T111" fmla="*/ 18 h 44"/>
                <a:gd name="T112" fmla="*/ 53 w 53"/>
                <a:gd name="T113" fmla="*/ 16 h 44"/>
                <a:gd name="T114" fmla="*/ 53 w 53"/>
                <a:gd name="T115" fmla="*/ 13 h 44"/>
                <a:gd name="T116" fmla="*/ 53 w 53"/>
                <a:gd name="T117" fmla="*/ 10 h 44"/>
                <a:gd name="T118" fmla="*/ 51 w 53"/>
                <a:gd name="T119" fmla="*/ 6 h 44"/>
                <a:gd name="T120" fmla="*/ 35 w 53"/>
                <a:gd name="T121" fmla="*/ 3 h 44"/>
                <a:gd name="T122" fmla="*/ 24 w 53"/>
                <a:gd name="T123" fmla="*/ 0 h 44"/>
                <a:gd name="T124" fmla="*/ 13 w 53"/>
                <a:gd name="T12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" h="44">
                  <a:moveTo>
                    <a:pt x="13" y="3"/>
                  </a:moveTo>
                  <a:lnTo>
                    <a:pt x="9" y="9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31" y="17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1" y="24"/>
                  </a:lnTo>
                  <a:lnTo>
                    <a:pt x="29" y="25"/>
                  </a:lnTo>
                  <a:lnTo>
                    <a:pt x="27" y="27"/>
                  </a:lnTo>
                  <a:lnTo>
                    <a:pt x="24" y="25"/>
                  </a:lnTo>
                  <a:lnTo>
                    <a:pt x="11" y="22"/>
                  </a:lnTo>
                  <a:lnTo>
                    <a:pt x="3" y="22"/>
                  </a:lnTo>
                  <a:lnTo>
                    <a:pt x="0" y="28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3" y="31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21" y="33"/>
                  </a:lnTo>
                  <a:lnTo>
                    <a:pt x="22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7" y="38"/>
                  </a:lnTo>
                  <a:lnTo>
                    <a:pt x="28" y="39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36" y="44"/>
                  </a:lnTo>
                  <a:lnTo>
                    <a:pt x="39" y="44"/>
                  </a:lnTo>
                  <a:lnTo>
                    <a:pt x="42" y="44"/>
                  </a:lnTo>
                  <a:lnTo>
                    <a:pt x="44" y="44"/>
                  </a:lnTo>
                  <a:lnTo>
                    <a:pt x="47" y="43"/>
                  </a:lnTo>
                  <a:lnTo>
                    <a:pt x="49" y="43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0" y="39"/>
                  </a:lnTo>
                  <a:lnTo>
                    <a:pt x="49" y="38"/>
                  </a:lnTo>
                  <a:lnTo>
                    <a:pt x="49" y="36"/>
                  </a:lnTo>
                  <a:lnTo>
                    <a:pt x="47" y="33"/>
                  </a:lnTo>
                  <a:lnTo>
                    <a:pt x="46" y="32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3" y="16"/>
                  </a:lnTo>
                  <a:lnTo>
                    <a:pt x="53" y="13"/>
                  </a:lnTo>
                  <a:lnTo>
                    <a:pt x="53" y="10"/>
                  </a:lnTo>
                  <a:lnTo>
                    <a:pt x="51" y="6"/>
                  </a:lnTo>
                  <a:lnTo>
                    <a:pt x="35" y="3"/>
                  </a:lnTo>
                  <a:lnTo>
                    <a:pt x="24" y="0"/>
                  </a:lnTo>
                  <a:lnTo>
                    <a:pt x="13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8" name="Freeform 194"/>
            <p:cNvSpPr>
              <a:spLocks/>
            </p:cNvSpPr>
            <p:nvPr/>
          </p:nvSpPr>
          <p:spPr bwMode="auto">
            <a:xfrm>
              <a:off x="1929" y="1969"/>
              <a:ext cx="24" cy="9"/>
            </a:xfrm>
            <a:custGeom>
              <a:avLst/>
              <a:gdLst>
                <a:gd name="T0" fmla="*/ 13 w 30"/>
                <a:gd name="T1" fmla="*/ 0 h 12"/>
                <a:gd name="T2" fmla="*/ 6 w 30"/>
                <a:gd name="T3" fmla="*/ 1 h 12"/>
                <a:gd name="T4" fmla="*/ 5 w 30"/>
                <a:gd name="T5" fmla="*/ 1 h 12"/>
                <a:gd name="T6" fmla="*/ 5 w 30"/>
                <a:gd name="T7" fmla="*/ 1 h 12"/>
                <a:gd name="T8" fmla="*/ 4 w 30"/>
                <a:gd name="T9" fmla="*/ 3 h 12"/>
                <a:gd name="T10" fmla="*/ 2 w 30"/>
                <a:gd name="T11" fmla="*/ 3 h 12"/>
                <a:gd name="T12" fmla="*/ 1 w 30"/>
                <a:gd name="T13" fmla="*/ 3 h 12"/>
                <a:gd name="T14" fmla="*/ 1 w 30"/>
                <a:gd name="T15" fmla="*/ 4 h 12"/>
                <a:gd name="T16" fmla="*/ 0 w 30"/>
                <a:gd name="T17" fmla="*/ 4 h 12"/>
                <a:gd name="T18" fmla="*/ 1 w 30"/>
                <a:gd name="T19" fmla="*/ 5 h 12"/>
                <a:gd name="T20" fmla="*/ 1 w 30"/>
                <a:gd name="T21" fmla="*/ 7 h 12"/>
                <a:gd name="T22" fmla="*/ 1 w 30"/>
                <a:gd name="T23" fmla="*/ 7 h 12"/>
                <a:gd name="T24" fmla="*/ 1 w 30"/>
                <a:gd name="T25" fmla="*/ 7 h 12"/>
                <a:gd name="T26" fmla="*/ 2 w 30"/>
                <a:gd name="T27" fmla="*/ 8 h 12"/>
                <a:gd name="T28" fmla="*/ 2 w 30"/>
                <a:gd name="T29" fmla="*/ 8 h 12"/>
                <a:gd name="T30" fmla="*/ 4 w 30"/>
                <a:gd name="T31" fmla="*/ 10 h 12"/>
                <a:gd name="T32" fmla="*/ 5 w 30"/>
                <a:gd name="T33" fmla="*/ 10 h 12"/>
                <a:gd name="T34" fmla="*/ 6 w 30"/>
                <a:gd name="T35" fmla="*/ 10 h 12"/>
                <a:gd name="T36" fmla="*/ 22 w 30"/>
                <a:gd name="T37" fmla="*/ 11 h 12"/>
                <a:gd name="T38" fmla="*/ 22 w 30"/>
                <a:gd name="T39" fmla="*/ 11 h 12"/>
                <a:gd name="T40" fmla="*/ 23 w 30"/>
                <a:gd name="T41" fmla="*/ 12 h 12"/>
                <a:gd name="T42" fmla="*/ 23 w 30"/>
                <a:gd name="T43" fmla="*/ 12 h 12"/>
                <a:gd name="T44" fmla="*/ 24 w 30"/>
                <a:gd name="T45" fmla="*/ 12 h 12"/>
                <a:gd name="T46" fmla="*/ 26 w 30"/>
                <a:gd name="T47" fmla="*/ 12 h 12"/>
                <a:gd name="T48" fmla="*/ 27 w 30"/>
                <a:gd name="T49" fmla="*/ 12 h 12"/>
                <a:gd name="T50" fmla="*/ 29 w 30"/>
                <a:gd name="T51" fmla="*/ 12 h 12"/>
                <a:gd name="T52" fmla="*/ 30 w 30"/>
                <a:gd name="T53" fmla="*/ 11 h 12"/>
                <a:gd name="T54" fmla="*/ 30 w 30"/>
                <a:gd name="T55" fmla="*/ 10 h 12"/>
                <a:gd name="T56" fmla="*/ 30 w 30"/>
                <a:gd name="T57" fmla="*/ 8 h 12"/>
                <a:gd name="T58" fmla="*/ 30 w 30"/>
                <a:gd name="T59" fmla="*/ 7 h 12"/>
                <a:gd name="T60" fmla="*/ 29 w 30"/>
                <a:gd name="T61" fmla="*/ 5 h 12"/>
                <a:gd name="T62" fmla="*/ 27 w 30"/>
                <a:gd name="T63" fmla="*/ 4 h 12"/>
                <a:gd name="T64" fmla="*/ 27 w 30"/>
                <a:gd name="T65" fmla="*/ 4 h 12"/>
                <a:gd name="T66" fmla="*/ 26 w 30"/>
                <a:gd name="T67" fmla="*/ 3 h 12"/>
                <a:gd name="T68" fmla="*/ 26 w 30"/>
                <a:gd name="T69" fmla="*/ 3 h 12"/>
                <a:gd name="T70" fmla="*/ 13 w 30"/>
                <a:gd name="T7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0" h="12">
                  <a:moveTo>
                    <a:pt x="13" y="0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29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19" name="Freeform 195"/>
            <p:cNvSpPr>
              <a:spLocks/>
            </p:cNvSpPr>
            <p:nvPr/>
          </p:nvSpPr>
          <p:spPr bwMode="auto">
            <a:xfrm>
              <a:off x="1929" y="1969"/>
              <a:ext cx="24" cy="9"/>
            </a:xfrm>
            <a:custGeom>
              <a:avLst/>
              <a:gdLst>
                <a:gd name="T0" fmla="*/ 13 w 30"/>
                <a:gd name="T1" fmla="*/ 0 h 12"/>
                <a:gd name="T2" fmla="*/ 6 w 30"/>
                <a:gd name="T3" fmla="*/ 1 h 12"/>
                <a:gd name="T4" fmla="*/ 5 w 30"/>
                <a:gd name="T5" fmla="*/ 1 h 12"/>
                <a:gd name="T6" fmla="*/ 4 w 30"/>
                <a:gd name="T7" fmla="*/ 3 h 12"/>
                <a:gd name="T8" fmla="*/ 2 w 30"/>
                <a:gd name="T9" fmla="*/ 3 h 12"/>
                <a:gd name="T10" fmla="*/ 1 w 30"/>
                <a:gd name="T11" fmla="*/ 3 h 12"/>
                <a:gd name="T12" fmla="*/ 1 w 30"/>
                <a:gd name="T13" fmla="*/ 4 h 12"/>
                <a:gd name="T14" fmla="*/ 0 w 30"/>
                <a:gd name="T15" fmla="*/ 4 h 12"/>
                <a:gd name="T16" fmla="*/ 1 w 30"/>
                <a:gd name="T17" fmla="*/ 5 h 12"/>
                <a:gd name="T18" fmla="*/ 1 w 30"/>
                <a:gd name="T19" fmla="*/ 7 h 12"/>
                <a:gd name="T20" fmla="*/ 2 w 30"/>
                <a:gd name="T21" fmla="*/ 8 h 12"/>
                <a:gd name="T22" fmla="*/ 4 w 30"/>
                <a:gd name="T23" fmla="*/ 10 h 12"/>
                <a:gd name="T24" fmla="*/ 5 w 30"/>
                <a:gd name="T25" fmla="*/ 10 h 12"/>
                <a:gd name="T26" fmla="*/ 6 w 30"/>
                <a:gd name="T27" fmla="*/ 10 h 12"/>
                <a:gd name="T28" fmla="*/ 22 w 30"/>
                <a:gd name="T29" fmla="*/ 11 h 12"/>
                <a:gd name="T30" fmla="*/ 23 w 30"/>
                <a:gd name="T31" fmla="*/ 12 h 12"/>
                <a:gd name="T32" fmla="*/ 24 w 30"/>
                <a:gd name="T33" fmla="*/ 12 h 12"/>
                <a:gd name="T34" fmla="*/ 26 w 30"/>
                <a:gd name="T35" fmla="*/ 12 h 12"/>
                <a:gd name="T36" fmla="*/ 27 w 30"/>
                <a:gd name="T37" fmla="*/ 12 h 12"/>
                <a:gd name="T38" fmla="*/ 29 w 30"/>
                <a:gd name="T39" fmla="*/ 12 h 12"/>
                <a:gd name="T40" fmla="*/ 30 w 30"/>
                <a:gd name="T41" fmla="*/ 11 h 12"/>
                <a:gd name="T42" fmla="*/ 30 w 30"/>
                <a:gd name="T43" fmla="*/ 10 h 12"/>
                <a:gd name="T44" fmla="*/ 30 w 30"/>
                <a:gd name="T45" fmla="*/ 8 h 12"/>
                <a:gd name="T46" fmla="*/ 30 w 30"/>
                <a:gd name="T47" fmla="*/ 7 h 12"/>
                <a:gd name="T48" fmla="*/ 29 w 30"/>
                <a:gd name="T49" fmla="*/ 5 h 12"/>
                <a:gd name="T50" fmla="*/ 27 w 30"/>
                <a:gd name="T51" fmla="*/ 4 h 12"/>
                <a:gd name="T52" fmla="*/ 26 w 30"/>
                <a:gd name="T53" fmla="*/ 3 h 12"/>
                <a:gd name="T54" fmla="*/ 13 w 30"/>
                <a:gd name="T5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" h="12">
                  <a:moveTo>
                    <a:pt x="13" y="0"/>
                  </a:moveTo>
                  <a:lnTo>
                    <a:pt x="6" y="1"/>
                  </a:lnTo>
                  <a:lnTo>
                    <a:pt x="5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7"/>
                  </a:lnTo>
                  <a:lnTo>
                    <a:pt x="2" y="8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22" y="11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29" y="5"/>
                  </a:lnTo>
                  <a:lnTo>
                    <a:pt x="27" y="4"/>
                  </a:lnTo>
                  <a:lnTo>
                    <a:pt x="26" y="3"/>
                  </a:lnTo>
                  <a:lnTo>
                    <a:pt x="13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0" name="Freeform 196"/>
            <p:cNvSpPr>
              <a:spLocks/>
            </p:cNvSpPr>
            <p:nvPr/>
          </p:nvSpPr>
          <p:spPr bwMode="auto">
            <a:xfrm>
              <a:off x="1843" y="1904"/>
              <a:ext cx="135" cy="51"/>
            </a:xfrm>
            <a:custGeom>
              <a:avLst/>
              <a:gdLst>
                <a:gd name="T0" fmla="*/ 22 w 168"/>
                <a:gd name="T1" fmla="*/ 3 h 64"/>
                <a:gd name="T2" fmla="*/ 15 w 168"/>
                <a:gd name="T3" fmla="*/ 5 h 64"/>
                <a:gd name="T4" fmla="*/ 7 w 168"/>
                <a:gd name="T5" fmla="*/ 9 h 64"/>
                <a:gd name="T6" fmla="*/ 1 w 168"/>
                <a:gd name="T7" fmla="*/ 16 h 64"/>
                <a:gd name="T8" fmla="*/ 1 w 168"/>
                <a:gd name="T9" fmla="*/ 20 h 64"/>
                <a:gd name="T10" fmla="*/ 2 w 168"/>
                <a:gd name="T11" fmla="*/ 22 h 64"/>
                <a:gd name="T12" fmla="*/ 7 w 168"/>
                <a:gd name="T13" fmla="*/ 25 h 64"/>
                <a:gd name="T14" fmla="*/ 12 w 168"/>
                <a:gd name="T15" fmla="*/ 25 h 64"/>
                <a:gd name="T16" fmla="*/ 18 w 168"/>
                <a:gd name="T17" fmla="*/ 23 h 64"/>
                <a:gd name="T18" fmla="*/ 24 w 168"/>
                <a:gd name="T19" fmla="*/ 20 h 64"/>
                <a:gd name="T20" fmla="*/ 31 w 168"/>
                <a:gd name="T21" fmla="*/ 19 h 64"/>
                <a:gd name="T22" fmla="*/ 37 w 168"/>
                <a:gd name="T23" fmla="*/ 18 h 64"/>
                <a:gd name="T24" fmla="*/ 41 w 168"/>
                <a:gd name="T25" fmla="*/ 19 h 64"/>
                <a:gd name="T26" fmla="*/ 46 w 168"/>
                <a:gd name="T27" fmla="*/ 22 h 64"/>
                <a:gd name="T28" fmla="*/ 55 w 168"/>
                <a:gd name="T29" fmla="*/ 25 h 64"/>
                <a:gd name="T30" fmla="*/ 62 w 168"/>
                <a:gd name="T31" fmla="*/ 26 h 64"/>
                <a:gd name="T32" fmla="*/ 81 w 168"/>
                <a:gd name="T33" fmla="*/ 37 h 64"/>
                <a:gd name="T34" fmla="*/ 82 w 168"/>
                <a:gd name="T35" fmla="*/ 38 h 64"/>
                <a:gd name="T36" fmla="*/ 88 w 168"/>
                <a:gd name="T37" fmla="*/ 41 h 64"/>
                <a:gd name="T38" fmla="*/ 95 w 168"/>
                <a:gd name="T39" fmla="*/ 45 h 64"/>
                <a:gd name="T40" fmla="*/ 106 w 168"/>
                <a:gd name="T41" fmla="*/ 47 h 64"/>
                <a:gd name="T42" fmla="*/ 117 w 168"/>
                <a:gd name="T43" fmla="*/ 52 h 64"/>
                <a:gd name="T44" fmla="*/ 111 w 168"/>
                <a:gd name="T45" fmla="*/ 62 h 64"/>
                <a:gd name="T46" fmla="*/ 115 w 168"/>
                <a:gd name="T47" fmla="*/ 63 h 64"/>
                <a:gd name="T48" fmla="*/ 126 w 168"/>
                <a:gd name="T49" fmla="*/ 64 h 64"/>
                <a:gd name="T50" fmla="*/ 139 w 168"/>
                <a:gd name="T51" fmla="*/ 64 h 64"/>
                <a:gd name="T52" fmla="*/ 147 w 168"/>
                <a:gd name="T53" fmla="*/ 62 h 64"/>
                <a:gd name="T54" fmla="*/ 165 w 168"/>
                <a:gd name="T55" fmla="*/ 62 h 64"/>
                <a:gd name="T56" fmla="*/ 166 w 168"/>
                <a:gd name="T57" fmla="*/ 59 h 64"/>
                <a:gd name="T58" fmla="*/ 168 w 168"/>
                <a:gd name="T59" fmla="*/ 55 h 64"/>
                <a:gd name="T60" fmla="*/ 166 w 168"/>
                <a:gd name="T61" fmla="*/ 52 h 64"/>
                <a:gd name="T62" fmla="*/ 143 w 168"/>
                <a:gd name="T63" fmla="*/ 40 h 64"/>
                <a:gd name="T64" fmla="*/ 104 w 168"/>
                <a:gd name="T65" fmla="*/ 25 h 64"/>
                <a:gd name="T66" fmla="*/ 90 w 168"/>
                <a:gd name="T67" fmla="*/ 22 h 64"/>
                <a:gd name="T68" fmla="*/ 88 w 168"/>
                <a:gd name="T69" fmla="*/ 20 h 64"/>
                <a:gd name="T70" fmla="*/ 82 w 168"/>
                <a:gd name="T71" fmla="*/ 18 h 64"/>
                <a:gd name="T72" fmla="*/ 74 w 168"/>
                <a:gd name="T73" fmla="*/ 11 h 64"/>
                <a:gd name="T74" fmla="*/ 38 w 168"/>
                <a:gd name="T7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64">
                  <a:moveTo>
                    <a:pt x="23" y="3"/>
                  </a:moveTo>
                  <a:lnTo>
                    <a:pt x="22" y="3"/>
                  </a:lnTo>
                  <a:lnTo>
                    <a:pt x="19" y="4"/>
                  </a:lnTo>
                  <a:lnTo>
                    <a:pt x="15" y="5"/>
                  </a:lnTo>
                  <a:lnTo>
                    <a:pt x="11" y="7"/>
                  </a:lnTo>
                  <a:lnTo>
                    <a:pt x="7" y="9"/>
                  </a:lnTo>
                  <a:lnTo>
                    <a:pt x="2" y="14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2" y="25"/>
                  </a:lnTo>
                  <a:lnTo>
                    <a:pt x="15" y="25"/>
                  </a:lnTo>
                  <a:lnTo>
                    <a:pt x="18" y="23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31" y="19"/>
                  </a:lnTo>
                  <a:lnTo>
                    <a:pt x="34" y="18"/>
                  </a:lnTo>
                  <a:lnTo>
                    <a:pt x="37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51" y="23"/>
                  </a:lnTo>
                  <a:lnTo>
                    <a:pt x="55" y="25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4" y="2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5" y="40"/>
                  </a:lnTo>
                  <a:lnTo>
                    <a:pt x="88" y="41"/>
                  </a:lnTo>
                  <a:lnTo>
                    <a:pt x="90" y="44"/>
                  </a:lnTo>
                  <a:lnTo>
                    <a:pt x="95" y="45"/>
                  </a:lnTo>
                  <a:lnTo>
                    <a:pt x="99" y="47"/>
                  </a:lnTo>
                  <a:lnTo>
                    <a:pt x="106" y="47"/>
                  </a:lnTo>
                  <a:lnTo>
                    <a:pt x="118" y="48"/>
                  </a:lnTo>
                  <a:lnTo>
                    <a:pt x="117" y="52"/>
                  </a:lnTo>
                  <a:lnTo>
                    <a:pt x="108" y="58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5" y="63"/>
                  </a:lnTo>
                  <a:lnTo>
                    <a:pt x="121" y="63"/>
                  </a:lnTo>
                  <a:lnTo>
                    <a:pt x="126" y="64"/>
                  </a:lnTo>
                  <a:lnTo>
                    <a:pt x="132" y="64"/>
                  </a:lnTo>
                  <a:lnTo>
                    <a:pt x="139" y="64"/>
                  </a:lnTo>
                  <a:lnTo>
                    <a:pt x="144" y="63"/>
                  </a:lnTo>
                  <a:lnTo>
                    <a:pt x="147" y="62"/>
                  </a:lnTo>
                  <a:lnTo>
                    <a:pt x="165" y="62"/>
                  </a:lnTo>
                  <a:lnTo>
                    <a:pt x="165" y="62"/>
                  </a:lnTo>
                  <a:lnTo>
                    <a:pt x="165" y="60"/>
                  </a:lnTo>
                  <a:lnTo>
                    <a:pt x="166" y="59"/>
                  </a:lnTo>
                  <a:lnTo>
                    <a:pt x="168" y="58"/>
                  </a:lnTo>
                  <a:lnTo>
                    <a:pt x="168" y="55"/>
                  </a:lnTo>
                  <a:lnTo>
                    <a:pt x="168" y="53"/>
                  </a:lnTo>
                  <a:lnTo>
                    <a:pt x="166" y="52"/>
                  </a:lnTo>
                  <a:lnTo>
                    <a:pt x="165" y="49"/>
                  </a:lnTo>
                  <a:lnTo>
                    <a:pt x="143" y="40"/>
                  </a:lnTo>
                  <a:lnTo>
                    <a:pt x="139" y="36"/>
                  </a:lnTo>
                  <a:lnTo>
                    <a:pt x="104" y="25"/>
                  </a:lnTo>
                  <a:lnTo>
                    <a:pt x="92" y="23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8" y="20"/>
                  </a:lnTo>
                  <a:lnTo>
                    <a:pt x="85" y="19"/>
                  </a:lnTo>
                  <a:lnTo>
                    <a:pt x="82" y="18"/>
                  </a:lnTo>
                  <a:lnTo>
                    <a:pt x="79" y="15"/>
                  </a:lnTo>
                  <a:lnTo>
                    <a:pt x="74" y="11"/>
                  </a:lnTo>
                  <a:lnTo>
                    <a:pt x="70" y="8"/>
                  </a:lnTo>
                  <a:lnTo>
                    <a:pt x="38" y="0"/>
                  </a:lnTo>
                  <a:lnTo>
                    <a:pt x="23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1" name="Freeform 197"/>
            <p:cNvSpPr>
              <a:spLocks/>
            </p:cNvSpPr>
            <p:nvPr/>
          </p:nvSpPr>
          <p:spPr bwMode="auto">
            <a:xfrm>
              <a:off x="1843" y="1904"/>
              <a:ext cx="135" cy="51"/>
            </a:xfrm>
            <a:custGeom>
              <a:avLst/>
              <a:gdLst>
                <a:gd name="T0" fmla="*/ 22 w 168"/>
                <a:gd name="T1" fmla="*/ 3 h 64"/>
                <a:gd name="T2" fmla="*/ 15 w 168"/>
                <a:gd name="T3" fmla="*/ 5 h 64"/>
                <a:gd name="T4" fmla="*/ 7 w 168"/>
                <a:gd name="T5" fmla="*/ 9 h 64"/>
                <a:gd name="T6" fmla="*/ 1 w 168"/>
                <a:gd name="T7" fmla="*/ 16 h 64"/>
                <a:gd name="T8" fmla="*/ 1 w 168"/>
                <a:gd name="T9" fmla="*/ 20 h 64"/>
                <a:gd name="T10" fmla="*/ 2 w 168"/>
                <a:gd name="T11" fmla="*/ 22 h 64"/>
                <a:gd name="T12" fmla="*/ 7 w 168"/>
                <a:gd name="T13" fmla="*/ 25 h 64"/>
                <a:gd name="T14" fmla="*/ 12 w 168"/>
                <a:gd name="T15" fmla="*/ 25 h 64"/>
                <a:gd name="T16" fmla="*/ 18 w 168"/>
                <a:gd name="T17" fmla="*/ 23 h 64"/>
                <a:gd name="T18" fmla="*/ 24 w 168"/>
                <a:gd name="T19" fmla="*/ 20 h 64"/>
                <a:gd name="T20" fmla="*/ 31 w 168"/>
                <a:gd name="T21" fmla="*/ 19 h 64"/>
                <a:gd name="T22" fmla="*/ 37 w 168"/>
                <a:gd name="T23" fmla="*/ 18 h 64"/>
                <a:gd name="T24" fmla="*/ 41 w 168"/>
                <a:gd name="T25" fmla="*/ 19 h 64"/>
                <a:gd name="T26" fmla="*/ 46 w 168"/>
                <a:gd name="T27" fmla="*/ 22 h 64"/>
                <a:gd name="T28" fmla="*/ 55 w 168"/>
                <a:gd name="T29" fmla="*/ 25 h 64"/>
                <a:gd name="T30" fmla="*/ 62 w 168"/>
                <a:gd name="T31" fmla="*/ 26 h 64"/>
                <a:gd name="T32" fmla="*/ 81 w 168"/>
                <a:gd name="T33" fmla="*/ 37 h 64"/>
                <a:gd name="T34" fmla="*/ 85 w 168"/>
                <a:gd name="T35" fmla="*/ 40 h 64"/>
                <a:gd name="T36" fmla="*/ 90 w 168"/>
                <a:gd name="T37" fmla="*/ 44 h 64"/>
                <a:gd name="T38" fmla="*/ 99 w 168"/>
                <a:gd name="T39" fmla="*/ 47 h 64"/>
                <a:gd name="T40" fmla="*/ 118 w 168"/>
                <a:gd name="T41" fmla="*/ 48 h 64"/>
                <a:gd name="T42" fmla="*/ 108 w 168"/>
                <a:gd name="T43" fmla="*/ 58 h 64"/>
                <a:gd name="T44" fmla="*/ 111 w 168"/>
                <a:gd name="T45" fmla="*/ 63 h 64"/>
                <a:gd name="T46" fmla="*/ 121 w 168"/>
                <a:gd name="T47" fmla="*/ 63 h 64"/>
                <a:gd name="T48" fmla="*/ 132 w 168"/>
                <a:gd name="T49" fmla="*/ 64 h 64"/>
                <a:gd name="T50" fmla="*/ 144 w 168"/>
                <a:gd name="T51" fmla="*/ 63 h 64"/>
                <a:gd name="T52" fmla="*/ 165 w 168"/>
                <a:gd name="T53" fmla="*/ 62 h 64"/>
                <a:gd name="T54" fmla="*/ 166 w 168"/>
                <a:gd name="T55" fmla="*/ 59 h 64"/>
                <a:gd name="T56" fmla="*/ 168 w 168"/>
                <a:gd name="T57" fmla="*/ 55 h 64"/>
                <a:gd name="T58" fmla="*/ 166 w 168"/>
                <a:gd name="T59" fmla="*/ 52 h 64"/>
                <a:gd name="T60" fmla="*/ 143 w 168"/>
                <a:gd name="T61" fmla="*/ 40 h 64"/>
                <a:gd name="T62" fmla="*/ 104 w 168"/>
                <a:gd name="T63" fmla="*/ 25 h 64"/>
                <a:gd name="T64" fmla="*/ 90 w 168"/>
                <a:gd name="T65" fmla="*/ 22 h 64"/>
                <a:gd name="T66" fmla="*/ 88 w 168"/>
                <a:gd name="T67" fmla="*/ 20 h 64"/>
                <a:gd name="T68" fmla="*/ 82 w 168"/>
                <a:gd name="T69" fmla="*/ 18 h 64"/>
                <a:gd name="T70" fmla="*/ 74 w 168"/>
                <a:gd name="T71" fmla="*/ 11 h 64"/>
                <a:gd name="T72" fmla="*/ 38 w 168"/>
                <a:gd name="T7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8" h="64">
                  <a:moveTo>
                    <a:pt x="23" y="3"/>
                  </a:moveTo>
                  <a:lnTo>
                    <a:pt x="22" y="3"/>
                  </a:lnTo>
                  <a:lnTo>
                    <a:pt x="19" y="4"/>
                  </a:lnTo>
                  <a:lnTo>
                    <a:pt x="15" y="5"/>
                  </a:lnTo>
                  <a:lnTo>
                    <a:pt x="11" y="7"/>
                  </a:lnTo>
                  <a:lnTo>
                    <a:pt x="7" y="9"/>
                  </a:lnTo>
                  <a:lnTo>
                    <a:pt x="2" y="14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12" y="25"/>
                  </a:lnTo>
                  <a:lnTo>
                    <a:pt x="15" y="25"/>
                  </a:lnTo>
                  <a:lnTo>
                    <a:pt x="18" y="23"/>
                  </a:lnTo>
                  <a:lnTo>
                    <a:pt x="22" y="22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31" y="19"/>
                  </a:lnTo>
                  <a:lnTo>
                    <a:pt x="34" y="18"/>
                  </a:lnTo>
                  <a:lnTo>
                    <a:pt x="37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51" y="23"/>
                  </a:lnTo>
                  <a:lnTo>
                    <a:pt x="55" y="25"/>
                  </a:lnTo>
                  <a:lnTo>
                    <a:pt x="59" y="26"/>
                  </a:lnTo>
                  <a:lnTo>
                    <a:pt x="62" y="26"/>
                  </a:lnTo>
                  <a:lnTo>
                    <a:pt x="64" y="27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5" y="40"/>
                  </a:lnTo>
                  <a:lnTo>
                    <a:pt x="88" y="41"/>
                  </a:lnTo>
                  <a:lnTo>
                    <a:pt x="90" y="44"/>
                  </a:lnTo>
                  <a:lnTo>
                    <a:pt x="95" y="45"/>
                  </a:lnTo>
                  <a:lnTo>
                    <a:pt x="99" y="47"/>
                  </a:lnTo>
                  <a:lnTo>
                    <a:pt x="106" y="47"/>
                  </a:lnTo>
                  <a:lnTo>
                    <a:pt x="118" y="48"/>
                  </a:lnTo>
                  <a:lnTo>
                    <a:pt x="117" y="52"/>
                  </a:lnTo>
                  <a:lnTo>
                    <a:pt x="108" y="58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5" y="63"/>
                  </a:lnTo>
                  <a:lnTo>
                    <a:pt x="121" y="63"/>
                  </a:lnTo>
                  <a:lnTo>
                    <a:pt x="126" y="64"/>
                  </a:lnTo>
                  <a:lnTo>
                    <a:pt x="132" y="64"/>
                  </a:lnTo>
                  <a:lnTo>
                    <a:pt x="139" y="64"/>
                  </a:lnTo>
                  <a:lnTo>
                    <a:pt x="144" y="63"/>
                  </a:lnTo>
                  <a:lnTo>
                    <a:pt x="147" y="62"/>
                  </a:lnTo>
                  <a:lnTo>
                    <a:pt x="165" y="62"/>
                  </a:lnTo>
                  <a:lnTo>
                    <a:pt x="165" y="60"/>
                  </a:lnTo>
                  <a:lnTo>
                    <a:pt x="166" y="59"/>
                  </a:lnTo>
                  <a:lnTo>
                    <a:pt x="168" y="58"/>
                  </a:lnTo>
                  <a:lnTo>
                    <a:pt x="168" y="55"/>
                  </a:lnTo>
                  <a:lnTo>
                    <a:pt x="168" y="53"/>
                  </a:lnTo>
                  <a:lnTo>
                    <a:pt x="166" y="52"/>
                  </a:lnTo>
                  <a:lnTo>
                    <a:pt x="165" y="49"/>
                  </a:lnTo>
                  <a:lnTo>
                    <a:pt x="143" y="40"/>
                  </a:lnTo>
                  <a:lnTo>
                    <a:pt x="139" y="36"/>
                  </a:lnTo>
                  <a:lnTo>
                    <a:pt x="104" y="25"/>
                  </a:lnTo>
                  <a:lnTo>
                    <a:pt x="92" y="23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8" y="20"/>
                  </a:lnTo>
                  <a:lnTo>
                    <a:pt x="85" y="19"/>
                  </a:lnTo>
                  <a:lnTo>
                    <a:pt x="82" y="18"/>
                  </a:lnTo>
                  <a:lnTo>
                    <a:pt x="79" y="15"/>
                  </a:lnTo>
                  <a:lnTo>
                    <a:pt x="74" y="11"/>
                  </a:lnTo>
                  <a:lnTo>
                    <a:pt x="70" y="8"/>
                  </a:lnTo>
                  <a:lnTo>
                    <a:pt x="38" y="0"/>
                  </a:lnTo>
                  <a:lnTo>
                    <a:pt x="23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2" name="Freeform 198"/>
            <p:cNvSpPr>
              <a:spLocks/>
            </p:cNvSpPr>
            <p:nvPr/>
          </p:nvSpPr>
          <p:spPr bwMode="auto">
            <a:xfrm>
              <a:off x="2060" y="1967"/>
              <a:ext cx="26" cy="13"/>
            </a:xfrm>
            <a:custGeom>
              <a:avLst/>
              <a:gdLst>
                <a:gd name="T0" fmla="*/ 4 w 32"/>
                <a:gd name="T1" fmla="*/ 3 h 17"/>
                <a:gd name="T2" fmla="*/ 0 w 32"/>
                <a:gd name="T3" fmla="*/ 7 h 17"/>
                <a:gd name="T4" fmla="*/ 0 w 32"/>
                <a:gd name="T5" fmla="*/ 13 h 17"/>
                <a:gd name="T6" fmla="*/ 7 w 32"/>
                <a:gd name="T7" fmla="*/ 17 h 17"/>
                <a:gd name="T8" fmla="*/ 15 w 32"/>
                <a:gd name="T9" fmla="*/ 14 h 17"/>
                <a:gd name="T10" fmla="*/ 26 w 32"/>
                <a:gd name="T11" fmla="*/ 15 h 17"/>
                <a:gd name="T12" fmla="*/ 29 w 32"/>
                <a:gd name="T13" fmla="*/ 11 h 17"/>
                <a:gd name="T14" fmla="*/ 32 w 32"/>
                <a:gd name="T15" fmla="*/ 3 h 17"/>
                <a:gd name="T16" fmla="*/ 22 w 32"/>
                <a:gd name="T17" fmla="*/ 0 h 17"/>
                <a:gd name="T18" fmla="*/ 13 w 32"/>
                <a:gd name="T19" fmla="*/ 2 h 17"/>
                <a:gd name="T20" fmla="*/ 4 w 32"/>
                <a:gd name="T2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7">
                  <a:moveTo>
                    <a:pt x="4" y="3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7" y="17"/>
                  </a:lnTo>
                  <a:lnTo>
                    <a:pt x="15" y="14"/>
                  </a:lnTo>
                  <a:lnTo>
                    <a:pt x="26" y="15"/>
                  </a:lnTo>
                  <a:lnTo>
                    <a:pt x="29" y="11"/>
                  </a:lnTo>
                  <a:lnTo>
                    <a:pt x="32" y="3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4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3" name="Freeform 199"/>
            <p:cNvSpPr>
              <a:spLocks/>
            </p:cNvSpPr>
            <p:nvPr/>
          </p:nvSpPr>
          <p:spPr bwMode="auto">
            <a:xfrm>
              <a:off x="2060" y="1967"/>
              <a:ext cx="26" cy="13"/>
            </a:xfrm>
            <a:custGeom>
              <a:avLst/>
              <a:gdLst>
                <a:gd name="T0" fmla="*/ 4 w 32"/>
                <a:gd name="T1" fmla="*/ 3 h 17"/>
                <a:gd name="T2" fmla="*/ 0 w 32"/>
                <a:gd name="T3" fmla="*/ 7 h 17"/>
                <a:gd name="T4" fmla="*/ 0 w 32"/>
                <a:gd name="T5" fmla="*/ 13 h 17"/>
                <a:gd name="T6" fmla="*/ 7 w 32"/>
                <a:gd name="T7" fmla="*/ 17 h 17"/>
                <a:gd name="T8" fmla="*/ 15 w 32"/>
                <a:gd name="T9" fmla="*/ 14 h 17"/>
                <a:gd name="T10" fmla="*/ 26 w 32"/>
                <a:gd name="T11" fmla="*/ 15 h 17"/>
                <a:gd name="T12" fmla="*/ 29 w 32"/>
                <a:gd name="T13" fmla="*/ 11 h 17"/>
                <a:gd name="T14" fmla="*/ 32 w 32"/>
                <a:gd name="T15" fmla="*/ 3 h 17"/>
                <a:gd name="T16" fmla="*/ 22 w 32"/>
                <a:gd name="T17" fmla="*/ 0 h 17"/>
                <a:gd name="T18" fmla="*/ 13 w 32"/>
                <a:gd name="T19" fmla="*/ 2 h 17"/>
                <a:gd name="T20" fmla="*/ 4 w 32"/>
                <a:gd name="T2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7">
                  <a:moveTo>
                    <a:pt x="4" y="3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7" y="17"/>
                  </a:lnTo>
                  <a:lnTo>
                    <a:pt x="15" y="14"/>
                  </a:lnTo>
                  <a:lnTo>
                    <a:pt x="26" y="15"/>
                  </a:lnTo>
                  <a:lnTo>
                    <a:pt x="29" y="11"/>
                  </a:lnTo>
                  <a:lnTo>
                    <a:pt x="32" y="3"/>
                  </a:lnTo>
                  <a:lnTo>
                    <a:pt x="22" y="0"/>
                  </a:lnTo>
                  <a:lnTo>
                    <a:pt x="13" y="2"/>
                  </a:lnTo>
                  <a:lnTo>
                    <a:pt x="4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4" name="Freeform 200"/>
            <p:cNvSpPr>
              <a:spLocks/>
            </p:cNvSpPr>
            <p:nvPr/>
          </p:nvSpPr>
          <p:spPr bwMode="auto">
            <a:xfrm>
              <a:off x="2506" y="1084"/>
              <a:ext cx="130" cy="94"/>
            </a:xfrm>
            <a:custGeom>
              <a:avLst/>
              <a:gdLst>
                <a:gd name="T0" fmla="*/ 0 w 161"/>
                <a:gd name="T1" fmla="*/ 39 h 116"/>
                <a:gd name="T2" fmla="*/ 26 w 161"/>
                <a:gd name="T3" fmla="*/ 57 h 116"/>
                <a:gd name="T4" fmla="*/ 5 w 161"/>
                <a:gd name="T5" fmla="*/ 65 h 116"/>
                <a:gd name="T6" fmla="*/ 2 w 161"/>
                <a:gd name="T7" fmla="*/ 66 h 116"/>
                <a:gd name="T8" fmla="*/ 0 w 161"/>
                <a:gd name="T9" fmla="*/ 69 h 116"/>
                <a:gd name="T10" fmla="*/ 2 w 161"/>
                <a:gd name="T11" fmla="*/ 76 h 116"/>
                <a:gd name="T12" fmla="*/ 23 w 161"/>
                <a:gd name="T13" fmla="*/ 81 h 116"/>
                <a:gd name="T14" fmla="*/ 66 w 161"/>
                <a:gd name="T15" fmla="*/ 116 h 116"/>
                <a:gd name="T16" fmla="*/ 68 w 161"/>
                <a:gd name="T17" fmla="*/ 116 h 116"/>
                <a:gd name="T18" fmla="*/ 74 w 161"/>
                <a:gd name="T19" fmla="*/ 114 h 116"/>
                <a:gd name="T20" fmla="*/ 81 w 161"/>
                <a:gd name="T21" fmla="*/ 112 h 116"/>
                <a:gd name="T22" fmla="*/ 86 w 161"/>
                <a:gd name="T23" fmla="*/ 106 h 116"/>
                <a:gd name="T24" fmla="*/ 93 w 161"/>
                <a:gd name="T25" fmla="*/ 103 h 116"/>
                <a:gd name="T26" fmla="*/ 101 w 161"/>
                <a:gd name="T27" fmla="*/ 103 h 116"/>
                <a:gd name="T28" fmla="*/ 110 w 161"/>
                <a:gd name="T29" fmla="*/ 105 h 116"/>
                <a:gd name="T30" fmla="*/ 112 w 161"/>
                <a:gd name="T31" fmla="*/ 105 h 116"/>
                <a:gd name="T32" fmla="*/ 121 w 161"/>
                <a:gd name="T33" fmla="*/ 101 h 116"/>
                <a:gd name="T34" fmla="*/ 137 w 161"/>
                <a:gd name="T35" fmla="*/ 91 h 116"/>
                <a:gd name="T36" fmla="*/ 154 w 161"/>
                <a:gd name="T37" fmla="*/ 74 h 116"/>
                <a:gd name="T38" fmla="*/ 159 w 161"/>
                <a:gd name="T39" fmla="*/ 63 h 116"/>
                <a:gd name="T40" fmla="*/ 161 w 161"/>
                <a:gd name="T41" fmla="*/ 52 h 116"/>
                <a:gd name="T42" fmla="*/ 158 w 161"/>
                <a:gd name="T43" fmla="*/ 48 h 116"/>
                <a:gd name="T44" fmla="*/ 152 w 161"/>
                <a:gd name="T45" fmla="*/ 39 h 116"/>
                <a:gd name="T46" fmla="*/ 145 w 161"/>
                <a:gd name="T47" fmla="*/ 30 h 116"/>
                <a:gd name="T48" fmla="*/ 140 w 161"/>
                <a:gd name="T49" fmla="*/ 26 h 116"/>
                <a:gd name="T50" fmla="*/ 140 w 161"/>
                <a:gd name="T51" fmla="*/ 24 h 116"/>
                <a:gd name="T52" fmla="*/ 140 w 161"/>
                <a:gd name="T53" fmla="*/ 18 h 116"/>
                <a:gd name="T54" fmla="*/ 136 w 161"/>
                <a:gd name="T55" fmla="*/ 13 h 116"/>
                <a:gd name="T56" fmla="*/ 125 w 161"/>
                <a:gd name="T57" fmla="*/ 11 h 116"/>
                <a:gd name="T58" fmla="*/ 122 w 161"/>
                <a:gd name="T59" fmla="*/ 13 h 116"/>
                <a:gd name="T60" fmla="*/ 114 w 161"/>
                <a:gd name="T61" fmla="*/ 17 h 116"/>
                <a:gd name="T62" fmla="*/ 105 w 161"/>
                <a:gd name="T63" fmla="*/ 21 h 116"/>
                <a:gd name="T64" fmla="*/ 100 w 161"/>
                <a:gd name="T65" fmla="*/ 25 h 116"/>
                <a:gd name="T66" fmla="*/ 96 w 161"/>
                <a:gd name="T67" fmla="*/ 26 h 116"/>
                <a:gd name="T68" fmla="*/ 90 w 161"/>
                <a:gd name="T69" fmla="*/ 25 h 116"/>
                <a:gd name="T70" fmla="*/ 86 w 161"/>
                <a:gd name="T71" fmla="*/ 24 h 116"/>
                <a:gd name="T72" fmla="*/ 83 w 161"/>
                <a:gd name="T73" fmla="*/ 21 h 116"/>
                <a:gd name="T74" fmla="*/ 81 w 161"/>
                <a:gd name="T75" fmla="*/ 15 h 116"/>
                <a:gd name="T76" fmla="*/ 75 w 161"/>
                <a:gd name="T77" fmla="*/ 11 h 116"/>
                <a:gd name="T78" fmla="*/ 68 w 161"/>
                <a:gd name="T79" fmla="*/ 8 h 116"/>
                <a:gd name="T80" fmla="*/ 59 w 161"/>
                <a:gd name="T81" fmla="*/ 11 h 116"/>
                <a:gd name="T82" fmla="*/ 53 w 161"/>
                <a:gd name="T83" fmla="*/ 17 h 116"/>
                <a:gd name="T84" fmla="*/ 52 w 161"/>
                <a:gd name="T85" fmla="*/ 22 h 116"/>
                <a:gd name="T86" fmla="*/ 52 w 161"/>
                <a:gd name="T87" fmla="*/ 28 h 116"/>
                <a:gd name="T88" fmla="*/ 52 w 161"/>
                <a:gd name="T89" fmla="*/ 32 h 116"/>
                <a:gd name="T90" fmla="*/ 50 w 161"/>
                <a:gd name="T91" fmla="*/ 35 h 116"/>
                <a:gd name="T92" fmla="*/ 48 w 161"/>
                <a:gd name="T93" fmla="*/ 35 h 116"/>
                <a:gd name="T94" fmla="*/ 44 w 161"/>
                <a:gd name="T95" fmla="*/ 30 h 116"/>
                <a:gd name="T96" fmla="*/ 41 w 161"/>
                <a:gd name="T97" fmla="*/ 26 h 116"/>
                <a:gd name="T98" fmla="*/ 35 w 161"/>
                <a:gd name="T99" fmla="*/ 17 h 116"/>
                <a:gd name="T100" fmla="*/ 27 w 161"/>
                <a:gd name="T101" fmla="*/ 7 h 116"/>
                <a:gd name="T102" fmla="*/ 19 w 161"/>
                <a:gd name="T103" fmla="*/ 0 h 116"/>
                <a:gd name="T104" fmla="*/ 16 w 161"/>
                <a:gd name="T105" fmla="*/ 0 h 116"/>
                <a:gd name="T106" fmla="*/ 13 w 161"/>
                <a:gd name="T107" fmla="*/ 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1" h="116">
                  <a:moveTo>
                    <a:pt x="13" y="4"/>
                  </a:moveTo>
                  <a:lnTo>
                    <a:pt x="0" y="39"/>
                  </a:lnTo>
                  <a:lnTo>
                    <a:pt x="19" y="43"/>
                  </a:lnTo>
                  <a:lnTo>
                    <a:pt x="26" y="57"/>
                  </a:lnTo>
                  <a:lnTo>
                    <a:pt x="6" y="65"/>
                  </a:lnTo>
                  <a:lnTo>
                    <a:pt x="5" y="65"/>
                  </a:lnTo>
                  <a:lnTo>
                    <a:pt x="4" y="65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6" y="81"/>
                  </a:lnTo>
                  <a:lnTo>
                    <a:pt x="23" y="81"/>
                  </a:lnTo>
                  <a:lnTo>
                    <a:pt x="44" y="102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8" y="116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8" y="113"/>
                  </a:lnTo>
                  <a:lnTo>
                    <a:pt x="81" y="112"/>
                  </a:lnTo>
                  <a:lnTo>
                    <a:pt x="85" y="109"/>
                  </a:lnTo>
                  <a:lnTo>
                    <a:pt x="86" y="106"/>
                  </a:lnTo>
                  <a:lnTo>
                    <a:pt x="89" y="105"/>
                  </a:lnTo>
                  <a:lnTo>
                    <a:pt x="93" y="103"/>
                  </a:lnTo>
                  <a:lnTo>
                    <a:pt x="97" y="103"/>
                  </a:lnTo>
                  <a:lnTo>
                    <a:pt x="101" y="103"/>
                  </a:lnTo>
                  <a:lnTo>
                    <a:pt x="105" y="103"/>
                  </a:lnTo>
                  <a:lnTo>
                    <a:pt x="110" y="105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5" y="103"/>
                  </a:lnTo>
                  <a:lnTo>
                    <a:pt x="121" y="101"/>
                  </a:lnTo>
                  <a:lnTo>
                    <a:pt x="129" y="96"/>
                  </a:lnTo>
                  <a:lnTo>
                    <a:pt x="137" y="91"/>
                  </a:lnTo>
                  <a:lnTo>
                    <a:pt x="147" y="83"/>
                  </a:lnTo>
                  <a:lnTo>
                    <a:pt x="154" y="74"/>
                  </a:lnTo>
                  <a:lnTo>
                    <a:pt x="156" y="69"/>
                  </a:lnTo>
                  <a:lnTo>
                    <a:pt x="159" y="63"/>
                  </a:lnTo>
                  <a:lnTo>
                    <a:pt x="161" y="58"/>
                  </a:lnTo>
                  <a:lnTo>
                    <a:pt x="161" y="52"/>
                  </a:lnTo>
                  <a:lnTo>
                    <a:pt x="161" y="51"/>
                  </a:lnTo>
                  <a:lnTo>
                    <a:pt x="158" y="48"/>
                  </a:lnTo>
                  <a:lnTo>
                    <a:pt x="156" y="44"/>
                  </a:lnTo>
                  <a:lnTo>
                    <a:pt x="152" y="39"/>
                  </a:lnTo>
                  <a:lnTo>
                    <a:pt x="149" y="35"/>
                  </a:lnTo>
                  <a:lnTo>
                    <a:pt x="145" y="30"/>
                  </a:lnTo>
                  <a:lnTo>
                    <a:pt x="143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4"/>
                  </a:lnTo>
                  <a:lnTo>
                    <a:pt x="140" y="21"/>
                  </a:lnTo>
                  <a:lnTo>
                    <a:pt x="140" y="18"/>
                  </a:lnTo>
                  <a:lnTo>
                    <a:pt x="138" y="15"/>
                  </a:lnTo>
                  <a:lnTo>
                    <a:pt x="136" y="13"/>
                  </a:lnTo>
                  <a:lnTo>
                    <a:pt x="132" y="11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2" y="13"/>
                  </a:lnTo>
                  <a:lnTo>
                    <a:pt x="118" y="14"/>
                  </a:lnTo>
                  <a:lnTo>
                    <a:pt x="114" y="17"/>
                  </a:lnTo>
                  <a:lnTo>
                    <a:pt x="110" y="18"/>
                  </a:lnTo>
                  <a:lnTo>
                    <a:pt x="105" y="21"/>
                  </a:lnTo>
                  <a:lnTo>
                    <a:pt x="101" y="22"/>
                  </a:lnTo>
                  <a:lnTo>
                    <a:pt x="100" y="25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3" y="26"/>
                  </a:lnTo>
                  <a:lnTo>
                    <a:pt x="90" y="25"/>
                  </a:lnTo>
                  <a:lnTo>
                    <a:pt x="89" y="25"/>
                  </a:lnTo>
                  <a:lnTo>
                    <a:pt x="86" y="24"/>
                  </a:lnTo>
                  <a:lnTo>
                    <a:pt x="85" y="22"/>
                  </a:lnTo>
                  <a:lnTo>
                    <a:pt x="83" y="21"/>
                  </a:lnTo>
                  <a:lnTo>
                    <a:pt x="82" y="18"/>
                  </a:lnTo>
                  <a:lnTo>
                    <a:pt x="81" y="15"/>
                  </a:lnTo>
                  <a:lnTo>
                    <a:pt x="78" y="13"/>
                  </a:lnTo>
                  <a:lnTo>
                    <a:pt x="75" y="11"/>
                  </a:lnTo>
                  <a:lnTo>
                    <a:pt x="71" y="8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59" y="11"/>
                  </a:lnTo>
                  <a:lnTo>
                    <a:pt x="56" y="14"/>
                  </a:lnTo>
                  <a:lnTo>
                    <a:pt x="53" y="17"/>
                  </a:lnTo>
                  <a:lnTo>
                    <a:pt x="52" y="19"/>
                  </a:lnTo>
                  <a:lnTo>
                    <a:pt x="52" y="22"/>
                  </a:lnTo>
                  <a:lnTo>
                    <a:pt x="52" y="25"/>
                  </a:lnTo>
                  <a:lnTo>
                    <a:pt x="52" y="28"/>
                  </a:lnTo>
                  <a:lnTo>
                    <a:pt x="53" y="29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5" y="33"/>
                  </a:lnTo>
                  <a:lnTo>
                    <a:pt x="44" y="30"/>
                  </a:lnTo>
                  <a:lnTo>
                    <a:pt x="42" y="29"/>
                  </a:lnTo>
                  <a:lnTo>
                    <a:pt x="41" y="26"/>
                  </a:lnTo>
                  <a:lnTo>
                    <a:pt x="38" y="22"/>
                  </a:lnTo>
                  <a:lnTo>
                    <a:pt x="35" y="17"/>
                  </a:lnTo>
                  <a:lnTo>
                    <a:pt x="31" y="11"/>
                  </a:lnTo>
                  <a:lnTo>
                    <a:pt x="27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5" name="Freeform 201"/>
            <p:cNvSpPr>
              <a:spLocks/>
            </p:cNvSpPr>
            <p:nvPr/>
          </p:nvSpPr>
          <p:spPr bwMode="auto">
            <a:xfrm>
              <a:off x="2506" y="1084"/>
              <a:ext cx="130" cy="94"/>
            </a:xfrm>
            <a:custGeom>
              <a:avLst/>
              <a:gdLst>
                <a:gd name="T0" fmla="*/ 0 w 161"/>
                <a:gd name="T1" fmla="*/ 39 h 116"/>
                <a:gd name="T2" fmla="*/ 26 w 161"/>
                <a:gd name="T3" fmla="*/ 57 h 116"/>
                <a:gd name="T4" fmla="*/ 5 w 161"/>
                <a:gd name="T5" fmla="*/ 65 h 116"/>
                <a:gd name="T6" fmla="*/ 2 w 161"/>
                <a:gd name="T7" fmla="*/ 66 h 116"/>
                <a:gd name="T8" fmla="*/ 0 w 161"/>
                <a:gd name="T9" fmla="*/ 69 h 116"/>
                <a:gd name="T10" fmla="*/ 2 w 161"/>
                <a:gd name="T11" fmla="*/ 76 h 116"/>
                <a:gd name="T12" fmla="*/ 23 w 161"/>
                <a:gd name="T13" fmla="*/ 81 h 116"/>
                <a:gd name="T14" fmla="*/ 66 w 161"/>
                <a:gd name="T15" fmla="*/ 116 h 116"/>
                <a:gd name="T16" fmla="*/ 71 w 161"/>
                <a:gd name="T17" fmla="*/ 116 h 116"/>
                <a:gd name="T18" fmla="*/ 78 w 161"/>
                <a:gd name="T19" fmla="*/ 113 h 116"/>
                <a:gd name="T20" fmla="*/ 85 w 161"/>
                <a:gd name="T21" fmla="*/ 109 h 116"/>
                <a:gd name="T22" fmla="*/ 89 w 161"/>
                <a:gd name="T23" fmla="*/ 105 h 116"/>
                <a:gd name="T24" fmla="*/ 97 w 161"/>
                <a:gd name="T25" fmla="*/ 103 h 116"/>
                <a:gd name="T26" fmla="*/ 105 w 161"/>
                <a:gd name="T27" fmla="*/ 103 h 116"/>
                <a:gd name="T28" fmla="*/ 112 w 161"/>
                <a:gd name="T29" fmla="*/ 105 h 116"/>
                <a:gd name="T30" fmla="*/ 121 w 161"/>
                <a:gd name="T31" fmla="*/ 101 h 116"/>
                <a:gd name="T32" fmla="*/ 137 w 161"/>
                <a:gd name="T33" fmla="*/ 91 h 116"/>
                <a:gd name="T34" fmla="*/ 154 w 161"/>
                <a:gd name="T35" fmla="*/ 74 h 116"/>
                <a:gd name="T36" fmla="*/ 159 w 161"/>
                <a:gd name="T37" fmla="*/ 63 h 116"/>
                <a:gd name="T38" fmla="*/ 161 w 161"/>
                <a:gd name="T39" fmla="*/ 52 h 116"/>
                <a:gd name="T40" fmla="*/ 158 w 161"/>
                <a:gd name="T41" fmla="*/ 48 h 116"/>
                <a:gd name="T42" fmla="*/ 152 w 161"/>
                <a:gd name="T43" fmla="*/ 39 h 116"/>
                <a:gd name="T44" fmla="*/ 145 w 161"/>
                <a:gd name="T45" fmla="*/ 30 h 116"/>
                <a:gd name="T46" fmla="*/ 140 w 161"/>
                <a:gd name="T47" fmla="*/ 26 h 116"/>
                <a:gd name="T48" fmla="*/ 140 w 161"/>
                <a:gd name="T49" fmla="*/ 24 h 116"/>
                <a:gd name="T50" fmla="*/ 140 w 161"/>
                <a:gd name="T51" fmla="*/ 18 h 116"/>
                <a:gd name="T52" fmla="*/ 136 w 161"/>
                <a:gd name="T53" fmla="*/ 13 h 116"/>
                <a:gd name="T54" fmla="*/ 125 w 161"/>
                <a:gd name="T55" fmla="*/ 11 h 116"/>
                <a:gd name="T56" fmla="*/ 118 w 161"/>
                <a:gd name="T57" fmla="*/ 14 h 116"/>
                <a:gd name="T58" fmla="*/ 110 w 161"/>
                <a:gd name="T59" fmla="*/ 18 h 116"/>
                <a:gd name="T60" fmla="*/ 101 w 161"/>
                <a:gd name="T61" fmla="*/ 22 h 116"/>
                <a:gd name="T62" fmla="*/ 99 w 161"/>
                <a:gd name="T63" fmla="*/ 26 h 116"/>
                <a:gd name="T64" fmla="*/ 93 w 161"/>
                <a:gd name="T65" fmla="*/ 26 h 116"/>
                <a:gd name="T66" fmla="*/ 89 w 161"/>
                <a:gd name="T67" fmla="*/ 25 h 116"/>
                <a:gd name="T68" fmla="*/ 85 w 161"/>
                <a:gd name="T69" fmla="*/ 22 h 116"/>
                <a:gd name="T70" fmla="*/ 82 w 161"/>
                <a:gd name="T71" fmla="*/ 18 h 116"/>
                <a:gd name="T72" fmla="*/ 78 w 161"/>
                <a:gd name="T73" fmla="*/ 13 h 116"/>
                <a:gd name="T74" fmla="*/ 71 w 161"/>
                <a:gd name="T75" fmla="*/ 8 h 116"/>
                <a:gd name="T76" fmla="*/ 64 w 161"/>
                <a:gd name="T77" fmla="*/ 8 h 116"/>
                <a:gd name="T78" fmla="*/ 56 w 161"/>
                <a:gd name="T79" fmla="*/ 14 h 116"/>
                <a:gd name="T80" fmla="*/ 52 w 161"/>
                <a:gd name="T81" fmla="*/ 19 h 116"/>
                <a:gd name="T82" fmla="*/ 52 w 161"/>
                <a:gd name="T83" fmla="*/ 25 h 116"/>
                <a:gd name="T84" fmla="*/ 53 w 161"/>
                <a:gd name="T85" fmla="*/ 29 h 116"/>
                <a:gd name="T86" fmla="*/ 52 w 161"/>
                <a:gd name="T87" fmla="*/ 33 h 116"/>
                <a:gd name="T88" fmla="*/ 49 w 161"/>
                <a:gd name="T89" fmla="*/ 35 h 116"/>
                <a:gd name="T90" fmla="*/ 45 w 161"/>
                <a:gd name="T91" fmla="*/ 33 h 116"/>
                <a:gd name="T92" fmla="*/ 42 w 161"/>
                <a:gd name="T93" fmla="*/ 29 h 116"/>
                <a:gd name="T94" fmla="*/ 38 w 161"/>
                <a:gd name="T95" fmla="*/ 22 h 116"/>
                <a:gd name="T96" fmla="*/ 31 w 161"/>
                <a:gd name="T97" fmla="*/ 11 h 116"/>
                <a:gd name="T98" fmla="*/ 23 w 161"/>
                <a:gd name="T99" fmla="*/ 3 h 116"/>
                <a:gd name="T100" fmla="*/ 17 w 161"/>
                <a:gd name="T101" fmla="*/ 0 h 116"/>
                <a:gd name="T102" fmla="*/ 15 w 161"/>
                <a:gd name="T103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1" h="116">
                  <a:moveTo>
                    <a:pt x="13" y="4"/>
                  </a:moveTo>
                  <a:lnTo>
                    <a:pt x="0" y="39"/>
                  </a:lnTo>
                  <a:lnTo>
                    <a:pt x="19" y="43"/>
                  </a:lnTo>
                  <a:lnTo>
                    <a:pt x="26" y="57"/>
                  </a:lnTo>
                  <a:lnTo>
                    <a:pt x="6" y="65"/>
                  </a:lnTo>
                  <a:lnTo>
                    <a:pt x="5" y="65"/>
                  </a:lnTo>
                  <a:lnTo>
                    <a:pt x="4" y="65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2"/>
                  </a:lnTo>
                  <a:lnTo>
                    <a:pt x="2" y="76"/>
                  </a:lnTo>
                  <a:lnTo>
                    <a:pt x="6" y="81"/>
                  </a:lnTo>
                  <a:lnTo>
                    <a:pt x="23" y="81"/>
                  </a:lnTo>
                  <a:lnTo>
                    <a:pt x="44" y="102"/>
                  </a:lnTo>
                  <a:lnTo>
                    <a:pt x="66" y="116"/>
                  </a:lnTo>
                  <a:lnTo>
                    <a:pt x="68" y="116"/>
                  </a:lnTo>
                  <a:lnTo>
                    <a:pt x="71" y="116"/>
                  </a:lnTo>
                  <a:lnTo>
                    <a:pt x="74" y="114"/>
                  </a:lnTo>
                  <a:lnTo>
                    <a:pt x="78" y="113"/>
                  </a:lnTo>
                  <a:lnTo>
                    <a:pt x="81" y="112"/>
                  </a:lnTo>
                  <a:lnTo>
                    <a:pt x="85" y="109"/>
                  </a:lnTo>
                  <a:lnTo>
                    <a:pt x="86" y="106"/>
                  </a:lnTo>
                  <a:lnTo>
                    <a:pt x="89" y="105"/>
                  </a:lnTo>
                  <a:lnTo>
                    <a:pt x="93" y="103"/>
                  </a:lnTo>
                  <a:lnTo>
                    <a:pt x="97" y="103"/>
                  </a:lnTo>
                  <a:lnTo>
                    <a:pt x="101" y="103"/>
                  </a:lnTo>
                  <a:lnTo>
                    <a:pt x="105" y="103"/>
                  </a:lnTo>
                  <a:lnTo>
                    <a:pt x="110" y="105"/>
                  </a:lnTo>
                  <a:lnTo>
                    <a:pt x="112" y="105"/>
                  </a:lnTo>
                  <a:lnTo>
                    <a:pt x="115" y="103"/>
                  </a:lnTo>
                  <a:lnTo>
                    <a:pt x="121" y="101"/>
                  </a:lnTo>
                  <a:lnTo>
                    <a:pt x="129" y="96"/>
                  </a:lnTo>
                  <a:lnTo>
                    <a:pt x="137" y="91"/>
                  </a:lnTo>
                  <a:lnTo>
                    <a:pt x="147" y="83"/>
                  </a:lnTo>
                  <a:lnTo>
                    <a:pt x="154" y="74"/>
                  </a:lnTo>
                  <a:lnTo>
                    <a:pt x="156" y="69"/>
                  </a:lnTo>
                  <a:lnTo>
                    <a:pt x="159" y="63"/>
                  </a:lnTo>
                  <a:lnTo>
                    <a:pt x="161" y="58"/>
                  </a:lnTo>
                  <a:lnTo>
                    <a:pt x="161" y="52"/>
                  </a:lnTo>
                  <a:lnTo>
                    <a:pt x="161" y="51"/>
                  </a:lnTo>
                  <a:lnTo>
                    <a:pt x="158" y="48"/>
                  </a:lnTo>
                  <a:lnTo>
                    <a:pt x="156" y="44"/>
                  </a:lnTo>
                  <a:lnTo>
                    <a:pt x="152" y="39"/>
                  </a:lnTo>
                  <a:lnTo>
                    <a:pt x="149" y="35"/>
                  </a:lnTo>
                  <a:lnTo>
                    <a:pt x="145" y="30"/>
                  </a:lnTo>
                  <a:lnTo>
                    <a:pt x="143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4"/>
                  </a:lnTo>
                  <a:lnTo>
                    <a:pt x="140" y="21"/>
                  </a:lnTo>
                  <a:lnTo>
                    <a:pt x="140" y="18"/>
                  </a:lnTo>
                  <a:lnTo>
                    <a:pt x="138" y="15"/>
                  </a:lnTo>
                  <a:lnTo>
                    <a:pt x="136" y="13"/>
                  </a:lnTo>
                  <a:lnTo>
                    <a:pt x="132" y="11"/>
                  </a:lnTo>
                  <a:lnTo>
                    <a:pt x="125" y="11"/>
                  </a:lnTo>
                  <a:lnTo>
                    <a:pt x="122" y="13"/>
                  </a:lnTo>
                  <a:lnTo>
                    <a:pt x="118" y="14"/>
                  </a:lnTo>
                  <a:lnTo>
                    <a:pt x="114" y="17"/>
                  </a:lnTo>
                  <a:lnTo>
                    <a:pt x="110" y="18"/>
                  </a:lnTo>
                  <a:lnTo>
                    <a:pt x="105" y="21"/>
                  </a:lnTo>
                  <a:lnTo>
                    <a:pt x="101" y="22"/>
                  </a:lnTo>
                  <a:lnTo>
                    <a:pt x="100" y="25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3" y="26"/>
                  </a:lnTo>
                  <a:lnTo>
                    <a:pt x="90" y="25"/>
                  </a:lnTo>
                  <a:lnTo>
                    <a:pt x="89" y="25"/>
                  </a:lnTo>
                  <a:lnTo>
                    <a:pt x="86" y="24"/>
                  </a:lnTo>
                  <a:lnTo>
                    <a:pt x="85" y="22"/>
                  </a:lnTo>
                  <a:lnTo>
                    <a:pt x="83" y="21"/>
                  </a:lnTo>
                  <a:lnTo>
                    <a:pt x="82" y="18"/>
                  </a:lnTo>
                  <a:lnTo>
                    <a:pt x="81" y="15"/>
                  </a:lnTo>
                  <a:lnTo>
                    <a:pt x="78" y="13"/>
                  </a:lnTo>
                  <a:lnTo>
                    <a:pt x="75" y="11"/>
                  </a:lnTo>
                  <a:lnTo>
                    <a:pt x="71" y="8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59" y="11"/>
                  </a:lnTo>
                  <a:lnTo>
                    <a:pt x="56" y="14"/>
                  </a:lnTo>
                  <a:lnTo>
                    <a:pt x="53" y="17"/>
                  </a:lnTo>
                  <a:lnTo>
                    <a:pt x="52" y="19"/>
                  </a:lnTo>
                  <a:lnTo>
                    <a:pt x="52" y="22"/>
                  </a:lnTo>
                  <a:lnTo>
                    <a:pt x="52" y="25"/>
                  </a:lnTo>
                  <a:lnTo>
                    <a:pt x="52" y="28"/>
                  </a:lnTo>
                  <a:lnTo>
                    <a:pt x="53" y="29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5" y="33"/>
                  </a:lnTo>
                  <a:lnTo>
                    <a:pt x="44" y="30"/>
                  </a:lnTo>
                  <a:lnTo>
                    <a:pt x="42" y="29"/>
                  </a:lnTo>
                  <a:lnTo>
                    <a:pt x="41" y="26"/>
                  </a:lnTo>
                  <a:lnTo>
                    <a:pt x="38" y="22"/>
                  </a:lnTo>
                  <a:lnTo>
                    <a:pt x="35" y="17"/>
                  </a:lnTo>
                  <a:lnTo>
                    <a:pt x="31" y="11"/>
                  </a:lnTo>
                  <a:lnTo>
                    <a:pt x="27" y="7"/>
                  </a:lnTo>
                  <a:lnTo>
                    <a:pt x="23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2"/>
                  </a:lnTo>
                  <a:lnTo>
                    <a:pt x="13" y="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6" name="Freeform 202"/>
            <p:cNvSpPr>
              <a:spLocks/>
            </p:cNvSpPr>
            <p:nvPr/>
          </p:nvSpPr>
          <p:spPr bwMode="auto">
            <a:xfrm>
              <a:off x="2459" y="777"/>
              <a:ext cx="21" cy="17"/>
            </a:xfrm>
            <a:custGeom>
              <a:avLst/>
              <a:gdLst>
                <a:gd name="T0" fmla="*/ 9 w 26"/>
                <a:gd name="T1" fmla="*/ 0 h 21"/>
                <a:gd name="T2" fmla="*/ 9 w 26"/>
                <a:gd name="T3" fmla="*/ 0 h 21"/>
                <a:gd name="T4" fmla="*/ 8 w 26"/>
                <a:gd name="T5" fmla="*/ 0 h 21"/>
                <a:gd name="T6" fmla="*/ 7 w 26"/>
                <a:gd name="T7" fmla="*/ 0 h 21"/>
                <a:gd name="T8" fmla="*/ 4 w 26"/>
                <a:gd name="T9" fmla="*/ 2 h 21"/>
                <a:gd name="T10" fmla="*/ 3 w 26"/>
                <a:gd name="T11" fmla="*/ 2 h 21"/>
                <a:gd name="T12" fmla="*/ 1 w 26"/>
                <a:gd name="T13" fmla="*/ 5 h 21"/>
                <a:gd name="T14" fmla="*/ 0 w 26"/>
                <a:gd name="T15" fmla="*/ 6 h 21"/>
                <a:gd name="T16" fmla="*/ 0 w 26"/>
                <a:gd name="T17" fmla="*/ 9 h 21"/>
                <a:gd name="T18" fmla="*/ 0 w 26"/>
                <a:gd name="T19" fmla="*/ 11 h 21"/>
                <a:gd name="T20" fmla="*/ 1 w 26"/>
                <a:gd name="T21" fmla="*/ 14 h 21"/>
                <a:gd name="T22" fmla="*/ 3 w 26"/>
                <a:gd name="T23" fmla="*/ 17 h 21"/>
                <a:gd name="T24" fmla="*/ 5 w 26"/>
                <a:gd name="T25" fmla="*/ 18 h 21"/>
                <a:gd name="T26" fmla="*/ 8 w 26"/>
                <a:gd name="T27" fmla="*/ 20 h 21"/>
                <a:gd name="T28" fmla="*/ 11 w 26"/>
                <a:gd name="T29" fmla="*/ 21 h 21"/>
                <a:gd name="T30" fmla="*/ 15 w 26"/>
                <a:gd name="T31" fmla="*/ 21 h 21"/>
                <a:gd name="T32" fmla="*/ 19 w 26"/>
                <a:gd name="T33" fmla="*/ 20 h 21"/>
                <a:gd name="T34" fmla="*/ 22 w 26"/>
                <a:gd name="T35" fmla="*/ 20 h 21"/>
                <a:gd name="T36" fmla="*/ 25 w 26"/>
                <a:gd name="T37" fmla="*/ 18 h 21"/>
                <a:gd name="T38" fmla="*/ 26 w 26"/>
                <a:gd name="T39" fmla="*/ 18 h 21"/>
                <a:gd name="T40" fmla="*/ 26 w 26"/>
                <a:gd name="T41" fmla="*/ 17 h 21"/>
                <a:gd name="T42" fmla="*/ 26 w 26"/>
                <a:gd name="T43" fmla="*/ 16 h 21"/>
                <a:gd name="T44" fmla="*/ 25 w 26"/>
                <a:gd name="T45" fmla="*/ 14 h 21"/>
                <a:gd name="T46" fmla="*/ 22 w 26"/>
                <a:gd name="T47" fmla="*/ 11 h 21"/>
                <a:gd name="T48" fmla="*/ 20 w 26"/>
                <a:gd name="T49" fmla="*/ 9 h 21"/>
                <a:gd name="T50" fmla="*/ 18 w 26"/>
                <a:gd name="T51" fmla="*/ 6 h 21"/>
                <a:gd name="T52" fmla="*/ 16 w 26"/>
                <a:gd name="T53" fmla="*/ 3 h 21"/>
                <a:gd name="T54" fmla="*/ 14 w 26"/>
                <a:gd name="T55" fmla="*/ 2 h 21"/>
                <a:gd name="T56" fmla="*/ 12 w 26"/>
                <a:gd name="T57" fmla="*/ 0 h 21"/>
                <a:gd name="T58" fmla="*/ 11 w 26"/>
                <a:gd name="T59" fmla="*/ 0 h 21"/>
                <a:gd name="T60" fmla="*/ 11 w 26"/>
                <a:gd name="T61" fmla="*/ 0 h 21"/>
                <a:gd name="T62" fmla="*/ 9 w 26"/>
                <a:gd name="T63" fmla="*/ 0 h 21"/>
                <a:gd name="T64" fmla="*/ 9 w 26"/>
                <a:gd name="T6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21">
                  <a:moveTo>
                    <a:pt x="9" y="0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2" y="11"/>
                  </a:lnTo>
                  <a:lnTo>
                    <a:pt x="20" y="9"/>
                  </a:lnTo>
                  <a:lnTo>
                    <a:pt x="18" y="6"/>
                  </a:lnTo>
                  <a:lnTo>
                    <a:pt x="16" y="3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7" name="Freeform 203"/>
            <p:cNvSpPr>
              <a:spLocks/>
            </p:cNvSpPr>
            <p:nvPr/>
          </p:nvSpPr>
          <p:spPr bwMode="auto">
            <a:xfrm>
              <a:off x="2459" y="777"/>
              <a:ext cx="21" cy="17"/>
            </a:xfrm>
            <a:custGeom>
              <a:avLst/>
              <a:gdLst>
                <a:gd name="T0" fmla="*/ 9 w 26"/>
                <a:gd name="T1" fmla="*/ 0 h 21"/>
                <a:gd name="T2" fmla="*/ 8 w 26"/>
                <a:gd name="T3" fmla="*/ 0 h 21"/>
                <a:gd name="T4" fmla="*/ 7 w 26"/>
                <a:gd name="T5" fmla="*/ 0 h 21"/>
                <a:gd name="T6" fmla="*/ 4 w 26"/>
                <a:gd name="T7" fmla="*/ 2 h 21"/>
                <a:gd name="T8" fmla="*/ 3 w 26"/>
                <a:gd name="T9" fmla="*/ 2 h 21"/>
                <a:gd name="T10" fmla="*/ 1 w 26"/>
                <a:gd name="T11" fmla="*/ 5 h 21"/>
                <a:gd name="T12" fmla="*/ 0 w 26"/>
                <a:gd name="T13" fmla="*/ 6 h 21"/>
                <a:gd name="T14" fmla="*/ 0 w 26"/>
                <a:gd name="T15" fmla="*/ 9 h 21"/>
                <a:gd name="T16" fmla="*/ 0 w 26"/>
                <a:gd name="T17" fmla="*/ 11 h 21"/>
                <a:gd name="T18" fmla="*/ 1 w 26"/>
                <a:gd name="T19" fmla="*/ 14 h 21"/>
                <a:gd name="T20" fmla="*/ 3 w 26"/>
                <a:gd name="T21" fmla="*/ 17 h 21"/>
                <a:gd name="T22" fmla="*/ 5 w 26"/>
                <a:gd name="T23" fmla="*/ 18 h 21"/>
                <a:gd name="T24" fmla="*/ 8 w 26"/>
                <a:gd name="T25" fmla="*/ 20 h 21"/>
                <a:gd name="T26" fmla="*/ 11 w 26"/>
                <a:gd name="T27" fmla="*/ 21 h 21"/>
                <a:gd name="T28" fmla="*/ 15 w 26"/>
                <a:gd name="T29" fmla="*/ 21 h 21"/>
                <a:gd name="T30" fmla="*/ 19 w 26"/>
                <a:gd name="T31" fmla="*/ 20 h 21"/>
                <a:gd name="T32" fmla="*/ 22 w 26"/>
                <a:gd name="T33" fmla="*/ 20 h 21"/>
                <a:gd name="T34" fmla="*/ 25 w 26"/>
                <a:gd name="T35" fmla="*/ 18 h 21"/>
                <a:gd name="T36" fmla="*/ 26 w 26"/>
                <a:gd name="T37" fmla="*/ 18 h 21"/>
                <a:gd name="T38" fmla="*/ 26 w 26"/>
                <a:gd name="T39" fmla="*/ 17 h 21"/>
                <a:gd name="T40" fmla="*/ 26 w 26"/>
                <a:gd name="T41" fmla="*/ 16 h 21"/>
                <a:gd name="T42" fmla="*/ 25 w 26"/>
                <a:gd name="T43" fmla="*/ 14 h 21"/>
                <a:gd name="T44" fmla="*/ 22 w 26"/>
                <a:gd name="T45" fmla="*/ 11 h 21"/>
                <a:gd name="T46" fmla="*/ 20 w 26"/>
                <a:gd name="T47" fmla="*/ 9 h 21"/>
                <a:gd name="T48" fmla="*/ 18 w 26"/>
                <a:gd name="T49" fmla="*/ 6 h 21"/>
                <a:gd name="T50" fmla="*/ 16 w 26"/>
                <a:gd name="T51" fmla="*/ 3 h 21"/>
                <a:gd name="T52" fmla="*/ 14 w 26"/>
                <a:gd name="T53" fmla="*/ 2 h 21"/>
                <a:gd name="T54" fmla="*/ 12 w 26"/>
                <a:gd name="T55" fmla="*/ 0 h 21"/>
                <a:gd name="T56" fmla="*/ 11 w 26"/>
                <a:gd name="T57" fmla="*/ 0 h 21"/>
                <a:gd name="T58" fmla="*/ 9 w 26"/>
                <a:gd name="T5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" h="21">
                  <a:moveTo>
                    <a:pt x="9" y="0"/>
                  </a:moveTo>
                  <a:lnTo>
                    <a:pt x="8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5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1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5" y="21"/>
                  </a:lnTo>
                  <a:lnTo>
                    <a:pt x="19" y="20"/>
                  </a:lnTo>
                  <a:lnTo>
                    <a:pt x="22" y="20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5" y="14"/>
                  </a:lnTo>
                  <a:lnTo>
                    <a:pt x="22" y="11"/>
                  </a:lnTo>
                  <a:lnTo>
                    <a:pt x="20" y="9"/>
                  </a:lnTo>
                  <a:lnTo>
                    <a:pt x="18" y="6"/>
                  </a:lnTo>
                  <a:lnTo>
                    <a:pt x="16" y="3"/>
                  </a:lnTo>
                  <a:lnTo>
                    <a:pt x="14" y="2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9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8" name="Freeform 204"/>
            <p:cNvSpPr>
              <a:spLocks/>
            </p:cNvSpPr>
            <p:nvPr/>
          </p:nvSpPr>
          <p:spPr bwMode="auto">
            <a:xfrm>
              <a:off x="2198" y="914"/>
              <a:ext cx="282" cy="316"/>
            </a:xfrm>
            <a:custGeom>
              <a:avLst/>
              <a:gdLst>
                <a:gd name="T0" fmla="*/ 0 w 349"/>
                <a:gd name="T1" fmla="*/ 0 h 390"/>
                <a:gd name="T2" fmla="*/ 8 w 349"/>
                <a:gd name="T3" fmla="*/ 38 h 390"/>
                <a:gd name="T4" fmla="*/ 11 w 349"/>
                <a:gd name="T5" fmla="*/ 74 h 390"/>
                <a:gd name="T6" fmla="*/ 16 w 349"/>
                <a:gd name="T7" fmla="*/ 94 h 390"/>
                <a:gd name="T8" fmla="*/ 8 w 349"/>
                <a:gd name="T9" fmla="*/ 97 h 390"/>
                <a:gd name="T10" fmla="*/ 15 w 349"/>
                <a:gd name="T11" fmla="*/ 112 h 390"/>
                <a:gd name="T12" fmla="*/ 0 w 349"/>
                <a:gd name="T13" fmla="*/ 130 h 390"/>
                <a:gd name="T14" fmla="*/ 19 w 349"/>
                <a:gd name="T15" fmla="*/ 125 h 390"/>
                <a:gd name="T16" fmla="*/ 30 w 349"/>
                <a:gd name="T17" fmla="*/ 114 h 390"/>
                <a:gd name="T18" fmla="*/ 39 w 349"/>
                <a:gd name="T19" fmla="*/ 138 h 390"/>
                <a:gd name="T20" fmla="*/ 55 w 349"/>
                <a:gd name="T21" fmla="*/ 149 h 390"/>
                <a:gd name="T22" fmla="*/ 48 w 349"/>
                <a:gd name="T23" fmla="*/ 156 h 390"/>
                <a:gd name="T24" fmla="*/ 20 w 349"/>
                <a:gd name="T25" fmla="*/ 148 h 390"/>
                <a:gd name="T26" fmla="*/ 23 w 349"/>
                <a:gd name="T27" fmla="*/ 158 h 390"/>
                <a:gd name="T28" fmla="*/ 45 w 349"/>
                <a:gd name="T29" fmla="*/ 167 h 390"/>
                <a:gd name="T30" fmla="*/ 53 w 349"/>
                <a:gd name="T31" fmla="*/ 181 h 390"/>
                <a:gd name="T32" fmla="*/ 34 w 349"/>
                <a:gd name="T33" fmla="*/ 203 h 390"/>
                <a:gd name="T34" fmla="*/ 34 w 349"/>
                <a:gd name="T35" fmla="*/ 211 h 390"/>
                <a:gd name="T36" fmla="*/ 22 w 349"/>
                <a:gd name="T37" fmla="*/ 239 h 390"/>
                <a:gd name="T38" fmla="*/ 27 w 349"/>
                <a:gd name="T39" fmla="*/ 272 h 390"/>
                <a:gd name="T40" fmla="*/ 38 w 349"/>
                <a:gd name="T41" fmla="*/ 307 h 390"/>
                <a:gd name="T42" fmla="*/ 56 w 349"/>
                <a:gd name="T43" fmla="*/ 347 h 390"/>
                <a:gd name="T44" fmla="*/ 63 w 349"/>
                <a:gd name="T45" fmla="*/ 369 h 390"/>
                <a:gd name="T46" fmla="*/ 83 w 349"/>
                <a:gd name="T47" fmla="*/ 375 h 390"/>
                <a:gd name="T48" fmla="*/ 100 w 349"/>
                <a:gd name="T49" fmla="*/ 369 h 390"/>
                <a:gd name="T50" fmla="*/ 96 w 349"/>
                <a:gd name="T51" fmla="*/ 378 h 390"/>
                <a:gd name="T52" fmla="*/ 110 w 349"/>
                <a:gd name="T53" fmla="*/ 390 h 390"/>
                <a:gd name="T54" fmla="*/ 122 w 349"/>
                <a:gd name="T55" fmla="*/ 368 h 390"/>
                <a:gd name="T56" fmla="*/ 127 w 349"/>
                <a:gd name="T57" fmla="*/ 349 h 390"/>
                <a:gd name="T58" fmla="*/ 127 w 349"/>
                <a:gd name="T59" fmla="*/ 335 h 390"/>
                <a:gd name="T60" fmla="*/ 144 w 349"/>
                <a:gd name="T61" fmla="*/ 291 h 390"/>
                <a:gd name="T62" fmla="*/ 144 w 349"/>
                <a:gd name="T63" fmla="*/ 280 h 390"/>
                <a:gd name="T64" fmla="*/ 152 w 349"/>
                <a:gd name="T65" fmla="*/ 280 h 390"/>
                <a:gd name="T66" fmla="*/ 166 w 349"/>
                <a:gd name="T67" fmla="*/ 274 h 390"/>
                <a:gd name="T68" fmla="*/ 182 w 349"/>
                <a:gd name="T69" fmla="*/ 266 h 390"/>
                <a:gd name="T70" fmla="*/ 228 w 349"/>
                <a:gd name="T71" fmla="*/ 222 h 390"/>
                <a:gd name="T72" fmla="*/ 237 w 349"/>
                <a:gd name="T73" fmla="*/ 206 h 390"/>
                <a:gd name="T74" fmla="*/ 249 w 349"/>
                <a:gd name="T75" fmla="*/ 204 h 390"/>
                <a:gd name="T76" fmla="*/ 260 w 349"/>
                <a:gd name="T77" fmla="*/ 202 h 390"/>
                <a:gd name="T78" fmla="*/ 269 w 349"/>
                <a:gd name="T79" fmla="*/ 199 h 390"/>
                <a:gd name="T80" fmla="*/ 284 w 349"/>
                <a:gd name="T81" fmla="*/ 185 h 390"/>
                <a:gd name="T82" fmla="*/ 308 w 349"/>
                <a:gd name="T83" fmla="*/ 170 h 390"/>
                <a:gd name="T84" fmla="*/ 294 w 349"/>
                <a:gd name="T85" fmla="*/ 159 h 390"/>
                <a:gd name="T86" fmla="*/ 275 w 349"/>
                <a:gd name="T87" fmla="*/ 160 h 390"/>
                <a:gd name="T88" fmla="*/ 254 w 349"/>
                <a:gd name="T89" fmla="*/ 171 h 390"/>
                <a:gd name="T90" fmla="*/ 240 w 349"/>
                <a:gd name="T91" fmla="*/ 169 h 390"/>
                <a:gd name="T92" fmla="*/ 246 w 349"/>
                <a:gd name="T93" fmla="*/ 162 h 390"/>
                <a:gd name="T94" fmla="*/ 268 w 349"/>
                <a:gd name="T95" fmla="*/ 156 h 390"/>
                <a:gd name="T96" fmla="*/ 273 w 349"/>
                <a:gd name="T97" fmla="*/ 133 h 390"/>
                <a:gd name="T98" fmla="*/ 265 w 349"/>
                <a:gd name="T99" fmla="*/ 121 h 390"/>
                <a:gd name="T100" fmla="*/ 282 w 349"/>
                <a:gd name="T101" fmla="*/ 121 h 390"/>
                <a:gd name="T102" fmla="*/ 293 w 349"/>
                <a:gd name="T103" fmla="*/ 148 h 390"/>
                <a:gd name="T104" fmla="*/ 309 w 349"/>
                <a:gd name="T105" fmla="*/ 119 h 390"/>
                <a:gd name="T106" fmla="*/ 297 w 349"/>
                <a:gd name="T107" fmla="*/ 103 h 390"/>
                <a:gd name="T108" fmla="*/ 301 w 349"/>
                <a:gd name="T109" fmla="*/ 75 h 390"/>
                <a:gd name="T110" fmla="*/ 308 w 349"/>
                <a:gd name="T111" fmla="*/ 61 h 390"/>
                <a:gd name="T112" fmla="*/ 316 w 349"/>
                <a:gd name="T113" fmla="*/ 60 h 390"/>
                <a:gd name="T114" fmla="*/ 343 w 349"/>
                <a:gd name="T115" fmla="*/ 24 h 390"/>
                <a:gd name="T116" fmla="*/ 346 w 349"/>
                <a:gd name="T117" fmla="*/ 1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49" h="39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2" y="26"/>
                  </a:lnTo>
                  <a:lnTo>
                    <a:pt x="5" y="28"/>
                  </a:lnTo>
                  <a:lnTo>
                    <a:pt x="6" y="33"/>
                  </a:lnTo>
                  <a:lnTo>
                    <a:pt x="8" y="38"/>
                  </a:lnTo>
                  <a:lnTo>
                    <a:pt x="9" y="42"/>
                  </a:lnTo>
                  <a:lnTo>
                    <a:pt x="11" y="48"/>
                  </a:lnTo>
                  <a:lnTo>
                    <a:pt x="11" y="53"/>
                  </a:lnTo>
                  <a:lnTo>
                    <a:pt x="11" y="59"/>
                  </a:lnTo>
                  <a:lnTo>
                    <a:pt x="11" y="63"/>
                  </a:lnTo>
                  <a:lnTo>
                    <a:pt x="11" y="67"/>
                  </a:lnTo>
                  <a:lnTo>
                    <a:pt x="11" y="71"/>
                  </a:lnTo>
                  <a:lnTo>
                    <a:pt x="11" y="74"/>
                  </a:lnTo>
                  <a:lnTo>
                    <a:pt x="13" y="78"/>
                  </a:lnTo>
                  <a:lnTo>
                    <a:pt x="16" y="81"/>
                  </a:lnTo>
                  <a:lnTo>
                    <a:pt x="17" y="83"/>
                  </a:lnTo>
                  <a:lnTo>
                    <a:pt x="19" y="86"/>
                  </a:lnTo>
                  <a:lnTo>
                    <a:pt x="19" y="89"/>
                  </a:lnTo>
                  <a:lnTo>
                    <a:pt x="19" y="92"/>
                  </a:lnTo>
                  <a:lnTo>
                    <a:pt x="17" y="93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6"/>
                  </a:lnTo>
                  <a:lnTo>
                    <a:pt x="15" y="94"/>
                  </a:lnTo>
                  <a:lnTo>
                    <a:pt x="13" y="94"/>
                  </a:lnTo>
                  <a:lnTo>
                    <a:pt x="12" y="94"/>
                  </a:lnTo>
                  <a:lnTo>
                    <a:pt x="11" y="94"/>
                  </a:lnTo>
                  <a:lnTo>
                    <a:pt x="9" y="96"/>
                  </a:lnTo>
                  <a:lnTo>
                    <a:pt x="8" y="97"/>
                  </a:lnTo>
                  <a:lnTo>
                    <a:pt x="8" y="99"/>
                  </a:lnTo>
                  <a:lnTo>
                    <a:pt x="8" y="101"/>
                  </a:lnTo>
                  <a:lnTo>
                    <a:pt x="9" y="104"/>
                  </a:lnTo>
                  <a:lnTo>
                    <a:pt x="11" y="107"/>
                  </a:lnTo>
                  <a:lnTo>
                    <a:pt x="12" y="108"/>
                  </a:lnTo>
                  <a:lnTo>
                    <a:pt x="13" y="110"/>
                  </a:lnTo>
                  <a:lnTo>
                    <a:pt x="15" y="111"/>
                  </a:lnTo>
                  <a:lnTo>
                    <a:pt x="15" y="112"/>
                  </a:lnTo>
                  <a:lnTo>
                    <a:pt x="13" y="115"/>
                  </a:lnTo>
                  <a:lnTo>
                    <a:pt x="12" y="116"/>
                  </a:lnTo>
                  <a:lnTo>
                    <a:pt x="8" y="119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1" y="126"/>
                  </a:lnTo>
                  <a:lnTo>
                    <a:pt x="0" y="129"/>
                  </a:lnTo>
                  <a:lnTo>
                    <a:pt x="0" y="130"/>
                  </a:lnTo>
                  <a:lnTo>
                    <a:pt x="2" y="130"/>
                  </a:lnTo>
                  <a:lnTo>
                    <a:pt x="6" y="130"/>
                  </a:lnTo>
                  <a:lnTo>
                    <a:pt x="11" y="130"/>
                  </a:lnTo>
                  <a:lnTo>
                    <a:pt x="13" y="130"/>
                  </a:lnTo>
                  <a:lnTo>
                    <a:pt x="16" y="129"/>
                  </a:lnTo>
                  <a:lnTo>
                    <a:pt x="17" y="127"/>
                  </a:lnTo>
                  <a:lnTo>
                    <a:pt x="17" y="126"/>
                  </a:lnTo>
                  <a:lnTo>
                    <a:pt x="19" y="125"/>
                  </a:lnTo>
                  <a:lnTo>
                    <a:pt x="20" y="122"/>
                  </a:lnTo>
                  <a:lnTo>
                    <a:pt x="22" y="119"/>
                  </a:lnTo>
                  <a:lnTo>
                    <a:pt x="24" y="116"/>
                  </a:lnTo>
                  <a:lnTo>
                    <a:pt x="26" y="114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8" y="112"/>
                  </a:lnTo>
                  <a:lnTo>
                    <a:pt x="30" y="114"/>
                  </a:lnTo>
                  <a:lnTo>
                    <a:pt x="31" y="115"/>
                  </a:lnTo>
                  <a:lnTo>
                    <a:pt x="34" y="118"/>
                  </a:lnTo>
                  <a:lnTo>
                    <a:pt x="35" y="122"/>
                  </a:lnTo>
                  <a:lnTo>
                    <a:pt x="35" y="125"/>
                  </a:lnTo>
                  <a:lnTo>
                    <a:pt x="37" y="129"/>
                  </a:lnTo>
                  <a:lnTo>
                    <a:pt x="37" y="133"/>
                  </a:lnTo>
                  <a:lnTo>
                    <a:pt x="38" y="136"/>
                  </a:lnTo>
                  <a:lnTo>
                    <a:pt x="39" y="138"/>
                  </a:lnTo>
                  <a:lnTo>
                    <a:pt x="41" y="141"/>
                  </a:lnTo>
                  <a:lnTo>
                    <a:pt x="44" y="141"/>
                  </a:lnTo>
                  <a:lnTo>
                    <a:pt x="46" y="143"/>
                  </a:lnTo>
                  <a:lnTo>
                    <a:pt x="49" y="144"/>
                  </a:lnTo>
                  <a:lnTo>
                    <a:pt x="50" y="144"/>
                  </a:lnTo>
                  <a:lnTo>
                    <a:pt x="53" y="145"/>
                  </a:lnTo>
                  <a:lnTo>
                    <a:pt x="55" y="148"/>
                  </a:lnTo>
                  <a:lnTo>
                    <a:pt x="55" y="149"/>
                  </a:lnTo>
                  <a:lnTo>
                    <a:pt x="56" y="152"/>
                  </a:lnTo>
                  <a:lnTo>
                    <a:pt x="56" y="155"/>
                  </a:lnTo>
                  <a:lnTo>
                    <a:pt x="56" y="158"/>
                  </a:lnTo>
                  <a:lnTo>
                    <a:pt x="55" y="159"/>
                  </a:lnTo>
                  <a:lnTo>
                    <a:pt x="53" y="159"/>
                  </a:lnTo>
                  <a:lnTo>
                    <a:pt x="52" y="159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5" y="155"/>
                  </a:lnTo>
                  <a:lnTo>
                    <a:pt x="41" y="152"/>
                  </a:lnTo>
                  <a:lnTo>
                    <a:pt x="37" y="149"/>
                  </a:lnTo>
                  <a:lnTo>
                    <a:pt x="33" y="148"/>
                  </a:lnTo>
                  <a:lnTo>
                    <a:pt x="30" y="148"/>
                  </a:lnTo>
                  <a:lnTo>
                    <a:pt x="26" y="148"/>
                  </a:lnTo>
                  <a:lnTo>
                    <a:pt x="23" y="148"/>
                  </a:lnTo>
                  <a:lnTo>
                    <a:pt x="20" y="148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19" y="149"/>
                  </a:lnTo>
                  <a:lnTo>
                    <a:pt x="19" y="149"/>
                  </a:lnTo>
                  <a:lnTo>
                    <a:pt x="19" y="152"/>
                  </a:lnTo>
                  <a:lnTo>
                    <a:pt x="20" y="153"/>
                  </a:lnTo>
                  <a:lnTo>
                    <a:pt x="22" y="155"/>
                  </a:lnTo>
                  <a:lnTo>
                    <a:pt x="23" y="158"/>
                  </a:lnTo>
                  <a:lnTo>
                    <a:pt x="26" y="159"/>
                  </a:lnTo>
                  <a:lnTo>
                    <a:pt x="30" y="160"/>
                  </a:lnTo>
                  <a:lnTo>
                    <a:pt x="33" y="162"/>
                  </a:lnTo>
                  <a:lnTo>
                    <a:pt x="37" y="163"/>
                  </a:lnTo>
                  <a:lnTo>
                    <a:pt x="39" y="164"/>
                  </a:lnTo>
                  <a:lnTo>
                    <a:pt x="42" y="166"/>
                  </a:lnTo>
                  <a:lnTo>
                    <a:pt x="44" y="166"/>
                  </a:lnTo>
                  <a:lnTo>
                    <a:pt x="45" y="167"/>
                  </a:lnTo>
                  <a:lnTo>
                    <a:pt x="46" y="167"/>
                  </a:lnTo>
                  <a:lnTo>
                    <a:pt x="48" y="169"/>
                  </a:lnTo>
                  <a:lnTo>
                    <a:pt x="50" y="170"/>
                  </a:lnTo>
                  <a:lnTo>
                    <a:pt x="52" y="171"/>
                  </a:lnTo>
                  <a:lnTo>
                    <a:pt x="53" y="173"/>
                  </a:lnTo>
                  <a:lnTo>
                    <a:pt x="53" y="175"/>
                  </a:lnTo>
                  <a:lnTo>
                    <a:pt x="53" y="178"/>
                  </a:lnTo>
                  <a:lnTo>
                    <a:pt x="53" y="181"/>
                  </a:lnTo>
                  <a:lnTo>
                    <a:pt x="50" y="185"/>
                  </a:lnTo>
                  <a:lnTo>
                    <a:pt x="48" y="189"/>
                  </a:lnTo>
                  <a:lnTo>
                    <a:pt x="45" y="193"/>
                  </a:lnTo>
                  <a:lnTo>
                    <a:pt x="42" y="196"/>
                  </a:lnTo>
                  <a:lnTo>
                    <a:pt x="39" y="199"/>
                  </a:lnTo>
                  <a:lnTo>
                    <a:pt x="38" y="200"/>
                  </a:lnTo>
                  <a:lnTo>
                    <a:pt x="35" y="202"/>
                  </a:lnTo>
                  <a:lnTo>
                    <a:pt x="34" y="203"/>
                  </a:lnTo>
                  <a:lnTo>
                    <a:pt x="33" y="204"/>
                  </a:lnTo>
                  <a:lnTo>
                    <a:pt x="31" y="206"/>
                  </a:lnTo>
                  <a:lnTo>
                    <a:pt x="30" y="207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31" y="210"/>
                  </a:lnTo>
                  <a:lnTo>
                    <a:pt x="33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5" y="211"/>
                  </a:lnTo>
                  <a:lnTo>
                    <a:pt x="30" y="219"/>
                  </a:lnTo>
                  <a:lnTo>
                    <a:pt x="19" y="232"/>
                  </a:lnTo>
                  <a:lnTo>
                    <a:pt x="19" y="233"/>
                  </a:lnTo>
                  <a:lnTo>
                    <a:pt x="20" y="233"/>
                  </a:lnTo>
                  <a:lnTo>
                    <a:pt x="20" y="236"/>
                  </a:lnTo>
                  <a:lnTo>
                    <a:pt x="22" y="239"/>
                  </a:lnTo>
                  <a:lnTo>
                    <a:pt x="22" y="241"/>
                  </a:lnTo>
                  <a:lnTo>
                    <a:pt x="23" y="246"/>
                  </a:lnTo>
                  <a:lnTo>
                    <a:pt x="24" y="250"/>
                  </a:lnTo>
                  <a:lnTo>
                    <a:pt x="24" y="254"/>
                  </a:lnTo>
                  <a:lnTo>
                    <a:pt x="24" y="258"/>
                  </a:lnTo>
                  <a:lnTo>
                    <a:pt x="26" y="262"/>
                  </a:lnTo>
                  <a:lnTo>
                    <a:pt x="26" y="266"/>
                  </a:lnTo>
                  <a:lnTo>
                    <a:pt x="27" y="272"/>
                  </a:lnTo>
                  <a:lnTo>
                    <a:pt x="27" y="276"/>
                  </a:lnTo>
                  <a:lnTo>
                    <a:pt x="28" y="280"/>
                  </a:lnTo>
                  <a:lnTo>
                    <a:pt x="30" y="284"/>
                  </a:lnTo>
                  <a:lnTo>
                    <a:pt x="33" y="288"/>
                  </a:lnTo>
                  <a:lnTo>
                    <a:pt x="34" y="292"/>
                  </a:lnTo>
                  <a:lnTo>
                    <a:pt x="35" y="298"/>
                  </a:lnTo>
                  <a:lnTo>
                    <a:pt x="37" y="302"/>
                  </a:lnTo>
                  <a:lnTo>
                    <a:pt x="38" y="307"/>
                  </a:lnTo>
                  <a:lnTo>
                    <a:pt x="39" y="313"/>
                  </a:lnTo>
                  <a:lnTo>
                    <a:pt x="39" y="316"/>
                  </a:lnTo>
                  <a:lnTo>
                    <a:pt x="41" y="318"/>
                  </a:lnTo>
                  <a:lnTo>
                    <a:pt x="41" y="320"/>
                  </a:lnTo>
                  <a:lnTo>
                    <a:pt x="56" y="343"/>
                  </a:lnTo>
                  <a:lnTo>
                    <a:pt x="56" y="345"/>
                  </a:lnTo>
                  <a:lnTo>
                    <a:pt x="56" y="346"/>
                  </a:lnTo>
                  <a:lnTo>
                    <a:pt x="56" y="347"/>
                  </a:lnTo>
                  <a:lnTo>
                    <a:pt x="57" y="349"/>
                  </a:lnTo>
                  <a:lnTo>
                    <a:pt x="57" y="351"/>
                  </a:lnTo>
                  <a:lnTo>
                    <a:pt x="59" y="356"/>
                  </a:lnTo>
                  <a:lnTo>
                    <a:pt x="59" y="358"/>
                  </a:lnTo>
                  <a:lnTo>
                    <a:pt x="60" y="361"/>
                  </a:lnTo>
                  <a:lnTo>
                    <a:pt x="61" y="365"/>
                  </a:lnTo>
                  <a:lnTo>
                    <a:pt x="61" y="368"/>
                  </a:lnTo>
                  <a:lnTo>
                    <a:pt x="63" y="369"/>
                  </a:lnTo>
                  <a:lnTo>
                    <a:pt x="64" y="372"/>
                  </a:lnTo>
                  <a:lnTo>
                    <a:pt x="66" y="373"/>
                  </a:lnTo>
                  <a:lnTo>
                    <a:pt x="67" y="375"/>
                  </a:lnTo>
                  <a:lnTo>
                    <a:pt x="70" y="375"/>
                  </a:lnTo>
                  <a:lnTo>
                    <a:pt x="74" y="375"/>
                  </a:lnTo>
                  <a:lnTo>
                    <a:pt x="78" y="375"/>
                  </a:lnTo>
                  <a:lnTo>
                    <a:pt x="81" y="375"/>
                  </a:lnTo>
                  <a:lnTo>
                    <a:pt x="83" y="375"/>
                  </a:lnTo>
                  <a:lnTo>
                    <a:pt x="86" y="375"/>
                  </a:lnTo>
                  <a:lnTo>
                    <a:pt x="89" y="375"/>
                  </a:lnTo>
                  <a:lnTo>
                    <a:pt x="90" y="373"/>
                  </a:lnTo>
                  <a:lnTo>
                    <a:pt x="93" y="373"/>
                  </a:lnTo>
                  <a:lnTo>
                    <a:pt x="94" y="372"/>
                  </a:lnTo>
                  <a:lnTo>
                    <a:pt x="96" y="371"/>
                  </a:lnTo>
                  <a:lnTo>
                    <a:pt x="99" y="369"/>
                  </a:lnTo>
                  <a:lnTo>
                    <a:pt x="100" y="369"/>
                  </a:lnTo>
                  <a:lnTo>
                    <a:pt x="103" y="368"/>
                  </a:lnTo>
                  <a:lnTo>
                    <a:pt x="104" y="369"/>
                  </a:lnTo>
                  <a:lnTo>
                    <a:pt x="105" y="369"/>
                  </a:lnTo>
                  <a:lnTo>
                    <a:pt x="104" y="371"/>
                  </a:lnTo>
                  <a:lnTo>
                    <a:pt x="103" y="373"/>
                  </a:lnTo>
                  <a:lnTo>
                    <a:pt x="100" y="375"/>
                  </a:lnTo>
                  <a:lnTo>
                    <a:pt x="99" y="376"/>
                  </a:lnTo>
                  <a:lnTo>
                    <a:pt x="96" y="378"/>
                  </a:lnTo>
                  <a:lnTo>
                    <a:pt x="94" y="379"/>
                  </a:lnTo>
                  <a:lnTo>
                    <a:pt x="93" y="380"/>
                  </a:lnTo>
                  <a:lnTo>
                    <a:pt x="93" y="382"/>
                  </a:lnTo>
                  <a:lnTo>
                    <a:pt x="94" y="383"/>
                  </a:lnTo>
                  <a:lnTo>
                    <a:pt x="97" y="384"/>
                  </a:lnTo>
                  <a:lnTo>
                    <a:pt x="101" y="386"/>
                  </a:lnTo>
                  <a:lnTo>
                    <a:pt x="105" y="389"/>
                  </a:lnTo>
                  <a:lnTo>
                    <a:pt x="110" y="390"/>
                  </a:lnTo>
                  <a:lnTo>
                    <a:pt x="114" y="390"/>
                  </a:lnTo>
                  <a:lnTo>
                    <a:pt x="116" y="390"/>
                  </a:lnTo>
                  <a:lnTo>
                    <a:pt x="119" y="389"/>
                  </a:lnTo>
                  <a:lnTo>
                    <a:pt x="121" y="386"/>
                  </a:lnTo>
                  <a:lnTo>
                    <a:pt x="121" y="382"/>
                  </a:lnTo>
                  <a:lnTo>
                    <a:pt x="121" y="378"/>
                  </a:lnTo>
                  <a:lnTo>
                    <a:pt x="122" y="372"/>
                  </a:lnTo>
                  <a:lnTo>
                    <a:pt x="122" y="368"/>
                  </a:lnTo>
                  <a:lnTo>
                    <a:pt x="122" y="365"/>
                  </a:lnTo>
                  <a:lnTo>
                    <a:pt x="123" y="362"/>
                  </a:lnTo>
                  <a:lnTo>
                    <a:pt x="123" y="360"/>
                  </a:lnTo>
                  <a:lnTo>
                    <a:pt x="125" y="357"/>
                  </a:lnTo>
                  <a:lnTo>
                    <a:pt x="126" y="356"/>
                  </a:lnTo>
                  <a:lnTo>
                    <a:pt x="126" y="353"/>
                  </a:lnTo>
                  <a:lnTo>
                    <a:pt x="127" y="351"/>
                  </a:lnTo>
                  <a:lnTo>
                    <a:pt x="127" y="349"/>
                  </a:lnTo>
                  <a:lnTo>
                    <a:pt x="127" y="346"/>
                  </a:lnTo>
                  <a:lnTo>
                    <a:pt x="127" y="345"/>
                  </a:lnTo>
                  <a:lnTo>
                    <a:pt x="127" y="342"/>
                  </a:lnTo>
                  <a:lnTo>
                    <a:pt x="126" y="340"/>
                  </a:lnTo>
                  <a:lnTo>
                    <a:pt x="126" y="339"/>
                  </a:lnTo>
                  <a:lnTo>
                    <a:pt x="126" y="339"/>
                  </a:lnTo>
                  <a:lnTo>
                    <a:pt x="126" y="338"/>
                  </a:lnTo>
                  <a:lnTo>
                    <a:pt x="127" y="335"/>
                  </a:lnTo>
                  <a:lnTo>
                    <a:pt x="130" y="334"/>
                  </a:lnTo>
                  <a:lnTo>
                    <a:pt x="132" y="332"/>
                  </a:lnTo>
                  <a:lnTo>
                    <a:pt x="134" y="329"/>
                  </a:lnTo>
                  <a:lnTo>
                    <a:pt x="136" y="329"/>
                  </a:lnTo>
                  <a:lnTo>
                    <a:pt x="136" y="328"/>
                  </a:lnTo>
                  <a:lnTo>
                    <a:pt x="141" y="309"/>
                  </a:lnTo>
                  <a:lnTo>
                    <a:pt x="144" y="292"/>
                  </a:lnTo>
                  <a:lnTo>
                    <a:pt x="144" y="291"/>
                  </a:lnTo>
                  <a:lnTo>
                    <a:pt x="143" y="291"/>
                  </a:lnTo>
                  <a:lnTo>
                    <a:pt x="143" y="290"/>
                  </a:lnTo>
                  <a:lnTo>
                    <a:pt x="141" y="288"/>
                  </a:lnTo>
                  <a:lnTo>
                    <a:pt x="141" y="287"/>
                  </a:lnTo>
                  <a:lnTo>
                    <a:pt x="141" y="284"/>
                  </a:lnTo>
                  <a:lnTo>
                    <a:pt x="141" y="283"/>
                  </a:lnTo>
                  <a:lnTo>
                    <a:pt x="143" y="281"/>
                  </a:lnTo>
                  <a:lnTo>
                    <a:pt x="144" y="280"/>
                  </a:lnTo>
                  <a:lnTo>
                    <a:pt x="145" y="280"/>
                  </a:lnTo>
                  <a:lnTo>
                    <a:pt x="147" y="280"/>
                  </a:lnTo>
                  <a:lnTo>
                    <a:pt x="149" y="279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2" y="280"/>
                  </a:lnTo>
                  <a:lnTo>
                    <a:pt x="154" y="280"/>
                  </a:lnTo>
                  <a:lnTo>
                    <a:pt x="155" y="280"/>
                  </a:lnTo>
                  <a:lnTo>
                    <a:pt x="158" y="280"/>
                  </a:lnTo>
                  <a:lnTo>
                    <a:pt x="159" y="280"/>
                  </a:lnTo>
                  <a:lnTo>
                    <a:pt x="162" y="280"/>
                  </a:lnTo>
                  <a:lnTo>
                    <a:pt x="163" y="279"/>
                  </a:lnTo>
                  <a:lnTo>
                    <a:pt x="165" y="277"/>
                  </a:lnTo>
                  <a:lnTo>
                    <a:pt x="166" y="274"/>
                  </a:lnTo>
                  <a:lnTo>
                    <a:pt x="167" y="273"/>
                  </a:lnTo>
                  <a:lnTo>
                    <a:pt x="170" y="272"/>
                  </a:lnTo>
                  <a:lnTo>
                    <a:pt x="173" y="270"/>
                  </a:lnTo>
                  <a:lnTo>
                    <a:pt x="176" y="269"/>
                  </a:lnTo>
                  <a:lnTo>
                    <a:pt x="178" y="268"/>
                  </a:lnTo>
                  <a:lnTo>
                    <a:pt x="180" y="268"/>
                  </a:lnTo>
                  <a:lnTo>
                    <a:pt x="181" y="268"/>
                  </a:lnTo>
                  <a:lnTo>
                    <a:pt x="182" y="266"/>
                  </a:lnTo>
                  <a:lnTo>
                    <a:pt x="187" y="261"/>
                  </a:lnTo>
                  <a:lnTo>
                    <a:pt x="193" y="252"/>
                  </a:lnTo>
                  <a:lnTo>
                    <a:pt x="202" y="243"/>
                  </a:lnTo>
                  <a:lnTo>
                    <a:pt x="210" y="235"/>
                  </a:lnTo>
                  <a:lnTo>
                    <a:pt x="217" y="228"/>
                  </a:lnTo>
                  <a:lnTo>
                    <a:pt x="222" y="222"/>
                  </a:lnTo>
                  <a:lnTo>
                    <a:pt x="226" y="222"/>
                  </a:lnTo>
                  <a:lnTo>
                    <a:pt x="228" y="222"/>
                  </a:lnTo>
                  <a:lnTo>
                    <a:pt x="229" y="222"/>
                  </a:lnTo>
                  <a:lnTo>
                    <a:pt x="231" y="219"/>
                  </a:lnTo>
                  <a:lnTo>
                    <a:pt x="232" y="217"/>
                  </a:lnTo>
                  <a:lnTo>
                    <a:pt x="233" y="214"/>
                  </a:lnTo>
                  <a:lnTo>
                    <a:pt x="233" y="211"/>
                  </a:lnTo>
                  <a:lnTo>
                    <a:pt x="235" y="208"/>
                  </a:lnTo>
                  <a:lnTo>
                    <a:pt x="236" y="207"/>
                  </a:lnTo>
                  <a:lnTo>
                    <a:pt x="237" y="206"/>
                  </a:lnTo>
                  <a:lnTo>
                    <a:pt x="239" y="203"/>
                  </a:lnTo>
                  <a:lnTo>
                    <a:pt x="240" y="202"/>
                  </a:lnTo>
                  <a:lnTo>
                    <a:pt x="242" y="200"/>
                  </a:lnTo>
                  <a:lnTo>
                    <a:pt x="243" y="200"/>
                  </a:lnTo>
                  <a:lnTo>
                    <a:pt x="244" y="200"/>
                  </a:lnTo>
                  <a:lnTo>
                    <a:pt x="246" y="200"/>
                  </a:lnTo>
                  <a:lnTo>
                    <a:pt x="247" y="203"/>
                  </a:lnTo>
                  <a:lnTo>
                    <a:pt x="249" y="204"/>
                  </a:lnTo>
                  <a:lnTo>
                    <a:pt x="251" y="206"/>
                  </a:lnTo>
                  <a:lnTo>
                    <a:pt x="253" y="207"/>
                  </a:lnTo>
                  <a:lnTo>
                    <a:pt x="254" y="207"/>
                  </a:lnTo>
                  <a:lnTo>
                    <a:pt x="255" y="207"/>
                  </a:lnTo>
                  <a:lnTo>
                    <a:pt x="257" y="206"/>
                  </a:lnTo>
                  <a:lnTo>
                    <a:pt x="257" y="204"/>
                  </a:lnTo>
                  <a:lnTo>
                    <a:pt x="258" y="203"/>
                  </a:lnTo>
                  <a:lnTo>
                    <a:pt x="260" y="202"/>
                  </a:lnTo>
                  <a:lnTo>
                    <a:pt x="261" y="200"/>
                  </a:lnTo>
                  <a:lnTo>
                    <a:pt x="262" y="199"/>
                  </a:lnTo>
                  <a:lnTo>
                    <a:pt x="264" y="199"/>
                  </a:lnTo>
                  <a:lnTo>
                    <a:pt x="266" y="199"/>
                  </a:lnTo>
                  <a:lnTo>
                    <a:pt x="268" y="199"/>
                  </a:lnTo>
                  <a:lnTo>
                    <a:pt x="269" y="199"/>
                  </a:lnTo>
                  <a:lnTo>
                    <a:pt x="269" y="199"/>
                  </a:lnTo>
                  <a:lnTo>
                    <a:pt x="269" y="199"/>
                  </a:lnTo>
                  <a:lnTo>
                    <a:pt x="271" y="199"/>
                  </a:lnTo>
                  <a:lnTo>
                    <a:pt x="272" y="197"/>
                  </a:lnTo>
                  <a:lnTo>
                    <a:pt x="273" y="196"/>
                  </a:lnTo>
                  <a:lnTo>
                    <a:pt x="276" y="193"/>
                  </a:lnTo>
                  <a:lnTo>
                    <a:pt x="279" y="192"/>
                  </a:lnTo>
                  <a:lnTo>
                    <a:pt x="280" y="189"/>
                  </a:lnTo>
                  <a:lnTo>
                    <a:pt x="282" y="188"/>
                  </a:lnTo>
                  <a:lnTo>
                    <a:pt x="284" y="185"/>
                  </a:lnTo>
                  <a:lnTo>
                    <a:pt x="287" y="184"/>
                  </a:lnTo>
                  <a:lnTo>
                    <a:pt x="290" y="181"/>
                  </a:lnTo>
                  <a:lnTo>
                    <a:pt x="294" y="178"/>
                  </a:lnTo>
                  <a:lnTo>
                    <a:pt x="298" y="177"/>
                  </a:lnTo>
                  <a:lnTo>
                    <a:pt x="301" y="174"/>
                  </a:lnTo>
                  <a:lnTo>
                    <a:pt x="304" y="173"/>
                  </a:lnTo>
                  <a:lnTo>
                    <a:pt x="306" y="171"/>
                  </a:lnTo>
                  <a:lnTo>
                    <a:pt x="308" y="170"/>
                  </a:lnTo>
                  <a:lnTo>
                    <a:pt x="308" y="169"/>
                  </a:lnTo>
                  <a:lnTo>
                    <a:pt x="306" y="166"/>
                  </a:lnTo>
                  <a:lnTo>
                    <a:pt x="306" y="164"/>
                  </a:lnTo>
                  <a:lnTo>
                    <a:pt x="305" y="163"/>
                  </a:lnTo>
                  <a:lnTo>
                    <a:pt x="302" y="160"/>
                  </a:lnTo>
                  <a:lnTo>
                    <a:pt x="299" y="160"/>
                  </a:lnTo>
                  <a:lnTo>
                    <a:pt x="297" y="159"/>
                  </a:lnTo>
                  <a:lnTo>
                    <a:pt x="294" y="159"/>
                  </a:lnTo>
                  <a:lnTo>
                    <a:pt x="290" y="159"/>
                  </a:lnTo>
                  <a:lnTo>
                    <a:pt x="287" y="159"/>
                  </a:lnTo>
                  <a:lnTo>
                    <a:pt x="283" y="159"/>
                  </a:lnTo>
                  <a:lnTo>
                    <a:pt x="280" y="159"/>
                  </a:lnTo>
                  <a:lnTo>
                    <a:pt x="277" y="159"/>
                  </a:lnTo>
                  <a:lnTo>
                    <a:pt x="275" y="159"/>
                  </a:lnTo>
                  <a:lnTo>
                    <a:pt x="275" y="159"/>
                  </a:lnTo>
                  <a:lnTo>
                    <a:pt x="275" y="160"/>
                  </a:lnTo>
                  <a:lnTo>
                    <a:pt x="273" y="162"/>
                  </a:lnTo>
                  <a:lnTo>
                    <a:pt x="272" y="163"/>
                  </a:lnTo>
                  <a:lnTo>
                    <a:pt x="269" y="164"/>
                  </a:lnTo>
                  <a:lnTo>
                    <a:pt x="268" y="167"/>
                  </a:lnTo>
                  <a:lnTo>
                    <a:pt x="265" y="169"/>
                  </a:lnTo>
                  <a:lnTo>
                    <a:pt x="261" y="170"/>
                  </a:lnTo>
                  <a:lnTo>
                    <a:pt x="258" y="171"/>
                  </a:lnTo>
                  <a:lnTo>
                    <a:pt x="254" y="171"/>
                  </a:lnTo>
                  <a:lnTo>
                    <a:pt x="251" y="171"/>
                  </a:lnTo>
                  <a:lnTo>
                    <a:pt x="249" y="171"/>
                  </a:lnTo>
                  <a:lnTo>
                    <a:pt x="246" y="170"/>
                  </a:lnTo>
                  <a:lnTo>
                    <a:pt x="243" y="170"/>
                  </a:lnTo>
                  <a:lnTo>
                    <a:pt x="242" y="169"/>
                  </a:lnTo>
                  <a:lnTo>
                    <a:pt x="240" y="169"/>
                  </a:lnTo>
                  <a:lnTo>
                    <a:pt x="240" y="169"/>
                  </a:lnTo>
                  <a:lnTo>
                    <a:pt x="240" y="169"/>
                  </a:lnTo>
                  <a:lnTo>
                    <a:pt x="240" y="167"/>
                  </a:lnTo>
                  <a:lnTo>
                    <a:pt x="240" y="166"/>
                  </a:lnTo>
                  <a:lnTo>
                    <a:pt x="240" y="164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2" y="160"/>
                  </a:lnTo>
                  <a:lnTo>
                    <a:pt x="243" y="160"/>
                  </a:lnTo>
                  <a:lnTo>
                    <a:pt x="246" y="162"/>
                  </a:lnTo>
                  <a:lnTo>
                    <a:pt x="249" y="163"/>
                  </a:lnTo>
                  <a:lnTo>
                    <a:pt x="251" y="163"/>
                  </a:lnTo>
                  <a:lnTo>
                    <a:pt x="253" y="164"/>
                  </a:lnTo>
                  <a:lnTo>
                    <a:pt x="254" y="164"/>
                  </a:lnTo>
                  <a:lnTo>
                    <a:pt x="255" y="164"/>
                  </a:lnTo>
                  <a:lnTo>
                    <a:pt x="257" y="164"/>
                  </a:lnTo>
                  <a:lnTo>
                    <a:pt x="257" y="164"/>
                  </a:lnTo>
                  <a:lnTo>
                    <a:pt x="268" y="156"/>
                  </a:lnTo>
                  <a:lnTo>
                    <a:pt x="276" y="143"/>
                  </a:lnTo>
                  <a:lnTo>
                    <a:pt x="266" y="140"/>
                  </a:lnTo>
                  <a:lnTo>
                    <a:pt x="268" y="140"/>
                  </a:lnTo>
                  <a:lnTo>
                    <a:pt x="269" y="138"/>
                  </a:lnTo>
                  <a:lnTo>
                    <a:pt x="271" y="137"/>
                  </a:lnTo>
                  <a:lnTo>
                    <a:pt x="272" y="137"/>
                  </a:lnTo>
                  <a:lnTo>
                    <a:pt x="273" y="134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1" y="127"/>
                  </a:lnTo>
                  <a:lnTo>
                    <a:pt x="268" y="126"/>
                  </a:lnTo>
                  <a:lnTo>
                    <a:pt x="266" y="125"/>
                  </a:lnTo>
                  <a:lnTo>
                    <a:pt x="265" y="122"/>
                  </a:lnTo>
                  <a:lnTo>
                    <a:pt x="265" y="121"/>
                  </a:lnTo>
                  <a:lnTo>
                    <a:pt x="266" y="119"/>
                  </a:lnTo>
                  <a:lnTo>
                    <a:pt x="269" y="118"/>
                  </a:lnTo>
                  <a:lnTo>
                    <a:pt x="272" y="118"/>
                  </a:lnTo>
                  <a:lnTo>
                    <a:pt x="275" y="116"/>
                  </a:lnTo>
                  <a:lnTo>
                    <a:pt x="277" y="118"/>
                  </a:lnTo>
                  <a:lnTo>
                    <a:pt x="279" y="118"/>
                  </a:lnTo>
                  <a:lnTo>
                    <a:pt x="280" y="119"/>
                  </a:lnTo>
                  <a:lnTo>
                    <a:pt x="282" y="121"/>
                  </a:lnTo>
                  <a:lnTo>
                    <a:pt x="282" y="123"/>
                  </a:lnTo>
                  <a:lnTo>
                    <a:pt x="283" y="126"/>
                  </a:lnTo>
                  <a:lnTo>
                    <a:pt x="284" y="132"/>
                  </a:lnTo>
                  <a:lnTo>
                    <a:pt x="287" y="136"/>
                  </a:lnTo>
                  <a:lnTo>
                    <a:pt x="288" y="140"/>
                  </a:lnTo>
                  <a:lnTo>
                    <a:pt x="290" y="143"/>
                  </a:lnTo>
                  <a:lnTo>
                    <a:pt x="291" y="145"/>
                  </a:lnTo>
                  <a:lnTo>
                    <a:pt x="293" y="148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313" y="152"/>
                  </a:lnTo>
                  <a:lnTo>
                    <a:pt x="312" y="123"/>
                  </a:lnTo>
                  <a:lnTo>
                    <a:pt x="312" y="123"/>
                  </a:lnTo>
                  <a:lnTo>
                    <a:pt x="312" y="122"/>
                  </a:lnTo>
                  <a:lnTo>
                    <a:pt x="310" y="121"/>
                  </a:lnTo>
                  <a:lnTo>
                    <a:pt x="309" y="119"/>
                  </a:lnTo>
                  <a:lnTo>
                    <a:pt x="308" y="116"/>
                  </a:lnTo>
                  <a:lnTo>
                    <a:pt x="306" y="114"/>
                  </a:lnTo>
                  <a:lnTo>
                    <a:pt x="305" y="112"/>
                  </a:lnTo>
                  <a:lnTo>
                    <a:pt x="302" y="111"/>
                  </a:lnTo>
                  <a:lnTo>
                    <a:pt x="301" y="108"/>
                  </a:lnTo>
                  <a:lnTo>
                    <a:pt x="298" y="107"/>
                  </a:lnTo>
                  <a:lnTo>
                    <a:pt x="298" y="104"/>
                  </a:lnTo>
                  <a:lnTo>
                    <a:pt x="297" y="103"/>
                  </a:lnTo>
                  <a:lnTo>
                    <a:pt x="297" y="100"/>
                  </a:lnTo>
                  <a:lnTo>
                    <a:pt x="295" y="99"/>
                  </a:lnTo>
                  <a:lnTo>
                    <a:pt x="295" y="97"/>
                  </a:lnTo>
                  <a:lnTo>
                    <a:pt x="295" y="97"/>
                  </a:lnTo>
                  <a:lnTo>
                    <a:pt x="304" y="97"/>
                  </a:lnTo>
                  <a:lnTo>
                    <a:pt x="302" y="78"/>
                  </a:lnTo>
                  <a:lnTo>
                    <a:pt x="302" y="77"/>
                  </a:lnTo>
                  <a:lnTo>
                    <a:pt x="301" y="75"/>
                  </a:lnTo>
                  <a:lnTo>
                    <a:pt x="299" y="74"/>
                  </a:lnTo>
                  <a:lnTo>
                    <a:pt x="298" y="71"/>
                  </a:lnTo>
                  <a:lnTo>
                    <a:pt x="298" y="68"/>
                  </a:lnTo>
                  <a:lnTo>
                    <a:pt x="298" y="67"/>
                  </a:lnTo>
                  <a:lnTo>
                    <a:pt x="298" y="64"/>
                  </a:lnTo>
                  <a:lnTo>
                    <a:pt x="301" y="64"/>
                  </a:lnTo>
                  <a:lnTo>
                    <a:pt x="305" y="63"/>
                  </a:lnTo>
                  <a:lnTo>
                    <a:pt x="308" y="61"/>
                  </a:lnTo>
                  <a:lnTo>
                    <a:pt x="309" y="61"/>
                  </a:lnTo>
                  <a:lnTo>
                    <a:pt x="312" y="61"/>
                  </a:lnTo>
                  <a:lnTo>
                    <a:pt x="313" y="61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5" y="61"/>
                  </a:lnTo>
                  <a:lnTo>
                    <a:pt x="316" y="60"/>
                  </a:lnTo>
                  <a:lnTo>
                    <a:pt x="316" y="60"/>
                  </a:lnTo>
                  <a:lnTo>
                    <a:pt x="317" y="59"/>
                  </a:lnTo>
                  <a:lnTo>
                    <a:pt x="320" y="56"/>
                  </a:lnTo>
                  <a:lnTo>
                    <a:pt x="321" y="55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21" y="48"/>
                  </a:lnTo>
                  <a:lnTo>
                    <a:pt x="331" y="41"/>
                  </a:lnTo>
                  <a:lnTo>
                    <a:pt x="343" y="24"/>
                  </a:lnTo>
                  <a:lnTo>
                    <a:pt x="349" y="12"/>
                  </a:lnTo>
                  <a:lnTo>
                    <a:pt x="349" y="12"/>
                  </a:lnTo>
                  <a:lnTo>
                    <a:pt x="349" y="11"/>
                  </a:lnTo>
                  <a:lnTo>
                    <a:pt x="349" y="9"/>
                  </a:lnTo>
                  <a:lnTo>
                    <a:pt x="349" y="8"/>
                  </a:lnTo>
                  <a:lnTo>
                    <a:pt x="348" y="6"/>
                  </a:lnTo>
                  <a:lnTo>
                    <a:pt x="348" y="4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29" name="Freeform 205"/>
            <p:cNvSpPr>
              <a:spLocks/>
            </p:cNvSpPr>
            <p:nvPr/>
          </p:nvSpPr>
          <p:spPr bwMode="auto">
            <a:xfrm>
              <a:off x="2071" y="755"/>
              <a:ext cx="406" cy="159"/>
            </a:xfrm>
            <a:custGeom>
              <a:avLst/>
              <a:gdLst>
                <a:gd name="T0" fmla="*/ 78 w 501"/>
                <a:gd name="T1" fmla="*/ 0 h 196"/>
                <a:gd name="T2" fmla="*/ 78 w 501"/>
                <a:gd name="T3" fmla="*/ 2 h 196"/>
                <a:gd name="T4" fmla="*/ 78 w 501"/>
                <a:gd name="T5" fmla="*/ 13 h 196"/>
                <a:gd name="T6" fmla="*/ 81 w 501"/>
                <a:gd name="T7" fmla="*/ 25 h 196"/>
                <a:gd name="T8" fmla="*/ 76 w 501"/>
                <a:gd name="T9" fmla="*/ 33 h 196"/>
                <a:gd name="T10" fmla="*/ 66 w 501"/>
                <a:gd name="T11" fmla="*/ 36 h 196"/>
                <a:gd name="T12" fmla="*/ 63 w 501"/>
                <a:gd name="T13" fmla="*/ 44 h 196"/>
                <a:gd name="T14" fmla="*/ 58 w 501"/>
                <a:gd name="T15" fmla="*/ 44 h 196"/>
                <a:gd name="T16" fmla="*/ 51 w 501"/>
                <a:gd name="T17" fmla="*/ 44 h 196"/>
                <a:gd name="T18" fmla="*/ 41 w 501"/>
                <a:gd name="T19" fmla="*/ 54 h 196"/>
                <a:gd name="T20" fmla="*/ 26 w 501"/>
                <a:gd name="T21" fmla="*/ 58 h 196"/>
                <a:gd name="T22" fmla="*/ 19 w 501"/>
                <a:gd name="T23" fmla="*/ 59 h 196"/>
                <a:gd name="T24" fmla="*/ 10 w 501"/>
                <a:gd name="T25" fmla="*/ 65 h 196"/>
                <a:gd name="T26" fmla="*/ 3 w 501"/>
                <a:gd name="T27" fmla="*/ 70 h 196"/>
                <a:gd name="T28" fmla="*/ 1 w 501"/>
                <a:gd name="T29" fmla="*/ 83 h 196"/>
                <a:gd name="T30" fmla="*/ 8 w 501"/>
                <a:gd name="T31" fmla="*/ 88 h 196"/>
                <a:gd name="T32" fmla="*/ 23 w 501"/>
                <a:gd name="T33" fmla="*/ 98 h 196"/>
                <a:gd name="T34" fmla="*/ 28 w 501"/>
                <a:gd name="T35" fmla="*/ 105 h 196"/>
                <a:gd name="T36" fmla="*/ 34 w 501"/>
                <a:gd name="T37" fmla="*/ 109 h 196"/>
                <a:gd name="T38" fmla="*/ 47 w 501"/>
                <a:gd name="T39" fmla="*/ 106 h 196"/>
                <a:gd name="T40" fmla="*/ 52 w 501"/>
                <a:gd name="T41" fmla="*/ 102 h 196"/>
                <a:gd name="T42" fmla="*/ 61 w 501"/>
                <a:gd name="T43" fmla="*/ 109 h 196"/>
                <a:gd name="T44" fmla="*/ 55 w 501"/>
                <a:gd name="T45" fmla="*/ 116 h 196"/>
                <a:gd name="T46" fmla="*/ 50 w 501"/>
                <a:gd name="T47" fmla="*/ 121 h 196"/>
                <a:gd name="T48" fmla="*/ 52 w 501"/>
                <a:gd name="T49" fmla="*/ 130 h 196"/>
                <a:gd name="T50" fmla="*/ 44 w 501"/>
                <a:gd name="T51" fmla="*/ 127 h 196"/>
                <a:gd name="T52" fmla="*/ 37 w 501"/>
                <a:gd name="T53" fmla="*/ 123 h 196"/>
                <a:gd name="T54" fmla="*/ 34 w 501"/>
                <a:gd name="T55" fmla="*/ 131 h 196"/>
                <a:gd name="T56" fmla="*/ 30 w 501"/>
                <a:gd name="T57" fmla="*/ 132 h 196"/>
                <a:gd name="T58" fmla="*/ 21 w 501"/>
                <a:gd name="T59" fmla="*/ 127 h 196"/>
                <a:gd name="T60" fmla="*/ 12 w 501"/>
                <a:gd name="T61" fmla="*/ 132 h 196"/>
                <a:gd name="T62" fmla="*/ 10 w 501"/>
                <a:gd name="T63" fmla="*/ 139 h 196"/>
                <a:gd name="T64" fmla="*/ 21 w 501"/>
                <a:gd name="T65" fmla="*/ 152 h 196"/>
                <a:gd name="T66" fmla="*/ 29 w 501"/>
                <a:gd name="T67" fmla="*/ 156 h 196"/>
                <a:gd name="T68" fmla="*/ 39 w 501"/>
                <a:gd name="T69" fmla="*/ 167 h 196"/>
                <a:gd name="T70" fmla="*/ 51 w 501"/>
                <a:gd name="T71" fmla="*/ 176 h 196"/>
                <a:gd name="T72" fmla="*/ 59 w 501"/>
                <a:gd name="T73" fmla="*/ 182 h 196"/>
                <a:gd name="T74" fmla="*/ 83 w 501"/>
                <a:gd name="T75" fmla="*/ 171 h 196"/>
                <a:gd name="T76" fmla="*/ 98 w 501"/>
                <a:gd name="T77" fmla="*/ 165 h 196"/>
                <a:gd name="T78" fmla="*/ 121 w 501"/>
                <a:gd name="T79" fmla="*/ 163 h 196"/>
                <a:gd name="T80" fmla="*/ 129 w 501"/>
                <a:gd name="T81" fmla="*/ 163 h 196"/>
                <a:gd name="T82" fmla="*/ 138 w 501"/>
                <a:gd name="T83" fmla="*/ 174 h 196"/>
                <a:gd name="T84" fmla="*/ 146 w 501"/>
                <a:gd name="T85" fmla="*/ 179 h 196"/>
                <a:gd name="T86" fmla="*/ 501 w 501"/>
                <a:gd name="T87" fmla="*/ 196 h 196"/>
                <a:gd name="T88" fmla="*/ 495 w 501"/>
                <a:gd name="T89" fmla="*/ 190 h 196"/>
                <a:gd name="T90" fmla="*/ 491 w 501"/>
                <a:gd name="T91" fmla="*/ 186 h 196"/>
                <a:gd name="T92" fmla="*/ 484 w 501"/>
                <a:gd name="T93" fmla="*/ 172 h 196"/>
                <a:gd name="T94" fmla="*/ 464 w 501"/>
                <a:gd name="T95" fmla="*/ 171 h 196"/>
                <a:gd name="T96" fmla="*/ 454 w 501"/>
                <a:gd name="T97" fmla="*/ 172 h 196"/>
                <a:gd name="T98" fmla="*/ 454 w 501"/>
                <a:gd name="T99" fmla="*/ 167 h 196"/>
                <a:gd name="T100" fmla="*/ 454 w 501"/>
                <a:gd name="T101" fmla="*/ 147 h 196"/>
                <a:gd name="T102" fmla="*/ 451 w 501"/>
                <a:gd name="T103" fmla="*/ 124 h 196"/>
                <a:gd name="T104" fmla="*/ 440 w 501"/>
                <a:gd name="T105" fmla="*/ 116 h 196"/>
                <a:gd name="T106" fmla="*/ 444 w 501"/>
                <a:gd name="T107" fmla="*/ 105 h 196"/>
                <a:gd name="T108" fmla="*/ 451 w 501"/>
                <a:gd name="T109" fmla="*/ 69 h 196"/>
                <a:gd name="T110" fmla="*/ 451 w 501"/>
                <a:gd name="T111" fmla="*/ 20 h 196"/>
                <a:gd name="T112" fmla="*/ 465 w 501"/>
                <a:gd name="T113" fmla="*/ 9 h 196"/>
                <a:gd name="T114" fmla="*/ 476 w 501"/>
                <a:gd name="T115" fmla="*/ 11 h 196"/>
                <a:gd name="T116" fmla="*/ 484 w 501"/>
                <a:gd name="T117" fmla="*/ 0 h 196"/>
                <a:gd name="T118" fmla="*/ 484 w 501"/>
                <a:gd name="T119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01" h="196">
                  <a:moveTo>
                    <a:pt x="80" y="0"/>
                  </a:moveTo>
                  <a:lnTo>
                    <a:pt x="80" y="0"/>
                  </a:lnTo>
                  <a:lnTo>
                    <a:pt x="80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78" y="10"/>
                  </a:lnTo>
                  <a:lnTo>
                    <a:pt x="78" y="13"/>
                  </a:lnTo>
                  <a:lnTo>
                    <a:pt x="78" y="15"/>
                  </a:lnTo>
                  <a:lnTo>
                    <a:pt x="80" y="17"/>
                  </a:lnTo>
                  <a:lnTo>
                    <a:pt x="80" y="20"/>
                  </a:lnTo>
                  <a:lnTo>
                    <a:pt x="81" y="22"/>
                  </a:lnTo>
                  <a:lnTo>
                    <a:pt x="81" y="25"/>
                  </a:lnTo>
                  <a:lnTo>
                    <a:pt x="81" y="28"/>
                  </a:lnTo>
                  <a:lnTo>
                    <a:pt x="80" y="29"/>
                  </a:lnTo>
                  <a:lnTo>
                    <a:pt x="78" y="32"/>
                  </a:lnTo>
                  <a:lnTo>
                    <a:pt x="78" y="33"/>
                  </a:lnTo>
                  <a:lnTo>
                    <a:pt x="76" y="33"/>
                  </a:lnTo>
                  <a:lnTo>
                    <a:pt x="74" y="33"/>
                  </a:lnTo>
                  <a:lnTo>
                    <a:pt x="72" y="35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6" y="36"/>
                  </a:lnTo>
                  <a:lnTo>
                    <a:pt x="66" y="37"/>
                  </a:lnTo>
                  <a:lnTo>
                    <a:pt x="65" y="39"/>
                  </a:lnTo>
                  <a:lnTo>
                    <a:pt x="65" y="42"/>
                  </a:lnTo>
                  <a:lnTo>
                    <a:pt x="65" y="43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59" y="44"/>
                  </a:lnTo>
                  <a:lnTo>
                    <a:pt x="58" y="44"/>
                  </a:lnTo>
                  <a:lnTo>
                    <a:pt x="55" y="44"/>
                  </a:lnTo>
                  <a:lnTo>
                    <a:pt x="54" y="43"/>
                  </a:lnTo>
                  <a:lnTo>
                    <a:pt x="52" y="43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0" y="46"/>
                  </a:lnTo>
                  <a:lnTo>
                    <a:pt x="48" y="47"/>
                  </a:lnTo>
                  <a:lnTo>
                    <a:pt x="47" y="48"/>
                  </a:lnTo>
                  <a:lnTo>
                    <a:pt x="44" y="51"/>
                  </a:lnTo>
                  <a:lnTo>
                    <a:pt x="41" y="54"/>
                  </a:lnTo>
                  <a:lnTo>
                    <a:pt x="39" y="55"/>
                  </a:lnTo>
                  <a:lnTo>
                    <a:pt x="34" y="57"/>
                  </a:lnTo>
                  <a:lnTo>
                    <a:pt x="32" y="57"/>
                  </a:lnTo>
                  <a:lnTo>
                    <a:pt x="29" y="57"/>
                  </a:lnTo>
                  <a:lnTo>
                    <a:pt x="26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2" y="58"/>
                  </a:lnTo>
                  <a:lnTo>
                    <a:pt x="19" y="59"/>
                  </a:lnTo>
                  <a:lnTo>
                    <a:pt x="17" y="59"/>
                  </a:lnTo>
                  <a:lnTo>
                    <a:pt x="14" y="61"/>
                  </a:lnTo>
                  <a:lnTo>
                    <a:pt x="12" y="62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10" y="66"/>
                  </a:lnTo>
                  <a:lnTo>
                    <a:pt x="8" y="68"/>
                  </a:lnTo>
                  <a:lnTo>
                    <a:pt x="7" y="68"/>
                  </a:lnTo>
                  <a:lnTo>
                    <a:pt x="6" y="69"/>
                  </a:lnTo>
                  <a:lnTo>
                    <a:pt x="3" y="70"/>
                  </a:lnTo>
                  <a:lnTo>
                    <a:pt x="1" y="72"/>
                  </a:lnTo>
                  <a:lnTo>
                    <a:pt x="0" y="75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3" y="86"/>
                  </a:lnTo>
                  <a:lnTo>
                    <a:pt x="4" y="87"/>
                  </a:lnTo>
                  <a:lnTo>
                    <a:pt x="6" y="88"/>
                  </a:lnTo>
                  <a:lnTo>
                    <a:pt x="8" y="88"/>
                  </a:lnTo>
                  <a:lnTo>
                    <a:pt x="10" y="90"/>
                  </a:lnTo>
                  <a:lnTo>
                    <a:pt x="21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5" y="99"/>
                  </a:lnTo>
                  <a:lnTo>
                    <a:pt x="26" y="101"/>
                  </a:lnTo>
                  <a:lnTo>
                    <a:pt x="26" y="102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9" y="105"/>
                  </a:lnTo>
                  <a:lnTo>
                    <a:pt x="30" y="106"/>
                  </a:lnTo>
                  <a:lnTo>
                    <a:pt x="32" y="108"/>
                  </a:lnTo>
                  <a:lnTo>
                    <a:pt x="34" y="109"/>
                  </a:lnTo>
                  <a:lnTo>
                    <a:pt x="39" y="109"/>
                  </a:lnTo>
                  <a:lnTo>
                    <a:pt x="41" y="109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8" y="103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2" y="102"/>
                  </a:lnTo>
                  <a:lnTo>
                    <a:pt x="54" y="103"/>
                  </a:lnTo>
                  <a:lnTo>
                    <a:pt x="56" y="105"/>
                  </a:lnTo>
                  <a:lnTo>
                    <a:pt x="58" y="106"/>
                  </a:lnTo>
                  <a:lnTo>
                    <a:pt x="59" y="108"/>
                  </a:lnTo>
                  <a:lnTo>
                    <a:pt x="61" y="109"/>
                  </a:lnTo>
                  <a:lnTo>
                    <a:pt x="61" y="110"/>
                  </a:lnTo>
                  <a:lnTo>
                    <a:pt x="61" y="112"/>
                  </a:lnTo>
                  <a:lnTo>
                    <a:pt x="59" y="113"/>
                  </a:lnTo>
                  <a:lnTo>
                    <a:pt x="56" y="114"/>
                  </a:lnTo>
                  <a:lnTo>
                    <a:pt x="55" y="116"/>
                  </a:lnTo>
                  <a:lnTo>
                    <a:pt x="52" y="117"/>
                  </a:lnTo>
                  <a:lnTo>
                    <a:pt x="51" y="119"/>
                  </a:lnTo>
                  <a:lnTo>
                    <a:pt x="50" y="119"/>
                  </a:lnTo>
                  <a:lnTo>
                    <a:pt x="50" y="120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1" y="124"/>
                  </a:lnTo>
                  <a:lnTo>
                    <a:pt x="51" y="127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1" y="130"/>
                  </a:lnTo>
                  <a:lnTo>
                    <a:pt x="51" y="131"/>
                  </a:lnTo>
                  <a:lnTo>
                    <a:pt x="50" y="130"/>
                  </a:lnTo>
                  <a:lnTo>
                    <a:pt x="47" y="130"/>
                  </a:lnTo>
                  <a:lnTo>
                    <a:pt x="44" y="127"/>
                  </a:lnTo>
                  <a:lnTo>
                    <a:pt x="41" y="125"/>
                  </a:lnTo>
                  <a:lnTo>
                    <a:pt x="40" y="124"/>
                  </a:lnTo>
                  <a:lnTo>
                    <a:pt x="39" y="124"/>
                  </a:lnTo>
                  <a:lnTo>
                    <a:pt x="37" y="123"/>
                  </a:lnTo>
                  <a:lnTo>
                    <a:pt x="37" y="123"/>
                  </a:lnTo>
                  <a:lnTo>
                    <a:pt x="36" y="124"/>
                  </a:lnTo>
                  <a:lnTo>
                    <a:pt x="36" y="125"/>
                  </a:lnTo>
                  <a:lnTo>
                    <a:pt x="36" y="127"/>
                  </a:lnTo>
                  <a:lnTo>
                    <a:pt x="36" y="130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2" y="134"/>
                  </a:lnTo>
                  <a:lnTo>
                    <a:pt x="30" y="132"/>
                  </a:lnTo>
                  <a:lnTo>
                    <a:pt x="28" y="131"/>
                  </a:lnTo>
                  <a:lnTo>
                    <a:pt x="25" y="130"/>
                  </a:lnTo>
                  <a:lnTo>
                    <a:pt x="23" y="128"/>
                  </a:lnTo>
                  <a:lnTo>
                    <a:pt x="22" y="128"/>
                  </a:lnTo>
                  <a:lnTo>
                    <a:pt x="21" y="127"/>
                  </a:lnTo>
                  <a:lnTo>
                    <a:pt x="19" y="128"/>
                  </a:lnTo>
                  <a:lnTo>
                    <a:pt x="18" y="128"/>
                  </a:lnTo>
                  <a:lnTo>
                    <a:pt x="17" y="130"/>
                  </a:lnTo>
                  <a:lnTo>
                    <a:pt x="14" y="131"/>
                  </a:lnTo>
                  <a:lnTo>
                    <a:pt x="12" y="132"/>
                  </a:lnTo>
                  <a:lnTo>
                    <a:pt x="10" y="134"/>
                  </a:lnTo>
                  <a:lnTo>
                    <a:pt x="10" y="135"/>
                  </a:lnTo>
                  <a:lnTo>
                    <a:pt x="10" y="136"/>
                  </a:lnTo>
                  <a:lnTo>
                    <a:pt x="10" y="138"/>
                  </a:lnTo>
                  <a:lnTo>
                    <a:pt x="10" y="139"/>
                  </a:lnTo>
                  <a:lnTo>
                    <a:pt x="11" y="142"/>
                  </a:lnTo>
                  <a:lnTo>
                    <a:pt x="12" y="143"/>
                  </a:lnTo>
                  <a:lnTo>
                    <a:pt x="15" y="146"/>
                  </a:lnTo>
                  <a:lnTo>
                    <a:pt x="18" y="149"/>
                  </a:lnTo>
                  <a:lnTo>
                    <a:pt x="21" y="152"/>
                  </a:lnTo>
                  <a:lnTo>
                    <a:pt x="22" y="153"/>
                  </a:lnTo>
                  <a:lnTo>
                    <a:pt x="25" y="154"/>
                  </a:lnTo>
                  <a:lnTo>
                    <a:pt x="28" y="154"/>
                  </a:lnTo>
                  <a:lnTo>
                    <a:pt x="29" y="156"/>
                  </a:lnTo>
                  <a:lnTo>
                    <a:pt x="29" y="156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3" y="165"/>
                  </a:lnTo>
                  <a:lnTo>
                    <a:pt x="36" y="165"/>
                  </a:lnTo>
                  <a:lnTo>
                    <a:pt x="39" y="167"/>
                  </a:lnTo>
                  <a:lnTo>
                    <a:pt x="43" y="168"/>
                  </a:lnTo>
                  <a:lnTo>
                    <a:pt x="45" y="169"/>
                  </a:lnTo>
                  <a:lnTo>
                    <a:pt x="48" y="172"/>
                  </a:lnTo>
                  <a:lnTo>
                    <a:pt x="50" y="174"/>
                  </a:lnTo>
                  <a:lnTo>
                    <a:pt x="51" y="176"/>
                  </a:lnTo>
                  <a:lnTo>
                    <a:pt x="51" y="179"/>
                  </a:lnTo>
                  <a:lnTo>
                    <a:pt x="52" y="180"/>
                  </a:lnTo>
                  <a:lnTo>
                    <a:pt x="54" y="182"/>
                  </a:lnTo>
                  <a:lnTo>
                    <a:pt x="56" y="182"/>
                  </a:lnTo>
                  <a:lnTo>
                    <a:pt x="59" y="182"/>
                  </a:lnTo>
                  <a:lnTo>
                    <a:pt x="63" y="180"/>
                  </a:lnTo>
                  <a:lnTo>
                    <a:pt x="69" y="178"/>
                  </a:lnTo>
                  <a:lnTo>
                    <a:pt x="74" y="175"/>
                  </a:lnTo>
                  <a:lnTo>
                    <a:pt x="78" y="174"/>
                  </a:lnTo>
                  <a:lnTo>
                    <a:pt x="83" y="171"/>
                  </a:lnTo>
                  <a:lnTo>
                    <a:pt x="85" y="169"/>
                  </a:lnTo>
                  <a:lnTo>
                    <a:pt x="88" y="167"/>
                  </a:lnTo>
                  <a:lnTo>
                    <a:pt x="91" y="167"/>
                  </a:lnTo>
                  <a:lnTo>
                    <a:pt x="94" y="165"/>
                  </a:lnTo>
                  <a:lnTo>
                    <a:pt x="98" y="165"/>
                  </a:lnTo>
                  <a:lnTo>
                    <a:pt x="102" y="165"/>
                  </a:lnTo>
                  <a:lnTo>
                    <a:pt x="106" y="164"/>
                  </a:lnTo>
                  <a:lnTo>
                    <a:pt x="111" y="164"/>
                  </a:lnTo>
                  <a:lnTo>
                    <a:pt x="117" y="164"/>
                  </a:lnTo>
                  <a:lnTo>
                    <a:pt x="121" y="163"/>
                  </a:lnTo>
                  <a:lnTo>
                    <a:pt x="125" y="163"/>
                  </a:lnTo>
                  <a:lnTo>
                    <a:pt x="128" y="161"/>
                  </a:lnTo>
                  <a:lnTo>
                    <a:pt x="128" y="161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1" y="164"/>
                  </a:lnTo>
                  <a:lnTo>
                    <a:pt x="134" y="165"/>
                  </a:lnTo>
                  <a:lnTo>
                    <a:pt x="135" y="168"/>
                  </a:lnTo>
                  <a:lnTo>
                    <a:pt x="136" y="171"/>
                  </a:lnTo>
                  <a:lnTo>
                    <a:pt x="138" y="174"/>
                  </a:lnTo>
                  <a:lnTo>
                    <a:pt x="139" y="176"/>
                  </a:lnTo>
                  <a:lnTo>
                    <a:pt x="140" y="176"/>
                  </a:lnTo>
                  <a:lnTo>
                    <a:pt x="142" y="178"/>
                  </a:lnTo>
                  <a:lnTo>
                    <a:pt x="143" y="178"/>
                  </a:lnTo>
                  <a:lnTo>
                    <a:pt x="146" y="179"/>
                  </a:lnTo>
                  <a:lnTo>
                    <a:pt x="149" y="182"/>
                  </a:lnTo>
                  <a:lnTo>
                    <a:pt x="150" y="185"/>
                  </a:lnTo>
                  <a:lnTo>
                    <a:pt x="153" y="189"/>
                  </a:lnTo>
                  <a:lnTo>
                    <a:pt x="156" y="196"/>
                  </a:lnTo>
                  <a:lnTo>
                    <a:pt x="501" y="196"/>
                  </a:lnTo>
                  <a:lnTo>
                    <a:pt x="501" y="194"/>
                  </a:lnTo>
                  <a:lnTo>
                    <a:pt x="499" y="193"/>
                  </a:lnTo>
                  <a:lnTo>
                    <a:pt x="498" y="191"/>
                  </a:lnTo>
                  <a:lnTo>
                    <a:pt x="497" y="190"/>
                  </a:lnTo>
                  <a:lnTo>
                    <a:pt x="495" y="190"/>
                  </a:lnTo>
                  <a:lnTo>
                    <a:pt x="494" y="189"/>
                  </a:lnTo>
                  <a:lnTo>
                    <a:pt x="493" y="189"/>
                  </a:lnTo>
                  <a:lnTo>
                    <a:pt x="491" y="189"/>
                  </a:lnTo>
                  <a:lnTo>
                    <a:pt x="491" y="187"/>
                  </a:lnTo>
                  <a:lnTo>
                    <a:pt x="491" y="186"/>
                  </a:lnTo>
                  <a:lnTo>
                    <a:pt x="491" y="183"/>
                  </a:lnTo>
                  <a:lnTo>
                    <a:pt x="490" y="180"/>
                  </a:lnTo>
                  <a:lnTo>
                    <a:pt x="488" y="176"/>
                  </a:lnTo>
                  <a:lnTo>
                    <a:pt x="487" y="174"/>
                  </a:lnTo>
                  <a:lnTo>
                    <a:pt x="484" y="172"/>
                  </a:lnTo>
                  <a:lnTo>
                    <a:pt x="482" y="171"/>
                  </a:lnTo>
                  <a:lnTo>
                    <a:pt x="477" y="171"/>
                  </a:lnTo>
                  <a:lnTo>
                    <a:pt x="473" y="171"/>
                  </a:lnTo>
                  <a:lnTo>
                    <a:pt x="468" y="171"/>
                  </a:lnTo>
                  <a:lnTo>
                    <a:pt x="464" y="171"/>
                  </a:lnTo>
                  <a:lnTo>
                    <a:pt x="460" y="171"/>
                  </a:lnTo>
                  <a:lnTo>
                    <a:pt x="457" y="172"/>
                  </a:lnTo>
                  <a:lnTo>
                    <a:pt x="455" y="172"/>
                  </a:lnTo>
                  <a:lnTo>
                    <a:pt x="454" y="172"/>
                  </a:lnTo>
                  <a:lnTo>
                    <a:pt x="454" y="172"/>
                  </a:lnTo>
                  <a:lnTo>
                    <a:pt x="454" y="172"/>
                  </a:lnTo>
                  <a:lnTo>
                    <a:pt x="454" y="171"/>
                  </a:lnTo>
                  <a:lnTo>
                    <a:pt x="454" y="171"/>
                  </a:lnTo>
                  <a:lnTo>
                    <a:pt x="454" y="169"/>
                  </a:lnTo>
                  <a:lnTo>
                    <a:pt x="454" y="167"/>
                  </a:lnTo>
                  <a:lnTo>
                    <a:pt x="454" y="164"/>
                  </a:lnTo>
                  <a:lnTo>
                    <a:pt x="454" y="160"/>
                  </a:lnTo>
                  <a:lnTo>
                    <a:pt x="454" y="157"/>
                  </a:lnTo>
                  <a:lnTo>
                    <a:pt x="454" y="153"/>
                  </a:lnTo>
                  <a:lnTo>
                    <a:pt x="454" y="147"/>
                  </a:lnTo>
                  <a:lnTo>
                    <a:pt x="453" y="141"/>
                  </a:lnTo>
                  <a:lnTo>
                    <a:pt x="453" y="135"/>
                  </a:lnTo>
                  <a:lnTo>
                    <a:pt x="453" y="130"/>
                  </a:lnTo>
                  <a:lnTo>
                    <a:pt x="451" y="125"/>
                  </a:lnTo>
                  <a:lnTo>
                    <a:pt x="451" y="124"/>
                  </a:lnTo>
                  <a:lnTo>
                    <a:pt x="451" y="124"/>
                  </a:lnTo>
                  <a:lnTo>
                    <a:pt x="449" y="123"/>
                  </a:lnTo>
                  <a:lnTo>
                    <a:pt x="446" y="121"/>
                  </a:lnTo>
                  <a:lnTo>
                    <a:pt x="443" y="119"/>
                  </a:lnTo>
                  <a:lnTo>
                    <a:pt x="440" y="116"/>
                  </a:lnTo>
                  <a:lnTo>
                    <a:pt x="439" y="113"/>
                  </a:lnTo>
                  <a:lnTo>
                    <a:pt x="440" y="110"/>
                  </a:lnTo>
                  <a:lnTo>
                    <a:pt x="443" y="108"/>
                  </a:lnTo>
                  <a:lnTo>
                    <a:pt x="443" y="106"/>
                  </a:lnTo>
                  <a:lnTo>
                    <a:pt x="444" y="105"/>
                  </a:lnTo>
                  <a:lnTo>
                    <a:pt x="446" y="102"/>
                  </a:lnTo>
                  <a:lnTo>
                    <a:pt x="449" y="97"/>
                  </a:lnTo>
                  <a:lnTo>
                    <a:pt x="450" y="90"/>
                  </a:lnTo>
                  <a:lnTo>
                    <a:pt x="451" y="80"/>
                  </a:lnTo>
                  <a:lnTo>
                    <a:pt x="451" y="69"/>
                  </a:lnTo>
                  <a:lnTo>
                    <a:pt x="450" y="54"/>
                  </a:lnTo>
                  <a:lnTo>
                    <a:pt x="450" y="26"/>
                  </a:lnTo>
                  <a:lnTo>
                    <a:pt x="450" y="26"/>
                  </a:lnTo>
                  <a:lnTo>
                    <a:pt x="450" y="24"/>
                  </a:lnTo>
                  <a:lnTo>
                    <a:pt x="451" y="20"/>
                  </a:lnTo>
                  <a:lnTo>
                    <a:pt x="453" y="15"/>
                  </a:lnTo>
                  <a:lnTo>
                    <a:pt x="454" y="13"/>
                  </a:lnTo>
                  <a:lnTo>
                    <a:pt x="457" y="10"/>
                  </a:lnTo>
                  <a:lnTo>
                    <a:pt x="461" y="9"/>
                  </a:lnTo>
                  <a:lnTo>
                    <a:pt x="465" y="9"/>
                  </a:lnTo>
                  <a:lnTo>
                    <a:pt x="465" y="9"/>
                  </a:lnTo>
                  <a:lnTo>
                    <a:pt x="466" y="10"/>
                  </a:lnTo>
                  <a:lnTo>
                    <a:pt x="469" y="10"/>
                  </a:lnTo>
                  <a:lnTo>
                    <a:pt x="472" y="11"/>
                  </a:lnTo>
                  <a:lnTo>
                    <a:pt x="476" y="11"/>
                  </a:lnTo>
                  <a:lnTo>
                    <a:pt x="479" y="9"/>
                  </a:lnTo>
                  <a:lnTo>
                    <a:pt x="482" y="6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8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0" name="Freeform 206"/>
            <p:cNvSpPr>
              <a:spLocks/>
            </p:cNvSpPr>
            <p:nvPr/>
          </p:nvSpPr>
          <p:spPr bwMode="auto">
            <a:xfrm>
              <a:off x="2117" y="598"/>
              <a:ext cx="377" cy="157"/>
            </a:xfrm>
            <a:custGeom>
              <a:avLst/>
              <a:gdLst>
                <a:gd name="T0" fmla="*/ 61 w 465"/>
                <a:gd name="T1" fmla="*/ 96 h 195"/>
                <a:gd name="T2" fmla="*/ 55 w 465"/>
                <a:gd name="T3" fmla="*/ 109 h 195"/>
                <a:gd name="T4" fmla="*/ 57 w 465"/>
                <a:gd name="T5" fmla="*/ 120 h 195"/>
                <a:gd name="T6" fmla="*/ 58 w 465"/>
                <a:gd name="T7" fmla="*/ 134 h 195"/>
                <a:gd name="T8" fmla="*/ 49 w 465"/>
                <a:gd name="T9" fmla="*/ 145 h 195"/>
                <a:gd name="T10" fmla="*/ 29 w 465"/>
                <a:gd name="T11" fmla="*/ 147 h 195"/>
                <a:gd name="T12" fmla="*/ 10 w 465"/>
                <a:gd name="T13" fmla="*/ 153 h 195"/>
                <a:gd name="T14" fmla="*/ 10 w 465"/>
                <a:gd name="T15" fmla="*/ 160 h 195"/>
                <a:gd name="T16" fmla="*/ 5 w 465"/>
                <a:gd name="T17" fmla="*/ 168 h 195"/>
                <a:gd name="T18" fmla="*/ 0 w 465"/>
                <a:gd name="T19" fmla="*/ 179 h 195"/>
                <a:gd name="T20" fmla="*/ 9 w 465"/>
                <a:gd name="T21" fmla="*/ 184 h 195"/>
                <a:gd name="T22" fmla="*/ 22 w 465"/>
                <a:gd name="T23" fmla="*/ 187 h 195"/>
                <a:gd name="T24" fmla="*/ 24 w 465"/>
                <a:gd name="T25" fmla="*/ 193 h 195"/>
                <a:gd name="T26" fmla="*/ 428 w 465"/>
                <a:gd name="T27" fmla="*/ 189 h 195"/>
                <a:gd name="T28" fmla="*/ 430 w 465"/>
                <a:gd name="T29" fmla="*/ 171 h 195"/>
                <a:gd name="T30" fmla="*/ 437 w 465"/>
                <a:gd name="T31" fmla="*/ 162 h 195"/>
                <a:gd name="T32" fmla="*/ 423 w 465"/>
                <a:gd name="T33" fmla="*/ 165 h 195"/>
                <a:gd name="T34" fmla="*/ 416 w 465"/>
                <a:gd name="T35" fmla="*/ 161 h 195"/>
                <a:gd name="T36" fmla="*/ 439 w 465"/>
                <a:gd name="T37" fmla="*/ 150 h 195"/>
                <a:gd name="T38" fmla="*/ 460 w 465"/>
                <a:gd name="T39" fmla="*/ 127 h 195"/>
                <a:gd name="T40" fmla="*/ 461 w 465"/>
                <a:gd name="T41" fmla="*/ 107 h 195"/>
                <a:gd name="T42" fmla="*/ 445 w 465"/>
                <a:gd name="T43" fmla="*/ 85 h 195"/>
                <a:gd name="T44" fmla="*/ 439 w 465"/>
                <a:gd name="T45" fmla="*/ 95 h 195"/>
                <a:gd name="T46" fmla="*/ 430 w 465"/>
                <a:gd name="T47" fmla="*/ 85 h 195"/>
                <a:gd name="T48" fmla="*/ 427 w 465"/>
                <a:gd name="T49" fmla="*/ 92 h 195"/>
                <a:gd name="T50" fmla="*/ 430 w 465"/>
                <a:gd name="T51" fmla="*/ 102 h 195"/>
                <a:gd name="T52" fmla="*/ 413 w 465"/>
                <a:gd name="T53" fmla="*/ 129 h 195"/>
                <a:gd name="T54" fmla="*/ 369 w 465"/>
                <a:gd name="T55" fmla="*/ 162 h 195"/>
                <a:gd name="T56" fmla="*/ 379 w 465"/>
                <a:gd name="T57" fmla="*/ 147 h 195"/>
                <a:gd name="T58" fmla="*/ 405 w 465"/>
                <a:gd name="T59" fmla="*/ 103 h 195"/>
                <a:gd name="T60" fmla="*/ 409 w 465"/>
                <a:gd name="T61" fmla="*/ 73 h 195"/>
                <a:gd name="T62" fmla="*/ 390 w 465"/>
                <a:gd name="T63" fmla="*/ 81 h 195"/>
                <a:gd name="T64" fmla="*/ 368 w 465"/>
                <a:gd name="T65" fmla="*/ 99 h 195"/>
                <a:gd name="T66" fmla="*/ 366 w 465"/>
                <a:gd name="T67" fmla="*/ 95 h 195"/>
                <a:gd name="T68" fmla="*/ 375 w 465"/>
                <a:gd name="T69" fmla="*/ 87 h 195"/>
                <a:gd name="T70" fmla="*/ 372 w 465"/>
                <a:gd name="T71" fmla="*/ 69 h 195"/>
                <a:gd name="T72" fmla="*/ 342 w 465"/>
                <a:gd name="T73" fmla="*/ 79 h 195"/>
                <a:gd name="T74" fmla="*/ 331 w 465"/>
                <a:gd name="T75" fmla="*/ 85 h 195"/>
                <a:gd name="T76" fmla="*/ 342 w 465"/>
                <a:gd name="T77" fmla="*/ 69 h 195"/>
                <a:gd name="T78" fmla="*/ 366 w 465"/>
                <a:gd name="T79" fmla="*/ 63 h 195"/>
                <a:gd name="T80" fmla="*/ 375 w 465"/>
                <a:gd name="T81" fmla="*/ 61 h 195"/>
                <a:gd name="T82" fmla="*/ 382 w 465"/>
                <a:gd name="T83" fmla="*/ 46 h 195"/>
                <a:gd name="T84" fmla="*/ 365 w 465"/>
                <a:gd name="T85" fmla="*/ 33 h 195"/>
                <a:gd name="T86" fmla="*/ 347 w 465"/>
                <a:gd name="T87" fmla="*/ 32 h 195"/>
                <a:gd name="T88" fmla="*/ 340 w 465"/>
                <a:gd name="T89" fmla="*/ 21 h 195"/>
                <a:gd name="T90" fmla="*/ 328 w 465"/>
                <a:gd name="T91" fmla="*/ 28 h 195"/>
                <a:gd name="T92" fmla="*/ 307 w 465"/>
                <a:gd name="T93" fmla="*/ 32 h 195"/>
                <a:gd name="T94" fmla="*/ 291 w 465"/>
                <a:gd name="T95" fmla="*/ 39 h 195"/>
                <a:gd name="T96" fmla="*/ 321 w 465"/>
                <a:gd name="T97" fmla="*/ 17 h 195"/>
                <a:gd name="T98" fmla="*/ 328 w 465"/>
                <a:gd name="T99" fmla="*/ 10 h 195"/>
                <a:gd name="T100" fmla="*/ 307 w 465"/>
                <a:gd name="T101" fmla="*/ 2 h 195"/>
                <a:gd name="T102" fmla="*/ 249 w 465"/>
                <a:gd name="T103" fmla="*/ 3 h 195"/>
                <a:gd name="T104" fmla="*/ 197 w 465"/>
                <a:gd name="T105" fmla="*/ 36 h 195"/>
                <a:gd name="T106" fmla="*/ 212 w 465"/>
                <a:gd name="T107" fmla="*/ 57 h 195"/>
                <a:gd name="T108" fmla="*/ 163 w 465"/>
                <a:gd name="T109" fmla="*/ 57 h 195"/>
                <a:gd name="T110" fmla="*/ 137 w 465"/>
                <a:gd name="T111" fmla="*/ 70 h 195"/>
                <a:gd name="T112" fmla="*/ 124 w 465"/>
                <a:gd name="T113" fmla="*/ 7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5" h="195">
                  <a:moveTo>
                    <a:pt x="67" y="92"/>
                  </a:moveTo>
                  <a:lnTo>
                    <a:pt x="65" y="92"/>
                  </a:lnTo>
                  <a:lnTo>
                    <a:pt x="64" y="94"/>
                  </a:lnTo>
                  <a:lnTo>
                    <a:pt x="62" y="95"/>
                  </a:lnTo>
                  <a:lnTo>
                    <a:pt x="61" y="96"/>
                  </a:lnTo>
                  <a:lnTo>
                    <a:pt x="58" y="99"/>
                  </a:lnTo>
                  <a:lnTo>
                    <a:pt x="57" y="102"/>
                  </a:lnTo>
                  <a:lnTo>
                    <a:pt x="55" y="105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7" y="112"/>
                  </a:lnTo>
                  <a:lnTo>
                    <a:pt x="57" y="114"/>
                  </a:lnTo>
                  <a:lnTo>
                    <a:pt x="57" y="117"/>
                  </a:lnTo>
                  <a:lnTo>
                    <a:pt x="57" y="120"/>
                  </a:lnTo>
                  <a:lnTo>
                    <a:pt x="58" y="124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34"/>
                  </a:lnTo>
                  <a:lnTo>
                    <a:pt x="58" y="136"/>
                  </a:lnTo>
                  <a:lnTo>
                    <a:pt x="57" y="139"/>
                  </a:lnTo>
                  <a:lnTo>
                    <a:pt x="55" y="142"/>
                  </a:lnTo>
                  <a:lnTo>
                    <a:pt x="53" y="143"/>
                  </a:lnTo>
                  <a:lnTo>
                    <a:pt x="49" y="145"/>
                  </a:lnTo>
                  <a:lnTo>
                    <a:pt x="32" y="143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1" y="146"/>
                  </a:lnTo>
                  <a:lnTo>
                    <a:pt x="29" y="147"/>
                  </a:lnTo>
                  <a:lnTo>
                    <a:pt x="28" y="149"/>
                  </a:lnTo>
                  <a:lnTo>
                    <a:pt x="25" y="150"/>
                  </a:lnTo>
                  <a:lnTo>
                    <a:pt x="24" y="151"/>
                  </a:lnTo>
                  <a:lnTo>
                    <a:pt x="22" y="151"/>
                  </a:lnTo>
                  <a:lnTo>
                    <a:pt x="10" y="153"/>
                  </a:lnTo>
                  <a:lnTo>
                    <a:pt x="10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10" y="160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6" y="167"/>
                  </a:lnTo>
                  <a:lnTo>
                    <a:pt x="6" y="167"/>
                  </a:lnTo>
                  <a:lnTo>
                    <a:pt x="5" y="168"/>
                  </a:lnTo>
                  <a:lnTo>
                    <a:pt x="3" y="169"/>
                  </a:lnTo>
                  <a:lnTo>
                    <a:pt x="2" y="171"/>
                  </a:lnTo>
                  <a:lnTo>
                    <a:pt x="0" y="173"/>
                  </a:lnTo>
                  <a:lnTo>
                    <a:pt x="0" y="176"/>
                  </a:lnTo>
                  <a:lnTo>
                    <a:pt x="0" y="179"/>
                  </a:lnTo>
                  <a:lnTo>
                    <a:pt x="2" y="182"/>
                  </a:lnTo>
                  <a:lnTo>
                    <a:pt x="3" y="182"/>
                  </a:lnTo>
                  <a:lnTo>
                    <a:pt x="5" y="182"/>
                  </a:lnTo>
                  <a:lnTo>
                    <a:pt x="6" y="183"/>
                  </a:lnTo>
                  <a:lnTo>
                    <a:pt x="9" y="184"/>
                  </a:lnTo>
                  <a:lnTo>
                    <a:pt x="11" y="186"/>
                  </a:lnTo>
                  <a:lnTo>
                    <a:pt x="16" y="186"/>
                  </a:lnTo>
                  <a:lnTo>
                    <a:pt x="20" y="187"/>
                  </a:lnTo>
                  <a:lnTo>
                    <a:pt x="22" y="187"/>
                  </a:lnTo>
                  <a:lnTo>
                    <a:pt x="22" y="187"/>
                  </a:lnTo>
                  <a:lnTo>
                    <a:pt x="24" y="187"/>
                  </a:lnTo>
                  <a:lnTo>
                    <a:pt x="24" y="189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3"/>
                  </a:lnTo>
                  <a:lnTo>
                    <a:pt x="24" y="194"/>
                  </a:lnTo>
                  <a:lnTo>
                    <a:pt x="24" y="195"/>
                  </a:lnTo>
                  <a:lnTo>
                    <a:pt x="428" y="195"/>
                  </a:lnTo>
                  <a:lnTo>
                    <a:pt x="428" y="193"/>
                  </a:lnTo>
                  <a:lnTo>
                    <a:pt x="428" y="189"/>
                  </a:lnTo>
                  <a:lnTo>
                    <a:pt x="427" y="186"/>
                  </a:lnTo>
                  <a:lnTo>
                    <a:pt x="427" y="182"/>
                  </a:lnTo>
                  <a:lnTo>
                    <a:pt x="427" y="178"/>
                  </a:lnTo>
                  <a:lnTo>
                    <a:pt x="428" y="175"/>
                  </a:lnTo>
                  <a:lnTo>
                    <a:pt x="430" y="171"/>
                  </a:lnTo>
                  <a:lnTo>
                    <a:pt x="432" y="169"/>
                  </a:lnTo>
                  <a:lnTo>
                    <a:pt x="435" y="167"/>
                  </a:lnTo>
                  <a:lnTo>
                    <a:pt x="437" y="165"/>
                  </a:lnTo>
                  <a:lnTo>
                    <a:pt x="437" y="164"/>
                  </a:lnTo>
                  <a:lnTo>
                    <a:pt x="437" y="162"/>
                  </a:lnTo>
                  <a:lnTo>
                    <a:pt x="435" y="162"/>
                  </a:lnTo>
                  <a:lnTo>
                    <a:pt x="432" y="162"/>
                  </a:lnTo>
                  <a:lnTo>
                    <a:pt x="430" y="162"/>
                  </a:lnTo>
                  <a:lnTo>
                    <a:pt x="427" y="164"/>
                  </a:lnTo>
                  <a:lnTo>
                    <a:pt x="423" y="165"/>
                  </a:lnTo>
                  <a:lnTo>
                    <a:pt x="420" y="165"/>
                  </a:lnTo>
                  <a:lnTo>
                    <a:pt x="417" y="165"/>
                  </a:lnTo>
                  <a:lnTo>
                    <a:pt x="416" y="164"/>
                  </a:lnTo>
                  <a:lnTo>
                    <a:pt x="415" y="164"/>
                  </a:lnTo>
                  <a:lnTo>
                    <a:pt x="416" y="161"/>
                  </a:lnTo>
                  <a:lnTo>
                    <a:pt x="417" y="160"/>
                  </a:lnTo>
                  <a:lnTo>
                    <a:pt x="423" y="157"/>
                  </a:lnTo>
                  <a:lnTo>
                    <a:pt x="428" y="156"/>
                  </a:lnTo>
                  <a:lnTo>
                    <a:pt x="434" y="153"/>
                  </a:lnTo>
                  <a:lnTo>
                    <a:pt x="439" y="150"/>
                  </a:lnTo>
                  <a:lnTo>
                    <a:pt x="445" y="146"/>
                  </a:lnTo>
                  <a:lnTo>
                    <a:pt x="449" y="143"/>
                  </a:lnTo>
                  <a:lnTo>
                    <a:pt x="453" y="138"/>
                  </a:lnTo>
                  <a:lnTo>
                    <a:pt x="457" y="132"/>
                  </a:lnTo>
                  <a:lnTo>
                    <a:pt x="460" y="127"/>
                  </a:lnTo>
                  <a:lnTo>
                    <a:pt x="461" y="121"/>
                  </a:lnTo>
                  <a:lnTo>
                    <a:pt x="461" y="117"/>
                  </a:lnTo>
                  <a:lnTo>
                    <a:pt x="461" y="113"/>
                  </a:lnTo>
                  <a:lnTo>
                    <a:pt x="461" y="110"/>
                  </a:lnTo>
                  <a:lnTo>
                    <a:pt x="461" y="107"/>
                  </a:lnTo>
                  <a:lnTo>
                    <a:pt x="461" y="105"/>
                  </a:lnTo>
                  <a:lnTo>
                    <a:pt x="463" y="102"/>
                  </a:lnTo>
                  <a:lnTo>
                    <a:pt x="465" y="98"/>
                  </a:lnTo>
                  <a:lnTo>
                    <a:pt x="446" y="85"/>
                  </a:lnTo>
                  <a:lnTo>
                    <a:pt x="445" y="85"/>
                  </a:lnTo>
                  <a:lnTo>
                    <a:pt x="445" y="87"/>
                  </a:lnTo>
                  <a:lnTo>
                    <a:pt x="443" y="90"/>
                  </a:lnTo>
                  <a:lnTo>
                    <a:pt x="442" y="92"/>
                  </a:lnTo>
                  <a:lnTo>
                    <a:pt x="441" y="94"/>
                  </a:lnTo>
                  <a:lnTo>
                    <a:pt x="439" y="95"/>
                  </a:lnTo>
                  <a:lnTo>
                    <a:pt x="438" y="95"/>
                  </a:lnTo>
                  <a:lnTo>
                    <a:pt x="435" y="92"/>
                  </a:lnTo>
                  <a:lnTo>
                    <a:pt x="434" y="90"/>
                  </a:lnTo>
                  <a:lnTo>
                    <a:pt x="432" y="87"/>
                  </a:lnTo>
                  <a:lnTo>
                    <a:pt x="430" y="85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7" y="87"/>
                  </a:lnTo>
                  <a:lnTo>
                    <a:pt x="427" y="90"/>
                  </a:lnTo>
                  <a:lnTo>
                    <a:pt x="427" y="92"/>
                  </a:lnTo>
                  <a:lnTo>
                    <a:pt x="427" y="95"/>
                  </a:lnTo>
                  <a:lnTo>
                    <a:pt x="428" y="98"/>
                  </a:lnTo>
                  <a:lnTo>
                    <a:pt x="428" y="99"/>
                  </a:lnTo>
                  <a:lnTo>
                    <a:pt x="430" y="101"/>
                  </a:lnTo>
                  <a:lnTo>
                    <a:pt x="430" y="102"/>
                  </a:lnTo>
                  <a:lnTo>
                    <a:pt x="430" y="105"/>
                  </a:lnTo>
                  <a:lnTo>
                    <a:pt x="428" y="109"/>
                  </a:lnTo>
                  <a:lnTo>
                    <a:pt x="426" y="114"/>
                  </a:lnTo>
                  <a:lnTo>
                    <a:pt x="420" y="121"/>
                  </a:lnTo>
                  <a:lnTo>
                    <a:pt x="413" y="129"/>
                  </a:lnTo>
                  <a:lnTo>
                    <a:pt x="404" y="138"/>
                  </a:lnTo>
                  <a:lnTo>
                    <a:pt x="394" y="145"/>
                  </a:lnTo>
                  <a:lnTo>
                    <a:pt x="384" y="151"/>
                  </a:lnTo>
                  <a:lnTo>
                    <a:pt x="376" y="158"/>
                  </a:lnTo>
                  <a:lnTo>
                    <a:pt x="369" y="162"/>
                  </a:lnTo>
                  <a:lnTo>
                    <a:pt x="364" y="165"/>
                  </a:lnTo>
                  <a:lnTo>
                    <a:pt x="365" y="164"/>
                  </a:lnTo>
                  <a:lnTo>
                    <a:pt x="369" y="160"/>
                  </a:lnTo>
                  <a:lnTo>
                    <a:pt x="373" y="154"/>
                  </a:lnTo>
                  <a:lnTo>
                    <a:pt x="379" y="147"/>
                  </a:lnTo>
                  <a:lnTo>
                    <a:pt x="386" y="140"/>
                  </a:lnTo>
                  <a:lnTo>
                    <a:pt x="391" y="132"/>
                  </a:lnTo>
                  <a:lnTo>
                    <a:pt x="395" y="125"/>
                  </a:lnTo>
                  <a:lnTo>
                    <a:pt x="397" y="118"/>
                  </a:lnTo>
                  <a:lnTo>
                    <a:pt x="405" y="103"/>
                  </a:lnTo>
                  <a:lnTo>
                    <a:pt x="416" y="77"/>
                  </a:lnTo>
                  <a:lnTo>
                    <a:pt x="416" y="77"/>
                  </a:lnTo>
                  <a:lnTo>
                    <a:pt x="415" y="76"/>
                  </a:lnTo>
                  <a:lnTo>
                    <a:pt x="412" y="74"/>
                  </a:lnTo>
                  <a:lnTo>
                    <a:pt x="409" y="73"/>
                  </a:lnTo>
                  <a:lnTo>
                    <a:pt x="405" y="73"/>
                  </a:lnTo>
                  <a:lnTo>
                    <a:pt x="401" y="74"/>
                  </a:lnTo>
                  <a:lnTo>
                    <a:pt x="397" y="76"/>
                  </a:lnTo>
                  <a:lnTo>
                    <a:pt x="391" y="80"/>
                  </a:lnTo>
                  <a:lnTo>
                    <a:pt x="390" y="81"/>
                  </a:lnTo>
                  <a:lnTo>
                    <a:pt x="387" y="84"/>
                  </a:lnTo>
                  <a:lnTo>
                    <a:pt x="382" y="90"/>
                  </a:lnTo>
                  <a:lnTo>
                    <a:pt x="377" y="94"/>
                  </a:lnTo>
                  <a:lnTo>
                    <a:pt x="372" y="98"/>
                  </a:lnTo>
                  <a:lnTo>
                    <a:pt x="368" y="99"/>
                  </a:lnTo>
                  <a:lnTo>
                    <a:pt x="366" y="99"/>
                  </a:lnTo>
                  <a:lnTo>
                    <a:pt x="366" y="99"/>
                  </a:lnTo>
                  <a:lnTo>
                    <a:pt x="365" y="98"/>
                  </a:lnTo>
                  <a:lnTo>
                    <a:pt x="365" y="95"/>
                  </a:lnTo>
                  <a:lnTo>
                    <a:pt x="366" y="95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1" y="91"/>
                  </a:lnTo>
                  <a:lnTo>
                    <a:pt x="372" y="90"/>
                  </a:lnTo>
                  <a:lnTo>
                    <a:pt x="375" y="87"/>
                  </a:lnTo>
                  <a:lnTo>
                    <a:pt x="377" y="83"/>
                  </a:lnTo>
                  <a:lnTo>
                    <a:pt x="380" y="79"/>
                  </a:lnTo>
                  <a:lnTo>
                    <a:pt x="376" y="69"/>
                  </a:lnTo>
                  <a:lnTo>
                    <a:pt x="375" y="69"/>
                  </a:lnTo>
                  <a:lnTo>
                    <a:pt x="372" y="69"/>
                  </a:lnTo>
                  <a:lnTo>
                    <a:pt x="366" y="69"/>
                  </a:lnTo>
                  <a:lnTo>
                    <a:pt x="361" y="69"/>
                  </a:lnTo>
                  <a:lnTo>
                    <a:pt x="355" y="72"/>
                  </a:lnTo>
                  <a:lnTo>
                    <a:pt x="349" y="74"/>
                  </a:lnTo>
                  <a:lnTo>
                    <a:pt x="342" y="79"/>
                  </a:lnTo>
                  <a:lnTo>
                    <a:pt x="336" y="85"/>
                  </a:lnTo>
                  <a:lnTo>
                    <a:pt x="331" y="92"/>
                  </a:lnTo>
                  <a:lnTo>
                    <a:pt x="331" y="91"/>
                  </a:lnTo>
                  <a:lnTo>
                    <a:pt x="331" y="90"/>
                  </a:lnTo>
                  <a:lnTo>
                    <a:pt x="331" y="85"/>
                  </a:lnTo>
                  <a:lnTo>
                    <a:pt x="332" y="81"/>
                  </a:lnTo>
                  <a:lnTo>
                    <a:pt x="332" y="77"/>
                  </a:lnTo>
                  <a:lnTo>
                    <a:pt x="335" y="74"/>
                  </a:lnTo>
                  <a:lnTo>
                    <a:pt x="337" y="70"/>
                  </a:lnTo>
                  <a:lnTo>
                    <a:pt x="342" y="69"/>
                  </a:lnTo>
                  <a:lnTo>
                    <a:pt x="347" y="68"/>
                  </a:lnTo>
                  <a:lnTo>
                    <a:pt x="353" y="68"/>
                  </a:lnTo>
                  <a:lnTo>
                    <a:pt x="357" y="66"/>
                  </a:lnTo>
                  <a:lnTo>
                    <a:pt x="362" y="65"/>
                  </a:lnTo>
                  <a:lnTo>
                    <a:pt x="366" y="63"/>
                  </a:lnTo>
                  <a:lnTo>
                    <a:pt x="371" y="63"/>
                  </a:lnTo>
                  <a:lnTo>
                    <a:pt x="372" y="62"/>
                  </a:lnTo>
                  <a:lnTo>
                    <a:pt x="373" y="62"/>
                  </a:lnTo>
                  <a:lnTo>
                    <a:pt x="373" y="62"/>
                  </a:lnTo>
                  <a:lnTo>
                    <a:pt x="375" y="61"/>
                  </a:lnTo>
                  <a:lnTo>
                    <a:pt x="377" y="58"/>
                  </a:lnTo>
                  <a:lnTo>
                    <a:pt x="379" y="55"/>
                  </a:lnTo>
                  <a:lnTo>
                    <a:pt x="380" y="52"/>
                  </a:lnTo>
                  <a:lnTo>
                    <a:pt x="382" y="48"/>
                  </a:lnTo>
                  <a:lnTo>
                    <a:pt x="382" y="46"/>
                  </a:lnTo>
                  <a:lnTo>
                    <a:pt x="379" y="43"/>
                  </a:lnTo>
                  <a:lnTo>
                    <a:pt x="376" y="39"/>
                  </a:lnTo>
                  <a:lnTo>
                    <a:pt x="372" y="37"/>
                  </a:lnTo>
                  <a:lnTo>
                    <a:pt x="369" y="35"/>
                  </a:lnTo>
                  <a:lnTo>
                    <a:pt x="365" y="33"/>
                  </a:lnTo>
                  <a:lnTo>
                    <a:pt x="361" y="32"/>
                  </a:lnTo>
                  <a:lnTo>
                    <a:pt x="358" y="32"/>
                  </a:lnTo>
                  <a:lnTo>
                    <a:pt x="357" y="30"/>
                  </a:lnTo>
                  <a:lnTo>
                    <a:pt x="355" y="30"/>
                  </a:lnTo>
                  <a:lnTo>
                    <a:pt x="347" y="32"/>
                  </a:lnTo>
                  <a:lnTo>
                    <a:pt x="347" y="21"/>
                  </a:lnTo>
                  <a:lnTo>
                    <a:pt x="347" y="21"/>
                  </a:lnTo>
                  <a:lnTo>
                    <a:pt x="346" y="21"/>
                  </a:lnTo>
                  <a:lnTo>
                    <a:pt x="343" y="21"/>
                  </a:lnTo>
                  <a:lnTo>
                    <a:pt x="340" y="21"/>
                  </a:lnTo>
                  <a:lnTo>
                    <a:pt x="337" y="21"/>
                  </a:lnTo>
                  <a:lnTo>
                    <a:pt x="335" y="22"/>
                  </a:lnTo>
                  <a:lnTo>
                    <a:pt x="332" y="25"/>
                  </a:lnTo>
                  <a:lnTo>
                    <a:pt x="329" y="28"/>
                  </a:lnTo>
                  <a:lnTo>
                    <a:pt x="328" y="28"/>
                  </a:lnTo>
                  <a:lnTo>
                    <a:pt x="325" y="28"/>
                  </a:lnTo>
                  <a:lnTo>
                    <a:pt x="321" y="29"/>
                  </a:lnTo>
                  <a:lnTo>
                    <a:pt x="317" y="29"/>
                  </a:lnTo>
                  <a:lnTo>
                    <a:pt x="311" y="30"/>
                  </a:lnTo>
                  <a:lnTo>
                    <a:pt x="307" y="32"/>
                  </a:lnTo>
                  <a:lnTo>
                    <a:pt x="303" y="35"/>
                  </a:lnTo>
                  <a:lnTo>
                    <a:pt x="300" y="37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91" y="39"/>
                  </a:lnTo>
                  <a:lnTo>
                    <a:pt x="295" y="35"/>
                  </a:lnTo>
                  <a:lnTo>
                    <a:pt x="302" y="29"/>
                  </a:lnTo>
                  <a:lnTo>
                    <a:pt x="307" y="24"/>
                  </a:lnTo>
                  <a:lnTo>
                    <a:pt x="314" y="19"/>
                  </a:lnTo>
                  <a:lnTo>
                    <a:pt x="321" y="17"/>
                  </a:lnTo>
                  <a:lnTo>
                    <a:pt x="326" y="15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8" y="11"/>
                  </a:lnTo>
                  <a:lnTo>
                    <a:pt x="328" y="10"/>
                  </a:lnTo>
                  <a:lnTo>
                    <a:pt x="326" y="7"/>
                  </a:lnTo>
                  <a:lnTo>
                    <a:pt x="324" y="6"/>
                  </a:lnTo>
                  <a:lnTo>
                    <a:pt x="321" y="3"/>
                  </a:lnTo>
                  <a:lnTo>
                    <a:pt x="315" y="2"/>
                  </a:lnTo>
                  <a:lnTo>
                    <a:pt x="307" y="2"/>
                  </a:lnTo>
                  <a:lnTo>
                    <a:pt x="296" y="0"/>
                  </a:lnTo>
                  <a:lnTo>
                    <a:pt x="285" y="0"/>
                  </a:lnTo>
                  <a:lnTo>
                    <a:pt x="274" y="0"/>
                  </a:lnTo>
                  <a:lnTo>
                    <a:pt x="262" y="0"/>
                  </a:lnTo>
                  <a:lnTo>
                    <a:pt x="249" y="3"/>
                  </a:lnTo>
                  <a:lnTo>
                    <a:pt x="238" y="7"/>
                  </a:lnTo>
                  <a:lnTo>
                    <a:pt x="229" y="13"/>
                  </a:lnTo>
                  <a:lnTo>
                    <a:pt x="194" y="35"/>
                  </a:lnTo>
                  <a:lnTo>
                    <a:pt x="196" y="35"/>
                  </a:lnTo>
                  <a:lnTo>
                    <a:pt x="197" y="36"/>
                  </a:lnTo>
                  <a:lnTo>
                    <a:pt x="200" y="39"/>
                  </a:lnTo>
                  <a:lnTo>
                    <a:pt x="204" y="41"/>
                  </a:lnTo>
                  <a:lnTo>
                    <a:pt x="207" y="46"/>
                  </a:lnTo>
                  <a:lnTo>
                    <a:pt x="210" y="51"/>
                  </a:lnTo>
                  <a:lnTo>
                    <a:pt x="212" y="57"/>
                  </a:lnTo>
                  <a:lnTo>
                    <a:pt x="214" y="65"/>
                  </a:lnTo>
                  <a:lnTo>
                    <a:pt x="189" y="44"/>
                  </a:lnTo>
                  <a:lnTo>
                    <a:pt x="177" y="46"/>
                  </a:lnTo>
                  <a:lnTo>
                    <a:pt x="183" y="72"/>
                  </a:lnTo>
                  <a:lnTo>
                    <a:pt x="163" y="57"/>
                  </a:lnTo>
                  <a:lnTo>
                    <a:pt x="139" y="62"/>
                  </a:lnTo>
                  <a:lnTo>
                    <a:pt x="139" y="63"/>
                  </a:lnTo>
                  <a:lnTo>
                    <a:pt x="138" y="65"/>
                  </a:lnTo>
                  <a:lnTo>
                    <a:pt x="137" y="68"/>
                  </a:lnTo>
                  <a:lnTo>
                    <a:pt x="137" y="70"/>
                  </a:lnTo>
                  <a:lnTo>
                    <a:pt x="137" y="74"/>
                  </a:lnTo>
                  <a:lnTo>
                    <a:pt x="138" y="79"/>
                  </a:lnTo>
                  <a:lnTo>
                    <a:pt x="141" y="84"/>
                  </a:lnTo>
                  <a:lnTo>
                    <a:pt x="146" y="90"/>
                  </a:lnTo>
                  <a:lnTo>
                    <a:pt x="124" y="74"/>
                  </a:lnTo>
                  <a:lnTo>
                    <a:pt x="97" y="81"/>
                  </a:lnTo>
                  <a:lnTo>
                    <a:pt x="67" y="9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1" name="Freeform 207"/>
            <p:cNvSpPr>
              <a:spLocks/>
            </p:cNvSpPr>
            <p:nvPr/>
          </p:nvSpPr>
          <p:spPr bwMode="auto">
            <a:xfrm>
              <a:off x="2468" y="751"/>
              <a:ext cx="18" cy="13"/>
            </a:xfrm>
            <a:custGeom>
              <a:avLst/>
              <a:gdLst>
                <a:gd name="T0" fmla="*/ 8 w 23"/>
                <a:gd name="T1" fmla="*/ 0 h 16"/>
                <a:gd name="T2" fmla="*/ 7 w 23"/>
                <a:gd name="T3" fmla="*/ 1 h 16"/>
                <a:gd name="T4" fmla="*/ 5 w 23"/>
                <a:gd name="T5" fmla="*/ 3 h 16"/>
                <a:gd name="T6" fmla="*/ 4 w 23"/>
                <a:gd name="T7" fmla="*/ 4 h 16"/>
                <a:gd name="T8" fmla="*/ 3 w 23"/>
                <a:gd name="T9" fmla="*/ 7 h 16"/>
                <a:gd name="T10" fmla="*/ 1 w 23"/>
                <a:gd name="T11" fmla="*/ 10 h 16"/>
                <a:gd name="T12" fmla="*/ 0 w 23"/>
                <a:gd name="T13" fmla="*/ 11 h 16"/>
                <a:gd name="T14" fmla="*/ 0 w 23"/>
                <a:gd name="T15" fmla="*/ 14 h 16"/>
                <a:gd name="T16" fmla="*/ 0 w 23"/>
                <a:gd name="T17" fmla="*/ 15 h 16"/>
                <a:gd name="T18" fmla="*/ 3 w 23"/>
                <a:gd name="T19" fmla="*/ 15 h 16"/>
                <a:gd name="T20" fmla="*/ 4 w 23"/>
                <a:gd name="T21" fmla="*/ 15 h 16"/>
                <a:gd name="T22" fmla="*/ 8 w 23"/>
                <a:gd name="T23" fmla="*/ 16 h 16"/>
                <a:gd name="T24" fmla="*/ 11 w 23"/>
                <a:gd name="T25" fmla="*/ 16 h 16"/>
                <a:gd name="T26" fmla="*/ 14 w 23"/>
                <a:gd name="T27" fmla="*/ 16 h 16"/>
                <a:gd name="T28" fmla="*/ 16 w 23"/>
                <a:gd name="T29" fmla="*/ 15 h 16"/>
                <a:gd name="T30" fmla="*/ 19 w 23"/>
                <a:gd name="T31" fmla="*/ 15 h 16"/>
                <a:gd name="T32" fmla="*/ 19 w 23"/>
                <a:gd name="T33" fmla="*/ 15 h 16"/>
                <a:gd name="T34" fmla="*/ 19 w 23"/>
                <a:gd name="T35" fmla="*/ 15 h 16"/>
                <a:gd name="T36" fmla="*/ 20 w 23"/>
                <a:gd name="T37" fmla="*/ 14 h 16"/>
                <a:gd name="T38" fmla="*/ 20 w 23"/>
                <a:gd name="T39" fmla="*/ 11 h 16"/>
                <a:gd name="T40" fmla="*/ 22 w 23"/>
                <a:gd name="T41" fmla="*/ 10 h 16"/>
                <a:gd name="T42" fmla="*/ 22 w 23"/>
                <a:gd name="T43" fmla="*/ 7 h 16"/>
                <a:gd name="T44" fmla="*/ 23 w 23"/>
                <a:gd name="T45" fmla="*/ 4 h 16"/>
                <a:gd name="T46" fmla="*/ 22 w 23"/>
                <a:gd name="T47" fmla="*/ 1 h 16"/>
                <a:gd name="T48" fmla="*/ 22 w 23"/>
                <a:gd name="T49" fmla="*/ 0 h 16"/>
                <a:gd name="T50" fmla="*/ 20 w 23"/>
                <a:gd name="T51" fmla="*/ 0 h 16"/>
                <a:gd name="T52" fmla="*/ 18 w 23"/>
                <a:gd name="T53" fmla="*/ 0 h 16"/>
                <a:gd name="T54" fmla="*/ 16 w 23"/>
                <a:gd name="T55" fmla="*/ 0 h 16"/>
                <a:gd name="T56" fmla="*/ 14 w 23"/>
                <a:gd name="T57" fmla="*/ 1 h 16"/>
                <a:gd name="T58" fmla="*/ 12 w 23"/>
                <a:gd name="T59" fmla="*/ 1 h 16"/>
                <a:gd name="T60" fmla="*/ 11 w 23"/>
                <a:gd name="T61" fmla="*/ 1 h 16"/>
                <a:gd name="T62" fmla="*/ 9 w 23"/>
                <a:gd name="T63" fmla="*/ 1 h 16"/>
                <a:gd name="T64" fmla="*/ 8 w 23"/>
                <a:gd name="T6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" h="16">
                  <a:moveTo>
                    <a:pt x="8" y="0"/>
                  </a:moveTo>
                  <a:lnTo>
                    <a:pt x="7" y="1"/>
                  </a:lnTo>
                  <a:lnTo>
                    <a:pt x="5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3" y="4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2" name="Freeform 208"/>
            <p:cNvSpPr>
              <a:spLocks/>
            </p:cNvSpPr>
            <p:nvPr/>
          </p:nvSpPr>
          <p:spPr bwMode="auto">
            <a:xfrm>
              <a:off x="2468" y="751"/>
              <a:ext cx="18" cy="13"/>
            </a:xfrm>
            <a:custGeom>
              <a:avLst/>
              <a:gdLst>
                <a:gd name="T0" fmla="*/ 8 w 23"/>
                <a:gd name="T1" fmla="*/ 0 h 16"/>
                <a:gd name="T2" fmla="*/ 7 w 23"/>
                <a:gd name="T3" fmla="*/ 1 h 16"/>
                <a:gd name="T4" fmla="*/ 5 w 23"/>
                <a:gd name="T5" fmla="*/ 3 h 16"/>
                <a:gd name="T6" fmla="*/ 4 w 23"/>
                <a:gd name="T7" fmla="*/ 4 h 16"/>
                <a:gd name="T8" fmla="*/ 3 w 23"/>
                <a:gd name="T9" fmla="*/ 7 h 16"/>
                <a:gd name="T10" fmla="*/ 1 w 23"/>
                <a:gd name="T11" fmla="*/ 10 h 16"/>
                <a:gd name="T12" fmla="*/ 0 w 23"/>
                <a:gd name="T13" fmla="*/ 11 h 16"/>
                <a:gd name="T14" fmla="*/ 0 w 23"/>
                <a:gd name="T15" fmla="*/ 14 h 16"/>
                <a:gd name="T16" fmla="*/ 0 w 23"/>
                <a:gd name="T17" fmla="*/ 15 h 16"/>
                <a:gd name="T18" fmla="*/ 3 w 23"/>
                <a:gd name="T19" fmla="*/ 15 h 16"/>
                <a:gd name="T20" fmla="*/ 4 w 23"/>
                <a:gd name="T21" fmla="*/ 15 h 16"/>
                <a:gd name="T22" fmla="*/ 8 w 23"/>
                <a:gd name="T23" fmla="*/ 16 h 16"/>
                <a:gd name="T24" fmla="*/ 11 w 23"/>
                <a:gd name="T25" fmla="*/ 16 h 16"/>
                <a:gd name="T26" fmla="*/ 14 w 23"/>
                <a:gd name="T27" fmla="*/ 16 h 16"/>
                <a:gd name="T28" fmla="*/ 16 w 23"/>
                <a:gd name="T29" fmla="*/ 15 h 16"/>
                <a:gd name="T30" fmla="*/ 19 w 23"/>
                <a:gd name="T31" fmla="*/ 15 h 16"/>
                <a:gd name="T32" fmla="*/ 20 w 23"/>
                <a:gd name="T33" fmla="*/ 14 h 16"/>
                <a:gd name="T34" fmla="*/ 20 w 23"/>
                <a:gd name="T35" fmla="*/ 11 h 16"/>
                <a:gd name="T36" fmla="*/ 22 w 23"/>
                <a:gd name="T37" fmla="*/ 10 h 16"/>
                <a:gd name="T38" fmla="*/ 22 w 23"/>
                <a:gd name="T39" fmla="*/ 7 h 16"/>
                <a:gd name="T40" fmla="*/ 23 w 23"/>
                <a:gd name="T41" fmla="*/ 4 h 16"/>
                <a:gd name="T42" fmla="*/ 22 w 23"/>
                <a:gd name="T43" fmla="*/ 1 h 16"/>
                <a:gd name="T44" fmla="*/ 22 w 23"/>
                <a:gd name="T45" fmla="*/ 0 h 16"/>
                <a:gd name="T46" fmla="*/ 20 w 23"/>
                <a:gd name="T47" fmla="*/ 0 h 16"/>
                <a:gd name="T48" fmla="*/ 18 w 23"/>
                <a:gd name="T49" fmla="*/ 0 h 16"/>
                <a:gd name="T50" fmla="*/ 16 w 23"/>
                <a:gd name="T51" fmla="*/ 0 h 16"/>
                <a:gd name="T52" fmla="*/ 14 w 23"/>
                <a:gd name="T53" fmla="*/ 1 h 16"/>
                <a:gd name="T54" fmla="*/ 12 w 23"/>
                <a:gd name="T55" fmla="*/ 1 h 16"/>
                <a:gd name="T56" fmla="*/ 11 w 23"/>
                <a:gd name="T57" fmla="*/ 1 h 16"/>
                <a:gd name="T58" fmla="*/ 9 w 23"/>
                <a:gd name="T59" fmla="*/ 1 h 16"/>
                <a:gd name="T60" fmla="*/ 8 w 23"/>
                <a:gd name="T6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16">
                  <a:moveTo>
                    <a:pt x="8" y="0"/>
                  </a:moveTo>
                  <a:lnTo>
                    <a:pt x="7" y="1"/>
                  </a:lnTo>
                  <a:lnTo>
                    <a:pt x="5" y="3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2" y="10"/>
                  </a:lnTo>
                  <a:lnTo>
                    <a:pt x="22" y="7"/>
                  </a:lnTo>
                  <a:lnTo>
                    <a:pt x="23" y="4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9" y="1"/>
                  </a:lnTo>
                  <a:lnTo>
                    <a:pt x="8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3" name="Freeform 209"/>
            <p:cNvSpPr>
              <a:spLocks/>
            </p:cNvSpPr>
            <p:nvPr/>
          </p:nvSpPr>
          <p:spPr bwMode="auto">
            <a:xfrm>
              <a:off x="2444" y="796"/>
              <a:ext cx="13" cy="21"/>
            </a:xfrm>
            <a:custGeom>
              <a:avLst/>
              <a:gdLst>
                <a:gd name="T0" fmla="*/ 13 w 17"/>
                <a:gd name="T1" fmla="*/ 1 h 26"/>
                <a:gd name="T2" fmla="*/ 13 w 17"/>
                <a:gd name="T3" fmla="*/ 1 h 26"/>
                <a:gd name="T4" fmla="*/ 13 w 17"/>
                <a:gd name="T5" fmla="*/ 1 h 26"/>
                <a:gd name="T6" fmla="*/ 12 w 17"/>
                <a:gd name="T7" fmla="*/ 1 h 26"/>
                <a:gd name="T8" fmla="*/ 11 w 17"/>
                <a:gd name="T9" fmla="*/ 0 h 26"/>
                <a:gd name="T10" fmla="*/ 9 w 17"/>
                <a:gd name="T11" fmla="*/ 1 h 26"/>
                <a:gd name="T12" fmla="*/ 8 w 17"/>
                <a:gd name="T13" fmla="*/ 1 h 26"/>
                <a:gd name="T14" fmla="*/ 6 w 17"/>
                <a:gd name="T15" fmla="*/ 4 h 26"/>
                <a:gd name="T16" fmla="*/ 5 w 17"/>
                <a:gd name="T17" fmla="*/ 7 h 26"/>
                <a:gd name="T18" fmla="*/ 4 w 17"/>
                <a:gd name="T19" fmla="*/ 9 h 26"/>
                <a:gd name="T20" fmla="*/ 2 w 17"/>
                <a:gd name="T21" fmla="*/ 12 h 26"/>
                <a:gd name="T22" fmla="*/ 1 w 17"/>
                <a:gd name="T23" fmla="*/ 14 h 26"/>
                <a:gd name="T24" fmla="*/ 0 w 17"/>
                <a:gd name="T25" fmla="*/ 15 h 26"/>
                <a:gd name="T26" fmla="*/ 0 w 17"/>
                <a:gd name="T27" fmla="*/ 16 h 26"/>
                <a:gd name="T28" fmla="*/ 0 w 17"/>
                <a:gd name="T29" fmla="*/ 18 h 26"/>
                <a:gd name="T30" fmla="*/ 1 w 17"/>
                <a:gd name="T31" fmla="*/ 19 h 26"/>
                <a:gd name="T32" fmla="*/ 4 w 17"/>
                <a:gd name="T33" fmla="*/ 19 h 26"/>
                <a:gd name="T34" fmla="*/ 4 w 17"/>
                <a:gd name="T35" fmla="*/ 19 h 26"/>
                <a:gd name="T36" fmla="*/ 5 w 17"/>
                <a:gd name="T37" fmla="*/ 19 h 26"/>
                <a:gd name="T38" fmla="*/ 6 w 17"/>
                <a:gd name="T39" fmla="*/ 19 h 26"/>
                <a:gd name="T40" fmla="*/ 8 w 17"/>
                <a:gd name="T41" fmla="*/ 20 h 26"/>
                <a:gd name="T42" fmla="*/ 9 w 17"/>
                <a:gd name="T43" fmla="*/ 20 h 26"/>
                <a:gd name="T44" fmla="*/ 9 w 17"/>
                <a:gd name="T45" fmla="*/ 22 h 26"/>
                <a:gd name="T46" fmla="*/ 11 w 17"/>
                <a:gd name="T47" fmla="*/ 23 h 26"/>
                <a:gd name="T48" fmla="*/ 11 w 17"/>
                <a:gd name="T49" fmla="*/ 26 h 26"/>
                <a:gd name="T50" fmla="*/ 11 w 17"/>
                <a:gd name="T51" fmla="*/ 26 h 26"/>
                <a:gd name="T52" fmla="*/ 12 w 17"/>
                <a:gd name="T53" fmla="*/ 26 h 26"/>
                <a:gd name="T54" fmla="*/ 13 w 17"/>
                <a:gd name="T55" fmla="*/ 26 h 26"/>
                <a:gd name="T56" fmla="*/ 13 w 17"/>
                <a:gd name="T57" fmla="*/ 25 h 26"/>
                <a:gd name="T58" fmla="*/ 15 w 17"/>
                <a:gd name="T59" fmla="*/ 23 h 26"/>
                <a:gd name="T60" fmla="*/ 16 w 17"/>
                <a:gd name="T61" fmla="*/ 22 h 26"/>
                <a:gd name="T62" fmla="*/ 16 w 17"/>
                <a:gd name="T63" fmla="*/ 20 h 26"/>
                <a:gd name="T64" fmla="*/ 16 w 17"/>
                <a:gd name="T65" fmla="*/ 20 h 26"/>
                <a:gd name="T66" fmla="*/ 16 w 17"/>
                <a:gd name="T67" fmla="*/ 19 h 26"/>
                <a:gd name="T68" fmla="*/ 17 w 17"/>
                <a:gd name="T69" fmla="*/ 18 h 26"/>
                <a:gd name="T70" fmla="*/ 17 w 17"/>
                <a:gd name="T71" fmla="*/ 15 h 26"/>
                <a:gd name="T72" fmla="*/ 17 w 17"/>
                <a:gd name="T73" fmla="*/ 11 h 26"/>
                <a:gd name="T74" fmla="*/ 17 w 17"/>
                <a:gd name="T75" fmla="*/ 8 h 26"/>
                <a:gd name="T76" fmla="*/ 16 w 17"/>
                <a:gd name="T77" fmla="*/ 5 h 26"/>
                <a:gd name="T78" fmla="*/ 16 w 17"/>
                <a:gd name="T79" fmla="*/ 3 h 26"/>
                <a:gd name="T80" fmla="*/ 13 w 17"/>
                <a:gd name="T8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" h="26">
                  <a:moveTo>
                    <a:pt x="13" y="1"/>
                  </a:moveTo>
                  <a:lnTo>
                    <a:pt x="13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6" y="4"/>
                  </a:lnTo>
                  <a:lnTo>
                    <a:pt x="5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11" y="23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5" y="23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7" y="11"/>
                  </a:lnTo>
                  <a:lnTo>
                    <a:pt x="17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4" name="Freeform 210"/>
            <p:cNvSpPr>
              <a:spLocks/>
            </p:cNvSpPr>
            <p:nvPr/>
          </p:nvSpPr>
          <p:spPr bwMode="auto">
            <a:xfrm>
              <a:off x="2444" y="796"/>
              <a:ext cx="13" cy="21"/>
            </a:xfrm>
            <a:custGeom>
              <a:avLst/>
              <a:gdLst>
                <a:gd name="T0" fmla="*/ 13 w 17"/>
                <a:gd name="T1" fmla="*/ 1 h 26"/>
                <a:gd name="T2" fmla="*/ 12 w 17"/>
                <a:gd name="T3" fmla="*/ 1 h 26"/>
                <a:gd name="T4" fmla="*/ 11 w 17"/>
                <a:gd name="T5" fmla="*/ 0 h 26"/>
                <a:gd name="T6" fmla="*/ 9 w 17"/>
                <a:gd name="T7" fmla="*/ 1 h 26"/>
                <a:gd name="T8" fmla="*/ 8 w 17"/>
                <a:gd name="T9" fmla="*/ 1 h 26"/>
                <a:gd name="T10" fmla="*/ 6 w 17"/>
                <a:gd name="T11" fmla="*/ 4 h 26"/>
                <a:gd name="T12" fmla="*/ 5 w 17"/>
                <a:gd name="T13" fmla="*/ 7 h 26"/>
                <a:gd name="T14" fmla="*/ 4 w 17"/>
                <a:gd name="T15" fmla="*/ 9 h 26"/>
                <a:gd name="T16" fmla="*/ 2 w 17"/>
                <a:gd name="T17" fmla="*/ 12 h 26"/>
                <a:gd name="T18" fmla="*/ 1 w 17"/>
                <a:gd name="T19" fmla="*/ 14 h 26"/>
                <a:gd name="T20" fmla="*/ 0 w 17"/>
                <a:gd name="T21" fmla="*/ 15 h 26"/>
                <a:gd name="T22" fmla="*/ 0 w 17"/>
                <a:gd name="T23" fmla="*/ 16 h 26"/>
                <a:gd name="T24" fmla="*/ 0 w 17"/>
                <a:gd name="T25" fmla="*/ 18 h 26"/>
                <a:gd name="T26" fmla="*/ 1 w 17"/>
                <a:gd name="T27" fmla="*/ 19 h 26"/>
                <a:gd name="T28" fmla="*/ 4 w 17"/>
                <a:gd name="T29" fmla="*/ 19 h 26"/>
                <a:gd name="T30" fmla="*/ 5 w 17"/>
                <a:gd name="T31" fmla="*/ 19 h 26"/>
                <a:gd name="T32" fmla="*/ 6 w 17"/>
                <a:gd name="T33" fmla="*/ 19 h 26"/>
                <a:gd name="T34" fmla="*/ 8 w 17"/>
                <a:gd name="T35" fmla="*/ 20 h 26"/>
                <a:gd name="T36" fmla="*/ 9 w 17"/>
                <a:gd name="T37" fmla="*/ 20 h 26"/>
                <a:gd name="T38" fmla="*/ 9 w 17"/>
                <a:gd name="T39" fmla="*/ 22 h 26"/>
                <a:gd name="T40" fmla="*/ 11 w 17"/>
                <a:gd name="T41" fmla="*/ 23 h 26"/>
                <a:gd name="T42" fmla="*/ 11 w 17"/>
                <a:gd name="T43" fmla="*/ 26 h 26"/>
                <a:gd name="T44" fmla="*/ 12 w 17"/>
                <a:gd name="T45" fmla="*/ 26 h 26"/>
                <a:gd name="T46" fmla="*/ 13 w 17"/>
                <a:gd name="T47" fmla="*/ 26 h 26"/>
                <a:gd name="T48" fmla="*/ 13 w 17"/>
                <a:gd name="T49" fmla="*/ 25 h 26"/>
                <a:gd name="T50" fmla="*/ 15 w 17"/>
                <a:gd name="T51" fmla="*/ 23 h 26"/>
                <a:gd name="T52" fmla="*/ 16 w 17"/>
                <a:gd name="T53" fmla="*/ 22 h 26"/>
                <a:gd name="T54" fmla="*/ 16 w 17"/>
                <a:gd name="T55" fmla="*/ 20 h 26"/>
                <a:gd name="T56" fmla="*/ 16 w 17"/>
                <a:gd name="T57" fmla="*/ 19 h 26"/>
                <a:gd name="T58" fmla="*/ 17 w 17"/>
                <a:gd name="T59" fmla="*/ 18 h 26"/>
                <a:gd name="T60" fmla="*/ 17 w 17"/>
                <a:gd name="T61" fmla="*/ 15 h 26"/>
                <a:gd name="T62" fmla="*/ 17 w 17"/>
                <a:gd name="T63" fmla="*/ 11 h 26"/>
                <a:gd name="T64" fmla="*/ 17 w 17"/>
                <a:gd name="T65" fmla="*/ 8 h 26"/>
                <a:gd name="T66" fmla="*/ 16 w 17"/>
                <a:gd name="T67" fmla="*/ 5 h 26"/>
                <a:gd name="T68" fmla="*/ 16 w 17"/>
                <a:gd name="T69" fmla="*/ 3 h 26"/>
                <a:gd name="T70" fmla="*/ 13 w 17"/>
                <a:gd name="T71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" h="26">
                  <a:moveTo>
                    <a:pt x="13" y="1"/>
                  </a:moveTo>
                  <a:lnTo>
                    <a:pt x="12" y="1"/>
                  </a:lnTo>
                  <a:lnTo>
                    <a:pt x="11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6" y="4"/>
                  </a:lnTo>
                  <a:lnTo>
                    <a:pt x="5" y="7"/>
                  </a:lnTo>
                  <a:lnTo>
                    <a:pt x="4" y="9"/>
                  </a:lnTo>
                  <a:lnTo>
                    <a:pt x="2" y="12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11" y="23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5" y="23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8"/>
                  </a:lnTo>
                  <a:lnTo>
                    <a:pt x="17" y="15"/>
                  </a:lnTo>
                  <a:lnTo>
                    <a:pt x="17" y="11"/>
                  </a:lnTo>
                  <a:lnTo>
                    <a:pt x="17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3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5" name="Freeform 211"/>
            <p:cNvSpPr>
              <a:spLocks/>
            </p:cNvSpPr>
            <p:nvPr/>
          </p:nvSpPr>
          <p:spPr bwMode="auto">
            <a:xfrm>
              <a:off x="2451" y="835"/>
              <a:ext cx="37" cy="46"/>
            </a:xfrm>
            <a:custGeom>
              <a:avLst/>
              <a:gdLst>
                <a:gd name="T0" fmla="*/ 10 w 46"/>
                <a:gd name="T1" fmla="*/ 0 h 55"/>
                <a:gd name="T2" fmla="*/ 8 w 46"/>
                <a:gd name="T3" fmla="*/ 0 h 55"/>
                <a:gd name="T4" fmla="*/ 6 w 46"/>
                <a:gd name="T5" fmla="*/ 2 h 55"/>
                <a:gd name="T6" fmla="*/ 4 w 46"/>
                <a:gd name="T7" fmla="*/ 7 h 55"/>
                <a:gd name="T8" fmla="*/ 3 w 46"/>
                <a:gd name="T9" fmla="*/ 17 h 55"/>
                <a:gd name="T10" fmla="*/ 2 w 46"/>
                <a:gd name="T11" fmla="*/ 24 h 55"/>
                <a:gd name="T12" fmla="*/ 0 w 46"/>
                <a:gd name="T13" fmla="*/ 28 h 55"/>
                <a:gd name="T14" fmla="*/ 2 w 46"/>
                <a:gd name="T15" fmla="*/ 29 h 55"/>
                <a:gd name="T16" fmla="*/ 4 w 46"/>
                <a:gd name="T17" fmla="*/ 31 h 55"/>
                <a:gd name="T18" fmla="*/ 7 w 46"/>
                <a:gd name="T19" fmla="*/ 31 h 55"/>
                <a:gd name="T20" fmla="*/ 7 w 46"/>
                <a:gd name="T21" fmla="*/ 33 h 55"/>
                <a:gd name="T22" fmla="*/ 6 w 46"/>
                <a:gd name="T23" fmla="*/ 35 h 55"/>
                <a:gd name="T24" fmla="*/ 2 w 46"/>
                <a:gd name="T25" fmla="*/ 37 h 55"/>
                <a:gd name="T26" fmla="*/ 0 w 46"/>
                <a:gd name="T27" fmla="*/ 42 h 55"/>
                <a:gd name="T28" fmla="*/ 0 w 46"/>
                <a:gd name="T29" fmla="*/ 46 h 55"/>
                <a:gd name="T30" fmla="*/ 0 w 46"/>
                <a:gd name="T31" fmla="*/ 48 h 55"/>
                <a:gd name="T32" fmla="*/ 2 w 46"/>
                <a:gd name="T33" fmla="*/ 48 h 55"/>
                <a:gd name="T34" fmla="*/ 3 w 46"/>
                <a:gd name="T35" fmla="*/ 51 h 55"/>
                <a:gd name="T36" fmla="*/ 7 w 46"/>
                <a:gd name="T37" fmla="*/ 53 h 55"/>
                <a:gd name="T38" fmla="*/ 11 w 46"/>
                <a:gd name="T39" fmla="*/ 53 h 55"/>
                <a:gd name="T40" fmla="*/ 13 w 46"/>
                <a:gd name="T41" fmla="*/ 50 h 55"/>
                <a:gd name="T42" fmla="*/ 15 w 46"/>
                <a:gd name="T43" fmla="*/ 46 h 55"/>
                <a:gd name="T44" fmla="*/ 17 w 46"/>
                <a:gd name="T45" fmla="*/ 43 h 55"/>
                <a:gd name="T46" fmla="*/ 21 w 46"/>
                <a:gd name="T47" fmla="*/ 43 h 55"/>
                <a:gd name="T48" fmla="*/ 25 w 46"/>
                <a:gd name="T49" fmla="*/ 47 h 55"/>
                <a:gd name="T50" fmla="*/ 32 w 46"/>
                <a:gd name="T51" fmla="*/ 51 h 55"/>
                <a:gd name="T52" fmla="*/ 40 w 46"/>
                <a:gd name="T53" fmla="*/ 55 h 55"/>
                <a:gd name="T54" fmla="*/ 44 w 46"/>
                <a:gd name="T55" fmla="*/ 54 h 55"/>
                <a:gd name="T56" fmla="*/ 44 w 46"/>
                <a:gd name="T57" fmla="*/ 47 h 55"/>
                <a:gd name="T58" fmla="*/ 43 w 46"/>
                <a:gd name="T59" fmla="*/ 42 h 55"/>
                <a:gd name="T60" fmla="*/ 40 w 46"/>
                <a:gd name="T61" fmla="*/ 36 h 55"/>
                <a:gd name="T62" fmla="*/ 37 w 46"/>
                <a:gd name="T63" fmla="*/ 33 h 55"/>
                <a:gd name="T64" fmla="*/ 37 w 46"/>
                <a:gd name="T65" fmla="*/ 33 h 55"/>
                <a:gd name="T66" fmla="*/ 36 w 46"/>
                <a:gd name="T67" fmla="*/ 31 h 55"/>
                <a:gd name="T68" fmla="*/ 35 w 46"/>
                <a:gd name="T69" fmla="*/ 28 h 55"/>
                <a:gd name="T70" fmla="*/ 33 w 46"/>
                <a:gd name="T71" fmla="*/ 26 h 55"/>
                <a:gd name="T72" fmla="*/ 29 w 46"/>
                <a:gd name="T73" fmla="*/ 28 h 55"/>
                <a:gd name="T74" fmla="*/ 22 w 46"/>
                <a:gd name="T75" fmla="*/ 25 h 55"/>
                <a:gd name="T76" fmla="*/ 17 w 46"/>
                <a:gd name="T77" fmla="*/ 21 h 55"/>
                <a:gd name="T78" fmla="*/ 15 w 46"/>
                <a:gd name="T79" fmla="*/ 18 h 55"/>
                <a:gd name="T80" fmla="*/ 32 w 46"/>
                <a:gd name="T81" fmla="*/ 15 h 55"/>
                <a:gd name="T82" fmla="*/ 30 w 46"/>
                <a:gd name="T83" fmla="*/ 6 h 55"/>
                <a:gd name="T84" fmla="*/ 26 w 46"/>
                <a:gd name="T85" fmla="*/ 6 h 55"/>
                <a:gd name="T86" fmla="*/ 19 w 46"/>
                <a:gd name="T87" fmla="*/ 6 h 55"/>
                <a:gd name="T88" fmla="*/ 13 w 46"/>
                <a:gd name="T8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" h="55">
                  <a:moveTo>
                    <a:pt x="10" y="0"/>
                  </a:moveTo>
                  <a:lnTo>
                    <a:pt x="10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7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5"/>
                  </a:lnTo>
                  <a:lnTo>
                    <a:pt x="3" y="36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4" y="47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2" y="44"/>
                  </a:lnTo>
                  <a:lnTo>
                    <a:pt x="25" y="47"/>
                  </a:lnTo>
                  <a:lnTo>
                    <a:pt x="29" y="50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1"/>
                  </a:lnTo>
                  <a:lnTo>
                    <a:pt x="44" y="47"/>
                  </a:lnTo>
                  <a:lnTo>
                    <a:pt x="44" y="44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0" y="36"/>
                  </a:lnTo>
                  <a:lnTo>
                    <a:pt x="39" y="35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2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5" y="28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2" y="26"/>
                  </a:lnTo>
                  <a:lnTo>
                    <a:pt x="29" y="28"/>
                  </a:lnTo>
                  <a:lnTo>
                    <a:pt x="26" y="26"/>
                  </a:lnTo>
                  <a:lnTo>
                    <a:pt x="22" y="25"/>
                  </a:lnTo>
                  <a:lnTo>
                    <a:pt x="19" y="24"/>
                  </a:lnTo>
                  <a:lnTo>
                    <a:pt x="17" y="21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8" y="17"/>
                  </a:lnTo>
                  <a:lnTo>
                    <a:pt x="32" y="15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9" y="6"/>
                  </a:lnTo>
                  <a:lnTo>
                    <a:pt x="15" y="4"/>
                  </a:lnTo>
                  <a:lnTo>
                    <a:pt x="13" y="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6" name="Freeform 212"/>
            <p:cNvSpPr>
              <a:spLocks/>
            </p:cNvSpPr>
            <p:nvPr/>
          </p:nvSpPr>
          <p:spPr bwMode="auto">
            <a:xfrm>
              <a:off x="2451" y="835"/>
              <a:ext cx="37" cy="46"/>
            </a:xfrm>
            <a:custGeom>
              <a:avLst/>
              <a:gdLst>
                <a:gd name="T0" fmla="*/ 8 w 46"/>
                <a:gd name="T1" fmla="*/ 0 h 55"/>
                <a:gd name="T2" fmla="*/ 6 w 46"/>
                <a:gd name="T3" fmla="*/ 2 h 55"/>
                <a:gd name="T4" fmla="*/ 4 w 46"/>
                <a:gd name="T5" fmla="*/ 7 h 55"/>
                <a:gd name="T6" fmla="*/ 3 w 46"/>
                <a:gd name="T7" fmla="*/ 17 h 55"/>
                <a:gd name="T8" fmla="*/ 2 w 46"/>
                <a:gd name="T9" fmla="*/ 24 h 55"/>
                <a:gd name="T10" fmla="*/ 0 w 46"/>
                <a:gd name="T11" fmla="*/ 28 h 55"/>
                <a:gd name="T12" fmla="*/ 3 w 46"/>
                <a:gd name="T13" fmla="*/ 29 h 55"/>
                <a:gd name="T14" fmla="*/ 6 w 46"/>
                <a:gd name="T15" fmla="*/ 31 h 55"/>
                <a:gd name="T16" fmla="*/ 7 w 46"/>
                <a:gd name="T17" fmla="*/ 32 h 55"/>
                <a:gd name="T18" fmla="*/ 6 w 46"/>
                <a:gd name="T19" fmla="*/ 35 h 55"/>
                <a:gd name="T20" fmla="*/ 2 w 46"/>
                <a:gd name="T21" fmla="*/ 37 h 55"/>
                <a:gd name="T22" fmla="*/ 0 w 46"/>
                <a:gd name="T23" fmla="*/ 42 h 55"/>
                <a:gd name="T24" fmla="*/ 0 w 46"/>
                <a:gd name="T25" fmla="*/ 46 h 55"/>
                <a:gd name="T26" fmla="*/ 0 w 46"/>
                <a:gd name="T27" fmla="*/ 48 h 55"/>
                <a:gd name="T28" fmla="*/ 2 w 46"/>
                <a:gd name="T29" fmla="*/ 50 h 55"/>
                <a:gd name="T30" fmla="*/ 6 w 46"/>
                <a:gd name="T31" fmla="*/ 51 h 55"/>
                <a:gd name="T32" fmla="*/ 10 w 46"/>
                <a:gd name="T33" fmla="*/ 53 h 55"/>
                <a:gd name="T34" fmla="*/ 13 w 46"/>
                <a:gd name="T35" fmla="*/ 51 h 55"/>
                <a:gd name="T36" fmla="*/ 14 w 46"/>
                <a:gd name="T37" fmla="*/ 47 h 55"/>
                <a:gd name="T38" fmla="*/ 15 w 46"/>
                <a:gd name="T39" fmla="*/ 44 h 55"/>
                <a:gd name="T40" fmla="*/ 18 w 46"/>
                <a:gd name="T41" fmla="*/ 43 h 55"/>
                <a:gd name="T42" fmla="*/ 22 w 46"/>
                <a:gd name="T43" fmla="*/ 44 h 55"/>
                <a:gd name="T44" fmla="*/ 29 w 46"/>
                <a:gd name="T45" fmla="*/ 50 h 55"/>
                <a:gd name="T46" fmla="*/ 36 w 46"/>
                <a:gd name="T47" fmla="*/ 54 h 55"/>
                <a:gd name="T48" fmla="*/ 43 w 46"/>
                <a:gd name="T49" fmla="*/ 55 h 55"/>
                <a:gd name="T50" fmla="*/ 46 w 46"/>
                <a:gd name="T51" fmla="*/ 51 h 55"/>
                <a:gd name="T52" fmla="*/ 44 w 46"/>
                <a:gd name="T53" fmla="*/ 44 h 55"/>
                <a:gd name="T54" fmla="*/ 41 w 46"/>
                <a:gd name="T55" fmla="*/ 39 h 55"/>
                <a:gd name="T56" fmla="*/ 39 w 46"/>
                <a:gd name="T57" fmla="*/ 35 h 55"/>
                <a:gd name="T58" fmla="*/ 37 w 46"/>
                <a:gd name="T59" fmla="*/ 32 h 55"/>
                <a:gd name="T60" fmla="*/ 36 w 46"/>
                <a:gd name="T61" fmla="*/ 29 h 55"/>
                <a:gd name="T62" fmla="*/ 33 w 46"/>
                <a:gd name="T63" fmla="*/ 26 h 55"/>
                <a:gd name="T64" fmla="*/ 29 w 46"/>
                <a:gd name="T65" fmla="*/ 28 h 55"/>
                <a:gd name="T66" fmla="*/ 22 w 46"/>
                <a:gd name="T67" fmla="*/ 25 h 55"/>
                <a:gd name="T68" fmla="*/ 17 w 46"/>
                <a:gd name="T69" fmla="*/ 21 h 55"/>
                <a:gd name="T70" fmla="*/ 15 w 46"/>
                <a:gd name="T71" fmla="*/ 18 h 55"/>
                <a:gd name="T72" fmla="*/ 32 w 46"/>
                <a:gd name="T73" fmla="*/ 15 h 55"/>
                <a:gd name="T74" fmla="*/ 30 w 46"/>
                <a:gd name="T75" fmla="*/ 6 h 55"/>
                <a:gd name="T76" fmla="*/ 26 w 46"/>
                <a:gd name="T77" fmla="*/ 6 h 55"/>
                <a:gd name="T78" fmla="*/ 19 w 46"/>
                <a:gd name="T79" fmla="*/ 6 h 55"/>
                <a:gd name="T80" fmla="*/ 13 w 46"/>
                <a:gd name="T81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55">
                  <a:moveTo>
                    <a:pt x="10" y="0"/>
                  </a:moveTo>
                  <a:lnTo>
                    <a:pt x="8" y="0"/>
                  </a:lnTo>
                  <a:lnTo>
                    <a:pt x="7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4" y="7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2" y="21"/>
                  </a:lnTo>
                  <a:lnTo>
                    <a:pt x="2" y="24"/>
                  </a:lnTo>
                  <a:lnTo>
                    <a:pt x="2" y="26"/>
                  </a:lnTo>
                  <a:lnTo>
                    <a:pt x="0" y="28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5"/>
                  </a:lnTo>
                  <a:lnTo>
                    <a:pt x="3" y="36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47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7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4" y="47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21" y="43"/>
                  </a:lnTo>
                  <a:lnTo>
                    <a:pt x="22" y="44"/>
                  </a:lnTo>
                  <a:lnTo>
                    <a:pt x="25" y="47"/>
                  </a:lnTo>
                  <a:lnTo>
                    <a:pt x="29" y="50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0" y="55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1"/>
                  </a:lnTo>
                  <a:lnTo>
                    <a:pt x="44" y="47"/>
                  </a:lnTo>
                  <a:lnTo>
                    <a:pt x="44" y="44"/>
                  </a:lnTo>
                  <a:lnTo>
                    <a:pt x="43" y="42"/>
                  </a:lnTo>
                  <a:lnTo>
                    <a:pt x="41" y="39"/>
                  </a:lnTo>
                  <a:lnTo>
                    <a:pt x="40" y="36"/>
                  </a:lnTo>
                  <a:lnTo>
                    <a:pt x="39" y="35"/>
                  </a:lnTo>
                  <a:lnTo>
                    <a:pt x="37" y="33"/>
                  </a:lnTo>
                  <a:lnTo>
                    <a:pt x="37" y="32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5" y="28"/>
                  </a:lnTo>
                  <a:lnTo>
                    <a:pt x="33" y="26"/>
                  </a:lnTo>
                  <a:lnTo>
                    <a:pt x="32" y="26"/>
                  </a:lnTo>
                  <a:lnTo>
                    <a:pt x="29" y="28"/>
                  </a:lnTo>
                  <a:lnTo>
                    <a:pt x="26" y="26"/>
                  </a:lnTo>
                  <a:lnTo>
                    <a:pt x="22" y="25"/>
                  </a:lnTo>
                  <a:lnTo>
                    <a:pt x="19" y="24"/>
                  </a:lnTo>
                  <a:lnTo>
                    <a:pt x="17" y="21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8" y="17"/>
                  </a:lnTo>
                  <a:lnTo>
                    <a:pt x="32" y="15"/>
                  </a:lnTo>
                  <a:lnTo>
                    <a:pt x="32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2" y="6"/>
                  </a:lnTo>
                  <a:lnTo>
                    <a:pt x="19" y="6"/>
                  </a:lnTo>
                  <a:lnTo>
                    <a:pt x="15" y="4"/>
                  </a:lnTo>
                  <a:lnTo>
                    <a:pt x="13" y="3"/>
                  </a:lnTo>
                  <a:lnTo>
                    <a:pt x="10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7" name="Freeform 213"/>
            <p:cNvSpPr>
              <a:spLocks/>
            </p:cNvSpPr>
            <p:nvPr/>
          </p:nvSpPr>
          <p:spPr bwMode="auto">
            <a:xfrm>
              <a:off x="1888" y="879"/>
              <a:ext cx="267" cy="306"/>
            </a:xfrm>
            <a:custGeom>
              <a:avLst/>
              <a:gdLst>
                <a:gd name="T0" fmla="*/ 112 w 330"/>
                <a:gd name="T1" fmla="*/ 144 h 379"/>
                <a:gd name="T2" fmla="*/ 129 w 330"/>
                <a:gd name="T3" fmla="*/ 151 h 379"/>
                <a:gd name="T4" fmla="*/ 165 w 330"/>
                <a:gd name="T5" fmla="*/ 169 h 379"/>
                <a:gd name="T6" fmla="*/ 175 w 330"/>
                <a:gd name="T7" fmla="*/ 176 h 379"/>
                <a:gd name="T8" fmla="*/ 186 w 330"/>
                <a:gd name="T9" fmla="*/ 218 h 379"/>
                <a:gd name="T10" fmla="*/ 178 w 330"/>
                <a:gd name="T11" fmla="*/ 263 h 379"/>
                <a:gd name="T12" fmla="*/ 158 w 330"/>
                <a:gd name="T13" fmla="*/ 283 h 379"/>
                <a:gd name="T14" fmla="*/ 139 w 330"/>
                <a:gd name="T15" fmla="*/ 281 h 379"/>
                <a:gd name="T16" fmla="*/ 138 w 330"/>
                <a:gd name="T17" fmla="*/ 310 h 379"/>
                <a:gd name="T18" fmla="*/ 172 w 330"/>
                <a:gd name="T19" fmla="*/ 309 h 379"/>
                <a:gd name="T20" fmla="*/ 206 w 330"/>
                <a:gd name="T21" fmla="*/ 334 h 379"/>
                <a:gd name="T22" fmla="*/ 233 w 330"/>
                <a:gd name="T23" fmla="*/ 356 h 379"/>
                <a:gd name="T24" fmla="*/ 252 w 330"/>
                <a:gd name="T25" fmla="*/ 375 h 379"/>
                <a:gd name="T26" fmla="*/ 260 w 330"/>
                <a:gd name="T27" fmla="*/ 360 h 379"/>
                <a:gd name="T28" fmla="*/ 244 w 330"/>
                <a:gd name="T29" fmla="*/ 340 h 379"/>
                <a:gd name="T30" fmla="*/ 259 w 330"/>
                <a:gd name="T31" fmla="*/ 340 h 379"/>
                <a:gd name="T32" fmla="*/ 285 w 330"/>
                <a:gd name="T33" fmla="*/ 362 h 379"/>
                <a:gd name="T34" fmla="*/ 294 w 330"/>
                <a:gd name="T35" fmla="*/ 351 h 379"/>
                <a:gd name="T36" fmla="*/ 285 w 330"/>
                <a:gd name="T37" fmla="*/ 321 h 379"/>
                <a:gd name="T38" fmla="*/ 264 w 330"/>
                <a:gd name="T39" fmla="*/ 305 h 379"/>
                <a:gd name="T40" fmla="*/ 256 w 330"/>
                <a:gd name="T41" fmla="*/ 294 h 379"/>
                <a:gd name="T42" fmla="*/ 245 w 330"/>
                <a:gd name="T43" fmla="*/ 265 h 379"/>
                <a:gd name="T44" fmla="*/ 257 w 330"/>
                <a:gd name="T45" fmla="*/ 247 h 379"/>
                <a:gd name="T46" fmla="*/ 268 w 330"/>
                <a:gd name="T47" fmla="*/ 274 h 379"/>
                <a:gd name="T48" fmla="*/ 277 w 330"/>
                <a:gd name="T49" fmla="*/ 294 h 379"/>
                <a:gd name="T50" fmla="*/ 299 w 330"/>
                <a:gd name="T51" fmla="*/ 285 h 379"/>
                <a:gd name="T52" fmla="*/ 323 w 330"/>
                <a:gd name="T53" fmla="*/ 276 h 379"/>
                <a:gd name="T54" fmla="*/ 322 w 330"/>
                <a:gd name="T55" fmla="*/ 261 h 379"/>
                <a:gd name="T56" fmla="*/ 327 w 330"/>
                <a:gd name="T57" fmla="*/ 250 h 379"/>
                <a:gd name="T58" fmla="*/ 322 w 330"/>
                <a:gd name="T59" fmla="*/ 239 h 379"/>
                <a:gd name="T60" fmla="*/ 310 w 330"/>
                <a:gd name="T61" fmla="*/ 236 h 379"/>
                <a:gd name="T62" fmla="*/ 301 w 330"/>
                <a:gd name="T63" fmla="*/ 232 h 379"/>
                <a:gd name="T64" fmla="*/ 257 w 330"/>
                <a:gd name="T65" fmla="*/ 195 h 379"/>
                <a:gd name="T66" fmla="*/ 244 w 330"/>
                <a:gd name="T67" fmla="*/ 192 h 379"/>
                <a:gd name="T68" fmla="*/ 248 w 330"/>
                <a:gd name="T69" fmla="*/ 176 h 379"/>
                <a:gd name="T70" fmla="*/ 263 w 330"/>
                <a:gd name="T71" fmla="*/ 163 h 379"/>
                <a:gd name="T72" fmla="*/ 259 w 330"/>
                <a:gd name="T73" fmla="*/ 151 h 379"/>
                <a:gd name="T74" fmla="*/ 255 w 330"/>
                <a:gd name="T75" fmla="*/ 137 h 379"/>
                <a:gd name="T76" fmla="*/ 238 w 330"/>
                <a:gd name="T77" fmla="*/ 119 h 379"/>
                <a:gd name="T78" fmla="*/ 227 w 330"/>
                <a:gd name="T79" fmla="*/ 108 h 379"/>
                <a:gd name="T80" fmla="*/ 209 w 330"/>
                <a:gd name="T81" fmla="*/ 112 h 379"/>
                <a:gd name="T82" fmla="*/ 213 w 330"/>
                <a:gd name="T83" fmla="*/ 93 h 379"/>
                <a:gd name="T84" fmla="*/ 190 w 330"/>
                <a:gd name="T85" fmla="*/ 86 h 379"/>
                <a:gd name="T86" fmla="*/ 157 w 330"/>
                <a:gd name="T87" fmla="*/ 56 h 379"/>
                <a:gd name="T88" fmla="*/ 117 w 330"/>
                <a:gd name="T89" fmla="*/ 55 h 379"/>
                <a:gd name="T90" fmla="*/ 96 w 330"/>
                <a:gd name="T91" fmla="*/ 42 h 379"/>
                <a:gd name="T92" fmla="*/ 101 w 330"/>
                <a:gd name="T93" fmla="*/ 13 h 379"/>
                <a:gd name="T94" fmla="*/ 79 w 330"/>
                <a:gd name="T95" fmla="*/ 9 h 379"/>
                <a:gd name="T96" fmla="*/ 65 w 330"/>
                <a:gd name="T97" fmla="*/ 48 h 379"/>
                <a:gd name="T98" fmla="*/ 85 w 330"/>
                <a:gd name="T99" fmla="*/ 101 h 379"/>
                <a:gd name="T100" fmla="*/ 68 w 330"/>
                <a:gd name="T101" fmla="*/ 90 h 379"/>
                <a:gd name="T102" fmla="*/ 52 w 330"/>
                <a:gd name="T103" fmla="*/ 31 h 379"/>
                <a:gd name="T104" fmla="*/ 52 w 330"/>
                <a:gd name="T105" fmla="*/ 0 h 379"/>
                <a:gd name="T106" fmla="*/ 12 w 330"/>
                <a:gd name="T107" fmla="*/ 34 h 379"/>
                <a:gd name="T108" fmla="*/ 0 w 330"/>
                <a:gd name="T109" fmla="*/ 68 h 379"/>
                <a:gd name="T110" fmla="*/ 17 w 330"/>
                <a:gd name="T111" fmla="*/ 99 h 379"/>
                <a:gd name="T112" fmla="*/ 32 w 330"/>
                <a:gd name="T113" fmla="*/ 130 h 379"/>
                <a:gd name="T114" fmla="*/ 47 w 330"/>
                <a:gd name="T115" fmla="*/ 133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0" h="379">
                  <a:moveTo>
                    <a:pt x="95" y="147"/>
                  </a:moveTo>
                  <a:lnTo>
                    <a:pt x="109" y="148"/>
                  </a:lnTo>
                  <a:lnTo>
                    <a:pt x="109" y="147"/>
                  </a:lnTo>
                  <a:lnTo>
                    <a:pt x="109" y="147"/>
                  </a:lnTo>
                  <a:lnTo>
                    <a:pt x="110" y="145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2" y="144"/>
                  </a:lnTo>
                  <a:lnTo>
                    <a:pt x="113" y="144"/>
                  </a:lnTo>
                  <a:lnTo>
                    <a:pt x="116" y="147"/>
                  </a:lnTo>
                  <a:lnTo>
                    <a:pt x="116" y="147"/>
                  </a:lnTo>
                  <a:lnTo>
                    <a:pt x="117" y="147"/>
                  </a:lnTo>
                  <a:lnTo>
                    <a:pt x="120" y="148"/>
                  </a:lnTo>
                  <a:lnTo>
                    <a:pt x="123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4" y="152"/>
                  </a:lnTo>
                  <a:lnTo>
                    <a:pt x="138" y="152"/>
                  </a:lnTo>
                  <a:lnTo>
                    <a:pt x="160" y="163"/>
                  </a:lnTo>
                  <a:lnTo>
                    <a:pt x="161" y="165"/>
                  </a:lnTo>
                  <a:lnTo>
                    <a:pt x="161" y="165"/>
                  </a:lnTo>
                  <a:lnTo>
                    <a:pt x="162" y="166"/>
                  </a:lnTo>
                  <a:lnTo>
                    <a:pt x="164" y="167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4" y="173"/>
                  </a:lnTo>
                  <a:lnTo>
                    <a:pt x="161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5" y="176"/>
                  </a:lnTo>
                  <a:lnTo>
                    <a:pt x="178" y="177"/>
                  </a:lnTo>
                  <a:lnTo>
                    <a:pt x="180" y="180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3" y="191"/>
                  </a:lnTo>
                  <a:lnTo>
                    <a:pt x="184" y="199"/>
                  </a:lnTo>
                  <a:lnTo>
                    <a:pt x="186" y="207"/>
                  </a:lnTo>
                  <a:lnTo>
                    <a:pt x="186" y="218"/>
                  </a:lnTo>
                  <a:lnTo>
                    <a:pt x="186" y="228"/>
                  </a:lnTo>
                  <a:lnTo>
                    <a:pt x="183" y="239"/>
                  </a:lnTo>
                  <a:lnTo>
                    <a:pt x="179" y="247"/>
                  </a:lnTo>
                  <a:lnTo>
                    <a:pt x="179" y="248"/>
                  </a:lnTo>
                  <a:lnTo>
                    <a:pt x="179" y="251"/>
                  </a:lnTo>
                  <a:lnTo>
                    <a:pt x="179" y="254"/>
                  </a:lnTo>
                  <a:lnTo>
                    <a:pt x="179" y="258"/>
                  </a:lnTo>
                  <a:lnTo>
                    <a:pt x="178" y="263"/>
                  </a:lnTo>
                  <a:lnTo>
                    <a:pt x="175" y="268"/>
                  </a:lnTo>
                  <a:lnTo>
                    <a:pt x="172" y="273"/>
                  </a:lnTo>
                  <a:lnTo>
                    <a:pt x="168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4" y="280"/>
                  </a:lnTo>
                  <a:lnTo>
                    <a:pt x="161" y="281"/>
                  </a:lnTo>
                  <a:lnTo>
                    <a:pt x="158" y="283"/>
                  </a:lnTo>
                  <a:lnTo>
                    <a:pt x="156" y="283"/>
                  </a:lnTo>
                  <a:lnTo>
                    <a:pt x="151" y="283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7" y="280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2" y="288"/>
                  </a:lnTo>
                  <a:lnTo>
                    <a:pt x="129" y="295"/>
                  </a:lnTo>
                  <a:lnTo>
                    <a:pt x="129" y="296"/>
                  </a:lnTo>
                  <a:lnTo>
                    <a:pt x="131" y="299"/>
                  </a:lnTo>
                  <a:lnTo>
                    <a:pt x="131" y="302"/>
                  </a:lnTo>
                  <a:lnTo>
                    <a:pt x="134" y="306"/>
                  </a:lnTo>
                  <a:lnTo>
                    <a:pt x="138" y="310"/>
                  </a:lnTo>
                  <a:lnTo>
                    <a:pt x="143" y="313"/>
                  </a:lnTo>
                  <a:lnTo>
                    <a:pt x="150" y="314"/>
                  </a:lnTo>
                  <a:lnTo>
                    <a:pt x="160" y="314"/>
                  </a:lnTo>
                  <a:lnTo>
                    <a:pt x="161" y="314"/>
                  </a:lnTo>
                  <a:lnTo>
                    <a:pt x="162" y="313"/>
                  </a:lnTo>
                  <a:lnTo>
                    <a:pt x="167" y="312"/>
                  </a:lnTo>
                  <a:lnTo>
                    <a:pt x="169" y="310"/>
                  </a:lnTo>
                  <a:lnTo>
                    <a:pt x="172" y="309"/>
                  </a:lnTo>
                  <a:lnTo>
                    <a:pt x="173" y="306"/>
                  </a:lnTo>
                  <a:lnTo>
                    <a:pt x="173" y="305"/>
                  </a:lnTo>
                  <a:lnTo>
                    <a:pt x="171" y="303"/>
                  </a:lnTo>
                  <a:lnTo>
                    <a:pt x="191" y="324"/>
                  </a:lnTo>
                  <a:lnTo>
                    <a:pt x="206" y="327"/>
                  </a:lnTo>
                  <a:lnTo>
                    <a:pt x="206" y="328"/>
                  </a:lnTo>
                  <a:lnTo>
                    <a:pt x="205" y="329"/>
                  </a:lnTo>
                  <a:lnTo>
                    <a:pt x="206" y="334"/>
                  </a:lnTo>
                  <a:lnTo>
                    <a:pt x="208" y="338"/>
                  </a:lnTo>
                  <a:lnTo>
                    <a:pt x="209" y="342"/>
                  </a:lnTo>
                  <a:lnTo>
                    <a:pt x="213" y="346"/>
                  </a:lnTo>
                  <a:lnTo>
                    <a:pt x="220" y="350"/>
                  </a:lnTo>
                  <a:lnTo>
                    <a:pt x="228" y="354"/>
                  </a:lnTo>
                  <a:lnTo>
                    <a:pt x="228" y="354"/>
                  </a:lnTo>
                  <a:lnTo>
                    <a:pt x="230" y="354"/>
                  </a:lnTo>
                  <a:lnTo>
                    <a:pt x="233" y="356"/>
                  </a:lnTo>
                  <a:lnTo>
                    <a:pt x="235" y="357"/>
                  </a:lnTo>
                  <a:lnTo>
                    <a:pt x="238" y="358"/>
                  </a:lnTo>
                  <a:lnTo>
                    <a:pt x="241" y="361"/>
                  </a:lnTo>
                  <a:lnTo>
                    <a:pt x="242" y="364"/>
                  </a:lnTo>
                  <a:lnTo>
                    <a:pt x="244" y="368"/>
                  </a:lnTo>
                  <a:lnTo>
                    <a:pt x="245" y="369"/>
                  </a:lnTo>
                  <a:lnTo>
                    <a:pt x="248" y="371"/>
                  </a:lnTo>
                  <a:lnTo>
                    <a:pt x="252" y="375"/>
                  </a:lnTo>
                  <a:lnTo>
                    <a:pt x="256" y="376"/>
                  </a:lnTo>
                  <a:lnTo>
                    <a:pt x="260" y="379"/>
                  </a:lnTo>
                  <a:lnTo>
                    <a:pt x="263" y="378"/>
                  </a:lnTo>
                  <a:lnTo>
                    <a:pt x="264" y="375"/>
                  </a:lnTo>
                  <a:lnTo>
                    <a:pt x="264" y="368"/>
                  </a:lnTo>
                  <a:lnTo>
                    <a:pt x="264" y="367"/>
                  </a:lnTo>
                  <a:lnTo>
                    <a:pt x="263" y="364"/>
                  </a:lnTo>
                  <a:lnTo>
                    <a:pt x="260" y="360"/>
                  </a:lnTo>
                  <a:lnTo>
                    <a:pt x="257" y="356"/>
                  </a:lnTo>
                  <a:lnTo>
                    <a:pt x="255" y="350"/>
                  </a:lnTo>
                  <a:lnTo>
                    <a:pt x="252" y="346"/>
                  </a:lnTo>
                  <a:lnTo>
                    <a:pt x="248" y="343"/>
                  </a:lnTo>
                  <a:lnTo>
                    <a:pt x="245" y="343"/>
                  </a:lnTo>
                  <a:lnTo>
                    <a:pt x="245" y="342"/>
                  </a:lnTo>
                  <a:lnTo>
                    <a:pt x="245" y="342"/>
                  </a:lnTo>
                  <a:lnTo>
                    <a:pt x="244" y="340"/>
                  </a:lnTo>
                  <a:lnTo>
                    <a:pt x="242" y="339"/>
                  </a:lnTo>
                  <a:lnTo>
                    <a:pt x="242" y="338"/>
                  </a:lnTo>
                  <a:lnTo>
                    <a:pt x="244" y="338"/>
                  </a:lnTo>
                  <a:lnTo>
                    <a:pt x="245" y="336"/>
                  </a:lnTo>
                  <a:lnTo>
                    <a:pt x="248" y="336"/>
                  </a:lnTo>
                  <a:lnTo>
                    <a:pt x="249" y="336"/>
                  </a:lnTo>
                  <a:lnTo>
                    <a:pt x="253" y="338"/>
                  </a:lnTo>
                  <a:lnTo>
                    <a:pt x="259" y="340"/>
                  </a:lnTo>
                  <a:lnTo>
                    <a:pt x="264" y="343"/>
                  </a:lnTo>
                  <a:lnTo>
                    <a:pt x="271" y="347"/>
                  </a:lnTo>
                  <a:lnTo>
                    <a:pt x="277" y="351"/>
                  </a:lnTo>
                  <a:lnTo>
                    <a:pt x="281" y="356"/>
                  </a:lnTo>
                  <a:lnTo>
                    <a:pt x="283" y="360"/>
                  </a:lnTo>
                  <a:lnTo>
                    <a:pt x="283" y="361"/>
                  </a:lnTo>
                  <a:lnTo>
                    <a:pt x="283" y="361"/>
                  </a:lnTo>
                  <a:lnTo>
                    <a:pt x="285" y="362"/>
                  </a:lnTo>
                  <a:lnTo>
                    <a:pt x="286" y="364"/>
                  </a:lnTo>
                  <a:lnTo>
                    <a:pt x="286" y="364"/>
                  </a:lnTo>
                  <a:lnTo>
                    <a:pt x="288" y="364"/>
                  </a:lnTo>
                  <a:lnTo>
                    <a:pt x="290" y="362"/>
                  </a:lnTo>
                  <a:lnTo>
                    <a:pt x="292" y="358"/>
                  </a:lnTo>
                  <a:lnTo>
                    <a:pt x="292" y="358"/>
                  </a:lnTo>
                  <a:lnTo>
                    <a:pt x="293" y="356"/>
                  </a:lnTo>
                  <a:lnTo>
                    <a:pt x="294" y="351"/>
                  </a:lnTo>
                  <a:lnTo>
                    <a:pt x="296" y="347"/>
                  </a:lnTo>
                  <a:lnTo>
                    <a:pt x="297" y="342"/>
                  </a:lnTo>
                  <a:lnTo>
                    <a:pt x="297" y="338"/>
                  </a:lnTo>
                  <a:lnTo>
                    <a:pt x="296" y="332"/>
                  </a:lnTo>
                  <a:lnTo>
                    <a:pt x="292" y="329"/>
                  </a:lnTo>
                  <a:lnTo>
                    <a:pt x="290" y="328"/>
                  </a:lnTo>
                  <a:lnTo>
                    <a:pt x="289" y="325"/>
                  </a:lnTo>
                  <a:lnTo>
                    <a:pt x="285" y="321"/>
                  </a:lnTo>
                  <a:lnTo>
                    <a:pt x="281" y="317"/>
                  </a:lnTo>
                  <a:lnTo>
                    <a:pt x="277" y="313"/>
                  </a:lnTo>
                  <a:lnTo>
                    <a:pt x="272" y="309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6" y="306"/>
                  </a:lnTo>
                  <a:lnTo>
                    <a:pt x="264" y="305"/>
                  </a:lnTo>
                  <a:lnTo>
                    <a:pt x="263" y="303"/>
                  </a:lnTo>
                  <a:lnTo>
                    <a:pt x="261" y="302"/>
                  </a:lnTo>
                  <a:lnTo>
                    <a:pt x="260" y="301"/>
                  </a:lnTo>
                  <a:lnTo>
                    <a:pt x="260" y="298"/>
                  </a:lnTo>
                  <a:lnTo>
                    <a:pt x="260" y="295"/>
                  </a:lnTo>
                  <a:lnTo>
                    <a:pt x="260" y="295"/>
                  </a:lnTo>
                  <a:lnTo>
                    <a:pt x="257" y="295"/>
                  </a:lnTo>
                  <a:lnTo>
                    <a:pt x="256" y="294"/>
                  </a:lnTo>
                  <a:lnTo>
                    <a:pt x="253" y="292"/>
                  </a:lnTo>
                  <a:lnTo>
                    <a:pt x="250" y="290"/>
                  </a:lnTo>
                  <a:lnTo>
                    <a:pt x="249" y="285"/>
                  </a:lnTo>
                  <a:lnTo>
                    <a:pt x="248" y="280"/>
                  </a:lnTo>
                  <a:lnTo>
                    <a:pt x="246" y="273"/>
                  </a:lnTo>
                  <a:lnTo>
                    <a:pt x="246" y="272"/>
                  </a:lnTo>
                  <a:lnTo>
                    <a:pt x="246" y="269"/>
                  </a:lnTo>
                  <a:lnTo>
                    <a:pt x="245" y="265"/>
                  </a:lnTo>
                  <a:lnTo>
                    <a:pt x="245" y="259"/>
                  </a:lnTo>
                  <a:lnTo>
                    <a:pt x="245" y="254"/>
                  </a:lnTo>
                  <a:lnTo>
                    <a:pt x="246" y="250"/>
                  </a:lnTo>
                  <a:lnTo>
                    <a:pt x="249" y="247"/>
                  </a:lnTo>
                  <a:lnTo>
                    <a:pt x="253" y="246"/>
                  </a:lnTo>
                  <a:lnTo>
                    <a:pt x="253" y="246"/>
                  </a:lnTo>
                  <a:lnTo>
                    <a:pt x="255" y="247"/>
                  </a:lnTo>
                  <a:lnTo>
                    <a:pt x="257" y="247"/>
                  </a:lnTo>
                  <a:lnTo>
                    <a:pt x="259" y="250"/>
                  </a:lnTo>
                  <a:lnTo>
                    <a:pt x="261" y="252"/>
                  </a:lnTo>
                  <a:lnTo>
                    <a:pt x="264" y="257"/>
                  </a:lnTo>
                  <a:lnTo>
                    <a:pt x="266" y="262"/>
                  </a:lnTo>
                  <a:lnTo>
                    <a:pt x="266" y="269"/>
                  </a:lnTo>
                  <a:lnTo>
                    <a:pt x="267" y="269"/>
                  </a:lnTo>
                  <a:lnTo>
                    <a:pt x="267" y="272"/>
                  </a:lnTo>
                  <a:lnTo>
                    <a:pt x="268" y="274"/>
                  </a:lnTo>
                  <a:lnTo>
                    <a:pt x="271" y="279"/>
                  </a:lnTo>
                  <a:lnTo>
                    <a:pt x="272" y="281"/>
                  </a:lnTo>
                  <a:lnTo>
                    <a:pt x="274" y="285"/>
                  </a:lnTo>
                  <a:lnTo>
                    <a:pt x="275" y="290"/>
                  </a:lnTo>
                  <a:lnTo>
                    <a:pt x="275" y="292"/>
                  </a:lnTo>
                  <a:lnTo>
                    <a:pt x="275" y="292"/>
                  </a:lnTo>
                  <a:lnTo>
                    <a:pt x="277" y="294"/>
                  </a:lnTo>
                  <a:lnTo>
                    <a:pt x="277" y="294"/>
                  </a:lnTo>
                  <a:lnTo>
                    <a:pt x="278" y="295"/>
                  </a:lnTo>
                  <a:lnTo>
                    <a:pt x="279" y="295"/>
                  </a:lnTo>
                  <a:lnTo>
                    <a:pt x="283" y="295"/>
                  </a:lnTo>
                  <a:lnTo>
                    <a:pt x="288" y="292"/>
                  </a:lnTo>
                  <a:lnTo>
                    <a:pt x="293" y="290"/>
                  </a:lnTo>
                  <a:lnTo>
                    <a:pt x="293" y="288"/>
                  </a:lnTo>
                  <a:lnTo>
                    <a:pt x="296" y="287"/>
                  </a:lnTo>
                  <a:lnTo>
                    <a:pt x="299" y="285"/>
                  </a:lnTo>
                  <a:lnTo>
                    <a:pt x="303" y="283"/>
                  </a:lnTo>
                  <a:lnTo>
                    <a:pt x="307" y="280"/>
                  </a:lnTo>
                  <a:lnTo>
                    <a:pt x="311" y="279"/>
                  </a:lnTo>
                  <a:lnTo>
                    <a:pt x="314" y="277"/>
                  </a:lnTo>
                  <a:lnTo>
                    <a:pt x="316" y="277"/>
                  </a:lnTo>
                  <a:lnTo>
                    <a:pt x="318" y="277"/>
                  </a:lnTo>
                  <a:lnTo>
                    <a:pt x="321" y="277"/>
                  </a:lnTo>
                  <a:lnTo>
                    <a:pt x="323" y="276"/>
                  </a:lnTo>
                  <a:lnTo>
                    <a:pt x="326" y="274"/>
                  </a:lnTo>
                  <a:lnTo>
                    <a:pt x="329" y="272"/>
                  </a:lnTo>
                  <a:lnTo>
                    <a:pt x="330" y="269"/>
                  </a:lnTo>
                  <a:lnTo>
                    <a:pt x="329" y="265"/>
                  </a:lnTo>
                  <a:lnTo>
                    <a:pt x="326" y="261"/>
                  </a:lnTo>
                  <a:lnTo>
                    <a:pt x="326" y="261"/>
                  </a:lnTo>
                  <a:lnTo>
                    <a:pt x="325" y="261"/>
                  </a:lnTo>
                  <a:lnTo>
                    <a:pt x="322" y="261"/>
                  </a:lnTo>
                  <a:lnTo>
                    <a:pt x="321" y="259"/>
                  </a:lnTo>
                  <a:lnTo>
                    <a:pt x="318" y="259"/>
                  </a:lnTo>
                  <a:lnTo>
                    <a:pt x="316" y="258"/>
                  </a:lnTo>
                  <a:lnTo>
                    <a:pt x="316" y="257"/>
                  </a:lnTo>
                  <a:lnTo>
                    <a:pt x="316" y="254"/>
                  </a:lnTo>
                  <a:lnTo>
                    <a:pt x="327" y="251"/>
                  </a:lnTo>
                  <a:lnTo>
                    <a:pt x="327" y="251"/>
                  </a:lnTo>
                  <a:lnTo>
                    <a:pt x="327" y="250"/>
                  </a:lnTo>
                  <a:lnTo>
                    <a:pt x="327" y="248"/>
                  </a:lnTo>
                  <a:lnTo>
                    <a:pt x="327" y="247"/>
                  </a:lnTo>
                  <a:lnTo>
                    <a:pt x="327" y="244"/>
                  </a:lnTo>
                  <a:lnTo>
                    <a:pt x="326" y="243"/>
                  </a:lnTo>
                  <a:lnTo>
                    <a:pt x="325" y="241"/>
                  </a:lnTo>
                  <a:lnTo>
                    <a:pt x="323" y="241"/>
                  </a:lnTo>
                  <a:lnTo>
                    <a:pt x="323" y="240"/>
                  </a:lnTo>
                  <a:lnTo>
                    <a:pt x="322" y="239"/>
                  </a:lnTo>
                  <a:lnTo>
                    <a:pt x="322" y="237"/>
                  </a:lnTo>
                  <a:lnTo>
                    <a:pt x="321" y="236"/>
                  </a:lnTo>
                  <a:lnTo>
                    <a:pt x="319" y="235"/>
                  </a:lnTo>
                  <a:lnTo>
                    <a:pt x="318" y="233"/>
                  </a:lnTo>
                  <a:lnTo>
                    <a:pt x="315" y="233"/>
                  </a:lnTo>
                  <a:lnTo>
                    <a:pt x="312" y="235"/>
                  </a:lnTo>
                  <a:lnTo>
                    <a:pt x="311" y="236"/>
                  </a:lnTo>
                  <a:lnTo>
                    <a:pt x="310" y="236"/>
                  </a:lnTo>
                  <a:lnTo>
                    <a:pt x="308" y="237"/>
                  </a:lnTo>
                  <a:lnTo>
                    <a:pt x="305" y="237"/>
                  </a:lnTo>
                  <a:lnTo>
                    <a:pt x="304" y="237"/>
                  </a:lnTo>
                  <a:lnTo>
                    <a:pt x="303" y="237"/>
                  </a:lnTo>
                  <a:lnTo>
                    <a:pt x="301" y="236"/>
                  </a:lnTo>
                  <a:lnTo>
                    <a:pt x="301" y="233"/>
                  </a:lnTo>
                  <a:lnTo>
                    <a:pt x="301" y="233"/>
                  </a:lnTo>
                  <a:lnTo>
                    <a:pt x="301" y="232"/>
                  </a:lnTo>
                  <a:lnTo>
                    <a:pt x="301" y="229"/>
                  </a:lnTo>
                  <a:lnTo>
                    <a:pt x="300" y="226"/>
                  </a:lnTo>
                  <a:lnTo>
                    <a:pt x="299" y="224"/>
                  </a:lnTo>
                  <a:lnTo>
                    <a:pt x="297" y="221"/>
                  </a:lnTo>
                  <a:lnTo>
                    <a:pt x="294" y="218"/>
                  </a:lnTo>
                  <a:lnTo>
                    <a:pt x="290" y="214"/>
                  </a:lnTo>
                  <a:lnTo>
                    <a:pt x="271" y="207"/>
                  </a:lnTo>
                  <a:lnTo>
                    <a:pt x="257" y="195"/>
                  </a:lnTo>
                  <a:lnTo>
                    <a:pt x="257" y="196"/>
                  </a:lnTo>
                  <a:lnTo>
                    <a:pt x="256" y="196"/>
                  </a:lnTo>
                  <a:lnTo>
                    <a:pt x="253" y="197"/>
                  </a:lnTo>
                  <a:lnTo>
                    <a:pt x="250" y="197"/>
                  </a:lnTo>
                  <a:lnTo>
                    <a:pt x="248" y="197"/>
                  </a:lnTo>
                  <a:lnTo>
                    <a:pt x="245" y="197"/>
                  </a:lnTo>
                  <a:lnTo>
                    <a:pt x="244" y="195"/>
                  </a:lnTo>
                  <a:lnTo>
                    <a:pt x="244" y="192"/>
                  </a:lnTo>
                  <a:lnTo>
                    <a:pt x="245" y="192"/>
                  </a:lnTo>
                  <a:lnTo>
                    <a:pt x="245" y="191"/>
                  </a:lnTo>
                  <a:lnTo>
                    <a:pt x="246" y="188"/>
                  </a:lnTo>
                  <a:lnTo>
                    <a:pt x="248" y="185"/>
                  </a:lnTo>
                  <a:lnTo>
                    <a:pt x="248" y="184"/>
                  </a:lnTo>
                  <a:lnTo>
                    <a:pt x="249" y="181"/>
                  </a:lnTo>
                  <a:lnTo>
                    <a:pt x="249" y="178"/>
                  </a:lnTo>
                  <a:lnTo>
                    <a:pt x="248" y="176"/>
                  </a:lnTo>
                  <a:lnTo>
                    <a:pt x="260" y="174"/>
                  </a:lnTo>
                  <a:lnTo>
                    <a:pt x="260" y="174"/>
                  </a:lnTo>
                  <a:lnTo>
                    <a:pt x="261" y="174"/>
                  </a:lnTo>
                  <a:lnTo>
                    <a:pt x="261" y="173"/>
                  </a:lnTo>
                  <a:lnTo>
                    <a:pt x="263" y="170"/>
                  </a:lnTo>
                  <a:lnTo>
                    <a:pt x="263" y="169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59" y="159"/>
                  </a:lnTo>
                  <a:lnTo>
                    <a:pt x="259" y="158"/>
                  </a:lnTo>
                  <a:lnTo>
                    <a:pt x="259" y="156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9" y="151"/>
                  </a:lnTo>
                  <a:lnTo>
                    <a:pt x="260" y="149"/>
                  </a:lnTo>
                  <a:lnTo>
                    <a:pt x="260" y="149"/>
                  </a:lnTo>
                  <a:lnTo>
                    <a:pt x="260" y="148"/>
                  </a:lnTo>
                  <a:lnTo>
                    <a:pt x="261" y="145"/>
                  </a:lnTo>
                  <a:lnTo>
                    <a:pt x="261" y="143"/>
                  </a:lnTo>
                  <a:lnTo>
                    <a:pt x="260" y="141"/>
                  </a:lnTo>
                  <a:lnTo>
                    <a:pt x="257" y="138"/>
                  </a:lnTo>
                  <a:lnTo>
                    <a:pt x="255" y="137"/>
                  </a:lnTo>
                  <a:lnTo>
                    <a:pt x="248" y="137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8" y="119"/>
                  </a:lnTo>
                  <a:lnTo>
                    <a:pt x="235" y="116"/>
                  </a:lnTo>
                  <a:lnTo>
                    <a:pt x="233" y="115"/>
                  </a:lnTo>
                  <a:lnTo>
                    <a:pt x="233" y="114"/>
                  </a:lnTo>
                  <a:lnTo>
                    <a:pt x="233" y="112"/>
                  </a:lnTo>
                  <a:lnTo>
                    <a:pt x="231" y="111"/>
                  </a:lnTo>
                  <a:lnTo>
                    <a:pt x="231" y="110"/>
                  </a:lnTo>
                  <a:lnTo>
                    <a:pt x="230" y="108"/>
                  </a:lnTo>
                  <a:lnTo>
                    <a:pt x="227" y="108"/>
                  </a:lnTo>
                  <a:lnTo>
                    <a:pt x="224" y="108"/>
                  </a:lnTo>
                  <a:lnTo>
                    <a:pt x="222" y="110"/>
                  </a:lnTo>
                  <a:lnTo>
                    <a:pt x="222" y="110"/>
                  </a:lnTo>
                  <a:lnTo>
                    <a:pt x="219" y="111"/>
                  </a:lnTo>
                  <a:lnTo>
                    <a:pt x="216" y="112"/>
                  </a:lnTo>
                  <a:lnTo>
                    <a:pt x="213" y="114"/>
                  </a:lnTo>
                  <a:lnTo>
                    <a:pt x="212" y="114"/>
                  </a:lnTo>
                  <a:lnTo>
                    <a:pt x="209" y="112"/>
                  </a:lnTo>
                  <a:lnTo>
                    <a:pt x="209" y="111"/>
                  </a:lnTo>
                  <a:lnTo>
                    <a:pt x="211" y="107"/>
                  </a:lnTo>
                  <a:lnTo>
                    <a:pt x="211" y="105"/>
                  </a:lnTo>
                  <a:lnTo>
                    <a:pt x="212" y="104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3" y="96"/>
                  </a:lnTo>
                  <a:lnTo>
                    <a:pt x="213" y="93"/>
                  </a:lnTo>
                  <a:lnTo>
                    <a:pt x="209" y="90"/>
                  </a:lnTo>
                  <a:lnTo>
                    <a:pt x="205" y="89"/>
                  </a:lnTo>
                  <a:lnTo>
                    <a:pt x="204" y="90"/>
                  </a:lnTo>
                  <a:lnTo>
                    <a:pt x="202" y="90"/>
                  </a:lnTo>
                  <a:lnTo>
                    <a:pt x="201" y="92"/>
                  </a:lnTo>
                  <a:lnTo>
                    <a:pt x="198" y="92"/>
                  </a:lnTo>
                  <a:lnTo>
                    <a:pt x="194" y="90"/>
                  </a:lnTo>
                  <a:lnTo>
                    <a:pt x="190" y="86"/>
                  </a:lnTo>
                  <a:lnTo>
                    <a:pt x="186" y="81"/>
                  </a:lnTo>
                  <a:lnTo>
                    <a:pt x="180" y="71"/>
                  </a:lnTo>
                  <a:lnTo>
                    <a:pt x="180" y="71"/>
                  </a:lnTo>
                  <a:lnTo>
                    <a:pt x="179" y="68"/>
                  </a:lnTo>
                  <a:lnTo>
                    <a:pt x="175" y="66"/>
                  </a:lnTo>
                  <a:lnTo>
                    <a:pt x="171" y="61"/>
                  </a:lnTo>
                  <a:lnTo>
                    <a:pt x="165" y="59"/>
                  </a:lnTo>
                  <a:lnTo>
                    <a:pt x="157" y="56"/>
                  </a:lnTo>
                  <a:lnTo>
                    <a:pt x="147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2" y="55"/>
                  </a:lnTo>
                  <a:lnTo>
                    <a:pt x="129" y="56"/>
                  </a:lnTo>
                  <a:lnTo>
                    <a:pt x="125" y="56"/>
                  </a:lnTo>
                  <a:lnTo>
                    <a:pt x="121" y="56"/>
                  </a:lnTo>
                  <a:lnTo>
                    <a:pt x="117" y="55"/>
                  </a:lnTo>
                  <a:lnTo>
                    <a:pt x="113" y="50"/>
                  </a:lnTo>
                  <a:lnTo>
                    <a:pt x="110" y="45"/>
                  </a:lnTo>
                  <a:lnTo>
                    <a:pt x="92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5" y="48"/>
                  </a:lnTo>
                  <a:lnTo>
                    <a:pt x="95" y="45"/>
                  </a:lnTo>
                  <a:lnTo>
                    <a:pt x="96" y="42"/>
                  </a:lnTo>
                  <a:lnTo>
                    <a:pt x="96" y="39"/>
                  </a:lnTo>
                  <a:lnTo>
                    <a:pt x="98" y="35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9" y="27"/>
                  </a:lnTo>
                  <a:lnTo>
                    <a:pt x="101" y="23"/>
                  </a:lnTo>
                  <a:lnTo>
                    <a:pt x="101" y="19"/>
                  </a:lnTo>
                  <a:lnTo>
                    <a:pt x="101" y="13"/>
                  </a:lnTo>
                  <a:lnTo>
                    <a:pt x="101" y="9"/>
                  </a:lnTo>
                  <a:lnTo>
                    <a:pt x="99" y="5"/>
                  </a:lnTo>
                  <a:lnTo>
                    <a:pt x="95" y="4"/>
                  </a:lnTo>
                  <a:lnTo>
                    <a:pt x="94" y="4"/>
                  </a:lnTo>
                  <a:lnTo>
                    <a:pt x="91" y="4"/>
                  </a:lnTo>
                  <a:lnTo>
                    <a:pt x="88" y="5"/>
                  </a:lnTo>
                  <a:lnTo>
                    <a:pt x="84" y="6"/>
                  </a:lnTo>
                  <a:lnTo>
                    <a:pt x="79" y="9"/>
                  </a:lnTo>
                  <a:lnTo>
                    <a:pt x="74" y="13"/>
                  </a:lnTo>
                  <a:lnTo>
                    <a:pt x="70" y="19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6" y="31"/>
                  </a:lnTo>
                  <a:lnTo>
                    <a:pt x="65" y="35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5" y="55"/>
                  </a:lnTo>
                  <a:lnTo>
                    <a:pt x="66" y="61"/>
                  </a:lnTo>
                  <a:lnTo>
                    <a:pt x="68" y="67"/>
                  </a:lnTo>
                  <a:lnTo>
                    <a:pt x="85" y="90"/>
                  </a:lnTo>
                  <a:lnTo>
                    <a:pt x="85" y="92"/>
                  </a:lnTo>
                  <a:lnTo>
                    <a:pt x="85" y="94"/>
                  </a:lnTo>
                  <a:lnTo>
                    <a:pt x="85" y="97"/>
                  </a:lnTo>
                  <a:lnTo>
                    <a:pt x="85" y="101"/>
                  </a:lnTo>
                  <a:lnTo>
                    <a:pt x="85" y="105"/>
                  </a:lnTo>
                  <a:lnTo>
                    <a:pt x="85" y="107"/>
                  </a:lnTo>
                  <a:lnTo>
                    <a:pt x="83" y="108"/>
                  </a:lnTo>
                  <a:lnTo>
                    <a:pt x="80" y="107"/>
                  </a:lnTo>
                  <a:lnTo>
                    <a:pt x="80" y="105"/>
                  </a:lnTo>
                  <a:lnTo>
                    <a:pt x="77" y="103"/>
                  </a:lnTo>
                  <a:lnTo>
                    <a:pt x="72" y="97"/>
                  </a:lnTo>
                  <a:lnTo>
                    <a:pt x="68" y="90"/>
                  </a:lnTo>
                  <a:lnTo>
                    <a:pt x="62" y="81"/>
                  </a:lnTo>
                  <a:lnTo>
                    <a:pt x="58" y="70"/>
                  </a:lnTo>
                  <a:lnTo>
                    <a:pt x="54" y="57"/>
                  </a:lnTo>
                  <a:lnTo>
                    <a:pt x="52" y="44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51" y="37"/>
                  </a:lnTo>
                  <a:lnTo>
                    <a:pt x="52" y="31"/>
                  </a:lnTo>
                  <a:lnTo>
                    <a:pt x="54" y="26"/>
                  </a:lnTo>
                  <a:lnTo>
                    <a:pt x="55" y="19"/>
                  </a:lnTo>
                  <a:lnTo>
                    <a:pt x="58" y="11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1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2" y="8"/>
                  </a:lnTo>
                  <a:lnTo>
                    <a:pt x="22" y="16"/>
                  </a:lnTo>
                  <a:lnTo>
                    <a:pt x="21" y="17"/>
                  </a:lnTo>
                  <a:lnTo>
                    <a:pt x="18" y="22"/>
                  </a:lnTo>
                  <a:lnTo>
                    <a:pt x="15" y="27"/>
                  </a:lnTo>
                  <a:lnTo>
                    <a:pt x="12" y="34"/>
                  </a:lnTo>
                  <a:lnTo>
                    <a:pt x="8" y="41"/>
                  </a:lnTo>
                  <a:lnTo>
                    <a:pt x="6" y="49"/>
                  </a:lnTo>
                  <a:lnTo>
                    <a:pt x="3" y="57"/>
                  </a:lnTo>
                  <a:lnTo>
                    <a:pt x="3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3" y="75"/>
                  </a:lnTo>
                  <a:lnTo>
                    <a:pt x="6" y="79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2" y="92"/>
                  </a:lnTo>
                  <a:lnTo>
                    <a:pt x="17" y="99"/>
                  </a:lnTo>
                  <a:lnTo>
                    <a:pt x="21" y="105"/>
                  </a:lnTo>
                  <a:lnTo>
                    <a:pt x="25" y="112"/>
                  </a:lnTo>
                  <a:lnTo>
                    <a:pt x="28" y="118"/>
                  </a:lnTo>
                  <a:lnTo>
                    <a:pt x="29" y="122"/>
                  </a:lnTo>
                  <a:lnTo>
                    <a:pt x="26" y="127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4" y="129"/>
                  </a:lnTo>
                  <a:lnTo>
                    <a:pt x="36" y="127"/>
                  </a:lnTo>
                  <a:lnTo>
                    <a:pt x="37" y="127"/>
                  </a:lnTo>
                  <a:lnTo>
                    <a:pt x="40" y="129"/>
                  </a:lnTo>
                  <a:lnTo>
                    <a:pt x="43" y="130"/>
                  </a:lnTo>
                  <a:lnTo>
                    <a:pt x="43" y="132"/>
                  </a:lnTo>
                  <a:lnTo>
                    <a:pt x="47" y="133"/>
                  </a:lnTo>
                  <a:lnTo>
                    <a:pt x="51" y="136"/>
                  </a:lnTo>
                  <a:lnTo>
                    <a:pt x="58" y="138"/>
                  </a:lnTo>
                  <a:lnTo>
                    <a:pt x="66" y="141"/>
                  </a:lnTo>
                  <a:lnTo>
                    <a:pt x="74" y="144"/>
                  </a:lnTo>
                  <a:lnTo>
                    <a:pt x="84" y="145"/>
                  </a:lnTo>
                  <a:lnTo>
                    <a:pt x="95" y="14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8" name="Freeform 214"/>
            <p:cNvSpPr>
              <a:spLocks/>
            </p:cNvSpPr>
            <p:nvPr/>
          </p:nvSpPr>
          <p:spPr bwMode="auto">
            <a:xfrm>
              <a:off x="1888" y="879"/>
              <a:ext cx="267" cy="306"/>
            </a:xfrm>
            <a:custGeom>
              <a:avLst/>
              <a:gdLst>
                <a:gd name="T0" fmla="*/ 113 w 330"/>
                <a:gd name="T1" fmla="*/ 144 h 379"/>
                <a:gd name="T2" fmla="*/ 134 w 330"/>
                <a:gd name="T3" fmla="*/ 152 h 379"/>
                <a:gd name="T4" fmla="*/ 165 w 330"/>
                <a:gd name="T5" fmla="*/ 171 h 379"/>
                <a:gd name="T6" fmla="*/ 175 w 330"/>
                <a:gd name="T7" fmla="*/ 176 h 379"/>
                <a:gd name="T8" fmla="*/ 186 w 330"/>
                <a:gd name="T9" fmla="*/ 207 h 379"/>
                <a:gd name="T10" fmla="*/ 179 w 330"/>
                <a:gd name="T11" fmla="*/ 254 h 379"/>
                <a:gd name="T12" fmla="*/ 165 w 330"/>
                <a:gd name="T13" fmla="*/ 279 h 379"/>
                <a:gd name="T14" fmla="*/ 147 w 330"/>
                <a:gd name="T15" fmla="*/ 280 h 379"/>
                <a:gd name="T16" fmla="*/ 129 w 330"/>
                <a:gd name="T17" fmla="*/ 296 h 379"/>
                <a:gd name="T18" fmla="*/ 160 w 330"/>
                <a:gd name="T19" fmla="*/ 314 h 379"/>
                <a:gd name="T20" fmla="*/ 173 w 330"/>
                <a:gd name="T21" fmla="*/ 305 h 379"/>
                <a:gd name="T22" fmla="*/ 208 w 330"/>
                <a:gd name="T23" fmla="*/ 338 h 379"/>
                <a:gd name="T24" fmla="*/ 235 w 330"/>
                <a:gd name="T25" fmla="*/ 357 h 379"/>
                <a:gd name="T26" fmla="*/ 252 w 330"/>
                <a:gd name="T27" fmla="*/ 375 h 379"/>
                <a:gd name="T28" fmla="*/ 263 w 330"/>
                <a:gd name="T29" fmla="*/ 364 h 379"/>
                <a:gd name="T30" fmla="*/ 245 w 330"/>
                <a:gd name="T31" fmla="*/ 342 h 379"/>
                <a:gd name="T32" fmla="*/ 249 w 330"/>
                <a:gd name="T33" fmla="*/ 336 h 379"/>
                <a:gd name="T34" fmla="*/ 283 w 330"/>
                <a:gd name="T35" fmla="*/ 360 h 379"/>
                <a:gd name="T36" fmla="*/ 293 w 330"/>
                <a:gd name="T37" fmla="*/ 356 h 379"/>
                <a:gd name="T38" fmla="*/ 290 w 330"/>
                <a:gd name="T39" fmla="*/ 328 h 379"/>
                <a:gd name="T40" fmla="*/ 266 w 330"/>
                <a:gd name="T41" fmla="*/ 306 h 379"/>
                <a:gd name="T42" fmla="*/ 257 w 330"/>
                <a:gd name="T43" fmla="*/ 295 h 379"/>
                <a:gd name="T44" fmla="*/ 246 w 330"/>
                <a:gd name="T45" fmla="*/ 272 h 379"/>
                <a:gd name="T46" fmla="*/ 253 w 330"/>
                <a:gd name="T47" fmla="*/ 246 h 379"/>
                <a:gd name="T48" fmla="*/ 266 w 330"/>
                <a:gd name="T49" fmla="*/ 269 h 379"/>
                <a:gd name="T50" fmla="*/ 275 w 330"/>
                <a:gd name="T51" fmla="*/ 290 h 379"/>
                <a:gd name="T52" fmla="*/ 293 w 330"/>
                <a:gd name="T53" fmla="*/ 290 h 379"/>
                <a:gd name="T54" fmla="*/ 314 w 330"/>
                <a:gd name="T55" fmla="*/ 277 h 379"/>
                <a:gd name="T56" fmla="*/ 330 w 330"/>
                <a:gd name="T57" fmla="*/ 269 h 379"/>
                <a:gd name="T58" fmla="*/ 316 w 330"/>
                <a:gd name="T59" fmla="*/ 258 h 379"/>
                <a:gd name="T60" fmla="*/ 327 w 330"/>
                <a:gd name="T61" fmla="*/ 244 h 379"/>
                <a:gd name="T62" fmla="*/ 321 w 330"/>
                <a:gd name="T63" fmla="*/ 236 h 379"/>
                <a:gd name="T64" fmla="*/ 308 w 330"/>
                <a:gd name="T65" fmla="*/ 237 h 379"/>
                <a:gd name="T66" fmla="*/ 301 w 330"/>
                <a:gd name="T67" fmla="*/ 229 h 379"/>
                <a:gd name="T68" fmla="*/ 257 w 330"/>
                <a:gd name="T69" fmla="*/ 195 h 379"/>
                <a:gd name="T70" fmla="*/ 244 w 330"/>
                <a:gd name="T71" fmla="*/ 195 h 379"/>
                <a:gd name="T72" fmla="*/ 249 w 330"/>
                <a:gd name="T73" fmla="*/ 181 h 379"/>
                <a:gd name="T74" fmla="*/ 263 w 330"/>
                <a:gd name="T75" fmla="*/ 169 h 379"/>
                <a:gd name="T76" fmla="*/ 257 w 330"/>
                <a:gd name="T77" fmla="*/ 155 h 379"/>
                <a:gd name="T78" fmla="*/ 260 w 330"/>
                <a:gd name="T79" fmla="*/ 141 h 379"/>
                <a:gd name="T80" fmla="*/ 241 w 330"/>
                <a:gd name="T81" fmla="*/ 121 h 379"/>
                <a:gd name="T82" fmla="*/ 231 w 330"/>
                <a:gd name="T83" fmla="*/ 110 h 379"/>
                <a:gd name="T84" fmla="*/ 213 w 330"/>
                <a:gd name="T85" fmla="*/ 114 h 379"/>
                <a:gd name="T86" fmla="*/ 213 w 330"/>
                <a:gd name="T87" fmla="*/ 101 h 379"/>
                <a:gd name="T88" fmla="*/ 202 w 330"/>
                <a:gd name="T89" fmla="*/ 90 h 379"/>
                <a:gd name="T90" fmla="*/ 179 w 330"/>
                <a:gd name="T91" fmla="*/ 68 h 379"/>
                <a:gd name="T92" fmla="*/ 135 w 330"/>
                <a:gd name="T93" fmla="*/ 53 h 379"/>
                <a:gd name="T94" fmla="*/ 110 w 330"/>
                <a:gd name="T95" fmla="*/ 45 h 379"/>
                <a:gd name="T96" fmla="*/ 96 w 330"/>
                <a:gd name="T97" fmla="*/ 39 h 379"/>
                <a:gd name="T98" fmla="*/ 101 w 330"/>
                <a:gd name="T99" fmla="*/ 9 h 379"/>
                <a:gd name="T100" fmla="*/ 79 w 330"/>
                <a:gd name="T101" fmla="*/ 9 h 379"/>
                <a:gd name="T102" fmla="*/ 65 w 330"/>
                <a:gd name="T103" fmla="*/ 42 h 379"/>
                <a:gd name="T104" fmla="*/ 85 w 330"/>
                <a:gd name="T105" fmla="*/ 94 h 379"/>
                <a:gd name="T106" fmla="*/ 80 w 330"/>
                <a:gd name="T107" fmla="*/ 105 h 379"/>
                <a:gd name="T108" fmla="*/ 52 w 330"/>
                <a:gd name="T109" fmla="*/ 44 h 379"/>
                <a:gd name="T110" fmla="*/ 58 w 330"/>
                <a:gd name="T111" fmla="*/ 11 h 379"/>
                <a:gd name="T112" fmla="*/ 40 w 330"/>
                <a:gd name="T113" fmla="*/ 2 h 379"/>
                <a:gd name="T114" fmla="*/ 8 w 330"/>
                <a:gd name="T115" fmla="*/ 41 h 379"/>
                <a:gd name="T116" fmla="*/ 0 w 330"/>
                <a:gd name="T117" fmla="*/ 70 h 379"/>
                <a:gd name="T118" fmla="*/ 17 w 330"/>
                <a:gd name="T119" fmla="*/ 99 h 379"/>
                <a:gd name="T120" fmla="*/ 32 w 330"/>
                <a:gd name="T121" fmla="*/ 130 h 379"/>
                <a:gd name="T122" fmla="*/ 43 w 330"/>
                <a:gd name="T123" fmla="*/ 132 h 379"/>
                <a:gd name="T124" fmla="*/ 95 w 330"/>
                <a:gd name="T125" fmla="*/ 147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0" h="379">
                  <a:moveTo>
                    <a:pt x="95" y="147"/>
                  </a:moveTo>
                  <a:lnTo>
                    <a:pt x="109" y="148"/>
                  </a:lnTo>
                  <a:lnTo>
                    <a:pt x="109" y="147"/>
                  </a:lnTo>
                  <a:lnTo>
                    <a:pt x="110" y="145"/>
                  </a:lnTo>
                  <a:lnTo>
                    <a:pt x="110" y="144"/>
                  </a:lnTo>
                  <a:lnTo>
                    <a:pt x="112" y="144"/>
                  </a:lnTo>
                  <a:lnTo>
                    <a:pt x="113" y="144"/>
                  </a:lnTo>
                  <a:lnTo>
                    <a:pt x="116" y="147"/>
                  </a:lnTo>
                  <a:lnTo>
                    <a:pt x="117" y="147"/>
                  </a:lnTo>
                  <a:lnTo>
                    <a:pt x="120" y="148"/>
                  </a:lnTo>
                  <a:lnTo>
                    <a:pt x="123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4" y="152"/>
                  </a:lnTo>
                  <a:lnTo>
                    <a:pt x="138" y="152"/>
                  </a:lnTo>
                  <a:lnTo>
                    <a:pt x="160" y="163"/>
                  </a:lnTo>
                  <a:lnTo>
                    <a:pt x="161" y="165"/>
                  </a:lnTo>
                  <a:lnTo>
                    <a:pt x="162" y="166"/>
                  </a:lnTo>
                  <a:lnTo>
                    <a:pt x="164" y="167"/>
                  </a:lnTo>
                  <a:lnTo>
                    <a:pt x="165" y="169"/>
                  </a:lnTo>
                  <a:lnTo>
                    <a:pt x="165" y="171"/>
                  </a:lnTo>
                  <a:lnTo>
                    <a:pt x="164" y="173"/>
                  </a:lnTo>
                  <a:lnTo>
                    <a:pt x="161" y="176"/>
                  </a:lnTo>
                  <a:lnTo>
                    <a:pt x="162" y="176"/>
                  </a:lnTo>
                  <a:lnTo>
                    <a:pt x="164" y="176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5" y="176"/>
                  </a:lnTo>
                  <a:lnTo>
                    <a:pt x="178" y="177"/>
                  </a:lnTo>
                  <a:lnTo>
                    <a:pt x="180" y="180"/>
                  </a:lnTo>
                  <a:lnTo>
                    <a:pt x="182" y="184"/>
                  </a:lnTo>
                  <a:lnTo>
                    <a:pt x="182" y="187"/>
                  </a:lnTo>
                  <a:lnTo>
                    <a:pt x="183" y="191"/>
                  </a:lnTo>
                  <a:lnTo>
                    <a:pt x="184" y="199"/>
                  </a:lnTo>
                  <a:lnTo>
                    <a:pt x="186" y="207"/>
                  </a:lnTo>
                  <a:lnTo>
                    <a:pt x="186" y="218"/>
                  </a:lnTo>
                  <a:lnTo>
                    <a:pt x="186" y="228"/>
                  </a:lnTo>
                  <a:lnTo>
                    <a:pt x="183" y="239"/>
                  </a:lnTo>
                  <a:lnTo>
                    <a:pt x="179" y="247"/>
                  </a:lnTo>
                  <a:lnTo>
                    <a:pt x="179" y="248"/>
                  </a:lnTo>
                  <a:lnTo>
                    <a:pt x="179" y="251"/>
                  </a:lnTo>
                  <a:lnTo>
                    <a:pt x="179" y="254"/>
                  </a:lnTo>
                  <a:lnTo>
                    <a:pt x="179" y="258"/>
                  </a:lnTo>
                  <a:lnTo>
                    <a:pt x="178" y="263"/>
                  </a:lnTo>
                  <a:lnTo>
                    <a:pt x="175" y="268"/>
                  </a:lnTo>
                  <a:lnTo>
                    <a:pt x="172" y="273"/>
                  </a:lnTo>
                  <a:lnTo>
                    <a:pt x="168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4" y="280"/>
                  </a:lnTo>
                  <a:lnTo>
                    <a:pt x="161" y="281"/>
                  </a:lnTo>
                  <a:lnTo>
                    <a:pt x="158" y="283"/>
                  </a:lnTo>
                  <a:lnTo>
                    <a:pt x="156" y="283"/>
                  </a:lnTo>
                  <a:lnTo>
                    <a:pt x="151" y="283"/>
                  </a:lnTo>
                  <a:lnTo>
                    <a:pt x="149" y="281"/>
                  </a:lnTo>
                  <a:lnTo>
                    <a:pt x="147" y="280"/>
                  </a:lnTo>
                  <a:lnTo>
                    <a:pt x="145" y="280"/>
                  </a:lnTo>
                  <a:lnTo>
                    <a:pt x="142" y="280"/>
                  </a:lnTo>
                  <a:lnTo>
                    <a:pt x="139" y="281"/>
                  </a:lnTo>
                  <a:lnTo>
                    <a:pt x="136" y="284"/>
                  </a:lnTo>
                  <a:lnTo>
                    <a:pt x="132" y="288"/>
                  </a:lnTo>
                  <a:lnTo>
                    <a:pt x="129" y="295"/>
                  </a:lnTo>
                  <a:lnTo>
                    <a:pt x="129" y="296"/>
                  </a:lnTo>
                  <a:lnTo>
                    <a:pt x="131" y="299"/>
                  </a:lnTo>
                  <a:lnTo>
                    <a:pt x="131" y="302"/>
                  </a:lnTo>
                  <a:lnTo>
                    <a:pt x="134" y="306"/>
                  </a:lnTo>
                  <a:lnTo>
                    <a:pt x="138" y="310"/>
                  </a:lnTo>
                  <a:lnTo>
                    <a:pt x="143" y="313"/>
                  </a:lnTo>
                  <a:lnTo>
                    <a:pt x="150" y="314"/>
                  </a:lnTo>
                  <a:lnTo>
                    <a:pt x="160" y="314"/>
                  </a:lnTo>
                  <a:lnTo>
                    <a:pt x="161" y="314"/>
                  </a:lnTo>
                  <a:lnTo>
                    <a:pt x="162" y="313"/>
                  </a:lnTo>
                  <a:lnTo>
                    <a:pt x="167" y="312"/>
                  </a:lnTo>
                  <a:lnTo>
                    <a:pt x="169" y="310"/>
                  </a:lnTo>
                  <a:lnTo>
                    <a:pt x="172" y="309"/>
                  </a:lnTo>
                  <a:lnTo>
                    <a:pt x="173" y="306"/>
                  </a:lnTo>
                  <a:lnTo>
                    <a:pt x="173" y="305"/>
                  </a:lnTo>
                  <a:lnTo>
                    <a:pt x="171" y="303"/>
                  </a:lnTo>
                  <a:lnTo>
                    <a:pt x="191" y="324"/>
                  </a:lnTo>
                  <a:lnTo>
                    <a:pt x="206" y="327"/>
                  </a:lnTo>
                  <a:lnTo>
                    <a:pt x="206" y="328"/>
                  </a:lnTo>
                  <a:lnTo>
                    <a:pt x="205" y="329"/>
                  </a:lnTo>
                  <a:lnTo>
                    <a:pt x="206" y="334"/>
                  </a:lnTo>
                  <a:lnTo>
                    <a:pt x="208" y="338"/>
                  </a:lnTo>
                  <a:lnTo>
                    <a:pt x="209" y="342"/>
                  </a:lnTo>
                  <a:lnTo>
                    <a:pt x="213" y="346"/>
                  </a:lnTo>
                  <a:lnTo>
                    <a:pt x="220" y="350"/>
                  </a:lnTo>
                  <a:lnTo>
                    <a:pt x="228" y="354"/>
                  </a:lnTo>
                  <a:lnTo>
                    <a:pt x="230" y="354"/>
                  </a:lnTo>
                  <a:lnTo>
                    <a:pt x="233" y="356"/>
                  </a:lnTo>
                  <a:lnTo>
                    <a:pt x="235" y="357"/>
                  </a:lnTo>
                  <a:lnTo>
                    <a:pt x="238" y="358"/>
                  </a:lnTo>
                  <a:lnTo>
                    <a:pt x="241" y="361"/>
                  </a:lnTo>
                  <a:lnTo>
                    <a:pt x="242" y="364"/>
                  </a:lnTo>
                  <a:lnTo>
                    <a:pt x="244" y="368"/>
                  </a:lnTo>
                  <a:lnTo>
                    <a:pt x="245" y="369"/>
                  </a:lnTo>
                  <a:lnTo>
                    <a:pt x="248" y="371"/>
                  </a:lnTo>
                  <a:lnTo>
                    <a:pt x="252" y="375"/>
                  </a:lnTo>
                  <a:lnTo>
                    <a:pt x="256" y="376"/>
                  </a:lnTo>
                  <a:lnTo>
                    <a:pt x="260" y="379"/>
                  </a:lnTo>
                  <a:lnTo>
                    <a:pt x="263" y="378"/>
                  </a:lnTo>
                  <a:lnTo>
                    <a:pt x="264" y="375"/>
                  </a:lnTo>
                  <a:lnTo>
                    <a:pt x="264" y="368"/>
                  </a:lnTo>
                  <a:lnTo>
                    <a:pt x="264" y="367"/>
                  </a:lnTo>
                  <a:lnTo>
                    <a:pt x="263" y="364"/>
                  </a:lnTo>
                  <a:lnTo>
                    <a:pt x="260" y="360"/>
                  </a:lnTo>
                  <a:lnTo>
                    <a:pt x="257" y="356"/>
                  </a:lnTo>
                  <a:lnTo>
                    <a:pt x="255" y="350"/>
                  </a:lnTo>
                  <a:lnTo>
                    <a:pt x="252" y="346"/>
                  </a:lnTo>
                  <a:lnTo>
                    <a:pt x="248" y="343"/>
                  </a:lnTo>
                  <a:lnTo>
                    <a:pt x="245" y="343"/>
                  </a:lnTo>
                  <a:lnTo>
                    <a:pt x="245" y="342"/>
                  </a:lnTo>
                  <a:lnTo>
                    <a:pt x="244" y="340"/>
                  </a:lnTo>
                  <a:lnTo>
                    <a:pt x="242" y="339"/>
                  </a:lnTo>
                  <a:lnTo>
                    <a:pt x="242" y="338"/>
                  </a:lnTo>
                  <a:lnTo>
                    <a:pt x="244" y="338"/>
                  </a:lnTo>
                  <a:lnTo>
                    <a:pt x="245" y="336"/>
                  </a:lnTo>
                  <a:lnTo>
                    <a:pt x="248" y="336"/>
                  </a:lnTo>
                  <a:lnTo>
                    <a:pt x="249" y="336"/>
                  </a:lnTo>
                  <a:lnTo>
                    <a:pt x="253" y="338"/>
                  </a:lnTo>
                  <a:lnTo>
                    <a:pt x="259" y="340"/>
                  </a:lnTo>
                  <a:lnTo>
                    <a:pt x="264" y="343"/>
                  </a:lnTo>
                  <a:lnTo>
                    <a:pt x="271" y="347"/>
                  </a:lnTo>
                  <a:lnTo>
                    <a:pt x="277" y="351"/>
                  </a:lnTo>
                  <a:lnTo>
                    <a:pt x="281" y="356"/>
                  </a:lnTo>
                  <a:lnTo>
                    <a:pt x="283" y="360"/>
                  </a:lnTo>
                  <a:lnTo>
                    <a:pt x="283" y="361"/>
                  </a:lnTo>
                  <a:lnTo>
                    <a:pt x="285" y="362"/>
                  </a:lnTo>
                  <a:lnTo>
                    <a:pt x="286" y="364"/>
                  </a:lnTo>
                  <a:lnTo>
                    <a:pt x="288" y="364"/>
                  </a:lnTo>
                  <a:lnTo>
                    <a:pt x="290" y="362"/>
                  </a:lnTo>
                  <a:lnTo>
                    <a:pt x="292" y="358"/>
                  </a:lnTo>
                  <a:lnTo>
                    <a:pt x="293" y="356"/>
                  </a:lnTo>
                  <a:lnTo>
                    <a:pt x="294" y="351"/>
                  </a:lnTo>
                  <a:lnTo>
                    <a:pt x="296" y="347"/>
                  </a:lnTo>
                  <a:lnTo>
                    <a:pt x="297" y="342"/>
                  </a:lnTo>
                  <a:lnTo>
                    <a:pt x="297" y="338"/>
                  </a:lnTo>
                  <a:lnTo>
                    <a:pt x="296" y="332"/>
                  </a:lnTo>
                  <a:lnTo>
                    <a:pt x="292" y="329"/>
                  </a:lnTo>
                  <a:lnTo>
                    <a:pt x="290" y="328"/>
                  </a:lnTo>
                  <a:lnTo>
                    <a:pt x="289" y="325"/>
                  </a:lnTo>
                  <a:lnTo>
                    <a:pt x="285" y="321"/>
                  </a:lnTo>
                  <a:lnTo>
                    <a:pt x="281" y="317"/>
                  </a:lnTo>
                  <a:lnTo>
                    <a:pt x="277" y="313"/>
                  </a:lnTo>
                  <a:lnTo>
                    <a:pt x="272" y="309"/>
                  </a:lnTo>
                  <a:lnTo>
                    <a:pt x="270" y="307"/>
                  </a:lnTo>
                  <a:lnTo>
                    <a:pt x="266" y="306"/>
                  </a:lnTo>
                  <a:lnTo>
                    <a:pt x="264" y="305"/>
                  </a:lnTo>
                  <a:lnTo>
                    <a:pt x="263" y="303"/>
                  </a:lnTo>
                  <a:lnTo>
                    <a:pt x="261" y="302"/>
                  </a:lnTo>
                  <a:lnTo>
                    <a:pt x="260" y="301"/>
                  </a:lnTo>
                  <a:lnTo>
                    <a:pt x="260" y="298"/>
                  </a:lnTo>
                  <a:lnTo>
                    <a:pt x="260" y="295"/>
                  </a:lnTo>
                  <a:lnTo>
                    <a:pt x="257" y="295"/>
                  </a:lnTo>
                  <a:lnTo>
                    <a:pt x="256" y="294"/>
                  </a:lnTo>
                  <a:lnTo>
                    <a:pt x="253" y="292"/>
                  </a:lnTo>
                  <a:lnTo>
                    <a:pt x="250" y="290"/>
                  </a:lnTo>
                  <a:lnTo>
                    <a:pt x="249" y="285"/>
                  </a:lnTo>
                  <a:lnTo>
                    <a:pt x="248" y="280"/>
                  </a:lnTo>
                  <a:lnTo>
                    <a:pt x="246" y="273"/>
                  </a:lnTo>
                  <a:lnTo>
                    <a:pt x="246" y="272"/>
                  </a:lnTo>
                  <a:lnTo>
                    <a:pt x="246" y="269"/>
                  </a:lnTo>
                  <a:lnTo>
                    <a:pt x="245" y="265"/>
                  </a:lnTo>
                  <a:lnTo>
                    <a:pt x="245" y="259"/>
                  </a:lnTo>
                  <a:lnTo>
                    <a:pt x="245" y="254"/>
                  </a:lnTo>
                  <a:lnTo>
                    <a:pt x="246" y="250"/>
                  </a:lnTo>
                  <a:lnTo>
                    <a:pt x="249" y="247"/>
                  </a:lnTo>
                  <a:lnTo>
                    <a:pt x="253" y="246"/>
                  </a:lnTo>
                  <a:lnTo>
                    <a:pt x="255" y="247"/>
                  </a:lnTo>
                  <a:lnTo>
                    <a:pt x="257" y="247"/>
                  </a:lnTo>
                  <a:lnTo>
                    <a:pt x="259" y="250"/>
                  </a:lnTo>
                  <a:lnTo>
                    <a:pt x="261" y="252"/>
                  </a:lnTo>
                  <a:lnTo>
                    <a:pt x="264" y="257"/>
                  </a:lnTo>
                  <a:lnTo>
                    <a:pt x="266" y="262"/>
                  </a:lnTo>
                  <a:lnTo>
                    <a:pt x="266" y="269"/>
                  </a:lnTo>
                  <a:lnTo>
                    <a:pt x="267" y="269"/>
                  </a:lnTo>
                  <a:lnTo>
                    <a:pt x="267" y="272"/>
                  </a:lnTo>
                  <a:lnTo>
                    <a:pt x="268" y="274"/>
                  </a:lnTo>
                  <a:lnTo>
                    <a:pt x="271" y="279"/>
                  </a:lnTo>
                  <a:lnTo>
                    <a:pt x="272" y="281"/>
                  </a:lnTo>
                  <a:lnTo>
                    <a:pt x="274" y="285"/>
                  </a:lnTo>
                  <a:lnTo>
                    <a:pt x="275" y="290"/>
                  </a:lnTo>
                  <a:lnTo>
                    <a:pt x="275" y="292"/>
                  </a:lnTo>
                  <a:lnTo>
                    <a:pt x="277" y="294"/>
                  </a:lnTo>
                  <a:lnTo>
                    <a:pt x="278" y="295"/>
                  </a:lnTo>
                  <a:lnTo>
                    <a:pt x="279" y="295"/>
                  </a:lnTo>
                  <a:lnTo>
                    <a:pt x="283" y="295"/>
                  </a:lnTo>
                  <a:lnTo>
                    <a:pt x="288" y="292"/>
                  </a:lnTo>
                  <a:lnTo>
                    <a:pt x="293" y="290"/>
                  </a:lnTo>
                  <a:lnTo>
                    <a:pt x="293" y="288"/>
                  </a:lnTo>
                  <a:lnTo>
                    <a:pt x="296" y="287"/>
                  </a:lnTo>
                  <a:lnTo>
                    <a:pt x="299" y="285"/>
                  </a:lnTo>
                  <a:lnTo>
                    <a:pt x="303" y="283"/>
                  </a:lnTo>
                  <a:lnTo>
                    <a:pt x="307" y="280"/>
                  </a:lnTo>
                  <a:lnTo>
                    <a:pt x="311" y="279"/>
                  </a:lnTo>
                  <a:lnTo>
                    <a:pt x="314" y="277"/>
                  </a:lnTo>
                  <a:lnTo>
                    <a:pt x="316" y="277"/>
                  </a:lnTo>
                  <a:lnTo>
                    <a:pt x="318" y="277"/>
                  </a:lnTo>
                  <a:lnTo>
                    <a:pt x="321" y="277"/>
                  </a:lnTo>
                  <a:lnTo>
                    <a:pt x="323" y="276"/>
                  </a:lnTo>
                  <a:lnTo>
                    <a:pt x="326" y="274"/>
                  </a:lnTo>
                  <a:lnTo>
                    <a:pt x="329" y="272"/>
                  </a:lnTo>
                  <a:lnTo>
                    <a:pt x="330" y="269"/>
                  </a:lnTo>
                  <a:lnTo>
                    <a:pt x="329" y="265"/>
                  </a:lnTo>
                  <a:lnTo>
                    <a:pt x="326" y="261"/>
                  </a:lnTo>
                  <a:lnTo>
                    <a:pt x="325" y="261"/>
                  </a:lnTo>
                  <a:lnTo>
                    <a:pt x="322" y="261"/>
                  </a:lnTo>
                  <a:lnTo>
                    <a:pt x="321" y="259"/>
                  </a:lnTo>
                  <a:lnTo>
                    <a:pt x="318" y="259"/>
                  </a:lnTo>
                  <a:lnTo>
                    <a:pt x="316" y="258"/>
                  </a:lnTo>
                  <a:lnTo>
                    <a:pt x="316" y="257"/>
                  </a:lnTo>
                  <a:lnTo>
                    <a:pt x="316" y="254"/>
                  </a:lnTo>
                  <a:lnTo>
                    <a:pt x="327" y="251"/>
                  </a:lnTo>
                  <a:lnTo>
                    <a:pt x="327" y="250"/>
                  </a:lnTo>
                  <a:lnTo>
                    <a:pt x="327" y="248"/>
                  </a:lnTo>
                  <a:lnTo>
                    <a:pt x="327" y="247"/>
                  </a:lnTo>
                  <a:lnTo>
                    <a:pt x="327" y="244"/>
                  </a:lnTo>
                  <a:lnTo>
                    <a:pt x="326" y="243"/>
                  </a:lnTo>
                  <a:lnTo>
                    <a:pt x="325" y="241"/>
                  </a:lnTo>
                  <a:lnTo>
                    <a:pt x="323" y="241"/>
                  </a:lnTo>
                  <a:lnTo>
                    <a:pt x="323" y="240"/>
                  </a:lnTo>
                  <a:lnTo>
                    <a:pt x="322" y="239"/>
                  </a:lnTo>
                  <a:lnTo>
                    <a:pt x="322" y="237"/>
                  </a:lnTo>
                  <a:lnTo>
                    <a:pt x="321" y="236"/>
                  </a:lnTo>
                  <a:lnTo>
                    <a:pt x="319" y="235"/>
                  </a:lnTo>
                  <a:lnTo>
                    <a:pt x="318" y="233"/>
                  </a:lnTo>
                  <a:lnTo>
                    <a:pt x="315" y="233"/>
                  </a:lnTo>
                  <a:lnTo>
                    <a:pt x="312" y="235"/>
                  </a:lnTo>
                  <a:lnTo>
                    <a:pt x="311" y="236"/>
                  </a:lnTo>
                  <a:lnTo>
                    <a:pt x="310" y="236"/>
                  </a:lnTo>
                  <a:lnTo>
                    <a:pt x="308" y="237"/>
                  </a:lnTo>
                  <a:lnTo>
                    <a:pt x="305" y="237"/>
                  </a:lnTo>
                  <a:lnTo>
                    <a:pt x="304" y="237"/>
                  </a:lnTo>
                  <a:lnTo>
                    <a:pt x="303" y="237"/>
                  </a:lnTo>
                  <a:lnTo>
                    <a:pt x="301" y="236"/>
                  </a:lnTo>
                  <a:lnTo>
                    <a:pt x="301" y="233"/>
                  </a:lnTo>
                  <a:lnTo>
                    <a:pt x="301" y="232"/>
                  </a:lnTo>
                  <a:lnTo>
                    <a:pt x="301" y="229"/>
                  </a:lnTo>
                  <a:lnTo>
                    <a:pt x="300" y="226"/>
                  </a:lnTo>
                  <a:lnTo>
                    <a:pt x="299" y="224"/>
                  </a:lnTo>
                  <a:lnTo>
                    <a:pt x="297" y="221"/>
                  </a:lnTo>
                  <a:lnTo>
                    <a:pt x="294" y="218"/>
                  </a:lnTo>
                  <a:lnTo>
                    <a:pt x="290" y="214"/>
                  </a:lnTo>
                  <a:lnTo>
                    <a:pt x="271" y="207"/>
                  </a:lnTo>
                  <a:lnTo>
                    <a:pt x="257" y="195"/>
                  </a:lnTo>
                  <a:lnTo>
                    <a:pt x="257" y="196"/>
                  </a:lnTo>
                  <a:lnTo>
                    <a:pt x="256" y="196"/>
                  </a:lnTo>
                  <a:lnTo>
                    <a:pt x="253" y="197"/>
                  </a:lnTo>
                  <a:lnTo>
                    <a:pt x="250" y="197"/>
                  </a:lnTo>
                  <a:lnTo>
                    <a:pt x="248" y="197"/>
                  </a:lnTo>
                  <a:lnTo>
                    <a:pt x="245" y="197"/>
                  </a:lnTo>
                  <a:lnTo>
                    <a:pt x="244" y="195"/>
                  </a:lnTo>
                  <a:lnTo>
                    <a:pt x="244" y="192"/>
                  </a:lnTo>
                  <a:lnTo>
                    <a:pt x="245" y="192"/>
                  </a:lnTo>
                  <a:lnTo>
                    <a:pt x="245" y="191"/>
                  </a:lnTo>
                  <a:lnTo>
                    <a:pt x="246" y="188"/>
                  </a:lnTo>
                  <a:lnTo>
                    <a:pt x="248" y="185"/>
                  </a:lnTo>
                  <a:lnTo>
                    <a:pt x="248" y="184"/>
                  </a:lnTo>
                  <a:lnTo>
                    <a:pt x="249" y="181"/>
                  </a:lnTo>
                  <a:lnTo>
                    <a:pt x="249" y="178"/>
                  </a:lnTo>
                  <a:lnTo>
                    <a:pt x="248" y="176"/>
                  </a:lnTo>
                  <a:lnTo>
                    <a:pt x="260" y="174"/>
                  </a:lnTo>
                  <a:lnTo>
                    <a:pt x="261" y="174"/>
                  </a:lnTo>
                  <a:lnTo>
                    <a:pt x="261" y="173"/>
                  </a:lnTo>
                  <a:lnTo>
                    <a:pt x="263" y="170"/>
                  </a:lnTo>
                  <a:lnTo>
                    <a:pt x="263" y="169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0" y="160"/>
                  </a:lnTo>
                  <a:lnTo>
                    <a:pt x="259" y="159"/>
                  </a:lnTo>
                  <a:lnTo>
                    <a:pt x="259" y="158"/>
                  </a:lnTo>
                  <a:lnTo>
                    <a:pt x="259" y="156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9" y="151"/>
                  </a:lnTo>
                  <a:lnTo>
                    <a:pt x="260" y="149"/>
                  </a:lnTo>
                  <a:lnTo>
                    <a:pt x="260" y="148"/>
                  </a:lnTo>
                  <a:lnTo>
                    <a:pt x="261" y="145"/>
                  </a:lnTo>
                  <a:lnTo>
                    <a:pt x="261" y="143"/>
                  </a:lnTo>
                  <a:lnTo>
                    <a:pt x="260" y="141"/>
                  </a:lnTo>
                  <a:lnTo>
                    <a:pt x="257" y="138"/>
                  </a:lnTo>
                  <a:lnTo>
                    <a:pt x="255" y="137"/>
                  </a:lnTo>
                  <a:lnTo>
                    <a:pt x="248" y="137"/>
                  </a:lnTo>
                  <a:lnTo>
                    <a:pt x="246" y="122"/>
                  </a:lnTo>
                  <a:lnTo>
                    <a:pt x="244" y="122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8" y="119"/>
                  </a:lnTo>
                  <a:lnTo>
                    <a:pt x="235" y="116"/>
                  </a:lnTo>
                  <a:lnTo>
                    <a:pt x="233" y="115"/>
                  </a:lnTo>
                  <a:lnTo>
                    <a:pt x="233" y="114"/>
                  </a:lnTo>
                  <a:lnTo>
                    <a:pt x="233" y="112"/>
                  </a:lnTo>
                  <a:lnTo>
                    <a:pt x="231" y="111"/>
                  </a:lnTo>
                  <a:lnTo>
                    <a:pt x="231" y="110"/>
                  </a:lnTo>
                  <a:lnTo>
                    <a:pt x="230" y="108"/>
                  </a:lnTo>
                  <a:lnTo>
                    <a:pt x="227" y="108"/>
                  </a:lnTo>
                  <a:lnTo>
                    <a:pt x="224" y="108"/>
                  </a:lnTo>
                  <a:lnTo>
                    <a:pt x="222" y="110"/>
                  </a:lnTo>
                  <a:lnTo>
                    <a:pt x="219" y="111"/>
                  </a:lnTo>
                  <a:lnTo>
                    <a:pt x="216" y="112"/>
                  </a:lnTo>
                  <a:lnTo>
                    <a:pt x="213" y="114"/>
                  </a:lnTo>
                  <a:lnTo>
                    <a:pt x="212" y="114"/>
                  </a:lnTo>
                  <a:lnTo>
                    <a:pt x="209" y="112"/>
                  </a:lnTo>
                  <a:lnTo>
                    <a:pt x="209" y="111"/>
                  </a:lnTo>
                  <a:lnTo>
                    <a:pt x="211" y="107"/>
                  </a:lnTo>
                  <a:lnTo>
                    <a:pt x="211" y="105"/>
                  </a:lnTo>
                  <a:lnTo>
                    <a:pt x="212" y="104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3" y="96"/>
                  </a:lnTo>
                  <a:lnTo>
                    <a:pt x="213" y="93"/>
                  </a:lnTo>
                  <a:lnTo>
                    <a:pt x="209" y="90"/>
                  </a:lnTo>
                  <a:lnTo>
                    <a:pt x="205" y="89"/>
                  </a:lnTo>
                  <a:lnTo>
                    <a:pt x="204" y="90"/>
                  </a:lnTo>
                  <a:lnTo>
                    <a:pt x="202" y="90"/>
                  </a:lnTo>
                  <a:lnTo>
                    <a:pt x="201" y="92"/>
                  </a:lnTo>
                  <a:lnTo>
                    <a:pt x="198" y="92"/>
                  </a:lnTo>
                  <a:lnTo>
                    <a:pt x="194" y="90"/>
                  </a:lnTo>
                  <a:lnTo>
                    <a:pt x="190" y="86"/>
                  </a:lnTo>
                  <a:lnTo>
                    <a:pt x="186" y="81"/>
                  </a:lnTo>
                  <a:lnTo>
                    <a:pt x="180" y="71"/>
                  </a:lnTo>
                  <a:lnTo>
                    <a:pt x="179" y="68"/>
                  </a:lnTo>
                  <a:lnTo>
                    <a:pt x="175" y="66"/>
                  </a:lnTo>
                  <a:lnTo>
                    <a:pt x="171" y="61"/>
                  </a:lnTo>
                  <a:lnTo>
                    <a:pt x="165" y="59"/>
                  </a:lnTo>
                  <a:lnTo>
                    <a:pt x="157" y="56"/>
                  </a:lnTo>
                  <a:lnTo>
                    <a:pt x="147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2" y="55"/>
                  </a:lnTo>
                  <a:lnTo>
                    <a:pt x="129" y="56"/>
                  </a:lnTo>
                  <a:lnTo>
                    <a:pt x="125" y="56"/>
                  </a:lnTo>
                  <a:lnTo>
                    <a:pt x="121" y="56"/>
                  </a:lnTo>
                  <a:lnTo>
                    <a:pt x="117" y="55"/>
                  </a:lnTo>
                  <a:lnTo>
                    <a:pt x="113" y="50"/>
                  </a:lnTo>
                  <a:lnTo>
                    <a:pt x="110" y="45"/>
                  </a:lnTo>
                  <a:lnTo>
                    <a:pt x="92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5" y="48"/>
                  </a:lnTo>
                  <a:lnTo>
                    <a:pt x="95" y="45"/>
                  </a:lnTo>
                  <a:lnTo>
                    <a:pt x="96" y="42"/>
                  </a:lnTo>
                  <a:lnTo>
                    <a:pt x="96" y="39"/>
                  </a:lnTo>
                  <a:lnTo>
                    <a:pt x="98" y="35"/>
                  </a:lnTo>
                  <a:lnTo>
                    <a:pt x="98" y="31"/>
                  </a:lnTo>
                  <a:lnTo>
                    <a:pt x="99" y="27"/>
                  </a:lnTo>
                  <a:lnTo>
                    <a:pt x="101" y="23"/>
                  </a:lnTo>
                  <a:lnTo>
                    <a:pt x="101" y="19"/>
                  </a:lnTo>
                  <a:lnTo>
                    <a:pt x="101" y="13"/>
                  </a:lnTo>
                  <a:lnTo>
                    <a:pt x="101" y="9"/>
                  </a:lnTo>
                  <a:lnTo>
                    <a:pt x="99" y="5"/>
                  </a:lnTo>
                  <a:lnTo>
                    <a:pt x="95" y="4"/>
                  </a:lnTo>
                  <a:lnTo>
                    <a:pt x="94" y="4"/>
                  </a:lnTo>
                  <a:lnTo>
                    <a:pt x="91" y="4"/>
                  </a:lnTo>
                  <a:lnTo>
                    <a:pt x="88" y="5"/>
                  </a:lnTo>
                  <a:lnTo>
                    <a:pt x="84" y="6"/>
                  </a:lnTo>
                  <a:lnTo>
                    <a:pt x="79" y="9"/>
                  </a:lnTo>
                  <a:lnTo>
                    <a:pt x="74" y="13"/>
                  </a:lnTo>
                  <a:lnTo>
                    <a:pt x="70" y="19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6" y="31"/>
                  </a:lnTo>
                  <a:lnTo>
                    <a:pt x="65" y="35"/>
                  </a:lnTo>
                  <a:lnTo>
                    <a:pt x="65" y="42"/>
                  </a:lnTo>
                  <a:lnTo>
                    <a:pt x="65" y="48"/>
                  </a:lnTo>
                  <a:lnTo>
                    <a:pt x="65" y="55"/>
                  </a:lnTo>
                  <a:lnTo>
                    <a:pt x="66" y="61"/>
                  </a:lnTo>
                  <a:lnTo>
                    <a:pt x="68" y="67"/>
                  </a:lnTo>
                  <a:lnTo>
                    <a:pt x="85" y="90"/>
                  </a:lnTo>
                  <a:lnTo>
                    <a:pt x="85" y="92"/>
                  </a:lnTo>
                  <a:lnTo>
                    <a:pt x="85" y="94"/>
                  </a:lnTo>
                  <a:lnTo>
                    <a:pt x="85" y="97"/>
                  </a:lnTo>
                  <a:lnTo>
                    <a:pt x="85" y="101"/>
                  </a:lnTo>
                  <a:lnTo>
                    <a:pt x="85" y="105"/>
                  </a:lnTo>
                  <a:lnTo>
                    <a:pt x="85" y="107"/>
                  </a:lnTo>
                  <a:lnTo>
                    <a:pt x="83" y="108"/>
                  </a:lnTo>
                  <a:lnTo>
                    <a:pt x="80" y="107"/>
                  </a:lnTo>
                  <a:lnTo>
                    <a:pt x="80" y="105"/>
                  </a:lnTo>
                  <a:lnTo>
                    <a:pt x="77" y="103"/>
                  </a:lnTo>
                  <a:lnTo>
                    <a:pt x="72" y="97"/>
                  </a:lnTo>
                  <a:lnTo>
                    <a:pt x="68" y="90"/>
                  </a:lnTo>
                  <a:lnTo>
                    <a:pt x="62" y="81"/>
                  </a:lnTo>
                  <a:lnTo>
                    <a:pt x="58" y="70"/>
                  </a:lnTo>
                  <a:lnTo>
                    <a:pt x="54" y="57"/>
                  </a:lnTo>
                  <a:lnTo>
                    <a:pt x="52" y="44"/>
                  </a:lnTo>
                  <a:lnTo>
                    <a:pt x="51" y="42"/>
                  </a:lnTo>
                  <a:lnTo>
                    <a:pt x="51" y="39"/>
                  </a:lnTo>
                  <a:lnTo>
                    <a:pt x="51" y="37"/>
                  </a:lnTo>
                  <a:lnTo>
                    <a:pt x="52" y="31"/>
                  </a:lnTo>
                  <a:lnTo>
                    <a:pt x="54" y="26"/>
                  </a:lnTo>
                  <a:lnTo>
                    <a:pt x="55" y="19"/>
                  </a:lnTo>
                  <a:lnTo>
                    <a:pt x="58" y="11"/>
                  </a:lnTo>
                  <a:lnTo>
                    <a:pt x="62" y="4"/>
                  </a:lnTo>
                  <a:lnTo>
                    <a:pt x="62" y="2"/>
                  </a:lnTo>
                  <a:lnTo>
                    <a:pt x="61" y="1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47" y="0"/>
                  </a:lnTo>
                  <a:lnTo>
                    <a:pt x="40" y="2"/>
                  </a:lnTo>
                  <a:lnTo>
                    <a:pt x="32" y="8"/>
                  </a:lnTo>
                  <a:lnTo>
                    <a:pt x="22" y="16"/>
                  </a:lnTo>
                  <a:lnTo>
                    <a:pt x="21" y="17"/>
                  </a:lnTo>
                  <a:lnTo>
                    <a:pt x="18" y="22"/>
                  </a:lnTo>
                  <a:lnTo>
                    <a:pt x="15" y="27"/>
                  </a:lnTo>
                  <a:lnTo>
                    <a:pt x="12" y="34"/>
                  </a:lnTo>
                  <a:lnTo>
                    <a:pt x="8" y="41"/>
                  </a:lnTo>
                  <a:lnTo>
                    <a:pt x="6" y="49"/>
                  </a:lnTo>
                  <a:lnTo>
                    <a:pt x="3" y="57"/>
                  </a:lnTo>
                  <a:lnTo>
                    <a:pt x="3" y="66"/>
                  </a:lnTo>
                  <a:lnTo>
                    <a:pt x="1" y="66"/>
                  </a:lnTo>
                  <a:lnTo>
                    <a:pt x="1" y="67"/>
                  </a:lnTo>
                  <a:lnTo>
                    <a:pt x="0" y="68"/>
                  </a:lnTo>
                  <a:lnTo>
                    <a:pt x="0" y="70"/>
                  </a:lnTo>
                  <a:lnTo>
                    <a:pt x="1" y="72"/>
                  </a:lnTo>
                  <a:lnTo>
                    <a:pt x="3" y="75"/>
                  </a:lnTo>
                  <a:lnTo>
                    <a:pt x="6" y="79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2" y="92"/>
                  </a:lnTo>
                  <a:lnTo>
                    <a:pt x="17" y="99"/>
                  </a:lnTo>
                  <a:lnTo>
                    <a:pt x="21" y="105"/>
                  </a:lnTo>
                  <a:lnTo>
                    <a:pt x="25" y="112"/>
                  </a:lnTo>
                  <a:lnTo>
                    <a:pt x="28" y="118"/>
                  </a:lnTo>
                  <a:lnTo>
                    <a:pt x="29" y="122"/>
                  </a:lnTo>
                  <a:lnTo>
                    <a:pt x="26" y="127"/>
                  </a:lnTo>
                  <a:lnTo>
                    <a:pt x="32" y="132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4" y="129"/>
                  </a:lnTo>
                  <a:lnTo>
                    <a:pt x="36" y="127"/>
                  </a:lnTo>
                  <a:lnTo>
                    <a:pt x="37" y="127"/>
                  </a:lnTo>
                  <a:lnTo>
                    <a:pt x="40" y="129"/>
                  </a:lnTo>
                  <a:lnTo>
                    <a:pt x="43" y="130"/>
                  </a:lnTo>
                  <a:lnTo>
                    <a:pt x="43" y="132"/>
                  </a:lnTo>
                  <a:lnTo>
                    <a:pt x="47" y="133"/>
                  </a:lnTo>
                  <a:lnTo>
                    <a:pt x="51" y="136"/>
                  </a:lnTo>
                  <a:lnTo>
                    <a:pt x="58" y="138"/>
                  </a:lnTo>
                  <a:lnTo>
                    <a:pt x="66" y="141"/>
                  </a:lnTo>
                  <a:lnTo>
                    <a:pt x="74" y="144"/>
                  </a:lnTo>
                  <a:lnTo>
                    <a:pt x="84" y="145"/>
                  </a:lnTo>
                  <a:lnTo>
                    <a:pt x="95" y="14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39" name="Freeform 215"/>
            <p:cNvSpPr>
              <a:spLocks/>
            </p:cNvSpPr>
            <p:nvPr/>
          </p:nvSpPr>
          <p:spPr bwMode="auto">
            <a:xfrm>
              <a:off x="1827" y="1106"/>
              <a:ext cx="76" cy="56"/>
            </a:xfrm>
            <a:custGeom>
              <a:avLst/>
              <a:gdLst>
                <a:gd name="T0" fmla="*/ 6 w 95"/>
                <a:gd name="T1" fmla="*/ 44 h 70"/>
                <a:gd name="T2" fmla="*/ 0 w 95"/>
                <a:gd name="T3" fmla="*/ 55 h 70"/>
                <a:gd name="T4" fmla="*/ 2 w 95"/>
                <a:gd name="T5" fmla="*/ 54 h 70"/>
                <a:gd name="T6" fmla="*/ 3 w 95"/>
                <a:gd name="T7" fmla="*/ 54 h 70"/>
                <a:gd name="T8" fmla="*/ 7 w 95"/>
                <a:gd name="T9" fmla="*/ 54 h 70"/>
                <a:gd name="T10" fmla="*/ 10 w 95"/>
                <a:gd name="T11" fmla="*/ 53 h 70"/>
                <a:gd name="T12" fmla="*/ 14 w 95"/>
                <a:gd name="T13" fmla="*/ 54 h 70"/>
                <a:gd name="T14" fmla="*/ 17 w 95"/>
                <a:gd name="T15" fmla="*/ 55 h 70"/>
                <a:gd name="T16" fmla="*/ 20 w 95"/>
                <a:gd name="T17" fmla="*/ 57 h 70"/>
                <a:gd name="T18" fmla="*/ 20 w 95"/>
                <a:gd name="T19" fmla="*/ 61 h 70"/>
                <a:gd name="T20" fmla="*/ 20 w 95"/>
                <a:gd name="T21" fmla="*/ 62 h 70"/>
                <a:gd name="T22" fmla="*/ 21 w 95"/>
                <a:gd name="T23" fmla="*/ 64 h 70"/>
                <a:gd name="T24" fmla="*/ 22 w 95"/>
                <a:gd name="T25" fmla="*/ 66 h 70"/>
                <a:gd name="T26" fmla="*/ 24 w 95"/>
                <a:gd name="T27" fmla="*/ 68 h 70"/>
                <a:gd name="T28" fmla="*/ 28 w 95"/>
                <a:gd name="T29" fmla="*/ 70 h 70"/>
                <a:gd name="T30" fmla="*/ 31 w 95"/>
                <a:gd name="T31" fmla="*/ 70 h 70"/>
                <a:gd name="T32" fmla="*/ 35 w 95"/>
                <a:gd name="T33" fmla="*/ 70 h 70"/>
                <a:gd name="T34" fmla="*/ 40 w 95"/>
                <a:gd name="T35" fmla="*/ 68 h 70"/>
                <a:gd name="T36" fmla="*/ 64 w 95"/>
                <a:gd name="T37" fmla="*/ 53 h 70"/>
                <a:gd name="T38" fmla="*/ 86 w 95"/>
                <a:gd name="T39" fmla="*/ 59 h 70"/>
                <a:gd name="T40" fmla="*/ 95 w 95"/>
                <a:gd name="T41" fmla="*/ 51 h 70"/>
                <a:gd name="T42" fmla="*/ 95 w 95"/>
                <a:gd name="T43" fmla="*/ 50 h 70"/>
                <a:gd name="T44" fmla="*/ 94 w 95"/>
                <a:gd name="T45" fmla="*/ 48 h 70"/>
                <a:gd name="T46" fmla="*/ 91 w 95"/>
                <a:gd name="T47" fmla="*/ 44 h 70"/>
                <a:gd name="T48" fmla="*/ 88 w 95"/>
                <a:gd name="T49" fmla="*/ 42 h 70"/>
                <a:gd name="T50" fmla="*/ 86 w 95"/>
                <a:gd name="T51" fmla="*/ 37 h 70"/>
                <a:gd name="T52" fmla="*/ 82 w 95"/>
                <a:gd name="T53" fmla="*/ 35 h 70"/>
                <a:gd name="T54" fmla="*/ 77 w 95"/>
                <a:gd name="T55" fmla="*/ 32 h 70"/>
                <a:gd name="T56" fmla="*/ 72 w 95"/>
                <a:gd name="T57" fmla="*/ 29 h 70"/>
                <a:gd name="T58" fmla="*/ 71 w 95"/>
                <a:gd name="T59" fmla="*/ 29 h 70"/>
                <a:gd name="T60" fmla="*/ 69 w 95"/>
                <a:gd name="T61" fmla="*/ 26 h 70"/>
                <a:gd name="T62" fmla="*/ 65 w 95"/>
                <a:gd name="T63" fmla="*/ 24 h 70"/>
                <a:gd name="T64" fmla="*/ 61 w 95"/>
                <a:gd name="T65" fmla="*/ 20 h 70"/>
                <a:gd name="T66" fmla="*/ 55 w 95"/>
                <a:gd name="T67" fmla="*/ 17 h 70"/>
                <a:gd name="T68" fmla="*/ 50 w 95"/>
                <a:gd name="T69" fmla="*/ 14 h 70"/>
                <a:gd name="T70" fmla="*/ 44 w 95"/>
                <a:gd name="T71" fmla="*/ 13 h 70"/>
                <a:gd name="T72" fmla="*/ 40 w 95"/>
                <a:gd name="T73" fmla="*/ 13 h 70"/>
                <a:gd name="T74" fmla="*/ 39 w 95"/>
                <a:gd name="T75" fmla="*/ 0 h 70"/>
                <a:gd name="T76" fmla="*/ 25 w 95"/>
                <a:gd name="T77" fmla="*/ 17 h 70"/>
                <a:gd name="T78" fmla="*/ 25 w 95"/>
                <a:gd name="T79" fmla="*/ 17 h 70"/>
                <a:gd name="T80" fmla="*/ 22 w 95"/>
                <a:gd name="T81" fmla="*/ 17 h 70"/>
                <a:gd name="T82" fmla="*/ 18 w 95"/>
                <a:gd name="T83" fmla="*/ 18 h 70"/>
                <a:gd name="T84" fmla="*/ 14 w 95"/>
                <a:gd name="T85" fmla="*/ 21 h 70"/>
                <a:gd name="T86" fmla="*/ 10 w 95"/>
                <a:gd name="T87" fmla="*/ 25 h 70"/>
                <a:gd name="T88" fmla="*/ 7 w 95"/>
                <a:gd name="T89" fmla="*/ 29 h 70"/>
                <a:gd name="T90" fmla="*/ 6 w 95"/>
                <a:gd name="T91" fmla="*/ 36 h 70"/>
                <a:gd name="T92" fmla="*/ 6 w 95"/>
                <a:gd name="T93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" h="70">
                  <a:moveTo>
                    <a:pt x="6" y="44"/>
                  </a:moveTo>
                  <a:lnTo>
                    <a:pt x="0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7" y="54"/>
                  </a:lnTo>
                  <a:lnTo>
                    <a:pt x="10" y="53"/>
                  </a:lnTo>
                  <a:lnTo>
                    <a:pt x="14" y="54"/>
                  </a:lnTo>
                  <a:lnTo>
                    <a:pt x="17" y="55"/>
                  </a:lnTo>
                  <a:lnTo>
                    <a:pt x="20" y="57"/>
                  </a:lnTo>
                  <a:lnTo>
                    <a:pt x="20" y="61"/>
                  </a:lnTo>
                  <a:lnTo>
                    <a:pt x="20" y="62"/>
                  </a:lnTo>
                  <a:lnTo>
                    <a:pt x="21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5" y="70"/>
                  </a:lnTo>
                  <a:lnTo>
                    <a:pt x="40" y="68"/>
                  </a:lnTo>
                  <a:lnTo>
                    <a:pt x="64" y="53"/>
                  </a:lnTo>
                  <a:lnTo>
                    <a:pt x="86" y="59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4" y="48"/>
                  </a:lnTo>
                  <a:lnTo>
                    <a:pt x="91" y="44"/>
                  </a:lnTo>
                  <a:lnTo>
                    <a:pt x="88" y="42"/>
                  </a:lnTo>
                  <a:lnTo>
                    <a:pt x="86" y="37"/>
                  </a:lnTo>
                  <a:lnTo>
                    <a:pt x="82" y="35"/>
                  </a:lnTo>
                  <a:lnTo>
                    <a:pt x="77" y="32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69" y="26"/>
                  </a:lnTo>
                  <a:lnTo>
                    <a:pt x="65" y="24"/>
                  </a:lnTo>
                  <a:lnTo>
                    <a:pt x="61" y="20"/>
                  </a:lnTo>
                  <a:lnTo>
                    <a:pt x="55" y="17"/>
                  </a:lnTo>
                  <a:lnTo>
                    <a:pt x="50" y="14"/>
                  </a:lnTo>
                  <a:lnTo>
                    <a:pt x="44" y="13"/>
                  </a:lnTo>
                  <a:lnTo>
                    <a:pt x="40" y="13"/>
                  </a:lnTo>
                  <a:lnTo>
                    <a:pt x="39" y="0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0" y="25"/>
                  </a:lnTo>
                  <a:lnTo>
                    <a:pt x="7" y="29"/>
                  </a:lnTo>
                  <a:lnTo>
                    <a:pt x="6" y="36"/>
                  </a:lnTo>
                  <a:lnTo>
                    <a:pt x="6" y="4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0" name="Freeform 216"/>
            <p:cNvSpPr>
              <a:spLocks/>
            </p:cNvSpPr>
            <p:nvPr/>
          </p:nvSpPr>
          <p:spPr bwMode="auto">
            <a:xfrm>
              <a:off x="1827" y="1106"/>
              <a:ext cx="76" cy="56"/>
            </a:xfrm>
            <a:custGeom>
              <a:avLst/>
              <a:gdLst>
                <a:gd name="T0" fmla="*/ 6 w 95"/>
                <a:gd name="T1" fmla="*/ 44 h 70"/>
                <a:gd name="T2" fmla="*/ 0 w 95"/>
                <a:gd name="T3" fmla="*/ 55 h 70"/>
                <a:gd name="T4" fmla="*/ 2 w 95"/>
                <a:gd name="T5" fmla="*/ 54 h 70"/>
                <a:gd name="T6" fmla="*/ 3 w 95"/>
                <a:gd name="T7" fmla="*/ 54 h 70"/>
                <a:gd name="T8" fmla="*/ 7 w 95"/>
                <a:gd name="T9" fmla="*/ 54 h 70"/>
                <a:gd name="T10" fmla="*/ 10 w 95"/>
                <a:gd name="T11" fmla="*/ 53 h 70"/>
                <a:gd name="T12" fmla="*/ 14 w 95"/>
                <a:gd name="T13" fmla="*/ 54 h 70"/>
                <a:gd name="T14" fmla="*/ 17 w 95"/>
                <a:gd name="T15" fmla="*/ 55 h 70"/>
                <a:gd name="T16" fmla="*/ 20 w 95"/>
                <a:gd name="T17" fmla="*/ 57 h 70"/>
                <a:gd name="T18" fmla="*/ 20 w 95"/>
                <a:gd name="T19" fmla="*/ 61 h 70"/>
                <a:gd name="T20" fmla="*/ 20 w 95"/>
                <a:gd name="T21" fmla="*/ 62 h 70"/>
                <a:gd name="T22" fmla="*/ 21 w 95"/>
                <a:gd name="T23" fmla="*/ 64 h 70"/>
                <a:gd name="T24" fmla="*/ 22 w 95"/>
                <a:gd name="T25" fmla="*/ 66 h 70"/>
                <a:gd name="T26" fmla="*/ 24 w 95"/>
                <a:gd name="T27" fmla="*/ 68 h 70"/>
                <a:gd name="T28" fmla="*/ 28 w 95"/>
                <a:gd name="T29" fmla="*/ 70 h 70"/>
                <a:gd name="T30" fmla="*/ 31 w 95"/>
                <a:gd name="T31" fmla="*/ 70 h 70"/>
                <a:gd name="T32" fmla="*/ 35 w 95"/>
                <a:gd name="T33" fmla="*/ 70 h 70"/>
                <a:gd name="T34" fmla="*/ 40 w 95"/>
                <a:gd name="T35" fmla="*/ 68 h 70"/>
                <a:gd name="T36" fmla="*/ 64 w 95"/>
                <a:gd name="T37" fmla="*/ 53 h 70"/>
                <a:gd name="T38" fmla="*/ 86 w 95"/>
                <a:gd name="T39" fmla="*/ 59 h 70"/>
                <a:gd name="T40" fmla="*/ 95 w 95"/>
                <a:gd name="T41" fmla="*/ 51 h 70"/>
                <a:gd name="T42" fmla="*/ 95 w 95"/>
                <a:gd name="T43" fmla="*/ 50 h 70"/>
                <a:gd name="T44" fmla="*/ 94 w 95"/>
                <a:gd name="T45" fmla="*/ 48 h 70"/>
                <a:gd name="T46" fmla="*/ 91 w 95"/>
                <a:gd name="T47" fmla="*/ 44 h 70"/>
                <a:gd name="T48" fmla="*/ 88 w 95"/>
                <a:gd name="T49" fmla="*/ 42 h 70"/>
                <a:gd name="T50" fmla="*/ 86 w 95"/>
                <a:gd name="T51" fmla="*/ 37 h 70"/>
                <a:gd name="T52" fmla="*/ 82 w 95"/>
                <a:gd name="T53" fmla="*/ 35 h 70"/>
                <a:gd name="T54" fmla="*/ 77 w 95"/>
                <a:gd name="T55" fmla="*/ 32 h 70"/>
                <a:gd name="T56" fmla="*/ 72 w 95"/>
                <a:gd name="T57" fmla="*/ 29 h 70"/>
                <a:gd name="T58" fmla="*/ 71 w 95"/>
                <a:gd name="T59" fmla="*/ 29 h 70"/>
                <a:gd name="T60" fmla="*/ 69 w 95"/>
                <a:gd name="T61" fmla="*/ 26 h 70"/>
                <a:gd name="T62" fmla="*/ 65 w 95"/>
                <a:gd name="T63" fmla="*/ 24 h 70"/>
                <a:gd name="T64" fmla="*/ 61 w 95"/>
                <a:gd name="T65" fmla="*/ 20 h 70"/>
                <a:gd name="T66" fmla="*/ 55 w 95"/>
                <a:gd name="T67" fmla="*/ 17 h 70"/>
                <a:gd name="T68" fmla="*/ 50 w 95"/>
                <a:gd name="T69" fmla="*/ 14 h 70"/>
                <a:gd name="T70" fmla="*/ 44 w 95"/>
                <a:gd name="T71" fmla="*/ 13 h 70"/>
                <a:gd name="T72" fmla="*/ 40 w 95"/>
                <a:gd name="T73" fmla="*/ 13 h 70"/>
                <a:gd name="T74" fmla="*/ 39 w 95"/>
                <a:gd name="T75" fmla="*/ 0 h 70"/>
                <a:gd name="T76" fmla="*/ 25 w 95"/>
                <a:gd name="T77" fmla="*/ 17 h 70"/>
                <a:gd name="T78" fmla="*/ 22 w 95"/>
                <a:gd name="T79" fmla="*/ 17 h 70"/>
                <a:gd name="T80" fmla="*/ 18 w 95"/>
                <a:gd name="T81" fmla="*/ 18 h 70"/>
                <a:gd name="T82" fmla="*/ 14 w 95"/>
                <a:gd name="T83" fmla="*/ 21 h 70"/>
                <a:gd name="T84" fmla="*/ 10 w 95"/>
                <a:gd name="T85" fmla="*/ 25 h 70"/>
                <a:gd name="T86" fmla="*/ 7 w 95"/>
                <a:gd name="T87" fmla="*/ 29 h 70"/>
                <a:gd name="T88" fmla="*/ 6 w 95"/>
                <a:gd name="T89" fmla="*/ 36 h 70"/>
                <a:gd name="T90" fmla="*/ 6 w 95"/>
                <a:gd name="T91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5" h="70">
                  <a:moveTo>
                    <a:pt x="6" y="44"/>
                  </a:moveTo>
                  <a:lnTo>
                    <a:pt x="0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7" y="54"/>
                  </a:lnTo>
                  <a:lnTo>
                    <a:pt x="10" y="53"/>
                  </a:lnTo>
                  <a:lnTo>
                    <a:pt x="14" y="54"/>
                  </a:lnTo>
                  <a:lnTo>
                    <a:pt x="17" y="55"/>
                  </a:lnTo>
                  <a:lnTo>
                    <a:pt x="20" y="57"/>
                  </a:lnTo>
                  <a:lnTo>
                    <a:pt x="20" y="61"/>
                  </a:lnTo>
                  <a:lnTo>
                    <a:pt x="20" y="62"/>
                  </a:lnTo>
                  <a:lnTo>
                    <a:pt x="21" y="64"/>
                  </a:lnTo>
                  <a:lnTo>
                    <a:pt x="22" y="66"/>
                  </a:lnTo>
                  <a:lnTo>
                    <a:pt x="24" y="68"/>
                  </a:lnTo>
                  <a:lnTo>
                    <a:pt x="28" y="70"/>
                  </a:lnTo>
                  <a:lnTo>
                    <a:pt x="31" y="70"/>
                  </a:lnTo>
                  <a:lnTo>
                    <a:pt x="35" y="70"/>
                  </a:lnTo>
                  <a:lnTo>
                    <a:pt x="40" y="68"/>
                  </a:lnTo>
                  <a:lnTo>
                    <a:pt x="64" y="53"/>
                  </a:lnTo>
                  <a:lnTo>
                    <a:pt x="86" y="59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4" y="48"/>
                  </a:lnTo>
                  <a:lnTo>
                    <a:pt x="91" y="44"/>
                  </a:lnTo>
                  <a:lnTo>
                    <a:pt x="88" y="42"/>
                  </a:lnTo>
                  <a:lnTo>
                    <a:pt x="86" y="37"/>
                  </a:lnTo>
                  <a:lnTo>
                    <a:pt x="82" y="35"/>
                  </a:lnTo>
                  <a:lnTo>
                    <a:pt x="77" y="32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69" y="26"/>
                  </a:lnTo>
                  <a:lnTo>
                    <a:pt x="65" y="24"/>
                  </a:lnTo>
                  <a:lnTo>
                    <a:pt x="61" y="20"/>
                  </a:lnTo>
                  <a:lnTo>
                    <a:pt x="55" y="17"/>
                  </a:lnTo>
                  <a:lnTo>
                    <a:pt x="50" y="14"/>
                  </a:lnTo>
                  <a:lnTo>
                    <a:pt x="44" y="13"/>
                  </a:lnTo>
                  <a:lnTo>
                    <a:pt x="40" y="13"/>
                  </a:lnTo>
                  <a:lnTo>
                    <a:pt x="39" y="0"/>
                  </a:lnTo>
                  <a:lnTo>
                    <a:pt x="25" y="17"/>
                  </a:lnTo>
                  <a:lnTo>
                    <a:pt x="22" y="17"/>
                  </a:lnTo>
                  <a:lnTo>
                    <a:pt x="18" y="18"/>
                  </a:lnTo>
                  <a:lnTo>
                    <a:pt x="14" y="21"/>
                  </a:lnTo>
                  <a:lnTo>
                    <a:pt x="10" y="25"/>
                  </a:lnTo>
                  <a:lnTo>
                    <a:pt x="7" y="29"/>
                  </a:lnTo>
                  <a:lnTo>
                    <a:pt x="6" y="36"/>
                  </a:lnTo>
                  <a:lnTo>
                    <a:pt x="6" y="4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1" name="Freeform 217"/>
            <p:cNvSpPr>
              <a:spLocks/>
            </p:cNvSpPr>
            <p:nvPr/>
          </p:nvSpPr>
          <p:spPr bwMode="auto">
            <a:xfrm>
              <a:off x="1788" y="610"/>
              <a:ext cx="28" cy="11"/>
            </a:xfrm>
            <a:custGeom>
              <a:avLst/>
              <a:gdLst>
                <a:gd name="T0" fmla="*/ 10 w 36"/>
                <a:gd name="T1" fmla="*/ 2 h 13"/>
                <a:gd name="T2" fmla="*/ 10 w 36"/>
                <a:gd name="T3" fmla="*/ 2 h 13"/>
                <a:gd name="T4" fmla="*/ 7 w 36"/>
                <a:gd name="T5" fmla="*/ 2 h 13"/>
                <a:gd name="T6" fmla="*/ 6 w 36"/>
                <a:gd name="T7" fmla="*/ 2 h 13"/>
                <a:gd name="T8" fmla="*/ 3 w 36"/>
                <a:gd name="T9" fmla="*/ 2 h 13"/>
                <a:gd name="T10" fmla="*/ 2 w 36"/>
                <a:gd name="T11" fmla="*/ 3 h 13"/>
                <a:gd name="T12" fmla="*/ 0 w 36"/>
                <a:gd name="T13" fmla="*/ 4 h 13"/>
                <a:gd name="T14" fmla="*/ 0 w 36"/>
                <a:gd name="T15" fmla="*/ 7 h 13"/>
                <a:gd name="T16" fmla="*/ 2 w 36"/>
                <a:gd name="T17" fmla="*/ 10 h 13"/>
                <a:gd name="T18" fmla="*/ 3 w 36"/>
                <a:gd name="T19" fmla="*/ 10 h 13"/>
                <a:gd name="T20" fmla="*/ 4 w 36"/>
                <a:gd name="T21" fmla="*/ 11 h 13"/>
                <a:gd name="T22" fmla="*/ 9 w 36"/>
                <a:gd name="T23" fmla="*/ 11 h 13"/>
                <a:gd name="T24" fmla="*/ 13 w 36"/>
                <a:gd name="T25" fmla="*/ 11 h 13"/>
                <a:gd name="T26" fmla="*/ 17 w 36"/>
                <a:gd name="T27" fmla="*/ 13 h 13"/>
                <a:gd name="T28" fmla="*/ 21 w 36"/>
                <a:gd name="T29" fmla="*/ 13 h 13"/>
                <a:gd name="T30" fmla="*/ 25 w 36"/>
                <a:gd name="T31" fmla="*/ 13 h 13"/>
                <a:gd name="T32" fmla="*/ 29 w 36"/>
                <a:gd name="T33" fmla="*/ 13 h 13"/>
                <a:gd name="T34" fmla="*/ 32 w 36"/>
                <a:gd name="T35" fmla="*/ 11 h 13"/>
                <a:gd name="T36" fmla="*/ 33 w 36"/>
                <a:gd name="T37" fmla="*/ 11 h 13"/>
                <a:gd name="T38" fmla="*/ 36 w 36"/>
                <a:gd name="T39" fmla="*/ 10 h 13"/>
                <a:gd name="T40" fmla="*/ 36 w 36"/>
                <a:gd name="T41" fmla="*/ 9 h 13"/>
                <a:gd name="T42" fmla="*/ 36 w 36"/>
                <a:gd name="T43" fmla="*/ 7 h 13"/>
                <a:gd name="T44" fmla="*/ 36 w 36"/>
                <a:gd name="T45" fmla="*/ 6 h 13"/>
                <a:gd name="T46" fmla="*/ 35 w 36"/>
                <a:gd name="T47" fmla="*/ 3 h 13"/>
                <a:gd name="T48" fmla="*/ 33 w 36"/>
                <a:gd name="T49" fmla="*/ 2 h 13"/>
                <a:gd name="T50" fmla="*/ 31 w 36"/>
                <a:gd name="T51" fmla="*/ 0 h 13"/>
                <a:gd name="T52" fmla="*/ 28 w 36"/>
                <a:gd name="T53" fmla="*/ 0 h 13"/>
                <a:gd name="T54" fmla="*/ 24 w 36"/>
                <a:gd name="T55" fmla="*/ 0 h 13"/>
                <a:gd name="T56" fmla="*/ 20 w 36"/>
                <a:gd name="T57" fmla="*/ 0 h 13"/>
                <a:gd name="T58" fmla="*/ 15 w 36"/>
                <a:gd name="T59" fmla="*/ 0 h 13"/>
                <a:gd name="T60" fmla="*/ 13 w 36"/>
                <a:gd name="T61" fmla="*/ 2 h 13"/>
                <a:gd name="T62" fmla="*/ 11 w 36"/>
                <a:gd name="T63" fmla="*/ 2 h 13"/>
                <a:gd name="T64" fmla="*/ 10 w 36"/>
                <a:gd name="T6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" h="13">
                  <a:moveTo>
                    <a:pt x="10" y="2"/>
                  </a:moveTo>
                  <a:lnTo>
                    <a:pt x="10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7" y="13"/>
                  </a:lnTo>
                  <a:lnTo>
                    <a:pt x="21" y="13"/>
                  </a:lnTo>
                  <a:lnTo>
                    <a:pt x="25" y="13"/>
                  </a:lnTo>
                  <a:lnTo>
                    <a:pt x="29" y="13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3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2" name="Freeform 218"/>
            <p:cNvSpPr>
              <a:spLocks/>
            </p:cNvSpPr>
            <p:nvPr/>
          </p:nvSpPr>
          <p:spPr bwMode="auto">
            <a:xfrm>
              <a:off x="1788" y="610"/>
              <a:ext cx="28" cy="11"/>
            </a:xfrm>
            <a:custGeom>
              <a:avLst/>
              <a:gdLst>
                <a:gd name="T0" fmla="*/ 10 w 36"/>
                <a:gd name="T1" fmla="*/ 2 h 13"/>
                <a:gd name="T2" fmla="*/ 7 w 36"/>
                <a:gd name="T3" fmla="*/ 2 h 13"/>
                <a:gd name="T4" fmla="*/ 6 w 36"/>
                <a:gd name="T5" fmla="*/ 2 h 13"/>
                <a:gd name="T6" fmla="*/ 3 w 36"/>
                <a:gd name="T7" fmla="*/ 2 h 13"/>
                <a:gd name="T8" fmla="*/ 2 w 36"/>
                <a:gd name="T9" fmla="*/ 3 h 13"/>
                <a:gd name="T10" fmla="*/ 0 w 36"/>
                <a:gd name="T11" fmla="*/ 4 h 13"/>
                <a:gd name="T12" fmla="*/ 0 w 36"/>
                <a:gd name="T13" fmla="*/ 7 h 13"/>
                <a:gd name="T14" fmla="*/ 2 w 36"/>
                <a:gd name="T15" fmla="*/ 10 h 13"/>
                <a:gd name="T16" fmla="*/ 3 w 36"/>
                <a:gd name="T17" fmla="*/ 10 h 13"/>
                <a:gd name="T18" fmla="*/ 4 w 36"/>
                <a:gd name="T19" fmla="*/ 11 h 13"/>
                <a:gd name="T20" fmla="*/ 9 w 36"/>
                <a:gd name="T21" fmla="*/ 11 h 13"/>
                <a:gd name="T22" fmla="*/ 13 w 36"/>
                <a:gd name="T23" fmla="*/ 11 h 13"/>
                <a:gd name="T24" fmla="*/ 17 w 36"/>
                <a:gd name="T25" fmla="*/ 13 h 13"/>
                <a:gd name="T26" fmla="*/ 21 w 36"/>
                <a:gd name="T27" fmla="*/ 13 h 13"/>
                <a:gd name="T28" fmla="*/ 25 w 36"/>
                <a:gd name="T29" fmla="*/ 13 h 13"/>
                <a:gd name="T30" fmla="*/ 29 w 36"/>
                <a:gd name="T31" fmla="*/ 13 h 13"/>
                <a:gd name="T32" fmla="*/ 32 w 36"/>
                <a:gd name="T33" fmla="*/ 11 h 13"/>
                <a:gd name="T34" fmla="*/ 33 w 36"/>
                <a:gd name="T35" fmla="*/ 11 h 13"/>
                <a:gd name="T36" fmla="*/ 36 w 36"/>
                <a:gd name="T37" fmla="*/ 10 h 13"/>
                <a:gd name="T38" fmla="*/ 36 w 36"/>
                <a:gd name="T39" fmla="*/ 9 h 13"/>
                <a:gd name="T40" fmla="*/ 36 w 36"/>
                <a:gd name="T41" fmla="*/ 7 h 13"/>
                <a:gd name="T42" fmla="*/ 36 w 36"/>
                <a:gd name="T43" fmla="*/ 6 h 13"/>
                <a:gd name="T44" fmla="*/ 35 w 36"/>
                <a:gd name="T45" fmla="*/ 3 h 13"/>
                <a:gd name="T46" fmla="*/ 33 w 36"/>
                <a:gd name="T47" fmla="*/ 2 h 13"/>
                <a:gd name="T48" fmla="*/ 31 w 36"/>
                <a:gd name="T49" fmla="*/ 0 h 13"/>
                <a:gd name="T50" fmla="*/ 28 w 36"/>
                <a:gd name="T51" fmla="*/ 0 h 13"/>
                <a:gd name="T52" fmla="*/ 24 w 36"/>
                <a:gd name="T53" fmla="*/ 0 h 13"/>
                <a:gd name="T54" fmla="*/ 20 w 36"/>
                <a:gd name="T55" fmla="*/ 0 h 13"/>
                <a:gd name="T56" fmla="*/ 15 w 36"/>
                <a:gd name="T57" fmla="*/ 0 h 13"/>
                <a:gd name="T58" fmla="*/ 13 w 36"/>
                <a:gd name="T59" fmla="*/ 2 h 13"/>
                <a:gd name="T60" fmla="*/ 11 w 36"/>
                <a:gd name="T61" fmla="*/ 2 h 13"/>
                <a:gd name="T62" fmla="*/ 10 w 36"/>
                <a:gd name="T63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" h="13">
                  <a:moveTo>
                    <a:pt x="10" y="2"/>
                  </a:moveTo>
                  <a:lnTo>
                    <a:pt x="7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7" y="13"/>
                  </a:lnTo>
                  <a:lnTo>
                    <a:pt x="21" y="13"/>
                  </a:lnTo>
                  <a:lnTo>
                    <a:pt x="25" y="13"/>
                  </a:lnTo>
                  <a:lnTo>
                    <a:pt x="29" y="13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3"/>
                  </a:lnTo>
                  <a:lnTo>
                    <a:pt x="33" y="2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3" name="Freeform 219"/>
            <p:cNvSpPr>
              <a:spLocks/>
            </p:cNvSpPr>
            <p:nvPr/>
          </p:nvSpPr>
          <p:spPr bwMode="auto">
            <a:xfrm>
              <a:off x="1633" y="794"/>
              <a:ext cx="79" cy="118"/>
            </a:xfrm>
            <a:custGeom>
              <a:avLst/>
              <a:gdLst>
                <a:gd name="T0" fmla="*/ 15 w 99"/>
                <a:gd name="T1" fmla="*/ 57 h 146"/>
                <a:gd name="T2" fmla="*/ 9 w 99"/>
                <a:gd name="T3" fmla="*/ 54 h 146"/>
                <a:gd name="T4" fmla="*/ 2 w 99"/>
                <a:gd name="T5" fmla="*/ 55 h 146"/>
                <a:gd name="T6" fmla="*/ 0 w 99"/>
                <a:gd name="T7" fmla="*/ 65 h 146"/>
                <a:gd name="T8" fmla="*/ 1 w 99"/>
                <a:gd name="T9" fmla="*/ 75 h 146"/>
                <a:gd name="T10" fmla="*/ 4 w 99"/>
                <a:gd name="T11" fmla="*/ 82 h 146"/>
                <a:gd name="T12" fmla="*/ 8 w 99"/>
                <a:gd name="T13" fmla="*/ 93 h 146"/>
                <a:gd name="T14" fmla="*/ 18 w 99"/>
                <a:gd name="T15" fmla="*/ 101 h 146"/>
                <a:gd name="T16" fmla="*/ 24 w 99"/>
                <a:gd name="T17" fmla="*/ 104 h 146"/>
                <a:gd name="T18" fmla="*/ 27 w 99"/>
                <a:gd name="T19" fmla="*/ 105 h 146"/>
                <a:gd name="T20" fmla="*/ 30 w 99"/>
                <a:gd name="T21" fmla="*/ 110 h 146"/>
                <a:gd name="T22" fmla="*/ 35 w 99"/>
                <a:gd name="T23" fmla="*/ 117 h 146"/>
                <a:gd name="T24" fmla="*/ 38 w 99"/>
                <a:gd name="T25" fmla="*/ 124 h 146"/>
                <a:gd name="T26" fmla="*/ 41 w 99"/>
                <a:gd name="T27" fmla="*/ 132 h 146"/>
                <a:gd name="T28" fmla="*/ 48 w 99"/>
                <a:gd name="T29" fmla="*/ 142 h 146"/>
                <a:gd name="T30" fmla="*/ 59 w 99"/>
                <a:gd name="T31" fmla="*/ 146 h 146"/>
                <a:gd name="T32" fmla="*/ 68 w 99"/>
                <a:gd name="T33" fmla="*/ 146 h 146"/>
                <a:gd name="T34" fmla="*/ 75 w 99"/>
                <a:gd name="T35" fmla="*/ 143 h 146"/>
                <a:gd name="T36" fmla="*/ 81 w 99"/>
                <a:gd name="T37" fmla="*/ 141 h 146"/>
                <a:gd name="T38" fmla="*/ 89 w 99"/>
                <a:gd name="T39" fmla="*/ 137 h 146"/>
                <a:gd name="T40" fmla="*/ 96 w 99"/>
                <a:gd name="T41" fmla="*/ 130 h 146"/>
                <a:gd name="T42" fmla="*/ 99 w 99"/>
                <a:gd name="T43" fmla="*/ 123 h 146"/>
                <a:gd name="T44" fmla="*/ 99 w 99"/>
                <a:gd name="T45" fmla="*/ 113 h 146"/>
                <a:gd name="T46" fmla="*/ 99 w 99"/>
                <a:gd name="T47" fmla="*/ 98 h 146"/>
                <a:gd name="T48" fmla="*/ 96 w 99"/>
                <a:gd name="T49" fmla="*/ 84 h 146"/>
                <a:gd name="T50" fmla="*/ 95 w 99"/>
                <a:gd name="T51" fmla="*/ 65 h 146"/>
                <a:gd name="T52" fmla="*/ 91 w 99"/>
                <a:gd name="T53" fmla="*/ 66 h 146"/>
                <a:gd name="T54" fmla="*/ 82 w 99"/>
                <a:gd name="T55" fmla="*/ 68 h 146"/>
                <a:gd name="T56" fmla="*/ 74 w 99"/>
                <a:gd name="T57" fmla="*/ 66 h 146"/>
                <a:gd name="T58" fmla="*/ 71 w 99"/>
                <a:gd name="T59" fmla="*/ 60 h 146"/>
                <a:gd name="T60" fmla="*/ 73 w 99"/>
                <a:gd name="T61" fmla="*/ 57 h 146"/>
                <a:gd name="T62" fmla="*/ 77 w 99"/>
                <a:gd name="T63" fmla="*/ 50 h 146"/>
                <a:gd name="T64" fmla="*/ 82 w 99"/>
                <a:gd name="T65" fmla="*/ 46 h 146"/>
                <a:gd name="T66" fmla="*/ 91 w 99"/>
                <a:gd name="T67" fmla="*/ 44 h 146"/>
                <a:gd name="T68" fmla="*/ 92 w 99"/>
                <a:gd name="T69" fmla="*/ 39 h 146"/>
                <a:gd name="T70" fmla="*/ 93 w 99"/>
                <a:gd name="T71" fmla="*/ 29 h 146"/>
                <a:gd name="T72" fmla="*/ 93 w 99"/>
                <a:gd name="T73" fmla="*/ 18 h 146"/>
                <a:gd name="T74" fmla="*/ 86 w 99"/>
                <a:gd name="T75" fmla="*/ 13 h 146"/>
                <a:gd name="T76" fmla="*/ 81 w 99"/>
                <a:gd name="T77" fmla="*/ 0 h 146"/>
                <a:gd name="T78" fmla="*/ 77 w 99"/>
                <a:gd name="T79" fmla="*/ 2 h 146"/>
                <a:gd name="T80" fmla="*/ 68 w 99"/>
                <a:gd name="T81" fmla="*/ 3 h 146"/>
                <a:gd name="T82" fmla="*/ 60 w 99"/>
                <a:gd name="T83" fmla="*/ 6 h 146"/>
                <a:gd name="T84" fmla="*/ 55 w 99"/>
                <a:gd name="T85" fmla="*/ 6 h 146"/>
                <a:gd name="T86" fmla="*/ 46 w 99"/>
                <a:gd name="T87" fmla="*/ 3 h 146"/>
                <a:gd name="T88" fmla="*/ 34 w 99"/>
                <a:gd name="T89" fmla="*/ 3 h 146"/>
                <a:gd name="T90" fmla="*/ 27 w 99"/>
                <a:gd name="T91" fmla="*/ 7 h 146"/>
                <a:gd name="T92" fmla="*/ 24 w 99"/>
                <a:gd name="T93" fmla="*/ 13 h 146"/>
                <a:gd name="T94" fmla="*/ 24 w 99"/>
                <a:gd name="T95" fmla="*/ 17 h 146"/>
                <a:gd name="T96" fmla="*/ 23 w 99"/>
                <a:gd name="T97" fmla="*/ 22 h 146"/>
                <a:gd name="T98" fmla="*/ 23 w 99"/>
                <a:gd name="T99" fmla="*/ 32 h 146"/>
                <a:gd name="T100" fmla="*/ 29 w 99"/>
                <a:gd name="T101" fmla="*/ 40 h 146"/>
                <a:gd name="T102" fmla="*/ 33 w 99"/>
                <a:gd name="T103" fmla="*/ 44 h 146"/>
                <a:gd name="T104" fmla="*/ 37 w 99"/>
                <a:gd name="T105" fmla="*/ 50 h 146"/>
                <a:gd name="T106" fmla="*/ 40 w 99"/>
                <a:gd name="T107" fmla="*/ 58 h 146"/>
                <a:gd name="T108" fmla="*/ 37 w 99"/>
                <a:gd name="T109" fmla="*/ 66 h 146"/>
                <a:gd name="T110" fmla="*/ 33 w 99"/>
                <a:gd name="T111" fmla="*/ 69 h 146"/>
                <a:gd name="T112" fmla="*/ 30 w 99"/>
                <a:gd name="T113" fmla="*/ 69 h 146"/>
                <a:gd name="T114" fmla="*/ 24 w 99"/>
                <a:gd name="T115" fmla="*/ 66 h 146"/>
                <a:gd name="T116" fmla="*/ 19 w 99"/>
                <a:gd name="T117" fmla="*/ 6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9" h="146">
                  <a:moveTo>
                    <a:pt x="16" y="57"/>
                  </a:moveTo>
                  <a:lnTo>
                    <a:pt x="15" y="57"/>
                  </a:lnTo>
                  <a:lnTo>
                    <a:pt x="12" y="55"/>
                  </a:lnTo>
                  <a:lnTo>
                    <a:pt x="9" y="54"/>
                  </a:lnTo>
                  <a:lnTo>
                    <a:pt x="5" y="54"/>
                  </a:lnTo>
                  <a:lnTo>
                    <a:pt x="2" y="55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3"/>
                  </a:lnTo>
                  <a:lnTo>
                    <a:pt x="1" y="75"/>
                  </a:lnTo>
                  <a:lnTo>
                    <a:pt x="2" y="77"/>
                  </a:lnTo>
                  <a:lnTo>
                    <a:pt x="4" y="82"/>
                  </a:lnTo>
                  <a:lnTo>
                    <a:pt x="5" y="87"/>
                  </a:lnTo>
                  <a:lnTo>
                    <a:pt x="8" y="93"/>
                  </a:lnTo>
                  <a:lnTo>
                    <a:pt x="12" y="97"/>
                  </a:lnTo>
                  <a:lnTo>
                    <a:pt x="18" y="101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6" y="105"/>
                  </a:lnTo>
                  <a:lnTo>
                    <a:pt x="27" y="105"/>
                  </a:lnTo>
                  <a:lnTo>
                    <a:pt x="29" y="108"/>
                  </a:lnTo>
                  <a:lnTo>
                    <a:pt x="30" y="110"/>
                  </a:lnTo>
                  <a:lnTo>
                    <a:pt x="33" y="113"/>
                  </a:lnTo>
                  <a:lnTo>
                    <a:pt x="35" y="117"/>
                  </a:lnTo>
                  <a:lnTo>
                    <a:pt x="37" y="123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41" y="132"/>
                  </a:lnTo>
                  <a:lnTo>
                    <a:pt x="44" y="138"/>
                  </a:lnTo>
                  <a:lnTo>
                    <a:pt x="48" y="142"/>
                  </a:lnTo>
                  <a:lnTo>
                    <a:pt x="55" y="146"/>
                  </a:lnTo>
                  <a:lnTo>
                    <a:pt x="59" y="146"/>
                  </a:lnTo>
                  <a:lnTo>
                    <a:pt x="64" y="146"/>
                  </a:lnTo>
                  <a:lnTo>
                    <a:pt x="68" y="146"/>
                  </a:lnTo>
                  <a:lnTo>
                    <a:pt x="75" y="143"/>
                  </a:lnTo>
                  <a:lnTo>
                    <a:pt x="75" y="143"/>
                  </a:lnTo>
                  <a:lnTo>
                    <a:pt x="78" y="142"/>
                  </a:lnTo>
                  <a:lnTo>
                    <a:pt x="81" y="141"/>
                  </a:lnTo>
                  <a:lnTo>
                    <a:pt x="85" y="139"/>
                  </a:lnTo>
                  <a:lnTo>
                    <a:pt x="89" y="137"/>
                  </a:lnTo>
                  <a:lnTo>
                    <a:pt x="93" y="132"/>
                  </a:lnTo>
                  <a:lnTo>
                    <a:pt x="96" y="130"/>
                  </a:lnTo>
                  <a:lnTo>
                    <a:pt x="99" y="124"/>
                  </a:lnTo>
                  <a:lnTo>
                    <a:pt x="99" y="123"/>
                  </a:lnTo>
                  <a:lnTo>
                    <a:pt x="99" y="119"/>
                  </a:lnTo>
                  <a:lnTo>
                    <a:pt x="99" y="113"/>
                  </a:lnTo>
                  <a:lnTo>
                    <a:pt x="99" y="105"/>
                  </a:lnTo>
                  <a:lnTo>
                    <a:pt x="99" y="98"/>
                  </a:lnTo>
                  <a:lnTo>
                    <a:pt x="97" y="91"/>
                  </a:lnTo>
                  <a:lnTo>
                    <a:pt x="96" y="84"/>
                  </a:lnTo>
                  <a:lnTo>
                    <a:pt x="95" y="80"/>
                  </a:lnTo>
                  <a:lnTo>
                    <a:pt x="95" y="65"/>
                  </a:lnTo>
                  <a:lnTo>
                    <a:pt x="93" y="65"/>
                  </a:lnTo>
                  <a:lnTo>
                    <a:pt x="91" y="66"/>
                  </a:lnTo>
                  <a:lnTo>
                    <a:pt x="86" y="66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4" y="66"/>
                  </a:lnTo>
                  <a:lnTo>
                    <a:pt x="73" y="64"/>
                  </a:lnTo>
                  <a:lnTo>
                    <a:pt x="71" y="60"/>
                  </a:lnTo>
                  <a:lnTo>
                    <a:pt x="71" y="58"/>
                  </a:lnTo>
                  <a:lnTo>
                    <a:pt x="73" y="57"/>
                  </a:lnTo>
                  <a:lnTo>
                    <a:pt x="74" y="54"/>
                  </a:lnTo>
                  <a:lnTo>
                    <a:pt x="77" y="50"/>
                  </a:lnTo>
                  <a:lnTo>
                    <a:pt x="79" y="47"/>
                  </a:lnTo>
                  <a:lnTo>
                    <a:pt x="82" y="46"/>
                  </a:lnTo>
                  <a:lnTo>
                    <a:pt x="86" y="44"/>
                  </a:lnTo>
                  <a:lnTo>
                    <a:pt x="91" y="44"/>
                  </a:lnTo>
                  <a:lnTo>
                    <a:pt x="91" y="43"/>
                  </a:lnTo>
                  <a:lnTo>
                    <a:pt x="92" y="39"/>
                  </a:lnTo>
                  <a:lnTo>
                    <a:pt x="93" y="35"/>
                  </a:lnTo>
                  <a:lnTo>
                    <a:pt x="93" y="29"/>
                  </a:lnTo>
                  <a:lnTo>
                    <a:pt x="93" y="24"/>
                  </a:lnTo>
                  <a:lnTo>
                    <a:pt x="93" y="18"/>
                  </a:lnTo>
                  <a:lnTo>
                    <a:pt x="91" y="14"/>
                  </a:lnTo>
                  <a:lnTo>
                    <a:pt x="86" y="13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7" y="2"/>
                  </a:lnTo>
                  <a:lnTo>
                    <a:pt x="73" y="2"/>
                  </a:lnTo>
                  <a:lnTo>
                    <a:pt x="68" y="3"/>
                  </a:lnTo>
                  <a:lnTo>
                    <a:pt x="64" y="5"/>
                  </a:lnTo>
                  <a:lnTo>
                    <a:pt x="60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1" y="5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0" y="6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3" y="20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3" y="32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4" y="47"/>
                  </a:lnTo>
                  <a:lnTo>
                    <a:pt x="37" y="50"/>
                  </a:lnTo>
                  <a:lnTo>
                    <a:pt x="38" y="54"/>
                  </a:lnTo>
                  <a:lnTo>
                    <a:pt x="40" y="58"/>
                  </a:lnTo>
                  <a:lnTo>
                    <a:pt x="40" y="62"/>
                  </a:lnTo>
                  <a:lnTo>
                    <a:pt x="37" y="66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27" y="68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19" y="61"/>
                  </a:lnTo>
                  <a:lnTo>
                    <a:pt x="16" y="57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4" name="Freeform 220"/>
            <p:cNvSpPr>
              <a:spLocks/>
            </p:cNvSpPr>
            <p:nvPr/>
          </p:nvSpPr>
          <p:spPr bwMode="auto">
            <a:xfrm>
              <a:off x="1633" y="794"/>
              <a:ext cx="79" cy="118"/>
            </a:xfrm>
            <a:custGeom>
              <a:avLst/>
              <a:gdLst>
                <a:gd name="T0" fmla="*/ 15 w 99"/>
                <a:gd name="T1" fmla="*/ 57 h 146"/>
                <a:gd name="T2" fmla="*/ 9 w 99"/>
                <a:gd name="T3" fmla="*/ 54 h 146"/>
                <a:gd name="T4" fmla="*/ 2 w 99"/>
                <a:gd name="T5" fmla="*/ 55 h 146"/>
                <a:gd name="T6" fmla="*/ 0 w 99"/>
                <a:gd name="T7" fmla="*/ 65 h 146"/>
                <a:gd name="T8" fmla="*/ 1 w 99"/>
                <a:gd name="T9" fmla="*/ 75 h 146"/>
                <a:gd name="T10" fmla="*/ 4 w 99"/>
                <a:gd name="T11" fmla="*/ 82 h 146"/>
                <a:gd name="T12" fmla="*/ 8 w 99"/>
                <a:gd name="T13" fmla="*/ 93 h 146"/>
                <a:gd name="T14" fmla="*/ 18 w 99"/>
                <a:gd name="T15" fmla="*/ 101 h 146"/>
                <a:gd name="T16" fmla="*/ 26 w 99"/>
                <a:gd name="T17" fmla="*/ 105 h 146"/>
                <a:gd name="T18" fmla="*/ 29 w 99"/>
                <a:gd name="T19" fmla="*/ 108 h 146"/>
                <a:gd name="T20" fmla="*/ 33 w 99"/>
                <a:gd name="T21" fmla="*/ 113 h 146"/>
                <a:gd name="T22" fmla="*/ 37 w 99"/>
                <a:gd name="T23" fmla="*/ 123 h 146"/>
                <a:gd name="T24" fmla="*/ 38 w 99"/>
                <a:gd name="T25" fmla="*/ 128 h 146"/>
                <a:gd name="T26" fmla="*/ 44 w 99"/>
                <a:gd name="T27" fmla="*/ 138 h 146"/>
                <a:gd name="T28" fmla="*/ 55 w 99"/>
                <a:gd name="T29" fmla="*/ 146 h 146"/>
                <a:gd name="T30" fmla="*/ 64 w 99"/>
                <a:gd name="T31" fmla="*/ 146 h 146"/>
                <a:gd name="T32" fmla="*/ 75 w 99"/>
                <a:gd name="T33" fmla="*/ 143 h 146"/>
                <a:gd name="T34" fmla="*/ 81 w 99"/>
                <a:gd name="T35" fmla="*/ 141 h 146"/>
                <a:gd name="T36" fmla="*/ 89 w 99"/>
                <a:gd name="T37" fmla="*/ 137 h 146"/>
                <a:gd name="T38" fmla="*/ 96 w 99"/>
                <a:gd name="T39" fmla="*/ 130 h 146"/>
                <a:gd name="T40" fmla="*/ 99 w 99"/>
                <a:gd name="T41" fmla="*/ 123 h 146"/>
                <a:gd name="T42" fmla="*/ 99 w 99"/>
                <a:gd name="T43" fmla="*/ 113 h 146"/>
                <a:gd name="T44" fmla="*/ 99 w 99"/>
                <a:gd name="T45" fmla="*/ 98 h 146"/>
                <a:gd name="T46" fmla="*/ 96 w 99"/>
                <a:gd name="T47" fmla="*/ 84 h 146"/>
                <a:gd name="T48" fmla="*/ 95 w 99"/>
                <a:gd name="T49" fmla="*/ 65 h 146"/>
                <a:gd name="T50" fmla="*/ 91 w 99"/>
                <a:gd name="T51" fmla="*/ 66 h 146"/>
                <a:gd name="T52" fmla="*/ 82 w 99"/>
                <a:gd name="T53" fmla="*/ 68 h 146"/>
                <a:gd name="T54" fmla="*/ 74 w 99"/>
                <a:gd name="T55" fmla="*/ 66 h 146"/>
                <a:gd name="T56" fmla="*/ 71 w 99"/>
                <a:gd name="T57" fmla="*/ 60 h 146"/>
                <a:gd name="T58" fmla="*/ 73 w 99"/>
                <a:gd name="T59" fmla="*/ 57 h 146"/>
                <a:gd name="T60" fmla="*/ 77 w 99"/>
                <a:gd name="T61" fmla="*/ 50 h 146"/>
                <a:gd name="T62" fmla="*/ 82 w 99"/>
                <a:gd name="T63" fmla="*/ 46 h 146"/>
                <a:gd name="T64" fmla="*/ 91 w 99"/>
                <a:gd name="T65" fmla="*/ 44 h 146"/>
                <a:gd name="T66" fmla="*/ 92 w 99"/>
                <a:gd name="T67" fmla="*/ 39 h 146"/>
                <a:gd name="T68" fmla="*/ 93 w 99"/>
                <a:gd name="T69" fmla="*/ 29 h 146"/>
                <a:gd name="T70" fmla="*/ 93 w 99"/>
                <a:gd name="T71" fmla="*/ 18 h 146"/>
                <a:gd name="T72" fmla="*/ 86 w 99"/>
                <a:gd name="T73" fmla="*/ 13 h 146"/>
                <a:gd name="T74" fmla="*/ 79 w 99"/>
                <a:gd name="T75" fmla="*/ 0 h 146"/>
                <a:gd name="T76" fmla="*/ 73 w 99"/>
                <a:gd name="T77" fmla="*/ 2 h 146"/>
                <a:gd name="T78" fmla="*/ 64 w 99"/>
                <a:gd name="T79" fmla="*/ 5 h 146"/>
                <a:gd name="T80" fmla="*/ 56 w 99"/>
                <a:gd name="T81" fmla="*/ 6 h 146"/>
                <a:gd name="T82" fmla="*/ 51 w 99"/>
                <a:gd name="T83" fmla="*/ 5 h 146"/>
                <a:gd name="T84" fmla="*/ 40 w 99"/>
                <a:gd name="T85" fmla="*/ 3 h 146"/>
                <a:gd name="T86" fmla="*/ 30 w 99"/>
                <a:gd name="T87" fmla="*/ 6 h 146"/>
                <a:gd name="T88" fmla="*/ 26 w 99"/>
                <a:gd name="T89" fmla="*/ 10 h 146"/>
                <a:gd name="T90" fmla="*/ 24 w 99"/>
                <a:gd name="T91" fmla="*/ 17 h 146"/>
                <a:gd name="T92" fmla="*/ 23 w 99"/>
                <a:gd name="T93" fmla="*/ 22 h 146"/>
                <a:gd name="T94" fmla="*/ 23 w 99"/>
                <a:gd name="T95" fmla="*/ 32 h 146"/>
                <a:gd name="T96" fmla="*/ 29 w 99"/>
                <a:gd name="T97" fmla="*/ 40 h 146"/>
                <a:gd name="T98" fmla="*/ 34 w 99"/>
                <a:gd name="T99" fmla="*/ 47 h 146"/>
                <a:gd name="T100" fmla="*/ 38 w 99"/>
                <a:gd name="T101" fmla="*/ 54 h 146"/>
                <a:gd name="T102" fmla="*/ 40 w 99"/>
                <a:gd name="T103" fmla="*/ 62 h 146"/>
                <a:gd name="T104" fmla="*/ 33 w 99"/>
                <a:gd name="T105" fmla="*/ 69 h 146"/>
                <a:gd name="T106" fmla="*/ 30 w 99"/>
                <a:gd name="T107" fmla="*/ 69 h 146"/>
                <a:gd name="T108" fmla="*/ 24 w 99"/>
                <a:gd name="T109" fmla="*/ 66 h 146"/>
                <a:gd name="T110" fmla="*/ 19 w 99"/>
                <a:gd name="T111" fmla="*/ 6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146">
                  <a:moveTo>
                    <a:pt x="16" y="57"/>
                  </a:moveTo>
                  <a:lnTo>
                    <a:pt x="15" y="57"/>
                  </a:lnTo>
                  <a:lnTo>
                    <a:pt x="12" y="55"/>
                  </a:lnTo>
                  <a:lnTo>
                    <a:pt x="9" y="54"/>
                  </a:lnTo>
                  <a:lnTo>
                    <a:pt x="5" y="54"/>
                  </a:lnTo>
                  <a:lnTo>
                    <a:pt x="2" y="55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3"/>
                  </a:lnTo>
                  <a:lnTo>
                    <a:pt x="1" y="75"/>
                  </a:lnTo>
                  <a:lnTo>
                    <a:pt x="2" y="77"/>
                  </a:lnTo>
                  <a:lnTo>
                    <a:pt x="4" y="82"/>
                  </a:lnTo>
                  <a:lnTo>
                    <a:pt x="5" y="87"/>
                  </a:lnTo>
                  <a:lnTo>
                    <a:pt x="8" y="93"/>
                  </a:lnTo>
                  <a:lnTo>
                    <a:pt x="12" y="97"/>
                  </a:lnTo>
                  <a:lnTo>
                    <a:pt x="18" y="101"/>
                  </a:lnTo>
                  <a:lnTo>
                    <a:pt x="24" y="104"/>
                  </a:lnTo>
                  <a:lnTo>
                    <a:pt x="26" y="105"/>
                  </a:lnTo>
                  <a:lnTo>
                    <a:pt x="27" y="105"/>
                  </a:lnTo>
                  <a:lnTo>
                    <a:pt x="29" y="108"/>
                  </a:lnTo>
                  <a:lnTo>
                    <a:pt x="30" y="110"/>
                  </a:lnTo>
                  <a:lnTo>
                    <a:pt x="33" y="113"/>
                  </a:lnTo>
                  <a:lnTo>
                    <a:pt x="35" y="117"/>
                  </a:lnTo>
                  <a:lnTo>
                    <a:pt x="37" y="123"/>
                  </a:lnTo>
                  <a:lnTo>
                    <a:pt x="38" y="124"/>
                  </a:lnTo>
                  <a:lnTo>
                    <a:pt x="38" y="128"/>
                  </a:lnTo>
                  <a:lnTo>
                    <a:pt x="41" y="132"/>
                  </a:lnTo>
                  <a:lnTo>
                    <a:pt x="44" y="138"/>
                  </a:lnTo>
                  <a:lnTo>
                    <a:pt x="48" y="142"/>
                  </a:lnTo>
                  <a:lnTo>
                    <a:pt x="55" y="146"/>
                  </a:lnTo>
                  <a:lnTo>
                    <a:pt x="59" y="146"/>
                  </a:lnTo>
                  <a:lnTo>
                    <a:pt x="64" y="146"/>
                  </a:lnTo>
                  <a:lnTo>
                    <a:pt x="68" y="146"/>
                  </a:lnTo>
                  <a:lnTo>
                    <a:pt x="75" y="143"/>
                  </a:lnTo>
                  <a:lnTo>
                    <a:pt x="78" y="142"/>
                  </a:lnTo>
                  <a:lnTo>
                    <a:pt x="81" y="141"/>
                  </a:lnTo>
                  <a:lnTo>
                    <a:pt x="85" y="139"/>
                  </a:lnTo>
                  <a:lnTo>
                    <a:pt x="89" y="137"/>
                  </a:lnTo>
                  <a:lnTo>
                    <a:pt x="93" y="132"/>
                  </a:lnTo>
                  <a:lnTo>
                    <a:pt x="96" y="130"/>
                  </a:lnTo>
                  <a:lnTo>
                    <a:pt x="99" y="124"/>
                  </a:lnTo>
                  <a:lnTo>
                    <a:pt x="99" y="123"/>
                  </a:lnTo>
                  <a:lnTo>
                    <a:pt x="99" y="119"/>
                  </a:lnTo>
                  <a:lnTo>
                    <a:pt x="99" y="113"/>
                  </a:lnTo>
                  <a:lnTo>
                    <a:pt x="99" y="105"/>
                  </a:lnTo>
                  <a:lnTo>
                    <a:pt x="99" y="98"/>
                  </a:lnTo>
                  <a:lnTo>
                    <a:pt x="97" y="91"/>
                  </a:lnTo>
                  <a:lnTo>
                    <a:pt x="96" y="84"/>
                  </a:lnTo>
                  <a:lnTo>
                    <a:pt x="95" y="80"/>
                  </a:lnTo>
                  <a:lnTo>
                    <a:pt x="95" y="65"/>
                  </a:lnTo>
                  <a:lnTo>
                    <a:pt x="93" y="65"/>
                  </a:lnTo>
                  <a:lnTo>
                    <a:pt x="91" y="66"/>
                  </a:lnTo>
                  <a:lnTo>
                    <a:pt x="86" y="66"/>
                  </a:lnTo>
                  <a:lnTo>
                    <a:pt x="82" y="68"/>
                  </a:lnTo>
                  <a:lnTo>
                    <a:pt x="78" y="68"/>
                  </a:lnTo>
                  <a:lnTo>
                    <a:pt x="74" y="66"/>
                  </a:lnTo>
                  <a:lnTo>
                    <a:pt x="73" y="64"/>
                  </a:lnTo>
                  <a:lnTo>
                    <a:pt x="71" y="60"/>
                  </a:lnTo>
                  <a:lnTo>
                    <a:pt x="71" y="58"/>
                  </a:lnTo>
                  <a:lnTo>
                    <a:pt x="73" y="57"/>
                  </a:lnTo>
                  <a:lnTo>
                    <a:pt x="74" y="54"/>
                  </a:lnTo>
                  <a:lnTo>
                    <a:pt x="77" y="50"/>
                  </a:lnTo>
                  <a:lnTo>
                    <a:pt x="79" y="47"/>
                  </a:lnTo>
                  <a:lnTo>
                    <a:pt x="82" y="46"/>
                  </a:lnTo>
                  <a:lnTo>
                    <a:pt x="86" y="44"/>
                  </a:lnTo>
                  <a:lnTo>
                    <a:pt x="91" y="44"/>
                  </a:lnTo>
                  <a:lnTo>
                    <a:pt x="91" y="43"/>
                  </a:lnTo>
                  <a:lnTo>
                    <a:pt x="92" y="39"/>
                  </a:lnTo>
                  <a:lnTo>
                    <a:pt x="93" y="35"/>
                  </a:lnTo>
                  <a:lnTo>
                    <a:pt x="93" y="29"/>
                  </a:lnTo>
                  <a:lnTo>
                    <a:pt x="93" y="24"/>
                  </a:lnTo>
                  <a:lnTo>
                    <a:pt x="93" y="18"/>
                  </a:lnTo>
                  <a:lnTo>
                    <a:pt x="91" y="14"/>
                  </a:lnTo>
                  <a:lnTo>
                    <a:pt x="86" y="13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7" y="2"/>
                  </a:lnTo>
                  <a:lnTo>
                    <a:pt x="73" y="2"/>
                  </a:lnTo>
                  <a:lnTo>
                    <a:pt x="68" y="3"/>
                  </a:lnTo>
                  <a:lnTo>
                    <a:pt x="64" y="5"/>
                  </a:lnTo>
                  <a:lnTo>
                    <a:pt x="60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1" y="5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0" y="6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3" y="20"/>
                  </a:lnTo>
                  <a:lnTo>
                    <a:pt x="23" y="22"/>
                  </a:lnTo>
                  <a:lnTo>
                    <a:pt x="23" y="27"/>
                  </a:lnTo>
                  <a:lnTo>
                    <a:pt x="23" y="32"/>
                  </a:lnTo>
                  <a:lnTo>
                    <a:pt x="26" y="36"/>
                  </a:lnTo>
                  <a:lnTo>
                    <a:pt x="29" y="40"/>
                  </a:lnTo>
                  <a:lnTo>
                    <a:pt x="33" y="44"/>
                  </a:lnTo>
                  <a:lnTo>
                    <a:pt x="34" y="47"/>
                  </a:lnTo>
                  <a:lnTo>
                    <a:pt x="37" y="50"/>
                  </a:lnTo>
                  <a:lnTo>
                    <a:pt x="38" y="54"/>
                  </a:lnTo>
                  <a:lnTo>
                    <a:pt x="40" y="58"/>
                  </a:lnTo>
                  <a:lnTo>
                    <a:pt x="40" y="62"/>
                  </a:lnTo>
                  <a:lnTo>
                    <a:pt x="37" y="66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27" y="68"/>
                  </a:lnTo>
                  <a:lnTo>
                    <a:pt x="24" y="66"/>
                  </a:lnTo>
                  <a:lnTo>
                    <a:pt x="22" y="64"/>
                  </a:lnTo>
                  <a:lnTo>
                    <a:pt x="19" y="61"/>
                  </a:lnTo>
                  <a:lnTo>
                    <a:pt x="16" y="57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5" name="Freeform 221"/>
            <p:cNvSpPr>
              <a:spLocks/>
            </p:cNvSpPr>
            <p:nvPr/>
          </p:nvSpPr>
          <p:spPr bwMode="auto">
            <a:xfrm>
              <a:off x="1770" y="806"/>
              <a:ext cx="65" cy="102"/>
            </a:xfrm>
            <a:custGeom>
              <a:avLst/>
              <a:gdLst>
                <a:gd name="T0" fmla="*/ 40 w 81"/>
                <a:gd name="T1" fmla="*/ 0 h 127"/>
                <a:gd name="T2" fmla="*/ 37 w 81"/>
                <a:gd name="T3" fmla="*/ 0 h 127"/>
                <a:gd name="T4" fmla="*/ 31 w 81"/>
                <a:gd name="T5" fmla="*/ 2 h 127"/>
                <a:gd name="T6" fmla="*/ 26 w 81"/>
                <a:gd name="T7" fmla="*/ 4 h 127"/>
                <a:gd name="T8" fmla="*/ 25 w 81"/>
                <a:gd name="T9" fmla="*/ 6 h 127"/>
                <a:gd name="T10" fmla="*/ 24 w 81"/>
                <a:gd name="T11" fmla="*/ 3 h 127"/>
                <a:gd name="T12" fmla="*/ 21 w 81"/>
                <a:gd name="T13" fmla="*/ 3 h 127"/>
                <a:gd name="T14" fmla="*/ 14 w 81"/>
                <a:gd name="T15" fmla="*/ 10 h 127"/>
                <a:gd name="T16" fmla="*/ 10 w 81"/>
                <a:gd name="T17" fmla="*/ 19 h 127"/>
                <a:gd name="T18" fmla="*/ 9 w 81"/>
                <a:gd name="T19" fmla="*/ 24 h 127"/>
                <a:gd name="T20" fmla="*/ 6 w 81"/>
                <a:gd name="T21" fmla="*/ 29 h 127"/>
                <a:gd name="T22" fmla="*/ 2 w 81"/>
                <a:gd name="T23" fmla="*/ 35 h 127"/>
                <a:gd name="T24" fmla="*/ 0 w 81"/>
                <a:gd name="T25" fmla="*/ 36 h 127"/>
                <a:gd name="T26" fmla="*/ 3 w 81"/>
                <a:gd name="T27" fmla="*/ 40 h 127"/>
                <a:gd name="T28" fmla="*/ 6 w 81"/>
                <a:gd name="T29" fmla="*/ 46 h 127"/>
                <a:gd name="T30" fmla="*/ 6 w 81"/>
                <a:gd name="T31" fmla="*/ 52 h 127"/>
                <a:gd name="T32" fmla="*/ 3 w 81"/>
                <a:gd name="T33" fmla="*/ 57 h 127"/>
                <a:gd name="T34" fmla="*/ 3 w 81"/>
                <a:gd name="T35" fmla="*/ 61 h 127"/>
                <a:gd name="T36" fmla="*/ 3 w 81"/>
                <a:gd name="T37" fmla="*/ 68 h 127"/>
                <a:gd name="T38" fmla="*/ 6 w 81"/>
                <a:gd name="T39" fmla="*/ 80 h 127"/>
                <a:gd name="T40" fmla="*/ 10 w 81"/>
                <a:gd name="T41" fmla="*/ 124 h 127"/>
                <a:gd name="T42" fmla="*/ 13 w 81"/>
                <a:gd name="T43" fmla="*/ 125 h 127"/>
                <a:gd name="T44" fmla="*/ 21 w 81"/>
                <a:gd name="T45" fmla="*/ 127 h 127"/>
                <a:gd name="T46" fmla="*/ 28 w 81"/>
                <a:gd name="T47" fmla="*/ 123 h 127"/>
                <a:gd name="T48" fmla="*/ 31 w 81"/>
                <a:gd name="T49" fmla="*/ 107 h 127"/>
                <a:gd name="T50" fmla="*/ 29 w 81"/>
                <a:gd name="T51" fmla="*/ 103 h 127"/>
                <a:gd name="T52" fmla="*/ 28 w 81"/>
                <a:gd name="T53" fmla="*/ 94 h 127"/>
                <a:gd name="T54" fmla="*/ 31 w 81"/>
                <a:gd name="T55" fmla="*/ 85 h 127"/>
                <a:gd name="T56" fmla="*/ 35 w 81"/>
                <a:gd name="T57" fmla="*/ 83 h 127"/>
                <a:gd name="T58" fmla="*/ 42 w 81"/>
                <a:gd name="T59" fmla="*/ 81 h 127"/>
                <a:gd name="T60" fmla="*/ 44 w 81"/>
                <a:gd name="T61" fmla="*/ 81 h 127"/>
                <a:gd name="T62" fmla="*/ 51 w 81"/>
                <a:gd name="T63" fmla="*/ 80 h 127"/>
                <a:gd name="T64" fmla="*/ 58 w 81"/>
                <a:gd name="T65" fmla="*/ 73 h 127"/>
                <a:gd name="T66" fmla="*/ 65 w 81"/>
                <a:gd name="T67" fmla="*/ 61 h 127"/>
                <a:gd name="T68" fmla="*/ 66 w 81"/>
                <a:gd name="T69" fmla="*/ 59 h 127"/>
                <a:gd name="T70" fmla="*/ 70 w 81"/>
                <a:gd name="T71" fmla="*/ 51 h 127"/>
                <a:gd name="T72" fmla="*/ 75 w 81"/>
                <a:gd name="T73" fmla="*/ 41 h 127"/>
                <a:gd name="T74" fmla="*/ 76 w 81"/>
                <a:gd name="T75" fmla="*/ 29 h 127"/>
                <a:gd name="T76" fmla="*/ 79 w 81"/>
                <a:gd name="T77" fmla="*/ 26 h 127"/>
                <a:gd name="T78" fmla="*/ 81 w 81"/>
                <a:gd name="T79" fmla="*/ 19 h 127"/>
                <a:gd name="T80" fmla="*/ 80 w 81"/>
                <a:gd name="T81" fmla="*/ 13 h 127"/>
                <a:gd name="T82" fmla="*/ 68 w 81"/>
                <a:gd name="T83" fmla="*/ 10 h 127"/>
                <a:gd name="T84" fmla="*/ 64 w 81"/>
                <a:gd name="T85" fmla="*/ 10 h 127"/>
                <a:gd name="T86" fmla="*/ 57 w 81"/>
                <a:gd name="T87" fmla="*/ 10 h 127"/>
                <a:gd name="T88" fmla="*/ 47 w 81"/>
                <a:gd name="T89" fmla="*/ 7 h 127"/>
                <a:gd name="T90" fmla="*/ 42 w 81"/>
                <a:gd name="T91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1" h="127">
                  <a:moveTo>
                    <a:pt x="42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1" y="2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21" y="3"/>
                  </a:lnTo>
                  <a:lnTo>
                    <a:pt x="18" y="6"/>
                  </a:lnTo>
                  <a:lnTo>
                    <a:pt x="14" y="1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6"/>
                  </a:lnTo>
                  <a:lnTo>
                    <a:pt x="6" y="29"/>
                  </a:lnTo>
                  <a:lnTo>
                    <a:pt x="4" y="32"/>
                  </a:lnTo>
                  <a:lnTo>
                    <a:pt x="2" y="35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7"/>
                  </a:lnTo>
                  <a:lnTo>
                    <a:pt x="3" y="40"/>
                  </a:lnTo>
                  <a:lnTo>
                    <a:pt x="4" y="43"/>
                  </a:lnTo>
                  <a:lnTo>
                    <a:pt x="6" y="46"/>
                  </a:lnTo>
                  <a:lnTo>
                    <a:pt x="7" y="50"/>
                  </a:lnTo>
                  <a:lnTo>
                    <a:pt x="6" y="52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61"/>
                  </a:lnTo>
                  <a:lnTo>
                    <a:pt x="3" y="63"/>
                  </a:lnTo>
                  <a:lnTo>
                    <a:pt x="3" y="68"/>
                  </a:lnTo>
                  <a:lnTo>
                    <a:pt x="4" y="73"/>
                  </a:lnTo>
                  <a:lnTo>
                    <a:pt x="6" y="80"/>
                  </a:lnTo>
                  <a:lnTo>
                    <a:pt x="9" y="88"/>
                  </a:lnTo>
                  <a:lnTo>
                    <a:pt x="10" y="124"/>
                  </a:lnTo>
                  <a:lnTo>
                    <a:pt x="11" y="125"/>
                  </a:lnTo>
                  <a:lnTo>
                    <a:pt x="13" y="125"/>
                  </a:lnTo>
                  <a:lnTo>
                    <a:pt x="17" y="127"/>
                  </a:lnTo>
                  <a:lnTo>
                    <a:pt x="21" y="127"/>
                  </a:lnTo>
                  <a:lnTo>
                    <a:pt x="25" y="127"/>
                  </a:lnTo>
                  <a:lnTo>
                    <a:pt x="28" y="123"/>
                  </a:lnTo>
                  <a:lnTo>
                    <a:pt x="31" y="117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29" y="103"/>
                  </a:lnTo>
                  <a:lnTo>
                    <a:pt x="28" y="99"/>
                  </a:lnTo>
                  <a:lnTo>
                    <a:pt x="28" y="94"/>
                  </a:lnTo>
                  <a:lnTo>
                    <a:pt x="28" y="90"/>
                  </a:lnTo>
                  <a:lnTo>
                    <a:pt x="31" y="85"/>
                  </a:lnTo>
                  <a:lnTo>
                    <a:pt x="32" y="84"/>
                  </a:lnTo>
                  <a:lnTo>
                    <a:pt x="35" y="83"/>
                  </a:lnTo>
                  <a:lnTo>
                    <a:pt x="37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4" y="81"/>
                  </a:lnTo>
                  <a:lnTo>
                    <a:pt x="47" y="81"/>
                  </a:lnTo>
                  <a:lnTo>
                    <a:pt x="51" y="80"/>
                  </a:lnTo>
                  <a:lnTo>
                    <a:pt x="55" y="77"/>
                  </a:lnTo>
                  <a:lnTo>
                    <a:pt x="58" y="73"/>
                  </a:lnTo>
                  <a:lnTo>
                    <a:pt x="62" y="68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6" y="59"/>
                  </a:lnTo>
                  <a:lnTo>
                    <a:pt x="69" y="55"/>
                  </a:lnTo>
                  <a:lnTo>
                    <a:pt x="70" y="51"/>
                  </a:lnTo>
                  <a:lnTo>
                    <a:pt x="73" y="47"/>
                  </a:lnTo>
                  <a:lnTo>
                    <a:pt x="75" y="41"/>
                  </a:lnTo>
                  <a:lnTo>
                    <a:pt x="76" y="36"/>
                  </a:lnTo>
                  <a:lnTo>
                    <a:pt x="76" y="29"/>
                  </a:lnTo>
                  <a:lnTo>
                    <a:pt x="76" y="28"/>
                  </a:lnTo>
                  <a:lnTo>
                    <a:pt x="79" y="26"/>
                  </a:lnTo>
                  <a:lnTo>
                    <a:pt x="80" y="24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0" y="13"/>
                  </a:lnTo>
                  <a:lnTo>
                    <a:pt x="75" y="11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1" y="11"/>
                  </a:lnTo>
                  <a:lnTo>
                    <a:pt x="57" y="10"/>
                  </a:lnTo>
                  <a:lnTo>
                    <a:pt x="51" y="10"/>
                  </a:lnTo>
                  <a:lnTo>
                    <a:pt x="47" y="7"/>
                  </a:lnTo>
                  <a:lnTo>
                    <a:pt x="44" y="4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6" name="Freeform 222"/>
            <p:cNvSpPr>
              <a:spLocks/>
            </p:cNvSpPr>
            <p:nvPr/>
          </p:nvSpPr>
          <p:spPr bwMode="auto">
            <a:xfrm>
              <a:off x="1770" y="806"/>
              <a:ext cx="65" cy="102"/>
            </a:xfrm>
            <a:custGeom>
              <a:avLst/>
              <a:gdLst>
                <a:gd name="T0" fmla="*/ 40 w 81"/>
                <a:gd name="T1" fmla="*/ 0 h 127"/>
                <a:gd name="T2" fmla="*/ 37 w 81"/>
                <a:gd name="T3" fmla="*/ 0 h 127"/>
                <a:gd name="T4" fmla="*/ 31 w 81"/>
                <a:gd name="T5" fmla="*/ 2 h 127"/>
                <a:gd name="T6" fmla="*/ 26 w 81"/>
                <a:gd name="T7" fmla="*/ 4 h 127"/>
                <a:gd name="T8" fmla="*/ 25 w 81"/>
                <a:gd name="T9" fmla="*/ 4 h 127"/>
                <a:gd name="T10" fmla="*/ 22 w 81"/>
                <a:gd name="T11" fmla="*/ 2 h 127"/>
                <a:gd name="T12" fmla="*/ 18 w 81"/>
                <a:gd name="T13" fmla="*/ 6 h 127"/>
                <a:gd name="T14" fmla="*/ 10 w 81"/>
                <a:gd name="T15" fmla="*/ 19 h 127"/>
                <a:gd name="T16" fmla="*/ 9 w 81"/>
                <a:gd name="T17" fmla="*/ 24 h 127"/>
                <a:gd name="T18" fmla="*/ 6 w 81"/>
                <a:gd name="T19" fmla="*/ 29 h 127"/>
                <a:gd name="T20" fmla="*/ 2 w 81"/>
                <a:gd name="T21" fmla="*/ 35 h 127"/>
                <a:gd name="T22" fmla="*/ 2 w 81"/>
                <a:gd name="T23" fmla="*/ 37 h 127"/>
                <a:gd name="T24" fmla="*/ 4 w 81"/>
                <a:gd name="T25" fmla="*/ 43 h 127"/>
                <a:gd name="T26" fmla="*/ 7 w 81"/>
                <a:gd name="T27" fmla="*/ 50 h 127"/>
                <a:gd name="T28" fmla="*/ 4 w 81"/>
                <a:gd name="T29" fmla="*/ 57 h 127"/>
                <a:gd name="T30" fmla="*/ 3 w 81"/>
                <a:gd name="T31" fmla="*/ 58 h 127"/>
                <a:gd name="T32" fmla="*/ 3 w 81"/>
                <a:gd name="T33" fmla="*/ 63 h 127"/>
                <a:gd name="T34" fmla="*/ 4 w 81"/>
                <a:gd name="T35" fmla="*/ 73 h 127"/>
                <a:gd name="T36" fmla="*/ 9 w 81"/>
                <a:gd name="T37" fmla="*/ 88 h 127"/>
                <a:gd name="T38" fmla="*/ 11 w 81"/>
                <a:gd name="T39" fmla="*/ 125 h 127"/>
                <a:gd name="T40" fmla="*/ 17 w 81"/>
                <a:gd name="T41" fmla="*/ 127 h 127"/>
                <a:gd name="T42" fmla="*/ 25 w 81"/>
                <a:gd name="T43" fmla="*/ 127 h 127"/>
                <a:gd name="T44" fmla="*/ 31 w 81"/>
                <a:gd name="T45" fmla="*/ 117 h 127"/>
                <a:gd name="T46" fmla="*/ 31 w 81"/>
                <a:gd name="T47" fmla="*/ 106 h 127"/>
                <a:gd name="T48" fmla="*/ 28 w 81"/>
                <a:gd name="T49" fmla="*/ 99 h 127"/>
                <a:gd name="T50" fmla="*/ 28 w 81"/>
                <a:gd name="T51" fmla="*/ 90 h 127"/>
                <a:gd name="T52" fmla="*/ 32 w 81"/>
                <a:gd name="T53" fmla="*/ 84 h 127"/>
                <a:gd name="T54" fmla="*/ 37 w 81"/>
                <a:gd name="T55" fmla="*/ 81 h 127"/>
                <a:gd name="T56" fmla="*/ 44 w 81"/>
                <a:gd name="T57" fmla="*/ 81 h 127"/>
                <a:gd name="T58" fmla="*/ 51 w 81"/>
                <a:gd name="T59" fmla="*/ 80 h 127"/>
                <a:gd name="T60" fmla="*/ 58 w 81"/>
                <a:gd name="T61" fmla="*/ 73 h 127"/>
                <a:gd name="T62" fmla="*/ 65 w 81"/>
                <a:gd name="T63" fmla="*/ 61 h 127"/>
                <a:gd name="T64" fmla="*/ 69 w 81"/>
                <a:gd name="T65" fmla="*/ 55 h 127"/>
                <a:gd name="T66" fmla="*/ 73 w 81"/>
                <a:gd name="T67" fmla="*/ 47 h 127"/>
                <a:gd name="T68" fmla="*/ 76 w 81"/>
                <a:gd name="T69" fmla="*/ 36 h 127"/>
                <a:gd name="T70" fmla="*/ 76 w 81"/>
                <a:gd name="T71" fmla="*/ 28 h 127"/>
                <a:gd name="T72" fmla="*/ 80 w 81"/>
                <a:gd name="T73" fmla="*/ 24 h 127"/>
                <a:gd name="T74" fmla="*/ 81 w 81"/>
                <a:gd name="T75" fmla="*/ 17 h 127"/>
                <a:gd name="T76" fmla="*/ 75 w 81"/>
                <a:gd name="T77" fmla="*/ 11 h 127"/>
                <a:gd name="T78" fmla="*/ 66 w 81"/>
                <a:gd name="T79" fmla="*/ 10 h 127"/>
                <a:gd name="T80" fmla="*/ 61 w 81"/>
                <a:gd name="T81" fmla="*/ 11 h 127"/>
                <a:gd name="T82" fmla="*/ 51 w 81"/>
                <a:gd name="T83" fmla="*/ 10 h 127"/>
                <a:gd name="T84" fmla="*/ 44 w 81"/>
                <a:gd name="T85" fmla="*/ 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1" h="127">
                  <a:moveTo>
                    <a:pt x="42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31" y="2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21" y="3"/>
                  </a:lnTo>
                  <a:lnTo>
                    <a:pt x="18" y="6"/>
                  </a:lnTo>
                  <a:lnTo>
                    <a:pt x="14" y="10"/>
                  </a:lnTo>
                  <a:lnTo>
                    <a:pt x="10" y="19"/>
                  </a:lnTo>
                  <a:lnTo>
                    <a:pt x="9" y="21"/>
                  </a:lnTo>
                  <a:lnTo>
                    <a:pt x="9" y="24"/>
                  </a:lnTo>
                  <a:lnTo>
                    <a:pt x="7" y="26"/>
                  </a:lnTo>
                  <a:lnTo>
                    <a:pt x="6" y="29"/>
                  </a:lnTo>
                  <a:lnTo>
                    <a:pt x="4" y="32"/>
                  </a:lnTo>
                  <a:lnTo>
                    <a:pt x="2" y="35"/>
                  </a:lnTo>
                  <a:lnTo>
                    <a:pt x="0" y="36"/>
                  </a:lnTo>
                  <a:lnTo>
                    <a:pt x="2" y="37"/>
                  </a:lnTo>
                  <a:lnTo>
                    <a:pt x="3" y="40"/>
                  </a:lnTo>
                  <a:lnTo>
                    <a:pt x="4" y="43"/>
                  </a:lnTo>
                  <a:lnTo>
                    <a:pt x="6" y="46"/>
                  </a:lnTo>
                  <a:lnTo>
                    <a:pt x="7" y="50"/>
                  </a:lnTo>
                  <a:lnTo>
                    <a:pt x="6" y="52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8"/>
                  </a:lnTo>
                  <a:lnTo>
                    <a:pt x="3" y="61"/>
                  </a:lnTo>
                  <a:lnTo>
                    <a:pt x="3" y="63"/>
                  </a:lnTo>
                  <a:lnTo>
                    <a:pt x="3" y="68"/>
                  </a:lnTo>
                  <a:lnTo>
                    <a:pt x="4" y="73"/>
                  </a:lnTo>
                  <a:lnTo>
                    <a:pt x="6" y="80"/>
                  </a:lnTo>
                  <a:lnTo>
                    <a:pt x="9" y="88"/>
                  </a:lnTo>
                  <a:lnTo>
                    <a:pt x="10" y="124"/>
                  </a:lnTo>
                  <a:lnTo>
                    <a:pt x="11" y="125"/>
                  </a:lnTo>
                  <a:lnTo>
                    <a:pt x="13" y="125"/>
                  </a:lnTo>
                  <a:lnTo>
                    <a:pt x="17" y="127"/>
                  </a:lnTo>
                  <a:lnTo>
                    <a:pt x="21" y="127"/>
                  </a:lnTo>
                  <a:lnTo>
                    <a:pt x="25" y="127"/>
                  </a:lnTo>
                  <a:lnTo>
                    <a:pt x="28" y="123"/>
                  </a:lnTo>
                  <a:lnTo>
                    <a:pt x="31" y="117"/>
                  </a:lnTo>
                  <a:lnTo>
                    <a:pt x="31" y="107"/>
                  </a:lnTo>
                  <a:lnTo>
                    <a:pt x="31" y="106"/>
                  </a:lnTo>
                  <a:lnTo>
                    <a:pt x="29" y="103"/>
                  </a:lnTo>
                  <a:lnTo>
                    <a:pt x="28" y="99"/>
                  </a:lnTo>
                  <a:lnTo>
                    <a:pt x="28" y="94"/>
                  </a:lnTo>
                  <a:lnTo>
                    <a:pt x="28" y="90"/>
                  </a:lnTo>
                  <a:lnTo>
                    <a:pt x="31" y="85"/>
                  </a:lnTo>
                  <a:lnTo>
                    <a:pt x="32" y="84"/>
                  </a:lnTo>
                  <a:lnTo>
                    <a:pt x="35" y="83"/>
                  </a:lnTo>
                  <a:lnTo>
                    <a:pt x="37" y="81"/>
                  </a:lnTo>
                  <a:lnTo>
                    <a:pt x="42" y="81"/>
                  </a:lnTo>
                  <a:lnTo>
                    <a:pt x="44" y="81"/>
                  </a:lnTo>
                  <a:lnTo>
                    <a:pt x="47" y="81"/>
                  </a:lnTo>
                  <a:lnTo>
                    <a:pt x="51" y="80"/>
                  </a:lnTo>
                  <a:lnTo>
                    <a:pt x="55" y="77"/>
                  </a:lnTo>
                  <a:lnTo>
                    <a:pt x="58" y="73"/>
                  </a:lnTo>
                  <a:lnTo>
                    <a:pt x="62" y="68"/>
                  </a:lnTo>
                  <a:lnTo>
                    <a:pt x="65" y="61"/>
                  </a:lnTo>
                  <a:lnTo>
                    <a:pt x="66" y="59"/>
                  </a:lnTo>
                  <a:lnTo>
                    <a:pt x="69" y="55"/>
                  </a:lnTo>
                  <a:lnTo>
                    <a:pt x="70" y="51"/>
                  </a:lnTo>
                  <a:lnTo>
                    <a:pt x="73" y="47"/>
                  </a:lnTo>
                  <a:lnTo>
                    <a:pt x="75" y="41"/>
                  </a:lnTo>
                  <a:lnTo>
                    <a:pt x="76" y="36"/>
                  </a:lnTo>
                  <a:lnTo>
                    <a:pt x="76" y="29"/>
                  </a:lnTo>
                  <a:lnTo>
                    <a:pt x="76" y="28"/>
                  </a:lnTo>
                  <a:lnTo>
                    <a:pt x="79" y="26"/>
                  </a:lnTo>
                  <a:lnTo>
                    <a:pt x="80" y="24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0" y="13"/>
                  </a:lnTo>
                  <a:lnTo>
                    <a:pt x="75" y="11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1" y="11"/>
                  </a:lnTo>
                  <a:lnTo>
                    <a:pt x="57" y="10"/>
                  </a:lnTo>
                  <a:lnTo>
                    <a:pt x="51" y="10"/>
                  </a:lnTo>
                  <a:lnTo>
                    <a:pt x="47" y="7"/>
                  </a:lnTo>
                  <a:lnTo>
                    <a:pt x="44" y="4"/>
                  </a:lnTo>
                  <a:lnTo>
                    <a:pt x="42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7" name="Freeform 223"/>
            <p:cNvSpPr>
              <a:spLocks/>
            </p:cNvSpPr>
            <p:nvPr/>
          </p:nvSpPr>
          <p:spPr bwMode="auto">
            <a:xfrm>
              <a:off x="1384" y="779"/>
              <a:ext cx="102" cy="111"/>
            </a:xfrm>
            <a:custGeom>
              <a:avLst/>
              <a:gdLst>
                <a:gd name="T0" fmla="*/ 6 w 126"/>
                <a:gd name="T1" fmla="*/ 95 h 138"/>
                <a:gd name="T2" fmla="*/ 3 w 126"/>
                <a:gd name="T3" fmla="*/ 98 h 138"/>
                <a:gd name="T4" fmla="*/ 0 w 126"/>
                <a:gd name="T5" fmla="*/ 102 h 138"/>
                <a:gd name="T6" fmla="*/ 2 w 126"/>
                <a:gd name="T7" fmla="*/ 107 h 138"/>
                <a:gd name="T8" fmla="*/ 7 w 126"/>
                <a:gd name="T9" fmla="*/ 112 h 138"/>
                <a:gd name="T10" fmla="*/ 10 w 126"/>
                <a:gd name="T11" fmla="*/ 113 h 138"/>
                <a:gd name="T12" fmla="*/ 14 w 126"/>
                <a:gd name="T13" fmla="*/ 118 h 138"/>
                <a:gd name="T14" fmla="*/ 18 w 126"/>
                <a:gd name="T15" fmla="*/ 127 h 138"/>
                <a:gd name="T16" fmla="*/ 20 w 126"/>
                <a:gd name="T17" fmla="*/ 132 h 138"/>
                <a:gd name="T18" fmla="*/ 24 w 126"/>
                <a:gd name="T19" fmla="*/ 135 h 138"/>
                <a:gd name="T20" fmla="*/ 31 w 126"/>
                <a:gd name="T21" fmla="*/ 138 h 138"/>
                <a:gd name="T22" fmla="*/ 37 w 126"/>
                <a:gd name="T23" fmla="*/ 136 h 138"/>
                <a:gd name="T24" fmla="*/ 42 w 126"/>
                <a:gd name="T25" fmla="*/ 131 h 138"/>
                <a:gd name="T26" fmla="*/ 43 w 126"/>
                <a:gd name="T27" fmla="*/ 128 h 138"/>
                <a:gd name="T28" fmla="*/ 46 w 126"/>
                <a:gd name="T29" fmla="*/ 125 h 138"/>
                <a:gd name="T30" fmla="*/ 51 w 126"/>
                <a:gd name="T31" fmla="*/ 125 h 138"/>
                <a:gd name="T32" fmla="*/ 57 w 126"/>
                <a:gd name="T33" fmla="*/ 127 h 138"/>
                <a:gd name="T34" fmla="*/ 59 w 126"/>
                <a:gd name="T35" fmla="*/ 127 h 138"/>
                <a:gd name="T36" fmla="*/ 64 w 126"/>
                <a:gd name="T37" fmla="*/ 124 h 138"/>
                <a:gd name="T38" fmla="*/ 66 w 126"/>
                <a:gd name="T39" fmla="*/ 117 h 138"/>
                <a:gd name="T40" fmla="*/ 66 w 126"/>
                <a:gd name="T41" fmla="*/ 109 h 138"/>
                <a:gd name="T42" fmla="*/ 69 w 126"/>
                <a:gd name="T43" fmla="*/ 98 h 138"/>
                <a:gd name="T44" fmla="*/ 77 w 126"/>
                <a:gd name="T45" fmla="*/ 80 h 138"/>
                <a:gd name="T46" fmla="*/ 90 w 126"/>
                <a:gd name="T47" fmla="*/ 63 h 138"/>
                <a:gd name="T48" fmla="*/ 124 w 126"/>
                <a:gd name="T49" fmla="*/ 47 h 138"/>
                <a:gd name="T50" fmla="*/ 126 w 126"/>
                <a:gd name="T51" fmla="*/ 40 h 138"/>
                <a:gd name="T52" fmla="*/ 123 w 126"/>
                <a:gd name="T53" fmla="*/ 39 h 138"/>
                <a:gd name="T54" fmla="*/ 119 w 126"/>
                <a:gd name="T55" fmla="*/ 35 h 138"/>
                <a:gd name="T56" fmla="*/ 112 w 126"/>
                <a:gd name="T57" fmla="*/ 29 h 138"/>
                <a:gd name="T58" fmla="*/ 106 w 126"/>
                <a:gd name="T59" fmla="*/ 25 h 138"/>
                <a:gd name="T60" fmla="*/ 103 w 126"/>
                <a:gd name="T61" fmla="*/ 19 h 138"/>
                <a:gd name="T62" fmla="*/ 98 w 126"/>
                <a:gd name="T63" fmla="*/ 17 h 138"/>
                <a:gd name="T64" fmla="*/ 91 w 126"/>
                <a:gd name="T65" fmla="*/ 18 h 138"/>
                <a:gd name="T66" fmla="*/ 87 w 126"/>
                <a:gd name="T67" fmla="*/ 24 h 138"/>
                <a:gd name="T68" fmla="*/ 84 w 126"/>
                <a:gd name="T69" fmla="*/ 25 h 138"/>
                <a:gd name="T70" fmla="*/ 81 w 126"/>
                <a:gd name="T71" fmla="*/ 26 h 138"/>
                <a:gd name="T72" fmla="*/ 79 w 126"/>
                <a:gd name="T73" fmla="*/ 24 h 138"/>
                <a:gd name="T74" fmla="*/ 79 w 126"/>
                <a:gd name="T75" fmla="*/ 19 h 138"/>
                <a:gd name="T76" fmla="*/ 75 w 126"/>
                <a:gd name="T77" fmla="*/ 14 h 138"/>
                <a:gd name="T78" fmla="*/ 69 w 126"/>
                <a:gd name="T79" fmla="*/ 10 h 138"/>
                <a:gd name="T80" fmla="*/ 64 w 126"/>
                <a:gd name="T81" fmla="*/ 11 h 138"/>
                <a:gd name="T82" fmla="*/ 51 w 126"/>
                <a:gd name="T83" fmla="*/ 13 h 138"/>
                <a:gd name="T84" fmla="*/ 53 w 126"/>
                <a:gd name="T85" fmla="*/ 10 h 138"/>
                <a:gd name="T86" fmla="*/ 55 w 126"/>
                <a:gd name="T87" fmla="*/ 6 h 138"/>
                <a:gd name="T88" fmla="*/ 54 w 126"/>
                <a:gd name="T89" fmla="*/ 2 h 138"/>
                <a:gd name="T90" fmla="*/ 47 w 126"/>
                <a:gd name="T91" fmla="*/ 2 h 138"/>
                <a:gd name="T92" fmla="*/ 39 w 126"/>
                <a:gd name="T93" fmla="*/ 4 h 138"/>
                <a:gd name="T94" fmla="*/ 33 w 126"/>
                <a:gd name="T95" fmla="*/ 8 h 138"/>
                <a:gd name="T96" fmla="*/ 32 w 126"/>
                <a:gd name="T97" fmla="*/ 11 h 138"/>
                <a:gd name="T98" fmla="*/ 32 w 126"/>
                <a:gd name="T99" fmla="*/ 13 h 138"/>
                <a:gd name="T100" fmla="*/ 29 w 126"/>
                <a:gd name="T101" fmla="*/ 11 h 138"/>
                <a:gd name="T102" fmla="*/ 24 w 126"/>
                <a:gd name="T103" fmla="*/ 11 h 138"/>
                <a:gd name="T104" fmla="*/ 20 w 126"/>
                <a:gd name="T105" fmla="*/ 17 h 138"/>
                <a:gd name="T106" fmla="*/ 18 w 126"/>
                <a:gd name="T107" fmla="*/ 30 h 138"/>
                <a:gd name="T108" fmla="*/ 20 w 126"/>
                <a:gd name="T109" fmla="*/ 32 h 138"/>
                <a:gd name="T110" fmla="*/ 22 w 126"/>
                <a:gd name="T111" fmla="*/ 37 h 138"/>
                <a:gd name="T112" fmla="*/ 22 w 126"/>
                <a:gd name="T113" fmla="*/ 43 h 138"/>
                <a:gd name="T114" fmla="*/ 21 w 126"/>
                <a:gd name="T115" fmla="*/ 47 h 138"/>
                <a:gd name="T116" fmla="*/ 20 w 126"/>
                <a:gd name="T117" fmla="*/ 48 h 138"/>
                <a:gd name="T118" fmla="*/ 15 w 126"/>
                <a:gd name="T119" fmla="*/ 54 h 138"/>
                <a:gd name="T120" fmla="*/ 11 w 126"/>
                <a:gd name="T121" fmla="*/ 63 h 138"/>
                <a:gd name="T122" fmla="*/ 9 w 126"/>
                <a:gd name="T123" fmla="*/ 7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6" h="138">
                  <a:moveTo>
                    <a:pt x="6" y="95"/>
                  </a:moveTo>
                  <a:lnTo>
                    <a:pt x="6" y="95"/>
                  </a:lnTo>
                  <a:lnTo>
                    <a:pt x="4" y="96"/>
                  </a:lnTo>
                  <a:lnTo>
                    <a:pt x="3" y="98"/>
                  </a:lnTo>
                  <a:lnTo>
                    <a:pt x="0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2" y="107"/>
                  </a:lnTo>
                  <a:lnTo>
                    <a:pt x="6" y="110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10" y="113"/>
                  </a:lnTo>
                  <a:lnTo>
                    <a:pt x="13" y="116"/>
                  </a:lnTo>
                  <a:lnTo>
                    <a:pt x="14" y="118"/>
                  </a:lnTo>
                  <a:lnTo>
                    <a:pt x="17" y="123"/>
                  </a:lnTo>
                  <a:lnTo>
                    <a:pt x="18" y="127"/>
                  </a:lnTo>
                  <a:lnTo>
                    <a:pt x="18" y="131"/>
                  </a:lnTo>
                  <a:lnTo>
                    <a:pt x="20" y="132"/>
                  </a:lnTo>
                  <a:lnTo>
                    <a:pt x="21" y="134"/>
                  </a:lnTo>
                  <a:lnTo>
                    <a:pt x="24" y="135"/>
                  </a:lnTo>
                  <a:lnTo>
                    <a:pt x="26" y="138"/>
                  </a:lnTo>
                  <a:lnTo>
                    <a:pt x="31" y="138"/>
                  </a:lnTo>
                  <a:lnTo>
                    <a:pt x="35" y="138"/>
                  </a:lnTo>
                  <a:lnTo>
                    <a:pt x="37" y="136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3" y="128"/>
                  </a:lnTo>
                  <a:lnTo>
                    <a:pt x="43" y="127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7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4" y="124"/>
                  </a:lnTo>
                  <a:lnTo>
                    <a:pt x="65" y="120"/>
                  </a:lnTo>
                  <a:lnTo>
                    <a:pt x="66" y="117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8" y="105"/>
                  </a:lnTo>
                  <a:lnTo>
                    <a:pt x="69" y="98"/>
                  </a:lnTo>
                  <a:lnTo>
                    <a:pt x="72" y="90"/>
                  </a:lnTo>
                  <a:lnTo>
                    <a:pt x="77" y="80"/>
                  </a:lnTo>
                  <a:lnTo>
                    <a:pt x="83" y="72"/>
                  </a:lnTo>
                  <a:lnTo>
                    <a:pt x="90" y="63"/>
                  </a:lnTo>
                  <a:lnTo>
                    <a:pt x="99" y="58"/>
                  </a:lnTo>
                  <a:lnTo>
                    <a:pt x="124" y="47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1" y="37"/>
                  </a:lnTo>
                  <a:lnTo>
                    <a:pt x="119" y="35"/>
                  </a:lnTo>
                  <a:lnTo>
                    <a:pt x="116" y="33"/>
                  </a:lnTo>
                  <a:lnTo>
                    <a:pt x="112" y="29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1" y="18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1" y="18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6" y="25"/>
                  </a:lnTo>
                  <a:lnTo>
                    <a:pt x="84" y="25"/>
                  </a:lnTo>
                  <a:lnTo>
                    <a:pt x="83" y="26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79" y="24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7" y="17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9" y="10"/>
                  </a:lnTo>
                  <a:lnTo>
                    <a:pt x="66" y="8"/>
                  </a:lnTo>
                  <a:lnTo>
                    <a:pt x="64" y="11"/>
                  </a:lnTo>
                  <a:lnTo>
                    <a:pt x="61" y="15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3" y="10"/>
                  </a:lnTo>
                  <a:lnTo>
                    <a:pt x="54" y="8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4" y="2"/>
                  </a:lnTo>
                  <a:lnTo>
                    <a:pt x="53" y="0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4" y="11"/>
                  </a:lnTo>
                  <a:lnTo>
                    <a:pt x="21" y="13"/>
                  </a:lnTo>
                  <a:lnTo>
                    <a:pt x="20" y="17"/>
                  </a:lnTo>
                  <a:lnTo>
                    <a:pt x="18" y="22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1" y="35"/>
                  </a:lnTo>
                  <a:lnTo>
                    <a:pt x="22" y="37"/>
                  </a:lnTo>
                  <a:lnTo>
                    <a:pt x="22" y="40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4" y="58"/>
                  </a:lnTo>
                  <a:lnTo>
                    <a:pt x="11" y="63"/>
                  </a:lnTo>
                  <a:lnTo>
                    <a:pt x="10" y="69"/>
                  </a:lnTo>
                  <a:lnTo>
                    <a:pt x="9" y="76"/>
                  </a:lnTo>
                  <a:lnTo>
                    <a:pt x="6" y="9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8" name="Freeform 224"/>
            <p:cNvSpPr>
              <a:spLocks/>
            </p:cNvSpPr>
            <p:nvPr/>
          </p:nvSpPr>
          <p:spPr bwMode="auto">
            <a:xfrm>
              <a:off x="1384" y="779"/>
              <a:ext cx="102" cy="111"/>
            </a:xfrm>
            <a:custGeom>
              <a:avLst/>
              <a:gdLst>
                <a:gd name="T0" fmla="*/ 4 w 126"/>
                <a:gd name="T1" fmla="*/ 96 h 138"/>
                <a:gd name="T2" fmla="*/ 0 w 126"/>
                <a:gd name="T3" fmla="*/ 99 h 138"/>
                <a:gd name="T4" fmla="*/ 0 w 126"/>
                <a:gd name="T5" fmla="*/ 105 h 138"/>
                <a:gd name="T6" fmla="*/ 6 w 126"/>
                <a:gd name="T7" fmla="*/ 110 h 138"/>
                <a:gd name="T8" fmla="*/ 9 w 126"/>
                <a:gd name="T9" fmla="*/ 112 h 138"/>
                <a:gd name="T10" fmla="*/ 13 w 126"/>
                <a:gd name="T11" fmla="*/ 116 h 138"/>
                <a:gd name="T12" fmla="*/ 17 w 126"/>
                <a:gd name="T13" fmla="*/ 123 h 138"/>
                <a:gd name="T14" fmla="*/ 18 w 126"/>
                <a:gd name="T15" fmla="*/ 131 h 138"/>
                <a:gd name="T16" fmla="*/ 21 w 126"/>
                <a:gd name="T17" fmla="*/ 134 h 138"/>
                <a:gd name="T18" fmla="*/ 26 w 126"/>
                <a:gd name="T19" fmla="*/ 138 h 138"/>
                <a:gd name="T20" fmla="*/ 35 w 126"/>
                <a:gd name="T21" fmla="*/ 138 h 138"/>
                <a:gd name="T22" fmla="*/ 42 w 126"/>
                <a:gd name="T23" fmla="*/ 131 h 138"/>
                <a:gd name="T24" fmla="*/ 43 w 126"/>
                <a:gd name="T25" fmla="*/ 128 h 138"/>
                <a:gd name="T26" fmla="*/ 46 w 126"/>
                <a:gd name="T27" fmla="*/ 125 h 138"/>
                <a:gd name="T28" fmla="*/ 51 w 126"/>
                <a:gd name="T29" fmla="*/ 125 h 138"/>
                <a:gd name="T30" fmla="*/ 57 w 126"/>
                <a:gd name="T31" fmla="*/ 127 h 138"/>
                <a:gd name="T32" fmla="*/ 61 w 126"/>
                <a:gd name="T33" fmla="*/ 125 h 138"/>
                <a:gd name="T34" fmla="*/ 65 w 126"/>
                <a:gd name="T35" fmla="*/ 120 h 138"/>
                <a:gd name="T36" fmla="*/ 66 w 126"/>
                <a:gd name="T37" fmla="*/ 110 h 138"/>
                <a:gd name="T38" fmla="*/ 68 w 126"/>
                <a:gd name="T39" fmla="*/ 105 h 138"/>
                <a:gd name="T40" fmla="*/ 72 w 126"/>
                <a:gd name="T41" fmla="*/ 90 h 138"/>
                <a:gd name="T42" fmla="*/ 83 w 126"/>
                <a:gd name="T43" fmla="*/ 72 h 138"/>
                <a:gd name="T44" fmla="*/ 99 w 126"/>
                <a:gd name="T45" fmla="*/ 58 h 138"/>
                <a:gd name="T46" fmla="*/ 126 w 126"/>
                <a:gd name="T47" fmla="*/ 40 h 138"/>
                <a:gd name="T48" fmla="*/ 123 w 126"/>
                <a:gd name="T49" fmla="*/ 39 h 138"/>
                <a:gd name="T50" fmla="*/ 119 w 126"/>
                <a:gd name="T51" fmla="*/ 35 h 138"/>
                <a:gd name="T52" fmla="*/ 112 w 126"/>
                <a:gd name="T53" fmla="*/ 29 h 138"/>
                <a:gd name="T54" fmla="*/ 105 w 126"/>
                <a:gd name="T55" fmla="*/ 22 h 138"/>
                <a:gd name="T56" fmla="*/ 101 w 126"/>
                <a:gd name="T57" fmla="*/ 18 h 138"/>
                <a:gd name="T58" fmla="*/ 95 w 126"/>
                <a:gd name="T59" fmla="*/ 17 h 138"/>
                <a:gd name="T60" fmla="*/ 87 w 126"/>
                <a:gd name="T61" fmla="*/ 24 h 138"/>
                <a:gd name="T62" fmla="*/ 84 w 126"/>
                <a:gd name="T63" fmla="*/ 25 h 138"/>
                <a:gd name="T64" fmla="*/ 81 w 126"/>
                <a:gd name="T65" fmla="*/ 26 h 138"/>
                <a:gd name="T66" fmla="*/ 79 w 126"/>
                <a:gd name="T67" fmla="*/ 24 h 138"/>
                <a:gd name="T68" fmla="*/ 79 w 126"/>
                <a:gd name="T69" fmla="*/ 19 h 138"/>
                <a:gd name="T70" fmla="*/ 75 w 126"/>
                <a:gd name="T71" fmla="*/ 14 h 138"/>
                <a:gd name="T72" fmla="*/ 69 w 126"/>
                <a:gd name="T73" fmla="*/ 10 h 138"/>
                <a:gd name="T74" fmla="*/ 64 w 126"/>
                <a:gd name="T75" fmla="*/ 11 h 138"/>
                <a:gd name="T76" fmla="*/ 51 w 126"/>
                <a:gd name="T77" fmla="*/ 13 h 138"/>
                <a:gd name="T78" fmla="*/ 53 w 126"/>
                <a:gd name="T79" fmla="*/ 10 h 138"/>
                <a:gd name="T80" fmla="*/ 55 w 126"/>
                <a:gd name="T81" fmla="*/ 6 h 138"/>
                <a:gd name="T82" fmla="*/ 54 w 126"/>
                <a:gd name="T83" fmla="*/ 2 h 138"/>
                <a:gd name="T84" fmla="*/ 47 w 126"/>
                <a:gd name="T85" fmla="*/ 2 h 138"/>
                <a:gd name="T86" fmla="*/ 39 w 126"/>
                <a:gd name="T87" fmla="*/ 4 h 138"/>
                <a:gd name="T88" fmla="*/ 33 w 126"/>
                <a:gd name="T89" fmla="*/ 8 h 138"/>
                <a:gd name="T90" fmla="*/ 32 w 126"/>
                <a:gd name="T91" fmla="*/ 11 h 138"/>
                <a:gd name="T92" fmla="*/ 31 w 126"/>
                <a:gd name="T93" fmla="*/ 11 h 138"/>
                <a:gd name="T94" fmla="*/ 26 w 126"/>
                <a:gd name="T95" fmla="*/ 11 h 138"/>
                <a:gd name="T96" fmla="*/ 21 w 126"/>
                <a:gd name="T97" fmla="*/ 13 h 138"/>
                <a:gd name="T98" fmla="*/ 18 w 126"/>
                <a:gd name="T99" fmla="*/ 22 h 138"/>
                <a:gd name="T100" fmla="*/ 20 w 126"/>
                <a:gd name="T101" fmla="*/ 30 h 138"/>
                <a:gd name="T102" fmla="*/ 21 w 126"/>
                <a:gd name="T103" fmla="*/ 35 h 138"/>
                <a:gd name="T104" fmla="*/ 22 w 126"/>
                <a:gd name="T105" fmla="*/ 40 h 138"/>
                <a:gd name="T106" fmla="*/ 22 w 126"/>
                <a:gd name="T107" fmla="*/ 46 h 138"/>
                <a:gd name="T108" fmla="*/ 20 w 126"/>
                <a:gd name="T109" fmla="*/ 47 h 138"/>
                <a:gd name="T110" fmla="*/ 18 w 126"/>
                <a:gd name="T111" fmla="*/ 51 h 138"/>
                <a:gd name="T112" fmla="*/ 14 w 126"/>
                <a:gd name="T113" fmla="*/ 58 h 138"/>
                <a:gd name="T114" fmla="*/ 10 w 126"/>
                <a:gd name="T115" fmla="*/ 69 h 138"/>
                <a:gd name="T116" fmla="*/ 6 w 126"/>
                <a:gd name="T117" fmla="*/ 9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6" h="138">
                  <a:moveTo>
                    <a:pt x="6" y="95"/>
                  </a:moveTo>
                  <a:lnTo>
                    <a:pt x="4" y="96"/>
                  </a:lnTo>
                  <a:lnTo>
                    <a:pt x="3" y="98"/>
                  </a:lnTo>
                  <a:lnTo>
                    <a:pt x="0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2" y="107"/>
                  </a:lnTo>
                  <a:lnTo>
                    <a:pt x="6" y="110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10" y="113"/>
                  </a:lnTo>
                  <a:lnTo>
                    <a:pt x="13" y="116"/>
                  </a:lnTo>
                  <a:lnTo>
                    <a:pt x="14" y="118"/>
                  </a:lnTo>
                  <a:lnTo>
                    <a:pt x="17" y="123"/>
                  </a:lnTo>
                  <a:lnTo>
                    <a:pt x="18" y="127"/>
                  </a:lnTo>
                  <a:lnTo>
                    <a:pt x="18" y="131"/>
                  </a:lnTo>
                  <a:lnTo>
                    <a:pt x="20" y="132"/>
                  </a:lnTo>
                  <a:lnTo>
                    <a:pt x="21" y="134"/>
                  </a:lnTo>
                  <a:lnTo>
                    <a:pt x="24" y="135"/>
                  </a:lnTo>
                  <a:lnTo>
                    <a:pt x="26" y="138"/>
                  </a:lnTo>
                  <a:lnTo>
                    <a:pt x="31" y="138"/>
                  </a:lnTo>
                  <a:lnTo>
                    <a:pt x="35" y="138"/>
                  </a:lnTo>
                  <a:lnTo>
                    <a:pt x="37" y="136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3" y="128"/>
                  </a:lnTo>
                  <a:lnTo>
                    <a:pt x="43" y="127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1" y="125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9" y="127"/>
                  </a:lnTo>
                  <a:lnTo>
                    <a:pt x="61" y="125"/>
                  </a:lnTo>
                  <a:lnTo>
                    <a:pt x="64" y="124"/>
                  </a:lnTo>
                  <a:lnTo>
                    <a:pt x="65" y="120"/>
                  </a:lnTo>
                  <a:lnTo>
                    <a:pt x="66" y="117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8" y="105"/>
                  </a:lnTo>
                  <a:lnTo>
                    <a:pt x="69" y="98"/>
                  </a:lnTo>
                  <a:lnTo>
                    <a:pt x="72" y="90"/>
                  </a:lnTo>
                  <a:lnTo>
                    <a:pt x="77" y="80"/>
                  </a:lnTo>
                  <a:lnTo>
                    <a:pt x="83" y="72"/>
                  </a:lnTo>
                  <a:lnTo>
                    <a:pt x="90" y="63"/>
                  </a:lnTo>
                  <a:lnTo>
                    <a:pt x="99" y="58"/>
                  </a:lnTo>
                  <a:lnTo>
                    <a:pt x="124" y="47"/>
                  </a:lnTo>
                  <a:lnTo>
                    <a:pt x="126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1" y="37"/>
                  </a:lnTo>
                  <a:lnTo>
                    <a:pt x="119" y="35"/>
                  </a:lnTo>
                  <a:lnTo>
                    <a:pt x="116" y="33"/>
                  </a:lnTo>
                  <a:lnTo>
                    <a:pt x="112" y="29"/>
                  </a:lnTo>
                  <a:lnTo>
                    <a:pt x="106" y="25"/>
                  </a:lnTo>
                  <a:lnTo>
                    <a:pt x="105" y="22"/>
                  </a:lnTo>
                  <a:lnTo>
                    <a:pt x="103" y="19"/>
                  </a:lnTo>
                  <a:lnTo>
                    <a:pt x="101" y="18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91" y="18"/>
                  </a:lnTo>
                  <a:lnTo>
                    <a:pt x="87" y="24"/>
                  </a:lnTo>
                  <a:lnTo>
                    <a:pt x="86" y="25"/>
                  </a:lnTo>
                  <a:lnTo>
                    <a:pt x="84" y="25"/>
                  </a:lnTo>
                  <a:lnTo>
                    <a:pt x="83" y="26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79" y="24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7" y="17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9" y="10"/>
                  </a:lnTo>
                  <a:lnTo>
                    <a:pt x="66" y="8"/>
                  </a:lnTo>
                  <a:lnTo>
                    <a:pt x="64" y="11"/>
                  </a:lnTo>
                  <a:lnTo>
                    <a:pt x="61" y="15"/>
                  </a:lnTo>
                  <a:lnTo>
                    <a:pt x="51" y="13"/>
                  </a:lnTo>
                  <a:lnTo>
                    <a:pt x="51" y="11"/>
                  </a:lnTo>
                  <a:lnTo>
                    <a:pt x="53" y="10"/>
                  </a:lnTo>
                  <a:lnTo>
                    <a:pt x="54" y="8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4" y="2"/>
                  </a:lnTo>
                  <a:lnTo>
                    <a:pt x="53" y="0"/>
                  </a:lnTo>
                  <a:lnTo>
                    <a:pt x="47" y="2"/>
                  </a:lnTo>
                  <a:lnTo>
                    <a:pt x="42" y="3"/>
                  </a:lnTo>
                  <a:lnTo>
                    <a:pt x="39" y="4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6" y="11"/>
                  </a:lnTo>
                  <a:lnTo>
                    <a:pt x="24" y="11"/>
                  </a:lnTo>
                  <a:lnTo>
                    <a:pt x="21" y="13"/>
                  </a:lnTo>
                  <a:lnTo>
                    <a:pt x="20" y="17"/>
                  </a:lnTo>
                  <a:lnTo>
                    <a:pt x="18" y="22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1" y="35"/>
                  </a:lnTo>
                  <a:lnTo>
                    <a:pt x="22" y="37"/>
                  </a:lnTo>
                  <a:lnTo>
                    <a:pt x="22" y="40"/>
                  </a:lnTo>
                  <a:lnTo>
                    <a:pt x="22" y="43"/>
                  </a:lnTo>
                  <a:lnTo>
                    <a:pt x="22" y="46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4" y="58"/>
                  </a:lnTo>
                  <a:lnTo>
                    <a:pt x="11" y="63"/>
                  </a:lnTo>
                  <a:lnTo>
                    <a:pt x="10" y="69"/>
                  </a:lnTo>
                  <a:lnTo>
                    <a:pt x="9" y="76"/>
                  </a:lnTo>
                  <a:lnTo>
                    <a:pt x="6" y="9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9" name="Freeform 225"/>
            <p:cNvSpPr>
              <a:spLocks/>
            </p:cNvSpPr>
            <p:nvPr/>
          </p:nvSpPr>
          <p:spPr bwMode="auto">
            <a:xfrm>
              <a:off x="1440" y="833"/>
              <a:ext cx="223" cy="179"/>
            </a:xfrm>
            <a:custGeom>
              <a:avLst/>
              <a:gdLst>
                <a:gd name="T0" fmla="*/ 40 w 276"/>
                <a:gd name="T1" fmla="*/ 91 h 222"/>
                <a:gd name="T2" fmla="*/ 53 w 276"/>
                <a:gd name="T3" fmla="*/ 88 h 222"/>
                <a:gd name="T4" fmla="*/ 49 w 276"/>
                <a:gd name="T5" fmla="*/ 102 h 222"/>
                <a:gd name="T6" fmla="*/ 24 w 276"/>
                <a:gd name="T7" fmla="*/ 103 h 222"/>
                <a:gd name="T8" fmla="*/ 8 w 276"/>
                <a:gd name="T9" fmla="*/ 112 h 222"/>
                <a:gd name="T10" fmla="*/ 12 w 276"/>
                <a:gd name="T11" fmla="*/ 123 h 222"/>
                <a:gd name="T12" fmla="*/ 42 w 276"/>
                <a:gd name="T13" fmla="*/ 127 h 222"/>
                <a:gd name="T14" fmla="*/ 82 w 276"/>
                <a:gd name="T15" fmla="*/ 124 h 222"/>
                <a:gd name="T16" fmla="*/ 102 w 276"/>
                <a:gd name="T17" fmla="*/ 135 h 222"/>
                <a:gd name="T18" fmla="*/ 99 w 276"/>
                <a:gd name="T19" fmla="*/ 154 h 222"/>
                <a:gd name="T20" fmla="*/ 82 w 276"/>
                <a:gd name="T21" fmla="*/ 156 h 222"/>
                <a:gd name="T22" fmla="*/ 70 w 276"/>
                <a:gd name="T23" fmla="*/ 153 h 222"/>
                <a:gd name="T24" fmla="*/ 45 w 276"/>
                <a:gd name="T25" fmla="*/ 157 h 222"/>
                <a:gd name="T26" fmla="*/ 24 w 276"/>
                <a:gd name="T27" fmla="*/ 164 h 222"/>
                <a:gd name="T28" fmla="*/ 29 w 276"/>
                <a:gd name="T29" fmla="*/ 179 h 222"/>
                <a:gd name="T30" fmla="*/ 59 w 276"/>
                <a:gd name="T31" fmla="*/ 193 h 222"/>
                <a:gd name="T32" fmla="*/ 80 w 276"/>
                <a:gd name="T33" fmla="*/ 209 h 222"/>
                <a:gd name="T34" fmla="*/ 104 w 276"/>
                <a:gd name="T35" fmla="*/ 217 h 222"/>
                <a:gd name="T36" fmla="*/ 173 w 276"/>
                <a:gd name="T37" fmla="*/ 194 h 222"/>
                <a:gd name="T38" fmla="*/ 191 w 276"/>
                <a:gd name="T39" fmla="*/ 194 h 222"/>
                <a:gd name="T40" fmla="*/ 210 w 276"/>
                <a:gd name="T41" fmla="*/ 205 h 222"/>
                <a:gd name="T42" fmla="*/ 220 w 276"/>
                <a:gd name="T43" fmla="*/ 202 h 222"/>
                <a:gd name="T44" fmla="*/ 228 w 276"/>
                <a:gd name="T45" fmla="*/ 205 h 222"/>
                <a:gd name="T46" fmla="*/ 247 w 276"/>
                <a:gd name="T47" fmla="*/ 195 h 222"/>
                <a:gd name="T48" fmla="*/ 247 w 276"/>
                <a:gd name="T49" fmla="*/ 184 h 222"/>
                <a:gd name="T50" fmla="*/ 232 w 276"/>
                <a:gd name="T51" fmla="*/ 180 h 222"/>
                <a:gd name="T52" fmla="*/ 238 w 276"/>
                <a:gd name="T53" fmla="*/ 173 h 222"/>
                <a:gd name="T54" fmla="*/ 256 w 276"/>
                <a:gd name="T55" fmla="*/ 168 h 222"/>
                <a:gd name="T56" fmla="*/ 271 w 276"/>
                <a:gd name="T57" fmla="*/ 168 h 222"/>
                <a:gd name="T58" fmla="*/ 269 w 276"/>
                <a:gd name="T59" fmla="*/ 151 h 222"/>
                <a:gd name="T60" fmla="*/ 249 w 276"/>
                <a:gd name="T61" fmla="*/ 142 h 222"/>
                <a:gd name="T62" fmla="*/ 221 w 276"/>
                <a:gd name="T63" fmla="*/ 135 h 222"/>
                <a:gd name="T64" fmla="*/ 206 w 276"/>
                <a:gd name="T65" fmla="*/ 94 h 222"/>
                <a:gd name="T66" fmla="*/ 203 w 276"/>
                <a:gd name="T67" fmla="*/ 48 h 222"/>
                <a:gd name="T68" fmla="*/ 185 w 276"/>
                <a:gd name="T69" fmla="*/ 22 h 222"/>
                <a:gd name="T70" fmla="*/ 173 w 276"/>
                <a:gd name="T71" fmla="*/ 28 h 222"/>
                <a:gd name="T72" fmla="*/ 165 w 276"/>
                <a:gd name="T73" fmla="*/ 50 h 222"/>
                <a:gd name="T74" fmla="*/ 144 w 276"/>
                <a:gd name="T75" fmla="*/ 22 h 222"/>
                <a:gd name="T76" fmla="*/ 132 w 276"/>
                <a:gd name="T77" fmla="*/ 29 h 222"/>
                <a:gd name="T78" fmla="*/ 121 w 276"/>
                <a:gd name="T79" fmla="*/ 37 h 222"/>
                <a:gd name="T80" fmla="*/ 107 w 276"/>
                <a:gd name="T81" fmla="*/ 15 h 222"/>
                <a:gd name="T82" fmla="*/ 95 w 276"/>
                <a:gd name="T83" fmla="*/ 14 h 222"/>
                <a:gd name="T84" fmla="*/ 92 w 276"/>
                <a:gd name="T85" fmla="*/ 39 h 222"/>
                <a:gd name="T86" fmla="*/ 75 w 276"/>
                <a:gd name="T87" fmla="*/ 35 h 222"/>
                <a:gd name="T88" fmla="*/ 75 w 276"/>
                <a:gd name="T89" fmla="*/ 8 h 222"/>
                <a:gd name="T90" fmla="*/ 71 w 276"/>
                <a:gd name="T91" fmla="*/ 2 h 222"/>
                <a:gd name="T92" fmla="*/ 55 w 276"/>
                <a:gd name="T93" fmla="*/ 7 h 222"/>
                <a:gd name="T94" fmla="*/ 16 w 276"/>
                <a:gd name="T95" fmla="*/ 29 h 222"/>
                <a:gd name="T96" fmla="*/ 8 w 276"/>
                <a:gd name="T97" fmla="*/ 44 h 222"/>
                <a:gd name="T98" fmla="*/ 7 w 276"/>
                <a:gd name="T99" fmla="*/ 61 h 222"/>
                <a:gd name="T100" fmla="*/ 0 w 276"/>
                <a:gd name="T101" fmla="*/ 74 h 222"/>
                <a:gd name="T102" fmla="*/ 27 w 276"/>
                <a:gd name="T103" fmla="*/ 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6" h="222">
                  <a:moveTo>
                    <a:pt x="27" y="90"/>
                  </a:moveTo>
                  <a:lnTo>
                    <a:pt x="29" y="90"/>
                  </a:lnTo>
                  <a:lnTo>
                    <a:pt x="31" y="91"/>
                  </a:lnTo>
                  <a:lnTo>
                    <a:pt x="35" y="91"/>
                  </a:lnTo>
                  <a:lnTo>
                    <a:pt x="40" y="91"/>
                  </a:lnTo>
                  <a:lnTo>
                    <a:pt x="44" y="91"/>
                  </a:lnTo>
                  <a:lnTo>
                    <a:pt x="48" y="91"/>
                  </a:lnTo>
                  <a:lnTo>
                    <a:pt x="51" y="90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3" y="91"/>
                  </a:lnTo>
                  <a:lnTo>
                    <a:pt x="55" y="92"/>
                  </a:lnTo>
                  <a:lnTo>
                    <a:pt x="55" y="95"/>
                  </a:lnTo>
                  <a:lnTo>
                    <a:pt x="53" y="99"/>
                  </a:lnTo>
                  <a:lnTo>
                    <a:pt x="49" y="102"/>
                  </a:lnTo>
                  <a:lnTo>
                    <a:pt x="44" y="103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0" y="103"/>
                  </a:lnTo>
                  <a:lnTo>
                    <a:pt x="24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1" y="107"/>
                  </a:lnTo>
                  <a:lnTo>
                    <a:pt x="9" y="109"/>
                  </a:lnTo>
                  <a:lnTo>
                    <a:pt x="8" y="112"/>
                  </a:lnTo>
                  <a:lnTo>
                    <a:pt x="8" y="116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12" y="123"/>
                  </a:lnTo>
                  <a:lnTo>
                    <a:pt x="15" y="123"/>
                  </a:lnTo>
                  <a:lnTo>
                    <a:pt x="19" y="124"/>
                  </a:lnTo>
                  <a:lnTo>
                    <a:pt x="24" y="125"/>
                  </a:lnTo>
                  <a:lnTo>
                    <a:pt x="33" y="127"/>
                  </a:lnTo>
                  <a:lnTo>
                    <a:pt x="42" y="127"/>
                  </a:lnTo>
                  <a:lnTo>
                    <a:pt x="47" y="125"/>
                  </a:lnTo>
                  <a:lnTo>
                    <a:pt x="53" y="125"/>
                  </a:lnTo>
                  <a:lnTo>
                    <a:pt x="63" y="124"/>
                  </a:lnTo>
                  <a:lnTo>
                    <a:pt x="73" y="124"/>
                  </a:lnTo>
                  <a:lnTo>
                    <a:pt x="82" y="124"/>
                  </a:lnTo>
                  <a:lnTo>
                    <a:pt x="92" y="127"/>
                  </a:lnTo>
                  <a:lnTo>
                    <a:pt x="95" y="128"/>
                  </a:lnTo>
                  <a:lnTo>
                    <a:pt x="97" y="129"/>
                  </a:lnTo>
                  <a:lnTo>
                    <a:pt x="100" y="132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102" y="145"/>
                  </a:lnTo>
                  <a:lnTo>
                    <a:pt x="102" y="149"/>
                  </a:lnTo>
                  <a:lnTo>
                    <a:pt x="99" y="154"/>
                  </a:lnTo>
                  <a:lnTo>
                    <a:pt x="96" y="157"/>
                  </a:lnTo>
                  <a:lnTo>
                    <a:pt x="93" y="158"/>
                  </a:lnTo>
                  <a:lnTo>
                    <a:pt x="91" y="158"/>
                  </a:lnTo>
                  <a:lnTo>
                    <a:pt x="86" y="157"/>
                  </a:lnTo>
                  <a:lnTo>
                    <a:pt x="82" y="156"/>
                  </a:lnTo>
                  <a:lnTo>
                    <a:pt x="82" y="156"/>
                  </a:lnTo>
                  <a:lnTo>
                    <a:pt x="81" y="154"/>
                  </a:lnTo>
                  <a:lnTo>
                    <a:pt x="78" y="154"/>
                  </a:lnTo>
                  <a:lnTo>
                    <a:pt x="74" y="153"/>
                  </a:lnTo>
                  <a:lnTo>
                    <a:pt x="70" y="153"/>
                  </a:lnTo>
                  <a:lnTo>
                    <a:pt x="64" y="153"/>
                  </a:lnTo>
                  <a:lnTo>
                    <a:pt x="56" y="154"/>
                  </a:lnTo>
                  <a:lnTo>
                    <a:pt x="49" y="158"/>
                  </a:lnTo>
                  <a:lnTo>
                    <a:pt x="48" y="157"/>
                  </a:lnTo>
                  <a:lnTo>
                    <a:pt x="45" y="157"/>
                  </a:lnTo>
                  <a:lnTo>
                    <a:pt x="41" y="156"/>
                  </a:lnTo>
                  <a:lnTo>
                    <a:pt x="37" y="156"/>
                  </a:lnTo>
                  <a:lnTo>
                    <a:pt x="33" y="157"/>
                  </a:lnTo>
                  <a:lnTo>
                    <a:pt x="29" y="158"/>
                  </a:lnTo>
                  <a:lnTo>
                    <a:pt x="24" y="164"/>
                  </a:lnTo>
                  <a:lnTo>
                    <a:pt x="23" y="171"/>
                  </a:lnTo>
                  <a:lnTo>
                    <a:pt x="23" y="172"/>
                  </a:lnTo>
                  <a:lnTo>
                    <a:pt x="24" y="173"/>
                  </a:lnTo>
                  <a:lnTo>
                    <a:pt x="26" y="176"/>
                  </a:lnTo>
                  <a:lnTo>
                    <a:pt x="29" y="179"/>
                  </a:lnTo>
                  <a:lnTo>
                    <a:pt x="33" y="182"/>
                  </a:lnTo>
                  <a:lnTo>
                    <a:pt x="40" y="186"/>
                  </a:lnTo>
                  <a:lnTo>
                    <a:pt x="48" y="189"/>
                  </a:lnTo>
                  <a:lnTo>
                    <a:pt x="58" y="193"/>
                  </a:lnTo>
                  <a:lnTo>
                    <a:pt x="59" y="193"/>
                  </a:lnTo>
                  <a:lnTo>
                    <a:pt x="62" y="194"/>
                  </a:lnTo>
                  <a:lnTo>
                    <a:pt x="66" y="197"/>
                  </a:lnTo>
                  <a:lnTo>
                    <a:pt x="70" y="200"/>
                  </a:lnTo>
                  <a:lnTo>
                    <a:pt x="75" y="204"/>
                  </a:lnTo>
                  <a:lnTo>
                    <a:pt x="80" y="209"/>
                  </a:lnTo>
                  <a:lnTo>
                    <a:pt x="82" y="215"/>
                  </a:lnTo>
                  <a:lnTo>
                    <a:pt x="82" y="222"/>
                  </a:lnTo>
                  <a:lnTo>
                    <a:pt x="86" y="222"/>
                  </a:lnTo>
                  <a:lnTo>
                    <a:pt x="93" y="220"/>
                  </a:lnTo>
                  <a:lnTo>
                    <a:pt x="104" y="217"/>
                  </a:lnTo>
                  <a:lnTo>
                    <a:pt x="118" y="215"/>
                  </a:lnTo>
                  <a:lnTo>
                    <a:pt x="133" y="211"/>
                  </a:lnTo>
                  <a:lnTo>
                    <a:pt x="148" y="206"/>
                  </a:lnTo>
                  <a:lnTo>
                    <a:pt x="162" y="201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7" y="194"/>
                  </a:lnTo>
                  <a:lnTo>
                    <a:pt x="181" y="193"/>
                  </a:lnTo>
                  <a:lnTo>
                    <a:pt x="185" y="193"/>
                  </a:lnTo>
                  <a:lnTo>
                    <a:pt x="191" y="194"/>
                  </a:lnTo>
                  <a:lnTo>
                    <a:pt x="196" y="194"/>
                  </a:lnTo>
                  <a:lnTo>
                    <a:pt x="202" y="197"/>
                  </a:lnTo>
                  <a:lnTo>
                    <a:pt x="206" y="201"/>
                  </a:lnTo>
                  <a:lnTo>
                    <a:pt x="209" y="204"/>
                  </a:lnTo>
                  <a:lnTo>
                    <a:pt x="210" y="205"/>
                  </a:lnTo>
                  <a:lnTo>
                    <a:pt x="212" y="206"/>
                  </a:lnTo>
                  <a:lnTo>
                    <a:pt x="214" y="206"/>
                  </a:lnTo>
                  <a:lnTo>
                    <a:pt x="216" y="205"/>
                  </a:lnTo>
                  <a:lnTo>
                    <a:pt x="217" y="204"/>
                  </a:lnTo>
                  <a:lnTo>
                    <a:pt x="220" y="202"/>
                  </a:lnTo>
                  <a:lnTo>
                    <a:pt x="223" y="201"/>
                  </a:lnTo>
                  <a:lnTo>
                    <a:pt x="223" y="201"/>
                  </a:lnTo>
                  <a:lnTo>
                    <a:pt x="224" y="202"/>
                  </a:lnTo>
                  <a:lnTo>
                    <a:pt x="225" y="204"/>
                  </a:lnTo>
                  <a:lnTo>
                    <a:pt x="228" y="205"/>
                  </a:lnTo>
                  <a:lnTo>
                    <a:pt x="231" y="205"/>
                  </a:lnTo>
                  <a:lnTo>
                    <a:pt x="235" y="204"/>
                  </a:lnTo>
                  <a:lnTo>
                    <a:pt x="240" y="201"/>
                  </a:lnTo>
                  <a:lnTo>
                    <a:pt x="247" y="197"/>
                  </a:lnTo>
                  <a:lnTo>
                    <a:pt x="247" y="195"/>
                  </a:lnTo>
                  <a:lnTo>
                    <a:pt x="249" y="194"/>
                  </a:lnTo>
                  <a:lnTo>
                    <a:pt x="250" y="191"/>
                  </a:lnTo>
                  <a:lnTo>
                    <a:pt x="250" y="189"/>
                  </a:lnTo>
                  <a:lnTo>
                    <a:pt x="249" y="186"/>
                  </a:lnTo>
                  <a:lnTo>
                    <a:pt x="247" y="184"/>
                  </a:lnTo>
                  <a:lnTo>
                    <a:pt x="242" y="183"/>
                  </a:lnTo>
                  <a:lnTo>
                    <a:pt x="235" y="183"/>
                  </a:lnTo>
                  <a:lnTo>
                    <a:pt x="235" y="183"/>
                  </a:lnTo>
                  <a:lnTo>
                    <a:pt x="234" y="182"/>
                  </a:lnTo>
                  <a:lnTo>
                    <a:pt x="232" y="180"/>
                  </a:lnTo>
                  <a:lnTo>
                    <a:pt x="231" y="179"/>
                  </a:lnTo>
                  <a:lnTo>
                    <a:pt x="229" y="178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8" y="173"/>
                  </a:lnTo>
                  <a:lnTo>
                    <a:pt x="238" y="172"/>
                  </a:lnTo>
                  <a:lnTo>
                    <a:pt x="240" y="172"/>
                  </a:lnTo>
                  <a:lnTo>
                    <a:pt x="245" y="171"/>
                  </a:lnTo>
                  <a:lnTo>
                    <a:pt x="250" y="169"/>
                  </a:lnTo>
                  <a:lnTo>
                    <a:pt x="256" y="168"/>
                  </a:lnTo>
                  <a:lnTo>
                    <a:pt x="260" y="168"/>
                  </a:lnTo>
                  <a:lnTo>
                    <a:pt x="265" y="169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1" y="168"/>
                  </a:lnTo>
                  <a:lnTo>
                    <a:pt x="273" y="167"/>
                  </a:lnTo>
                  <a:lnTo>
                    <a:pt x="275" y="162"/>
                  </a:lnTo>
                  <a:lnTo>
                    <a:pt x="276" y="160"/>
                  </a:lnTo>
                  <a:lnTo>
                    <a:pt x="273" y="156"/>
                  </a:lnTo>
                  <a:lnTo>
                    <a:pt x="269" y="151"/>
                  </a:lnTo>
                  <a:lnTo>
                    <a:pt x="260" y="147"/>
                  </a:lnTo>
                  <a:lnTo>
                    <a:pt x="258" y="146"/>
                  </a:lnTo>
                  <a:lnTo>
                    <a:pt x="256" y="145"/>
                  </a:lnTo>
                  <a:lnTo>
                    <a:pt x="253" y="143"/>
                  </a:lnTo>
                  <a:lnTo>
                    <a:pt x="249" y="142"/>
                  </a:lnTo>
                  <a:lnTo>
                    <a:pt x="245" y="139"/>
                  </a:lnTo>
                  <a:lnTo>
                    <a:pt x="239" y="138"/>
                  </a:lnTo>
                  <a:lnTo>
                    <a:pt x="231" y="136"/>
                  </a:lnTo>
                  <a:lnTo>
                    <a:pt x="223" y="136"/>
                  </a:lnTo>
                  <a:lnTo>
                    <a:pt x="221" y="135"/>
                  </a:lnTo>
                  <a:lnTo>
                    <a:pt x="218" y="132"/>
                  </a:lnTo>
                  <a:lnTo>
                    <a:pt x="216" y="125"/>
                  </a:lnTo>
                  <a:lnTo>
                    <a:pt x="212" y="117"/>
                  </a:lnTo>
                  <a:lnTo>
                    <a:pt x="209" y="106"/>
                  </a:lnTo>
                  <a:lnTo>
                    <a:pt x="206" y="94"/>
                  </a:lnTo>
                  <a:lnTo>
                    <a:pt x="205" y="79"/>
                  </a:lnTo>
                  <a:lnTo>
                    <a:pt x="206" y="62"/>
                  </a:lnTo>
                  <a:lnTo>
                    <a:pt x="205" y="61"/>
                  </a:lnTo>
                  <a:lnTo>
                    <a:pt x="205" y="55"/>
                  </a:lnTo>
                  <a:lnTo>
                    <a:pt x="203" y="48"/>
                  </a:lnTo>
                  <a:lnTo>
                    <a:pt x="201" y="40"/>
                  </a:lnTo>
                  <a:lnTo>
                    <a:pt x="196" y="32"/>
                  </a:lnTo>
                  <a:lnTo>
                    <a:pt x="192" y="26"/>
                  </a:lnTo>
                  <a:lnTo>
                    <a:pt x="190" y="24"/>
                  </a:lnTo>
                  <a:lnTo>
                    <a:pt x="185" y="22"/>
                  </a:lnTo>
                  <a:lnTo>
                    <a:pt x="183" y="22"/>
                  </a:lnTo>
                  <a:lnTo>
                    <a:pt x="179" y="22"/>
                  </a:lnTo>
                  <a:lnTo>
                    <a:pt x="177" y="22"/>
                  </a:lnTo>
                  <a:lnTo>
                    <a:pt x="176" y="25"/>
                  </a:lnTo>
                  <a:lnTo>
                    <a:pt x="173" y="28"/>
                  </a:lnTo>
                  <a:lnTo>
                    <a:pt x="170" y="32"/>
                  </a:lnTo>
                  <a:lnTo>
                    <a:pt x="169" y="36"/>
                  </a:lnTo>
                  <a:lnTo>
                    <a:pt x="166" y="40"/>
                  </a:lnTo>
                  <a:lnTo>
                    <a:pt x="165" y="46"/>
                  </a:lnTo>
                  <a:lnTo>
                    <a:pt x="165" y="50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48" y="26"/>
                  </a:lnTo>
                  <a:lnTo>
                    <a:pt x="147" y="25"/>
                  </a:lnTo>
                  <a:lnTo>
                    <a:pt x="144" y="22"/>
                  </a:lnTo>
                  <a:lnTo>
                    <a:pt x="141" y="21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3" y="25"/>
                  </a:lnTo>
                  <a:lnTo>
                    <a:pt x="132" y="29"/>
                  </a:lnTo>
                  <a:lnTo>
                    <a:pt x="129" y="32"/>
                  </a:lnTo>
                  <a:lnTo>
                    <a:pt x="126" y="35"/>
                  </a:lnTo>
                  <a:lnTo>
                    <a:pt x="125" y="37"/>
                  </a:lnTo>
                  <a:lnTo>
                    <a:pt x="122" y="39"/>
                  </a:lnTo>
                  <a:lnTo>
                    <a:pt x="121" y="37"/>
                  </a:lnTo>
                  <a:lnTo>
                    <a:pt x="118" y="36"/>
                  </a:lnTo>
                  <a:lnTo>
                    <a:pt x="117" y="30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4" y="11"/>
                  </a:lnTo>
                  <a:lnTo>
                    <a:pt x="102" y="8"/>
                  </a:lnTo>
                  <a:lnTo>
                    <a:pt x="99" y="8"/>
                  </a:lnTo>
                  <a:lnTo>
                    <a:pt x="96" y="10"/>
                  </a:lnTo>
                  <a:lnTo>
                    <a:pt x="95" y="14"/>
                  </a:lnTo>
                  <a:lnTo>
                    <a:pt x="95" y="19"/>
                  </a:lnTo>
                  <a:lnTo>
                    <a:pt x="95" y="25"/>
                  </a:lnTo>
                  <a:lnTo>
                    <a:pt x="95" y="30"/>
                  </a:lnTo>
                  <a:lnTo>
                    <a:pt x="93" y="35"/>
                  </a:lnTo>
                  <a:lnTo>
                    <a:pt x="92" y="39"/>
                  </a:lnTo>
                  <a:lnTo>
                    <a:pt x="91" y="41"/>
                  </a:lnTo>
                  <a:lnTo>
                    <a:pt x="88" y="41"/>
                  </a:lnTo>
                  <a:lnTo>
                    <a:pt x="82" y="41"/>
                  </a:lnTo>
                  <a:lnTo>
                    <a:pt x="78" y="39"/>
                  </a:lnTo>
                  <a:lnTo>
                    <a:pt x="75" y="35"/>
                  </a:lnTo>
                  <a:lnTo>
                    <a:pt x="74" y="29"/>
                  </a:lnTo>
                  <a:lnTo>
                    <a:pt x="74" y="24"/>
                  </a:lnTo>
                  <a:lnTo>
                    <a:pt x="74" y="17"/>
                  </a:lnTo>
                  <a:lnTo>
                    <a:pt x="75" y="13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4" y="6"/>
                  </a:lnTo>
                  <a:lnTo>
                    <a:pt x="73" y="3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4"/>
                  </a:lnTo>
                  <a:lnTo>
                    <a:pt x="55" y="7"/>
                  </a:lnTo>
                  <a:lnTo>
                    <a:pt x="48" y="11"/>
                  </a:lnTo>
                  <a:lnTo>
                    <a:pt x="40" y="15"/>
                  </a:lnTo>
                  <a:lnTo>
                    <a:pt x="31" y="19"/>
                  </a:lnTo>
                  <a:lnTo>
                    <a:pt x="23" y="24"/>
                  </a:lnTo>
                  <a:lnTo>
                    <a:pt x="16" y="29"/>
                  </a:lnTo>
                  <a:lnTo>
                    <a:pt x="13" y="33"/>
                  </a:lnTo>
                  <a:lnTo>
                    <a:pt x="11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7" y="87"/>
                  </a:lnTo>
                  <a:lnTo>
                    <a:pt x="15" y="90"/>
                  </a:lnTo>
                  <a:lnTo>
                    <a:pt x="27" y="9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0" name="Freeform 226"/>
            <p:cNvSpPr>
              <a:spLocks/>
            </p:cNvSpPr>
            <p:nvPr/>
          </p:nvSpPr>
          <p:spPr bwMode="auto">
            <a:xfrm>
              <a:off x="1440" y="833"/>
              <a:ext cx="223" cy="179"/>
            </a:xfrm>
            <a:custGeom>
              <a:avLst/>
              <a:gdLst>
                <a:gd name="T0" fmla="*/ 35 w 276"/>
                <a:gd name="T1" fmla="*/ 91 h 222"/>
                <a:gd name="T2" fmla="*/ 51 w 276"/>
                <a:gd name="T3" fmla="*/ 90 h 222"/>
                <a:gd name="T4" fmla="*/ 55 w 276"/>
                <a:gd name="T5" fmla="*/ 95 h 222"/>
                <a:gd name="T6" fmla="*/ 34 w 276"/>
                <a:gd name="T7" fmla="*/ 105 h 222"/>
                <a:gd name="T8" fmla="*/ 19 w 276"/>
                <a:gd name="T9" fmla="*/ 103 h 222"/>
                <a:gd name="T10" fmla="*/ 8 w 276"/>
                <a:gd name="T11" fmla="*/ 112 h 222"/>
                <a:gd name="T12" fmla="*/ 12 w 276"/>
                <a:gd name="T13" fmla="*/ 123 h 222"/>
                <a:gd name="T14" fmla="*/ 33 w 276"/>
                <a:gd name="T15" fmla="*/ 127 h 222"/>
                <a:gd name="T16" fmla="*/ 63 w 276"/>
                <a:gd name="T17" fmla="*/ 124 h 222"/>
                <a:gd name="T18" fmla="*/ 95 w 276"/>
                <a:gd name="T19" fmla="*/ 128 h 222"/>
                <a:gd name="T20" fmla="*/ 102 w 276"/>
                <a:gd name="T21" fmla="*/ 136 h 222"/>
                <a:gd name="T22" fmla="*/ 99 w 276"/>
                <a:gd name="T23" fmla="*/ 154 h 222"/>
                <a:gd name="T24" fmla="*/ 86 w 276"/>
                <a:gd name="T25" fmla="*/ 157 h 222"/>
                <a:gd name="T26" fmla="*/ 74 w 276"/>
                <a:gd name="T27" fmla="*/ 153 h 222"/>
                <a:gd name="T28" fmla="*/ 49 w 276"/>
                <a:gd name="T29" fmla="*/ 158 h 222"/>
                <a:gd name="T30" fmla="*/ 37 w 276"/>
                <a:gd name="T31" fmla="*/ 156 h 222"/>
                <a:gd name="T32" fmla="*/ 23 w 276"/>
                <a:gd name="T33" fmla="*/ 171 h 222"/>
                <a:gd name="T34" fmla="*/ 29 w 276"/>
                <a:gd name="T35" fmla="*/ 179 h 222"/>
                <a:gd name="T36" fmla="*/ 58 w 276"/>
                <a:gd name="T37" fmla="*/ 193 h 222"/>
                <a:gd name="T38" fmla="*/ 70 w 276"/>
                <a:gd name="T39" fmla="*/ 200 h 222"/>
                <a:gd name="T40" fmla="*/ 82 w 276"/>
                <a:gd name="T41" fmla="*/ 222 h 222"/>
                <a:gd name="T42" fmla="*/ 118 w 276"/>
                <a:gd name="T43" fmla="*/ 215 h 222"/>
                <a:gd name="T44" fmla="*/ 173 w 276"/>
                <a:gd name="T45" fmla="*/ 194 h 222"/>
                <a:gd name="T46" fmla="*/ 185 w 276"/>
                <a:gd name="T47" fmla="*/ 193 h 222"/>
                <a:gd name="T48" fmla="*/ 206 w 276"/>
                <a:gd name="T49" fmla="*/ 201 h 222"/>
                <a:gd name="T50" fmla="*/ 214 w 276"/>
                <a:gd name="T51" fmla="*/ 206 h 222"/>
                <a:gd name="T52" fmla="*/ 223 w 276"/>
                <a:gd name="T53" fmla="*/ 201 h 222"/>
                <a:gd name="T54" fmla="*/ 231 w 276"/>
                <a:gd name="T55" fmla="*/ 205 h 222"/>
                <a:gd name="T56" fmla="*/ 247 w 276"/>
                <a:gd name="T57" fmla="*/ 195 h 222"/>
                <a:gd name="T58" fmla="*/ 249 w 276"/>
                <a:gd name="T59" fmla="*/ 186 h 222"/>
                <a:gd name="T60" fmla="*/ 234 w 276"/>
                <a:gd name="T61" fmla="*/ 182 h 222"/>
                <a:gd name="T62" fmla="*/ 231 w 276"/>
                <a:gd name="T63" fmla="*/ 175 h 222"/>
                <a:gd name="T64" fmla="*/ 240 w 276"/>
                <a:gd name="T65" fmla="*/ 172 h 222"/>
                <a:gd name="T66" fmla="*/ 260 w 276"/>
                <a:gd name="T67" fmla="*/ 168 h 222"/>
                <a:gd name="T68" fmla="*/ 271 w 276"/>
                <a:gd name="T69" fmla="*/ 168 h 222"/>
                <a:gd name="T70" fmla="*/ 273 w 276"/>
                <a:gd name="T71" fmla="*/ 156 h 222"/>
                <a:gd name="T72" fmla="*/ 256 w 276"/>
                <a:gd name="T73" fmla="*/ 145 h 222"/>
                <a:gd name="T74" fmla="*/ 239 w 276"/>
                <a:gd name="T75" fmla="*/ 138 h 222"/>
                <a:gd name="T76" fmla="*/ 218 w 276"/>
                <a:gd name="T77" fmla="*/ 132 h 222"/>
                <a:gd name="T78" fmla="*/ 206 w 276"/>
                <a:gd name="T79" fmla="*/ 94 h 222"/>
                <a:gd name="T80" fmla="*/ 205 w 276"/>
                <a:gd name="T81" fmla="*/ 55 h 222"/>
                <a:gd name="T82" fmla="*/ 192 w 276"/>
                <a:gd name="T83" fmla="*/ 26 h 222"/>
                <a:gd name="T84" fmla="*/ 179 w 276"/>
                <a:gd name="T85" fmla="*/ 22 h 222"/>
                <a:gd name="T86" fmla="*/ 170 w 276"/>
                <a:gd name="T87" fmla="*/ 32 h 222"/>
                <a:gd name="T88" fmla="*/ 165 w 276"/>
                <a:gd name="T89" fmla="*/ 50 h 222"/>
                <a:gd name="T90" fmla="*/ 144 w 276"/>
                <a:gd name="T91" fmla="*/ 22 h 222"/>
                <a:gd name="T92" fmla="*/ 133 w 276"/>
                <a:gd name="T93" fmla="*/ 25 h 222"/>
                <a:gd name="T94" fmla="*/ 125 w 276"/>
                <a:gd name="T95" fmla="*/ 37 h 222"/>
                <a:gd name="T96" fmla="*/ 117 w 276"/>
                <a:gd name="T97" fmla="*/ 30 h 222"/>
                <a:gd name="T98" fmla="*/ 104 w 276"/>
                <a:gd name="T99" fmla="*/ 11 h 222"/>
                <a:gd name="T100" fmla="*/ 95 w 276"/>
                <a:gd name="T101" fmla="*/ 14 h 222"/>
                <a:gd name="T102" fmla="*/ 93 w 276"/>
                <a:gd name="T103" fmla="*/ 35 h 222"/>
                <a:gd name="T104" fmla="*/ 82 w 276"/>
                <a:gd name="T105" fmla="*/ 41 h 222"/>
                <a:gd name="T106" fmla="*/ 74 w 276"/>
                <a:gd name="T107" fmla="*/ 24 h 222"/>
                <a:gd name="T108" fmla="*/ 75 w 276"/>
                <a:gd name="T109" fmla="*/ 7 h 222"/>
                <a:gd name="T110" fmla="*/ 69 w 276"/>
                <a:gd name="T111" fmla="*/ 0 h 222"/>
                <a:gd name="T112" fmla="*/ 55 w 276"/>
                <a:gd name="T113" fmla="*/ 7 h 222"/>
                <a:gd name="T114" fmla="*/ 23 w 276"/>
                <a:gd name="T115" fmla="*/ 24 h 222"/>
                <a:gd name="T116" fmla="*/ 9 w 276"/>
                <a:gd name="T117" fmla="*/ 40 h 222"/>
                <a:gd name="T118" fmla="*/ 8 w 276"/>
                <a:gd name="T119" fmla="*/ 50 h 222"/>
                <a:gd name="T120" fmla="*/ 5 w 276"/>
                <a:gd name="T121" fmla="*/ 63 h 222"/>
                <a:gd name="T122" fmla="*/ 0 w 276"/>
                <a:gd name="T123" fmla="*/ 74 h 222"/>
                <a:gd name="T124" fmla="*/ 15 w 276"/>
                <a:gd name="T125" fmla="*/ 9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6" h="222">
                  <a:moveTo>
                    <a:pt x="27" y="90"/>
                  </a:moveTo>
                  <a:lnTo>
                    <a:pt x="29" y="90"/>
                  </a:lnTo>
                  <a:lnTo>
                    <a:pt x="31" y="91"/>
                  </a:lnTo>
                  <a:lnTo>
                    <a:pt x="35" y="91"/>
                  </a:lnTo>
                  <a:lnTo>
                    <a:pt x="40" y="91"/>
                  </a:lnTo>
                  <a:lnTo>
                    <a:pt x="44" y="91"/>
                  </a:lnTo>
                  <a:lnTo>
                    <a:pt x="48" y="91"/>
                  </a:lnTo>
                  <a:lnTo>
                    <a:pt x="51" y="90"/>
                  </a:lnTo>
                  <a:lnTo>
                    <a:pt x="53" y="88"/>
                  </a:lnTo>
                  <a:lnTo>
                    <a:pt x="53" y="91"/>
                  </a:lnTo>
                  <a:lnTo>
                    <a:pt x="55" y="92"/>
                  </a:lnTo>
                  <a:lnTo>
                    <a:pt x="55" y="95"/>
                  </a:lnTo>
                  <a:lnTo>
                    <a:pt x="53" y="99"/>
                  </a:lnTo>
                  <a:lnTo>
                    <a:pt x="49" y="102"/>
                  </a:lnTo>
                  <a:lnTo>
                    <a:pt x="44" y="103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0" y="103"/>
                  </a:lnTo>
                  <a:lnTo>
                    <a:pt x="24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1" y="107"/>
                  </a:lnTo>
                  <a:lnTo>
                    <a:pt x="9" y="109"/>
                  </a:lnTo>
                  <a:lnTo>
                    <a:pt x="8" y="112"/>
                  </a:lnTo>
                  <a:lnTo>
                    <a:pt x="8" y="116"/>
                  </a:lnTo>
                  <a:lnTo>
                    <a:pt x="8" y="120"/>
                  </a:lnTo>
                  <a:lnTo>
                    <a:pt x="9" y="121"/>
                  </a:lnTo>
                  <a:lnTo>
                    <a:pt x="12" y="123"/>
                  </a:lnTo>
                  <a:lnTo>
                    <a:pt x="15" y="123"/>
                  </a:lnTo>
                  <a:lnTo>
                    <a:pt x="19" y="124"/>
                  </a:lnTo>
                  <a:lnTo>
                    <a:pt x="24" y="125"/>
                  </a:lnTo>
                  <a:lnTo>
                    <a:pt x="33" y="127"/>
                  </a:lnTo>
                  <a:lnTo>
                    <a:pt x="42" y="127"/>
                  </a:lnTo>
                  <a:lnTo>
                    <a:pt x="47" y="125"/>
                  </a:lnTo>
                  <a:lnTo>
                    <a:pt x="53" y="125"/>
                  </a:lnTo>
                  <a:lnTo>
                    <a:pt x="63" y="124"/>
                  </a:lnTo>
                  <a:lnTo>
                    <a:pt x="73" y="124"/>
                  </a:lnTo>
                  <a:lnTo>
                    <a:pt x="82" y="124"/>
                  </a:lnTo>
                  <a:lnTo>
                    <a:pt x="92" y="127"/>
                  </a:lnTo>
                  <a:lnTo>
                    <a:pt x="95" y="128"/>
                  </a:lnTo>
                  <a:lnTo>
                    <a:pt x="97" y="129"/>
                  </a:lnTo>
                  <a:lnTo>
                    <a:pt x="100" y="132"/>
                  </a:lnTo>
                  <a:lnTo>
                    <a:pt x="102" y="135"/>
                  </a:lnTo>
                  <a:lnTo>
                    <a:pt x="102" y="136"/>
                  </a:lnTo>
                  <a:lnTo>
                    <a:pt x="102" y="139"/>
                  </a:lnTo>
                  <a:lnTo>
                    <a:pt x="102" y="145"/>
                  </a:lnTo>
                  <a:lnTo>
                    <a:pt x="102" y="149"/>
                  </a:lnTo>
                  <a:lnTo>
                    <a:pt x="99" y="154"/>
                  </a:lnTo>
                  <a:lnTo>
                    <a:pt x="96" y="157"/>
                  </a:lnTo>
                  <a:lnTo>
                    <a:pt x="93" y="158"/>
                  </a:lnTo>
                  <a:lnTo>
                    <a:pt x="91" y="158"/>
                  </a:lnTo>
                  <a:lnTo>
                    <a:pt x="86" y="157"/>
                  </a:lnTo>
                  <a:lnTo>
                    <a:pt x="82" y="156"/>
                  </a:lnTo>
                  <a:lnTo>
                    <a:pt x="81" y="154"/>
                  </a:lnTo>
                  <a:lnTo>
                    <a:pt x="78" y="154"/>
                  </a:lnTo>
                  <a:lnTo>
                    <a:pt x="74" y="153"/>
                  </a:lnTo>
                  <a:lnTo>
                    <a:pt x="70" y="153"/>
                  </a:lnTo>
                  <a:lnTo>
                    <a:pt x="64" y="153"/>
                  </a:lnTo>
                  <a:lnTo>
                    <a:pt x="56" y="154"/>
                  </a:lnTo>
                  <a:lnTo>
                    <a:pt x="49" y="158"/>
                  </a:lnTo>
                  <a:lnTo>
                    <a:pt x="48" y="157"/>
                  </a:lnTo>
                  <a:lnTo>
                    <a:pt x="45" y="157"/>
                  </a:lnTo>
                  <a:lnTo>
                    <a:pt x="41" y="156"/>
                  </a:lnTo>
                  <a:lnTo>
                    <a:pt x="37" y="156"/>
                  </a:lnTo>
                  <a:lnTo>
                    <a:pt x="33" y="157"/>
                  </a:lnTo>
                  <a:lnTo>
                    <a:pt x="29" y="158"/>
                  </a:lnTo>
                  <a:lnTo>
                    <a:pt x="24" y="164"/>
                  </a:lnTo>
                  <a:lnTo>
                    <a:pt x="23" y="171"/>
                  </a:lnTo>
                  <a:lnTo>
                    <a:pt x="23" y="172"/>
                  </a:lnTo>
                  <a:lnTo>
                    <a:pt x="24" y="173"/>
                  </a:lnTo>
                  <a:lnTo>
                    <a:pt x="26" y="176"/>
                  </a:lnTo>
                  <a:lnTo>
                    <a:pt x="29" y="179"/>
                  </a:lnTo>
                  <a:lnTo>
                    <a:pt x="33" y="182"/>
                  </a:lnTo>
                  <a:lnTo>
                    <a:pt x="40" y="186"/>
                  </a:lnTo>
                  <a:lnTo>
                    <a:pt x="48" y="189"/>
                  </a:lnTo>
                  <a:lnTo>
                    <a:pt x="58" y="193"/>
                  </a:lnTo>
                  <a:lnTo>
                    <a:pt x="59" y="193"/>
                  </a:lnTo>
                  <a:lnTo>
                    <a:pt x="62" y="194"/>
                  </a:lnTo>
                  <a:lnTo>
                    <a:pt x="66" y="197"/>
                  </a:lnTo>
                  <a:lnTo>
                    <a:pt x="70" y="200"/>
                  </a:lnTo>
                  <a:lnTo>
                    <a:pt x="75" y="204"/>
                  </a:lnTo>
                  <a:lnTo>
                    <a:pt x="80" y="209"/>
                  </a:lnTo>
                  <a:lnTo>
                    <a:pt x="82" y="215"/>
                  </a:lnTo>
                  <a:lnTo>
                    <a:pt x="82" y="222"/>
                  </a:lnTo>
                  <a:lnTo>
                    <a:pt x="86" y="222"/>
                  </a:lnTo>
                  <a:lnTo>
                    <a:pt x="93" y="220"/>
                  </a:lnTo>
                  <a:lnTo>
                    <a:pt x="104" y="217"/>
                  </a:lnTo>
                  <a:lnTo>
                    <a:pt x="118" y="215"/>
                  </a:lnTo>
                  <a:lnTo>
                    <a:pt x="133" y="211"/>
                  </a:lnTo>
                  <a:lnTo>
                    <a:pt x="148" y="206"/>
                  </a:lnTo>
                  <a:lnTo>
                    <a:pt x="162" y="201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7" y="194"/>
                  </a:lnTo>
                  <a:lnTo>
                    <a:pt x="181" y="193"/>
                  </a:lnTo>
                  <a:lnTo>
                    <a:pt x="185" y="193"/>
                  </a:lnTo>
                  <a:lnTo>
                    <a:pt x="191" y="194"/>
                  </a:lnTo>
                  <a:lnTo>
                    <a:pt x="196" y="194"/>
                  </a:lnTo>
                  <a:lnTo>
                    <a:pt x="202" y="197"/>
                  </a:lnTo>
                  <a:lnTo>
                    <a:pt x="206" y="201"/>
                  </a:lnTo>
                  <a:lnTo>
                    <a:pt x="209" y="204"/>
                  </a:lnTo>
                  <a:lnTo>
                    <a:pt x="210" y="205"/>
                  </a:lnTo>
                  <a:lnTo>
                    <a:pt x="212" y="206"/>
                  </a:lnTo>
                  <a:lnTo>
                    <a:pt x="214" y="206"/>
                  </a:lnTo>
                  <a:lnTo>
                    <a:pt x="216" y="205"/>
                  </a:lnTo>
                  <a:lnTo>
                    <a:pt x="217" y="204"/>
                  </a:lnTo>
                  <a:lnTo>
                    <a:pt x="220" y="202"/>
                  </a:lnTo>
                  <a:lnTo>
                    <a:pt x="223" y="201"/>
                  </a:lnTo>
                  <a:lnTo>
                    <a:pt x="224" y="202"/>
                  </a:lnTo>
                  <a:lnTo>
                    <a:pt x="225" y="204"/>
                  </a:lnTo>
                  <a:lnTo>
                    <a:pt x="228" y="205"/>
                  </a:lnTo>
                  <a:lnTo>
                    <a:pt x="231" y="205"/>
                  </a:lnTo>
                  <a:lnTo>
                    <a:pt x="235" y="204"/>
                  </a:lnTo>
                  <a:lnTo>
                    <a:pt x="240" y="201"/>
                  </a:lnTo>
                  <a:lnTo>
                    <a:pt x="247" y="197"/>
                  </a:lnTo>
                  <a:lnTo>
                    <a:pt x="247" y="195"/>
                  </a:lnTo>
                  <a:lnTo>
                    <a:pt x="249" y="194"/>
                  </a:lnTo>
                  <a:lnTo>
                    <a:pt x="250" y="191"/>
                  </a:lnTo>
                  <a:lnTo>
                    <a:pt x="250" y="189"/>
                  </a:lnTo>
                  <a:lnTo>
                    <a:pt x="249" y="186"/>
                  </a:lnTo>
                  <a:lnTo>
                    <a:pt x="247" y="184"/>
                  </a:lnTo>
                  <a:lnTo>
                    <a:pt x="242" y="183"/>
                  </a:lnTo>
                  <a:lnTo>
                    <a:pt x="235" y="183"/>
                  </a:lnTo>
                  <a:lnTo>
                    <a:pt x="234" y="182"/>
                  </a:lnTo>
                  <a:lnTo>
                    <a:pt x="232" y="180"/>
                  </a:lnTo>
                  <a:lnTo>
                    <a:pt x="231" y="179"/>
                  </a:lnTo>
                  <a:lnTo>
                    <a:pt x="229" y="178"/>
                  </a:lnTo>
                  <a:lnTo>
                    <a:pt x="231" y="175"/>
                  </a:lnTo>
                  <a:lnTo>
                    <a:pt x="232" y="173"/>
                  </a:lnTo>
                  <a:lnTo>
                    <a:pt x="238" y="173"/>
                  </a:lnTo>
                  <a:lnTo>
                    <a:pt x="238" y="172"/>
                  </a:lnTo>
                  <a:lnTo>
                    <a:pt x="240" y="172"/>
                  </a:lnTo>
                  <a:lnTo>
                    <a:pt x="245" y="171"/>
                  </a:lnTo>
                  <a:lnTo>
                    <a:pt x="250" y="169"/>
                  </a:lnTo>
                  <a:lnTo>
                    <a:pt x="256" y="168"/>
                  </a:lnTo>
                  <a:lnTo>
                    <a:pt x="260" y="168"/>
                  </a:lnTo>
                  <a:lnTo>
                    <a:pt x="265" y="169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1" y="168"/>
                  </a:lnTo>
                  <a:lnTo>
                    <a:pt x="273" y="167"/>
                  </a:lnTo>
                  <a:lnTo>
                    <a:pt x="275" y="162"/>
                  </a:lnTo>
                  <a:lnTo>
                    <a:pt x="276" y="160"/>
                  </a:lnTo>
                  <a:lnTo>
                    <a:pt x="273" y="156"/>
                  </a:lnTo>
                  <a:lnTo>
                    <a:pt x="269" y="151"/>
                  </a:lnTo>
                  <a:lnTo>
                    <a:pt x="260" y="147"/>
                  </a:lnTo>
                  <a:lnTo>
                    <a:pt x="258" y="146"/>
                  </a:lnTo>
                  <a:lnTo>
                    <a:pt x="256" y="145"/>
                  </a:lnTo>
                  <a:lnTo>
                    <a:pt x="253" y="143"/>
                  </a:lnTo>
                  <a:lnTo>
                    <a:pt x="249" y="142"/>
                  </a:lnTo>
                  <a:lnTo>
                    <a:pt x="245" y="139"/>
                  </a:lnTo>
                  <a:lnTo>
                    <a:pt x="239" y="138"/>
                  </a:lnTo>
                  <a:lnTo>
                    <a:pt x="231" y="136"/>
                  </a:lnTo>
                  <a:lnTo>
                    <a:pt x="223" y="136"/>
                  </a:lnTo>
                  <a:lnTo>
                    <a:pt x="221" y="135"/>
                  </a:lnTo>
                  <a:lnTo>
                    <a:pt x="218" y="132"/>
                  </a:lnTo>
                  <a:lnTo>
                    <a:pt x="216" y="125"/>
                  </a:lnTo>
                  <a:lnTo>
                    <a:pt x="212" y="117"/>
                  </a:lnTo>
                  <a:lnTo>
                    <a:pt x="209" y="106"/>
                  </a:lnTo>
                  <a:lnTo>
                    <a:pt x="206" y="94"/>
                  </a:lnTo>
                  <a:lnTo>
                    <a:pt x="205" y="79"/>
                  </a:lnTo>
                  <a:lnTo>
                    <a:pt x="206" y="62"/>
                  </a:lnTo>
                  <a:lnTo>
                    <a:pt x="205" y="61"/>
                  </a:lnTo>
                  <a:lnTo>
                    <a:pt x="205" y="55"/>
                  </a:lnTo>
                  <a:lnTo>
                    <a:pt x="203" y="48"/>
                  </a:lnTo>
                  <a:lnTo>
                    <a:pt x="201" y="40"/>
                  </a:lnTo>
                  <a:lnTo>
                    <a:pt x="196" y="32"/>
                  </a:lnTo>
                  <a:lnTo>
                    <a:pt x="192" y="26"/>
                  </a:lnTo>
                  <a:lnTo>
                    <a:pt x="190" y="24"/>
                  </a:lnTo>
                  <a:lnTo>
                    <a:pt x="185" y="22"/>
                  </a:lnTo>
                  <a:lnTo>
                    <a:pt x="183" y="22"/>
                  </a:lnTo>
                  <a:lnTo>
                    <a:pt x="179" y="22"/>
                  </a:lnTo>
                  <a:lnTo>
                    <a:pt x="177" y="22"/>
                  </a:lnTo>
                  <a:lnTo>
                    <a:pt x="176" y="25"/>
                  </a:lnTo>
                  <a:lnTo>
                    <a:pt x="173" y="28"/>
                  </a:lnTo>
                  <a:lnTo>
                    <a:pt x="170" y="32"/>
                  </a:lnTo>
                  <a:lnTo>
                    <a:pt x="169" y="36"/>
                  </a:lnTo>
                  <a:lnTo>
                    <a:pt x="166" y="40"/>
                  </a:lnTo>
                  <a:lnTo>
                    <a:pt x="165" y="46"/>
                  </a:lnTo>
                  <a:lnTo>
                    <a:pt x="165" y="50"/>
                  </a:lnTo>
                  <a:lnTo>
                    <a:pt x="150" y="29"/>
                  </a:lnTo>
                  <a:lnTo>
                    <a:pt x="148" y="26"/>
                  </a:lnTo>
                  <a:lnTo>
                    <a:pt x="147" y="25"/>
                  </a:lnTo>
                  <a:lnTo>
                    <a:pt x="144" y="22"/>
                  </a:lnTo>
                  <a:lnTo>
                    <a:pt x="141" y="21"/>
                  </a:lnTo>
                  <a:lnTo>
                    <a:pt x="139" y="21"/>
                  </a:lnTo>
                  <a:lnTo>
                    <a:pt x="136" y="22"/>
                  </a:lnTo>
                  <a:lnTo>
                    <a:pt x="133" y="25"/>
                  </a:lnTo>
                  <a:lnTo>
                    <a:pt x="132" y="29"/>
                  </a:lnTo>
                  <a:lnTo>
                    <a:pt x="129" y="32"/>
                  </a:lnTo>
                  <a:lnTo>
                    <a:pt x="126" y="35"/>
                  </a:lnTo>
                  <a:lnTo>
                    <a:pt x="125" y="37"/>
                  </a:lnTo>
                  <a:lnTo>
                    <a:pt x="122" y="39"/>
                  </a:lnTo>
                  <a:lnTo>
                    <a:pt x="121" y="37"/>
                  </a:lnTo>
                  <a:lnTo>
                    <a:pt x="118" y="36"/>
                  </a:lnTo>
                  <a:lnTo>
                    <a:pt x="117" y="30"/>
                  </a:lnTo>
                  <a:lnTo>
                    <a:pt x="114" y="25"/>
                  </a:lnTo>
                  <a:lnTo>
                    <a:pt x="111" y="19"/>
                  </a:lnTo>
                  <a:lnTo>
                    <a:pt x="107" y="15"/>
                  </a:lnTo>
                  <a:lnTo>
                    <a:pt x="104" y="11"/>
                  </a:lnTo>
                  <a:lnTo>
                    <a:pt x="102" y="8"/>
                  </a:lnTo>
                  <a:lnTo>
                    <a:pt x="99" y="8"/>
                  </a:lnTo>
                  <a:lnTo>
                    <a:pt x="96" y="10"/>
                  </a:lnTo>
                  <a:lnTo>
                    <a:pt x="95" y="14"/>
                  </a:lnTo>
                  <a:lnTo>
                    <a:pt x="95" y="19"/>
                  </a:lnTo>
                  <a:lnTo>
                    <a:pt x="95" y="25"/>
                  </a:lnTo>
                  <a:lnTo>
                    <a:pt x="95" y="30"/>
                  </a:lnTo>
                  <a:lnTo>
                    <a:pt x="93" y="35"/>
                  </a:lnTo>
                  <a:lnTo>
                    <a:pt x="92" y="39"/>
                  </a:lnTo>
                  <a:lnTo>
                    <a:pt x="91" y="41"/>
                  </a:lnTo>
                  <a:lnTo>
                    <a:pt x="88" y="41"/>
                  </a:lnTo>
                  <a:lnTo>
                    <a:pt x="82" y="41"/>
                  </a:lnTo>
                  <a:lnTo>
                    <a:pt x="78" y="39"/>
                  </a:lnTo>
                  <a:lnTo>
                    <a:pt x="75" y="35"/>
                  </a:lnTo>
                  <a:lnTo>
                    <a:pt x="74" y="29"/>
                  </a:lnTo>
                  <a:lnTo>
                    <a:pt x="74" y="24"/>
                  </a:lnTo>
                  <a:lnTo>
                    <a:pt x="74" y="17"/>
                  </a:lnTo>
                  <a:lnTo>
                    <a:pt x="75" y="13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4" y="6"/>
                  </a:lnTo>
                  <a:lnTo>
                    <a:pt x="73" y="3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4"/>
                  </a:lnTo>
                  <a:lnTo>
                    <a:pt x="55" y="7"/>
                  </a:lnTo>
                  <a:lnTo>
                    <a:pt x="48" y="11"/>
                  </a:lnTo>
                  <a:lnTo>
                    <a:pt x="40" y="15"/>
                  </a:lnTo>
                  <a:lnTo>
                    <a:pt x="31" y="19"/>
                  </a:lnTo>
                  <a:lnTo>
                    <a:pt x="23" y="24"/>
                  </a:lnTo>
                  <a:lnTo>
                    <a:pt x="16" y="29"/>
                  </a:lnTo>
                  <a:lnTo>
                    <a:pt x="13" y="33"/>
                  </a:lnTo>
                  <a:lnTo>
                    <a:pt x="11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8" y="46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7"/>
                  </a:lnTo>
                  <a:lnTo>
                    <a:pt x="7" y="61"/>
                  </a:lnTo>
                  <a:lnTo>
                    <a:pt x="5" y="63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7" y="87"/>
                  </a:lnTo>
                  <a:lnTo>
                    <a:pt x="15" y="90"/>
                  </a:lnTo>
                  <a:lnTo>
                    <a:pt x="27" y="9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1" name="Freeform 227"/>
            <p:cNvSpPr>
              <a:spLocks/>
            </p:cNvSpPr>
            <p:nvPr/>
          </p:nvSpPr>
          <p:spPr bwMode="auto">
            <a:xfrm>
              <a:off x="1446" y="627"/>
              <a:ext cx="113" cy="88"/>
            </a:xfrm>
            <a:custGeom>
              <a:avLst/>
              <a:gdLst>
                <a:gd name="T0" fmla="*/ 69 w 139"/>
                <a:gd name="T1" fmla="*/ 26 h 109"/>
                <a:gd name="T2" fmla="*/ 60 w 139"/>
                <a:gd name="T3" fmla="*/ 40 h 109"/>
                <a:gd name="T4" fmla="*/ 44 w 139"/>
                <a:gd name="T5" fmla="*/ 58 h 109"/>
                <a:gd name="T6" fmla="*/ 29 w 139"/>
                <a:gd name="T7" fmla="*/ 74 h 109"/>
                <a:gd name="T8" fmla="*/ 17 w 139"/>
                <a:gd name="T9" fmla="*/ 80 h 109"/>
                <a:gd name="T10" fmla="*/ 6 w 139"/>
                <a:gd name="T11" fmla="*/ 81 h 109"/>
                <a:gd name="T12" fmla="*/ 0 w 139"/>
                <a:gd name="T13" fmla="*/ 84 h 109"/>
                <a:gd name="T14" fmla="*/ 2 w 139"/>
                <a:gd name="T15" fmla="*/ 91 h 109"/>
                <a:gd name="T16" fmla="*/ 9 w 139"/>
                <a:gd name="T17" fmla="*/ 99 h 109"/>
                <a:gd name="T18" fmla="*/ 15 w 139"/>
                <a:gd name="T19" fmla="*/ 103 h 109"/>
                <a:gd name="T20" fmla="*/ 28 w 139"/>
                <a:gd name="T21" fmla="*/ 107 h 109"/>
                <a:gd name="T22" fmla="*/ 42 w 139"/>
                <a:gd name="T23" fmla="*/ 106 h 109"/>
                <a:gd name="T24" fmla="*/ 49 w 139"/>
                <a:gd name="T25" fmla="*/ 102 h 109"/>
                <a:gd name="T26" fmla="*/ 50 w 139"/>
                <a:gd name="T27" fmla="*/ 104 h 109"/>
                <a:gd name="T28" fmla="*/ 54 w 139"/>
                <a:gd name="T29" fmla="*/ 107 h 109"/>
                <a:gd name="T30" fmla="*/ 62 w 139"/>
                <a:gd name="T31" fmla="*/ 107 h 109"/>
                <a:gd name="T32" fmla="*/ 68 w 139"/>
                <a:gd name="T33" fmla="*/ 104 h 109"/>
                <a:gd name="T34" fmla="*/ 73 w 139"/>
                <a:gd name="T35" fmla="*/ 99 h 109"/>
                <a:gd name="T36" fmla="*/ 83 w 139"/>
                <a:gd name="T37" fmla="*/ 88 h 109"/>
                <a:gd name="T38" fmla="*/ 90 w 139"/>
                <a:gd name="T39" fmla="*/ 76 h 109"/>
                <a:gd name="T40" fmla="*/ 93 w 139"/>
                <a:gd name="T41" fmla="*/ 70 h 109"/>
                <a:gd name="T42" fmla="*/ 98 w 139"/>
                <a:gd name="T43" fmla="*/ 74 h 109"/>
                <a:gd name="T44" fmla="*/ 106 w 139"/>
                <a:gd name="T45" fmla="*/ 77 h 109"/>
                <a:gd name="T46" fmla="*/ 116 w 139"/>
                <a:gd name="T47" fmla="*/ 73 h 109"/>
                <a:gd name="T48" fmla="*/ 123 w 139"/>
                <a:gd name="T49" fmla="*/ 67 h 109"/>
                <a:gd name="T50" fmla="*/ 124 w 139"/>
                <a:gd name="T51" fmla="*/ 63 h 109"/>
                <a:gd name="T52" fmla="*/ 127 w 139"/>
                <a:gd name="T53" fmla="*/ 58 h 109"/>
                <a:gd name="T54" fmla="*/ 126 w 139"/>
                <a:gd name="T55" fmla="*/ 52 h 109"/>
                <a:gd name="T56" fmla="*/ 123 w 139"/>
                <a:gd name="T57" fmla="*/ 51 h 109"/>
                <a:gd name="T58" fmla="*/ 126 w 139"/>
                <a:gd name="T59" fmla="*/ 45 h 109"/>
                <a:gd name="T60" fmla="*/ 130 w 139"/>
                <a:gd name="T61" fmla="*/ 40 h 109"/>
                <a:gd name="T62" fmla="*/ 130 w 139"/>
                <a:gd name="T63" fmla="*/ 34 h 109"/>
                <a:gd name="T64" fmla="*/ 128 w 139"/>
                <a:gd name="T65" fmla="*/ 32 h 109"/>
                <a:gd name="T66" fmla="*/ 130 w 139"/>
                <a:gd name="T67" fmla="*/ 27 h 109"/>
                <a:gd name="T68" fmla="*/ 132 w 139"/>
                <a:gd name="T69" fmla="*/ 22 h 109"/>
                <a:gd name="T70" fmla="*/ 137 w 139"/>
                <a:gd name="T71" fmla="*/ 18 h 109"/>
                <a:gd name="T72" fmla="*/ 139 w 139"/>
                <a:gd name="T73" fmla="*/ 16 h 109"/>
                <a:gd name="T74" fmla="*/ 135 w 139"/>
                <a:gd name="T75" fmla="*/ 11 h 109"/>
                <a:gd name="T76" fmla="*/ 127 w 139"/>
                <a:gd name="T77" fmla="*/ 5 h 109"/>
                <a:gd name="T78" fmla="*/ 121 w 139"/>
                <a:gd name="T79" fmla="*/ 1 h 109"/>
                <a:gd name="T80" fmla="*/ 102 w 139"/>
                <a:gd name="T81" fmla="*/ 15 h 109"/>
                <a:gd name="T82" fmla="*/ 99 w 139"/>
                <a:gd name="T83" fmla="*/ 15 h 109"/>
                <a:gd name="T84" fmla="*/ 91 w 139"/>
                <a:gd name="T85" fmla="*/ 15 h 109"/>
                <a:gd name="T86" fmla="*/ 80 w 139"/>
                <a:gd name="T87" fmla="*/ 18 h 109"/>
                <a:gd name="T88" fmla="*/ 71 w 139"/>
                <a:gd name="T89" fmla="*/ 2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9" h="109">
                  <a:moveTo>
                    <a:pt x="71" y="23"/>
                  </a:moveTo>
                  <a:lnTo>
                    <a:pt x="69" y="26"/>
                  </a:lnTo>
                  <a:lnTo>
                    <a:pt x="65" y="32"/>
                  </a:lnTo>
                  <a:lnTo>
                    <a:pt x="60" y="40"/>
                  </a:lnTo>
                  <a:lnTo>
                    <a:pt x="53" y="48"/>
                  </a:lnTo>
                  <a:lnTo>
                    <a:pt x="44" y="58"/>
                  </a:lnTo>
                  <a:lnTo>
                    <a:pt x="36" y="67"/>
                  </a:lnTo>
                  <a:lnTo>
                    <a:pt x="29" y="74"/>
                  </a:lnTo>
                  <a:lnTo>
                    <a:pt x="22" y="78"/>
                  </a:lnTo>
                  <a:lnTo>
                    <a:pt x="17" y="80"/>
                  </a:lnTo>
                  <a:lnTo>
                    <a:pt x="11" y="81"/>
                  </a:lnTo>
                  <a:lnTo>
                    <a:pt x="6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2" y="91"/>
                  </a:lnTo>
                  <a:lnTo>
                    <a:pt x="7" y="98"/>
                  </a:lnTo>
                  <a:lnTo>
                    <a:pt x="9" y="99"/>
                  </a:lnTo>
                  <a:lnTo>
                    <a:pt x="11" y="100"/>
                  </a:lnTo>
                  <a:lnTo>
                    <a:pt x="15" y="103"/>
                  </a:lnTo>
                  <a:lnTo>
                    <a:pt x="21" y="106"/>
                  </a:lnTo>
                  <a:lnTo>
                    <a:pt x="28" y="107"/>
                  </a:lnTo>
                  <a:lnTo>
                    <a:pt x="35" y="109"/>
                  </a:lnTo>
                  <a:lnTo>
                    <a:pt x="42" y="106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50" y="104"/>
                  </a:lnTo>
                  <a:lnTo>
                    <a:pt x="51" y="106"/>
                  </a:lnTo>
                  <a:lnTo>
                    <a:pt x="54" y="107"/>
                  </a:lnTo>
                  <a:lnTo>
                    <a:pt x="58" y="107"/>
                  </a:lnTo>
                  <a:lnTo>
                    <a:pt x="62" y="107"/>
                  </a:lnTo>
                  <a:lnTo>
                    <a:pt x="66" y="106"/>
                  </a:lnTo>
                  <a:lnTo>
                    <a:pt x="68" y="104"/>
                  </a:lnTo>
                  <a:lnTo>
                    <a:pt x="71" y="103"/>
                  </a:lnTo>
                  <a:lnTo>
                    <a:pt x="73" y="99"/>
                  </a:lnTo>
                  <a:lnTo>
                    <a:pt x="79" y="93"/>
                  </a:lnTo>
                  <a:lnTo>
                    <a:pt x="83" y="88"/>
                  </a:lnTo>
                  <a:lnTo>
                    <a:pt x="87" y="82"/>
                  </a:lnTo>
                  <a:lnTo>
                    <a:pt x="90" y="76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5" y="71"/>
                  </a:lnTo>
                  <a:lnTo>
                    <a:pt x="98" y="74"/>
                  </a:lnTo>
                  <a:lnTo>
                    <a:pt x="101" y="76"/>
                  </a:lnTo>
                  <a:lnTo>
                    <a:pt x="106" y="77"/>
                  </a:lnTo>
                  <a:lnTo>
                    <a:pt x="110" y="76"/>
                  </a:lnTo>
                  <a:lnTo>
                    <a:pt x="116" y="73"/>
                  </a:lnTo>
                  <a:lnTo>
                    <a:pt x="121" y="67"/>
                  </a:lnTo>
                  <a:lnTo>
                    <a:pt x="123" y="67"/>
                  </a:lnTo>
                  <a:lnTo>
                    <a:pt x="123" y="65"/>
                  </a:lnTo>
                  <a:lnTo>
                    <a:pt x="124" y="63"/>
                  </a:lnTo>
                  <a:lnTo>
                    <a:pt x="126" y="60"/>
                  </a:lnTo>
                  <a:lnTo>
                    <a:pt x="127" y="58"/>
                  </a:lnTo>
                  <a:lnTo>
                    <a:pt x="127" y="55"/>
                  </a:lnTo>
                  <a:lnTo>
                    <a:pt x="126" y="52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48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30" y="40"/>
                  </a:lnTo>
                  <a:lnTo>
                    <a:pt x="131" y="37"/>
                  </a:lnTo>
                  <a:lnTo>
                    <a:pt x="130" y="3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30" y="27"/>
                  </a:lnTo>
                  <a:lnTo>
                    <a:pt x="131" y="25"/>
                  </a:lnTo>
                  <a:lnTo>
                    <a:pt x="132" y="22"/>
                  </a:lnTo>
                  <a:lnTo>
                    <a:pt x="135" y="19"/>
                  </a:lnTo>
                  <a:lnTo>
                    <a:pt x="137" y="18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8" y="14"/>
                  </a:lnTo>
                  <a:lnTo>
                    <a:pt x="135" y="11"/>
                  </a:lnTo>
                  <a:lnTo>
                    <a:pt x="131" y="8"/>
                  </a:lnTo>
                  <a:lnTo>
                    <a:pt x="127" y="5"/>
                  </a:lnTo>
                  <a:lnTo>
                    <a:pt x="124" y="3"/>
                  </a:lnTo>
                  <a:lnTo>
                    <a:pt x="121" y="1"/>
                  </a:lnTo>
                  <a:lnTo>
                    <a:pt x="120" y="0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99" y="15"/>
                  </a:lnTo>
                  <a:lnTo>
                    <a:pt x="95" y="15"/>
                  </a:lnTo>
                  <a:lnTo>
                    <a:pt x="91" y="15"/>
                  </a:lnTo>
                  <a:lnTo>
                    <a:pt x="86" y="16"/>
                  </a:lnTo>
                  <a:lnTo>
                    <a:pt x="80" y="18"/>
                  </a:lnTo>
                  <a:lnTo>
                    <a:pt x="76" y="21"/>
                  </a:lnTo>
                  <a:lnTo>
                    <a:pt x="71" y="2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2" name="Freeform 228"/>
            <p:cNvSpPr>
              <a:spLocks/>
            </p:cNvSpPr>
            <p:nvPr/>
          </p:nvSpPr>
          <p:spPr bwMode="auto">
            <a:xfrm>
              <a:off x="1446" y="627"/>
              <a:ext cx="113" cy="88"/>
            </a:xfrm>
            <a:custGeom>
              <a:avLst/>
              <a:gdLst>
                <a:gd name="T0" fmla="*/ 69 w 139"/>
                <a:gd name="T1" fmla="*/ 26 h 109"/>
                <a:gd name="T2" fmla="*/ 60 w 139"/>
                <a:gd name="T3" fmla="*/ 40 h 109"/>
                <a:gd name="T4" fmla="*/ 44 w 139"/>
                <a:gd name="T5" fmla="*/ 58 h 109"/>
                <a:gd name="T6" fmla="*/ 29 w 139"/>
                <a:gd name="T7" fmla="*/ 74 h 109"/>
                <a:gd name="T8" fmla="*/ 17 w 139"/>
                <a:gd name="T9" fmla="*/ 80 h 109"/>
                <a:gd name="T10" fmla="*/ 6 w 139"/>
                <a:gd name="T11" fmla="*/ 81 h 109"/>
                <a:gd name="T12" fmla="*/ 0 w 139"/>
                <a:gd name="T13" fmla="*/ 84 h 109"/>
                <a:gd name="T14" fmla="*/ 2 w 139"/>
                <a:gd name="T15" fmla="*/ 91 h 109"/>
                <a:gd name="T16" fmla="*/ 9 w 139"/>
                <a:gd name="T17" fmla="*/ 99 h 109"/>
                <a:gd name="T18" fmla="*/ 15 w 139"/>
                <a:gd name="T19" fmla="*/ 103 h 109"/>
                <a:gd name="T20" fmla="*/ 28 w 139"/>
                <a:gd name="T21" fmla="*/ 107 h 109"/>
                <a:gd name="T22" fmla="*/ 42 w 139"/>
                <a:gd name="T23" fmla="*/ 106 h 109"/>
                <a:gd name="T24" fmla="*/ 49 w 139"/>
                <a:gd name="T25" fmla="*/ 103 h 109"/>
                <a:gd name="T26" fmla="*/ 51 w 139"/>
                <a:gd name="T27" fmla="*/ 106 h 109"/>
                <a:gd name="T28" fmla="*/ 58 w 139"/>
                <a:gd name="T29" fmla="*/ 107 h 109"/>
                <a:gd name="T30" fmla="*/ 66 w 139"/>
                <a:gd name="T31" fmla="*/ 106 h 109"/>
                <a:gd name="T32" fmla="*/ 71 w 139"/>
                <a:gd name="T33" fmla="*/ 103 h 109"/>
                <a:gd name="T34" fmla="*/ 79 w 139"/>
                <a:gd name="T35" fmla="*/ 93 h 109"/>
                <a:gd name="T36" fmla="*/ 87 w 139"/>
                <a:gd name="T37" fmla="*/ 82 h 109"/>
                <a:gd name="T38" fmla="*/ 93 w 139"/>
                <a:gd name="T39" fmla="*/ 70 h 109"/>
                <a:gd name="T40" fmla="*/ 98 w 139"/>
                <a:gd name="T41" fmla="*/ 74 h 109"/>
                <a:gd name="T42" fmla="*/ 106 w 139"/>
                <a:gd name="T43" fmla="*/ 77 h 109"/>
                <a:gd name="T44" fmla="*/ 116 w 139"/>
                <a:gd name="T45" fmla="*/ 73 h 109"/>
                <a:gd name="T46" fmla="*/ 123 w 139"/>
                <a:gd name="T47" fmla="*/ 67 h 109"/>
                <a:gd name="T48" fmla="*/ 124 w 139"/>
                <a:gd name="T49" fmla="*/ 63 h 109"/>
                <a:gd name="T50" fmla="*/ 127 w 139"/>
                <a:gd name="T51" fmla="*/ 58 h 109"/>
                <a:gd name="T52" fmla="*/ 126 w 139"/>
                <a:gd name="T53" fmla="*/ 52 h 109"/>
                <a:gd name="T54" fmla="*/ 123 w 139"/>
                <a:gd name="T55" fmla="*/ 51 h 109"/>
                <a:gd name="T56" fmla="*/ 126 w 139"/>
                <a:gd name="T57" fmla="*/ 45 h 109"/>
                <a:gd name="T58" fmla="*/ 130 w 139"/>
                <a:gd name="T59" fmla="*/ 40 h 109"/>
                <a:gd name="T60" fmla="*/ 130 w 139"/>
                <a:gd name="T61" fmla="*/ 34 h 109"/>
                <a:gd name="T62" fmla="*/ 128 w 139"/>
                <a:gd name="T63" fmla="*/ 29 h 109"/>
                <a:gd name="T64" fmla="*/ 131 w 139"/>
                <a:gd name="T65" fmla="*/ 25 h 109"/>
                <a:gd name="T66" fmla="*/ 135 w 139"/>
                <a:gd name="T67" fmla="*/ 19 h 109"/>
                <a:gd name="T68" fmla="*/ 139 w 139"/>
                <a:gd name="T69" fmla="*/ 16 h 109"/>
                <a:gd name="T70" fmla="*/ 135 w 139"/>
                <a:gd name="T71" fmla="*/ 11 h 109"/>
                <a:gd name="T72" fmla="*/ 127 w 139"/>
                <a:gd name="T73" fmla="*/ 5 h 109"/>
                <a:gd name="T74" fmla="*/ 121 w 139"/>
                <a:gd name="T75" fmla="*/ 1 h 109"/>
                <a:gd name="T76" fmla="*/ 102 w 139"/>
                <a:gd name="T77" fmla="*/ 15 h 109"/>
                <a:gd name="T78" fmla="*/ 95 w 139"/>
                <a:gd name="T79" fmla="*/ 15 h 109"/>
                <a:gd name="T80" fmla="*/ 86 w 139"/>
                <a:gd name="T81" fmla="*/ 16 h 109"/>
                <a:gd name="T82" fmla="*/ 76 w 139"/>
                <a:gd name="T83" fmla="*/ 2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109">
                  <a:moveTo>
                    <a:pt x="71" y="23"/>
                  </a:moveTo>
                  <a:lnTo>
                    <a:pt x="69" y="26"/>
                  </a:lnTo>
                  <a:lnTo>
                    <a:pt x="65" y="32"/>
                  </a:lnTo>
                  <a:lnTo>
                    <a:pt x="60" y="40"/>
                  </a:lnTo>
                  <a:lnTo>
                    <a:pt x="53" y="48"/>
                  </a:lnTo>
                  <a:lnTo>
                    <a:pt x="44" y="58"/>
                  </a:lnTo>
                  <a:lnTo>
                    <a:pt x="36" y="67"/>
                  </a:lnTo>
                  <a:lnTo>
                    <a:pt x="29" y="74"/>
                  </a:lnTo>
                  <a:lnTo>
                    <a:pt x="22" y="78"/>
                  </a:lnTo>
                  <a:lnTo>
                    <a:pt x="17" y="80"/>
                  </a:lnTo>
                  <a:lnTo>
                    <a:pt x="11" y="81"/>
                  </a:lnTo>
                  <a:lnTo>
                    <a:pt x="6" y="81"/>
                  </a:lnTo>
                  <a:lnTo>
                    <a:pt x="2" y="82"/>
                  </a:lnTo>
                  <a:lnTo>
                    <a:pt x="0" y="84"/>
                  </a:lnTo>
                  <a:lnTo>
                    <a:pt x="0" y="87"/>
                  </a:lnTo>
                  <a:lnTo>
                    <a:pt x="2" y="91"/>
                  </a:lnTo>
                  <a:lnTo>
                    <a:pt x="7" y="98"/>
                  </a:lnTo>
                  <a:lnTo>
                    <a:pt x="9" y="99"/>
                  </a:lnTo>
                  <a:lnTo>
                    <a:pt x="11" y="100"/>
                  </a:lnTo>
                  <a:lnTo>
                    <a:pt x="15" y="103"/>
                  </a:lnTo>
                  <a:lnTo>
                    <a:pt x="21" y="106"/>
                  </a:lnTo>
                  <a:lnTo>
                    <a:pt x="28" y="107"/>
                  </a:lnTo>
                  <a:lnTo>
                    <a:pt x="35" y="109"/>
                  </a:lnTo>
                  <a:lnTo>
                    <a:pt x="42" y="106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50" y="104"/>
                  </a:lnTo>
                  <a:lnTo>
                    <a:pt x="51" y="106"/>
                  </a:lnTo>
                  <a:lnTo>
                    <a:pt x="54" y="107"/>
                  </a:lnTo>
                  <a:lnTo>
                    <a:pt x="58" y="107"/>
                  </a:lnTo>
                  <a:lnTo>
                    <a:pt x="62" y="107"/>
                  </a:lnTo>
                  <a:lnTo>
                    <a:pt x="66" y="106"/>
                  </a:lnTo>
                  <a:lnTo>
                    <a:pt x="68" y="104"/>
                  </a:lnTo>
                  <a:lnTo>
                    <a:pt x="71" y="103"/>
                  </a:lnTo>
                  <a:lnTo>
                    <a:pt x="73" y="99"/>
                  </a:lnTo>
                  <a:lnTo>
                    <a:pt x="79" y="93"/>
                  </a:lnTo>
                  <a:lnTo>
                    <a:pt x="83" y="88"/>
                  </a:lnTo>
                  <a:lnTo>
                    <a:pt x="87" y="82"/>
                  </a:lnTo>
                  <a:lnTo>
                    <a:pt x="90" y="76"/>
                  </a:lnTo>
                  <a:lnTo>
                    <a:pt x="93" y="70"/>
                  </a:lnTo>
                  <a:lnTo>
                    <a:pt x="95" y="71"/>
                  </a:lnTo>
                  <a:lnTo>
                    <a:pt x="98" y="74"/>
                  </a:lnTo>
                  <a:lnTo>
                    <a:pt x="101" y="76"/>
                  </a:lnTo>
                  <a:lnTo>
                    <a:pt x="106" y="77"/>
                  </a:lnTo>
                  <a:lnTo>
                    <a:pt x="110" y="76"/>
                  </a:lnTo>
                  <a:lnTo>
                    <a:pt x="116" y="73"/>
                  </a:lnTo>
                  <a:lnTo>
                    <a:pt x="121" y="67"/>
                  </a:lnTo>
                  <a:lnTo>
                    <a:pt x="123" y="67"/>
                  </a:lnTo>
                  <a:lnTo>
                    <a:pt x="123" y="65"/>
                  </a:lnTo>
                  <a:lnTo>
                    <a:pt x="124" y="63"/>
                  </a:lnTo>
                  <a:lnTo>
                    <a:pt x="126" y="60"/>
                  </a:lnTo>
                  <a:lnTo>
                    <a:pt x="127" y="58"/>
                  </a:lnTo>
                  <a:lnTo>
                    <a:pt x="127" y="55"/>
                  </a:lnTo>
                  <a:lnTo>
                    <a:pt x="126" y="52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48"/>
                  </a:lnTo>
                  <a:lnTo>
                    <a:pt x="126" y="45"/>
                  </a:lnTo>
                  <a:lnTo>
                    <a:pt x="128" y="43"/>
                  </a:lnTo>
                  <a:lnTo>
                    <a:pt x="130" y="40"/>
                  </a:lnTo>
                  <a:lnTo>
                    <a:pt x="131" y="37"/>
                  </a:lnTo>
                  <a:lnTo>
                    <a:pt x="130" y="34"/>
                  </a:lnTo>
                  <a:lnTo>
                    <a:pt x="128" y="32"/>
                  </a:lnTo>
                  <a:lnTo>
                    <a:pt x="128" y="29"/>
                  </a:lnTo>
                  <a:lnTo>
                    <a:pt x="130" y="27"/>
                  </a:lnTo>
                  <a:lnTo>
                    <a:pt x="131" y="25"/>
                  </a:lnTo>
                  <a:lnTo>
                    <a:pt x="132" y="22"/>
                  </a:lnTo>
                  <a:lnTo>
                    <a:pt x="135" y="19"/>
                  </a:lnTo>
                  <a:lnTo>
                    <a:pt x="137" y="18"/>
                  </a:lnTo>
                  <a:lnTo>
                    <a:pt x="139" y="16"/>
                  </a:lnTo>
                  <a:lnTo>
                    <a:pt x="138" y="14"/>
                  </a:lnTo>
                  <a:lnTo>
                    <a:pt x="135" y="11"/>
                  </a:lnTo>
                  <a:lnTo>
                    <a:pt x="131" y="8"/>
                  </a:lnTo>
                  <a:lnTo>
                    <a:pt x="127" y="5"/>
                  </a:lnTo>
                  <a:lnTo>
                    <a:pt x="124" y="3"/>
                  </a:lnTo>
                  <a:lnTo>
                    <a:pt x="121" y="1"/>
                  </a:lnTo>
                  <a:lnTo>
                    <a:pt x="120" y="0"/>
                  </a:lnTo>
                  <a:lnTo>
                    <a:pt x="102" y="15"/>
                  </a:lnTo>
                  <a:lnTo>
                    <a:pt x="99" y="15"/>
                  </a:lnTo>
                  <a:lnTo>
                    <a:pt x="95" y="15"/>
                  </a:lnTo>
                  <a:lnTo>
                    <a:pt x="91" y="15"/>
                  </a:lnTo>
                  <a:lnTo>
                    <a:pt x="86" y="16"/>
                  </a:lnTo>
                  <a:lnTo>
                    <a:pt x="80" y="18"/>
                  </a:lnTo>
                  <a:lnTo>
                    <a:pt x="76" y="21"/>
                  </a:lnTo>
                  <a:lnTo>
                    <a:pt x="71" y="2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3" name="Freeform 229"/>
            <p:cNvSpPr>
              <a:spLocks/>
            </p:cNvSpPr>
            <p:nvPr/>
          </p:nvSpPr>
          <p:spPr bwMode="auto">
            <a:xfrm>
              <a:off x="1556" y="589"/>
              <a:ext cx="21" cy="26"/>
            </a:xfrm>
            <a:custGeom>
              <a:avLst/>
              <a:gdLst>
                <a:gd name="T0" fmla="*/ 18 w 26"/>
                <a:gd name="T1" fmla="*/ 3 h 32"/>
                <a:gd name="T2" fmla="*/ 16 w 26"/>
                <a:gd name="T3" fmla="*/ 2 h 32"/>
                <a:gd name="T4" fmla="*/ 14 w 26"/>
                <a:gd name="T5" fmla="*/ 2 h 32"/>
                <a:gd name="T6" fmla="*/ 11 w 26"/>
                <a:gd name="T7" fmla="*/ 0 h 32"/>
                <a:gd name="T8" fmla="*/ 7 w 26"/>
                <a:gd name="T9" fmla="*/ 0 h 32"/>
                <a:gd name="T10" fmla="*/ 4 w 26"/>
                <a:gd name="T11" fmla="*/ 2 h 32"/>
                <a:gd name="T12" fmla="*/ 1 w 26"/>
                <a:gd name="T13" fmla="*/ 6 h 32"/>
                <a:gd name="T14" fmla="*/ 0 w 26"/>
                <a:gd name="T15" fmla="*/ 13 h 32"/>
                <a:gd name="T16" fmla="*/ 1 w 26"/>
                <a:gd name="T17" fmla="*/ 24 h 32"/>
                <a:gd name="T18" fmla="*/ 3 w 26"/>
                <a:gd name="T19" fmla="*/ 25 h 32"/>
                <a:gd name="T20" fmla="*/ 4 w 26"/>
                <a:gd name="T21" fmla="*/ 26 h 32"/>
                <a:gd name="T22" fmla="*/ 8 w 26"/>
                <a:gd name="T23" fmla="*/ 29 h 32"/>
                <a:gd name="T24" fmla="*/ 12 w 26"/>
                <a:gd name="T25" fmla="*/ 30 h 32"/>
                <a:gd name="T26" fmla="*/ 18 w 26"/>
                <a:gd name="T27" fmla="*/ 32 h 32"/>
                <a:gd name="T28" fmla="*/ 22 w 26"/>
                <a:gd name="T29" fmla="*/ 32 h 32"/>
                <a:gd name="T30" fmla="*/ 25 w 26"/>
                <a:gd name="T31" fmla="*/ 29 h 32"/>
                <a:gd name="T32" fmla="*/ 26 w 26"/>
                <a:gd name="T33" fmla="*/ 24 h 32"/>
                <a:gd name="T34" fmla="*/ 26 w 26"/>
                <a:gd name="T35" fmla="*/ 18 h 32"/>
                <a:gd name="T36" fmla="*/ 26 w 26"/>
                <a:gd name="T37" fmla="*/ 13 h 32"/>
                <a:gd name="T38" fmla="*/ 25 w 26"/>
                <a:gd name="T39" fmla="*/ 8 h 32"/>
                <a:gd name="T40" fmla="*/ 23 w 26"/>
                <a:gd name="T41" fmla="*/ 6 h 32"/>
                <a:gd name="T42" fmla="*/ 20 w 26"/>
                <a:gd name="T43" fmla="*/ 4 h 32"/>
                <a:gd name="T44" fmla="*/ 19 w 26"/>
                <a:gd name="T45" fmla="*/ 3 h 32"/>
                <a:gd name="T46" fmla="*/ 18 w 26"/>
                <a:gd name="T47" fmla="*/ 3 h 32"/>
                <a:gd name="T48" fmla="*/ 18 w 26"/>
                <a:gd name="T49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" h="32">
                  <a:moveTo>
                    <a:pt x="18" y="3"/>
                  </a:moveTo>
                  <a:lnTo>
                    <a:pt x="16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1" y="6"/>
                  </a:lnTo>
                  <a:lnTo>
                    <a:pt x="0" y="13"/>
                  </a:lnTo>
                  <a:lnTo>
                    <a:pt x="1" y="24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8" y="32"/>
                  </a:lnTo>
                  <a:lnTo>
                    <a:pt x="22" y="32"/>
                  </a:lnTo>
                  <a:lnTo>
                    <a:pt x="25" y="29"/>
                  </a:lnTo>
                  <a:lnTo>
                    <a:pt x="26" y="24"/>
                  </a:lnTo>
                  <a:lnTo>
                    <a:pt x="26" y="18"/>
                  </a:lnTo>
                  <a:lnTo>
                    <a:pt x="26" y="13"/>
                  </a:lnTo>
                  <a:lnTo>
                    <a:pt x="25" y="8"/>
                  </a:lnTo>
                  <a:lnTo>
                    <a:pt x="23" y="6"/>
                  </a:lnTo>
                  <a:lnTo>
                    <a:pt x="20" y="4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4" name="Freeform 230"/>
            <p:cNvSpPr>
              <a:spLocks/>
            </p:cNvSpPr>
            <p:nvPr/>
          </p:nvSpPr>
          <p:spPr bwMode="auto">
            <a:xfrm>
              <a:off x="1556" y="589"/>
              <a:ext cx="21" cy="26"/>
            </a:xfrm>
            <a:custGeom>
              <a:avLst/>
              <a:gdLst>
                <a:gd name="T0" fmla="*/ 18 w 26"/>
                <a:gd name="T1" fmla="*/ 3 h 32"/>
                <a:gd name="T2" fmla="*/ 16 w 26"/>
                <a:gd name="T3" fmla="*/ 2 h 32"/>
                <a:gd name="T4" fmla="*/ 14 w 26"/>
                <a:gd name="T5" fmla="*/ 2 h 32"/>
                <a:gd name="T6" fmla="*/ 11 w 26"/>
                <a:gd name="T7" fmla="*/ 0 h 32"/>
                <a:gd name="T8" fmla="*/ 7 w 26"/>
                <a:gd name="T9" fmla="*/ 0 h 32"/>
                <a:gd name="T10" fmla="*/ 4 w 26"/>
                <a:gd name="T11" fmla="*/ 2 h 32"/>
                <a:gd name="T12" fmla="*/ 1 w 26"/>
                <a:gd name="T13" fmla="*/ 6 h 32"/>
                <a:gd name="T14" fmla="*/ 0 w 26"/>
                <a:gd name="T15" fmla="*/ 13 h 32"/>
                <a:gd name="T16" fmla="*/ 1 w 26"/>
                <a:gd name="T17" fmla="*/ 24 h 32"/>
                <a:gd name="T18" fmla="*/ 3 w 26"/>
                <a:gd name="T19" fmla="*/ 25 h 32"/>
                <a:gd name="T20" fmla="*/ 4 w 26"/>
                <a:gd name="T21" fmla="*/ 26 h 32"/>
                <a:gd name="T22" fmla="*/ 8 w 26"/>
                <a:gd name="T23" fmla="*/ 29 h 32"/>
                <a:gd name="T24" fmla="*/ 12 w 26"/>
                <a:gd name="T25" fmla="*/ 30 h 32"/>
                <a:gd name="T26" fmla="*/ 18 w 26"/>
                <a:gd name="T27" fmla="*/ 32 h 32"/>
                <a:gd name="T28" fmla="*/ 22 w 26"/>
                <a:gd name="T29" fmla="*/ 32 h 32"/>
                <a:gd name="T30" fmla="*/ 25 w 26"/>
                <a:gd name="T31" fmla="*/ 29 h 32"/>
                <a:gd name="T32" fmla="*/ 26 w 26"/>
                <a:gd name="T33" fmla="*/ 24 h 32"/>
                <a:gd name="T34" fmla="*/ 26 w 26"/>
                <a:gd name="T35" fmla="*/ 18 h 32"/>
                <a:gd name="T36" fmla="*/ 26 w 26"/>
                <a:gd name="T37" fmla="*/ 13 h 32"/>
                <a:gd name="T38" fmla="*/ 25 w 26"/>
                <a:gd name="T39" fmla="*/ 8 h 32"/>
                <a:gd name="T40" fmla="*/ 23 w 26"/>
                <a:gd name="T41" fmla="*/ 6 h 32"/>
                <a:gd name="T42" fmla="*/ 20 w 26"/>
                <a:gd name="T43" fmla="*/ 4 h 32"/>
                <a:gd name="T44" fmla="*/ 19 w 26"/>
                <a:gd name="T45" fmla="*/ 3 h 32"/>
                <a:gd name="T46" fmla="*/ 18 w 26"/>
                <a:gd name="T4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32">
                  <a:moveTo>
                    <a:pt x="18" y="3"/>
                  </a:moveTo>
                  <a:lnTo>
                    <a:pt x="16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1" y="6"/>
                  </a:lnTo>
                  <a:lnTo>
                    <a:pt x="0" y="13"/>
                  </a:lnTo>
                  <a:lnTo>
                    <a:pt x="1" y="24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8" y="32"/>
                  </a:lnTo>
                  <a:lnTo>
                    <a:pt x="22" y="32"/>
                  </a:lnTo>
                  <a:lnTo>
                    <a:pt x="25" y="29"/>
                  </a:lnTo>
                  <a:lnTo>
                    <a:pt x="26" y="24"/>
                  </a:lnTo>
                  <a:lnTo>
                    <a:pt x="26" y="18"/>
                  </a:lnTo>
                  <a:lnTo>
                    <a:pt x="26" y="13"/>
                  </a:lnTo>
                  <a:lnTo>
                    <a:pt x="25" y="8"/>
                  </a:lnTo>
                  <a:lnTo>
                    <a:pt x="23" y="6"/>
                  </a:lnTo>
                  <a:lnTo>
                    <a:pt x="20" y="4"/>
                  </a:lnTo>
                  <a:lnTo>
                    <a:pt x="19" y="3"/>
                  </a:lnTo>
                  <a:lnTo>
                    <a:pt x="18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5" name="Freeform 231"/>
            <p:cNvSpPr>
              <a:spLocks/>
            </p:cNvSpPr>
            <p:nvPr/>
          </p:nvSpPr>
          <p:spPr bwMode="auto">
            <a:xfrm>
              <a:off x="1579" y="553"/>
              <a:ext cx="65" cy="39"/>
            </a:xfrm>
            <a:custGeom>
              <a:avLst/>
              <a:gdLst>
                <a:gd name="T0" fmla="*/ 15 w 80"/>
                <a:gd name="T1" fmla="*/ 14 h 49"/>
                <a:gd name="T2" fmla="*/ 14 w 80"/>
                <a:gd name="T3" fmla="*/ 14 h 49"/>
                <a:gd name="T4" fmla="*/ 10 w 80"/>
                <a:gd name="T5" fmla="*/ 16 h 49"/>
                <a:gd name="T6" fmla="*/ 7 w 80"/>
                <a:gd name="T7" fmla="*/ 19 h 49"/>
                <a:gd name="T8" fmla="*/ 3 w 80"/>
                <a:gd name="T9" fmla="*/ 23 h 49"/>
                <a:gd name="T10" fmla="*/ 0 w 80"/>
                <a:gd name="T11" fmla="*/ 29 h 49"/>
                <a:gd name="T12" fmla="*/ 0 w 80"/>
                <a:gd name="T13" fmla="*/ 33 h 49"/>
                <a:gd name="T14" fmla="*/ 1 w 80"/>
                <a:gd name="T15" fmla="*/ 36 h 49"/>
                <a:gd name="T16" fmla="*/ 4 w 80"/>
                <a:gd name="T17" fmla="*/ 38 h 49"/>
                <a:gd name="T18" fmla="*/ 8 w 80"/>
                <a:gd name="T19" fmla="*/ 41 h 49"/>
                <a:gd name="T20" fmla="*/ 12 w 80"/>
                <a:gd name="T21" fmla="*/ 44 h 49"/>
                <a:gd name="T22" fmla="*/ 14 w 80"/>
                <a:gd name="T23" fmla="*/ 42 h 49"/>
                <a:gd name="T24" fmla="*/ 15 w 80"/>
                <a:gd name="T25" fmla="*/ 41 h 49"/>
                <a:gd name="T26" fmla="*/ 18 w 80"/>
                <a:gd name="T27" fmla="*/ 38 h 49"/>
                <a:gd name="T28" fmla="*/ 21 w 80"/>
                <a:gd name="T29" fmla="*/ 34 h 49"/>
                <a:gd name="T30" fmla="*/ 23 w 80"/>
                <a:gd name="T31" fmla="*/ 33 h 49"/>
                <a:gd name="T32" fmla="*/ 28 w 80"/>
                <a:gd name="T33" fmla="*/ 31 h 49"/>
                <a:gd name="T34" fmla="*/ 32 w 80"/>
                <a:gd name="T35" fmla="*/ 33 h 49"/>
                <a:gd name="T36" fmla="*/ 36 w 80"/>
                <a:gd name="T37" fmla="*/ 37 h 49"/>
                <a:gd name="T38" fmla="*/ 37 w 80"/>
                <a:gd name="T39" fmla="*/ 38 h 49"/>
                <a:gd name="T40" fmla="*/ 39 w 80"/>
                <a:gd name="T41" fmla="*/ 41 h 49"/>
                <a:gd name="T42" fmla="*/ 41 w 80"/>
                <a:gd name="T43" fmla="*/ 44 h 49"/>
                <a:gd name="T44" fmla="*/ 47 w 80"/>
                <a:gd name="T45" fmla="*/ 48 h 49"/>
                <a:gd name="T46" fmla="*/ 52 w 80"/>
                <a:gd name="T47" fmla="*/ 49 h 49"/>
                <a:gd name="T48" fmla="*/ 58 w 80"/>
                <a:gd name="T49" fmla="*/ 49 h 49"/>
                <a:gd name="T50" fmla="*/ 62 w 80"/>
                <a:gd name="T51" fmla="*/ 48 h 49"/>
                <a:gd name="T52" fmla="*/ 66 w 80"/>
                <a:gd name="T53" fmla="*/ 47 h 49"/>
                <a:gd name="T54" fmla="*/ 70 w 80"/>
                <a:gd name="T55" fmla="*/ 42 h 49"/>
                <a:gd name="T56" fmla="*/ 74 w 80"/>
                <a:gd name="T57" fmla="*/ 38 h 49"/>
                <a:gd name="T58" fmla="*/ 74 w 80"/>
                <a:gd name="T59" fmla="*/ 38 h 49"/>
                <a:gd name="T60" fmla="*/ 77 w 80"/>
                <a:gd name="T61" fmla="*/ 37 h 49"/>
                <a:gd name="T62" fmla="*/ 78 w 80"/>
                <a:gd name="T63" fmla="*/ 34 h 49"/>
                <a:gd name="T64" fmla="*/ 80 w 80"/>
                <a:gd name="T65" fmla="*/ 30 h 49"/>
                <a:gd name="T66" fmla="*/ 80 w 80"/>
                <a:gd name="T67" fmla="*/ 27 h 49"/>
                <a:gd name="T68" fmla="*/ 78 w 80"/>
                <a:gd name="T69" fmla="*/ 23 h 49"/>
                <a:gd name="T70" fmla="*/ 76 w 80"/>
                <a:gd name="T71" fmla="*/ 19 h 49"/>
                <a:gd name="T72" fmla="*/ 69 w 80"/>
                <a:gd name="T73" fmla="*/ 15 h 49"/>
                <a:gd name="T74" fmla="*/ 47 w 80"/>
                <a:gd name="T75" fmla="*/ 3 h 49"/>
                <a:gd name="T76" fmla="*/ 47 w 80"/>
                <a:gd name="T77" fmla="*/ 3 h 49"/>
                <a:gd name="T78" fmla="*/ 44 w 80"/>
                <a:gd name="T79" fmla="*/ 1 h 49"/>
                <a:gd name="T80" fmla="*/ 41 w 80"/>
                <a:gd name="T81" fmla="*/ 1 h 49"/>
                <a:gd name="T82" fmla="*/ 36 w 80"/>
                <a:gd name="T83" fmla="*/ 0 h 49"/>
                <a:gd name="T84" fmla="*/ 32 w 80"/>
                <a:gd name="T85" fmla="*/ 1 h 49"/>
                <a:gd name="T86" fmla="*/ 26 w 80"/>
                <a:gd name="T87" fmla="*/ 3 h 49"/>
                <a:gd name="T88" fmla="*/ 21 w 80"/>
                <a:gd name="T89" fmla="*/ 7 h 49"/>
                <a:gd name="T90" fmla="*/ 15 w 80"/>
                <a:gd name="T91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0" h="49">
                  <a:moveTo>
                    <a:pt x="15" y="14"/>
                  </a:moveTo>
                  <a:lnTo>
                    <a:pt x="14" y="14"/>
                  </a:lnTo>
                  <a:lnTo>
                    <a:pt x="10" y="16"/>
                  </a:lnTo>
                  <a:lnTo>
                    <a:pt x="7" y="19"/>
                  </a:lnTo>
                  <a:lnTo>
                    <a:pt x="3" y="23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1" y="36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8" y="38"/>
                  </a:lnTo>
                  <a:lnTo>
                    <a:pt x="21" y="34"/>
                  </a:lnTo>
                  <a:lnTo>
                    <a:pt x="23" y="33"/>
                  </a:lnTo>
                  <a:lnTo>
                    <a:pt x="28" y="31"/>
                  </a:lnTo>
                  <a:lnTo>
                    <a:pt x="32" y="33"/>
                  </a:lnTo>
                  <a:lnTo>
                    <a:pt x="36" y="37"/>
                  </a:lnTo>
                  <a:lnTo>
                    <a:pt x="37" y="38"/>
                  </a:lnTo>
                  <a:lnTo>
                    <a:pt x="39" y="41"/>
                  </a:lnTo>
                  <a:lnTo>
                    <a:pt x="41" y="44"/>
                  </a:lnTo>
                  <a:lnTo>
                    <a:pt x="47" y="48"/>
                  </a:lnTo>
                  <a:lnTo>
                    <a:pt x="52" y="49"/>
                  </a:lnTo>
                  <a:lnTo>
                    <a:pt x="58" y="49"/>
                  </a:lnTo>
                  <a:lnTo>
                    <a:pt x="62" y="48"/>
                  </a:lnTo>
                  <a:lnTo>
                    <a:pt x="66" y="47"/>
                  </a:lnTo>
                  <a:lnTo>
                    <a:pt x="70" y="42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7" y="37"/>
                  </a:lnTo>
                  <a:lnTo>
                    <a:pt x="78" y="34"/>
                  </a:lnTo>
                  <a:lnTo>
                    <a:pt x="80" y="30"/>
                  </a:lnTo>
                  <a:lnTo>
                    <a:pt x="80" y="27"/>
                  </a:lnTo>
                  <a:lnTo>
                    <a:pt x="78" y="23"/>
                  </a:lnTo>
                  <a:lnTo>
                    <a:pt x="76" y="19"/>
                  </a:lnTo>
                  <a:lnTo>
                    <a:pt x="69" y="15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15" y="1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6" name="Freeform 232"/>
            <p:cNvSpPr>
              <a:spLocks/>
            </p:cNvSpPr>
            <p:nvPr/>
          </p:nvSpPr>
          <p:spPr bwMode="auto">
            <a:xfrm>
              <a:off x="1579" y="553"/>
              <a:ext cx="65" cy="39"/>
            </a:xfrm>
            <a:custGeom>
              <a:avLst/>
              <a:gdLst>
                <a:gd name="T0" fmla="*/ 15 w 80"/>
                <a:gd name="T1" fmla="*/ 14 h 49"/>
                <a:gd name="T2" fmla="*/ 14 w 80"/>
                <a:gd name="T3" fmla="*/ 14 h 49"/>
                <a:gd name="T4" fmla="*/ 10 w 80"/>
                <a:gd name="T5" fmla="*/ 16 h 49"/>
                <a:gd name="T6" fmla="*/ 7 w 80"/>
                <a:gd name="T7" fmla="*/ 19 h 49"/>
                <a:gd name="T8" fmla="*/ 3 w 80"/>
                <a:gd name="T9" fmla="*/ 23 h 49"/>
                <a:gd name="T10" fmla="*/ 0 w 80"/>
                <a:gd name="T11" fmla="*/ 29 h 49"/>
                <a:gd name="T12" fmla="*/ 0 w 80"/>
                <a:gd name="T13" fmla="*/ 33 h 49"/>
                <a:gd name="T14" fmla="*/ 1 w 80"/>
                <a:gd name="T15" fmla="*/ 36 h 49"/>
                <a:gd name="T16" fmla="*/ 4 w 80"/>
                <a:gd name="T17" fmla="*/ 38 h 49"/>
                <a:gd name="T18" fmla="*/ 8 w 80"/>
                <a:gd name="T19" fmla="*/ 41 h 49"/>
                <a:gd name="T20" fmla="*/ 12 w 80"/>
                <a:gd name="T21" fmla="*/ 44 h 49"/>
                <a:gd name="T22" fmla="*/ 14 w 80"/>
                <a:gd name="T23" fmla="*/ 42 h 49"/>
                <a:gd name="T24" fmla="*/ 15 w 80"/>
                <a:gd name="T25" fmla="*/ 41 h 49"/>
                <a:gd name="T26" fmla="*/ 18 w 80"/>
                <a:gd name="T27" fmla="*/ 38 h 49"/>
                <a:gd name="T28" fmla="*/ 21 w 80"/>
                <a:gd name="T29" fmla="*/ 34 h 49"/>
                <a:gd name="T30" fmla="*/ 23 w 80"/>
                <a:gd name="T31" fmla="*/ 33 h 49"/>
                <a:gd name="T32" fmla="*/ 28 w 80"/>
                <a:gd name="T33" fmla="*/ 31 h 49"/>
                <a:gd name="T34" fmla="*/ 32 w 80"/>
                <a:gd name="T35" fmla="*/ 33 h 49"/>
                <a:gd name="T36" fmla="*/ 36 w 80"/>
                <a:gd name="T37" fmla="*/ 37 h 49"/>
                <a:gd name="T38" fmla="*/ 37 w 80"/>
                <a:gd name="T39" fmla="*/ 38 h 49"/>
                <a:gd name="T40" fmla="*/ 39 w 80"/>
                <a:gd name="T41" fmla="*/ 41 h 49"/>
                <a:gd name="T42" fmla="*/ 41 w 80"/>
                <a:gd name="T43" fmla="*/ 44 h 49"/>
                <a:gd name="T44" fmla="*/ 47 w 80"/>
                <a:gd name="T45" fmla="*/ 48 h 49"/>
                <a:gd name="T46" fmla="*/ 52 w 80"/>
                <a:gd name="T47" fmla="*/ 49 h 49"/>
                <a:gd name="T48" fmla="*/ 58 w 80"/>
                <a:gd name="T49" fmla="*/ 49 h 49"/>
                <a:gd name="T50" fmla="*/ 62 w 80"/>
                <a:gd name="T51" fmla="*/ 48 h 49"/>
                <a:gd name="T52" fmla="*/ 66 w 80"/>
                <a:gd name="T53" fmla="*/ 47 h 49"/>
                <a:gd name="T54" fmla="*/ 70 w 80"/>
                <a:gd name="T55" fmla="*/ 42 h 49"/>
                <a:gd name="T56" fmla="*/ 74 w 80"/>
                <a:gd name="T57" fmla="*/ 38 h 49"/>
                <a:gd name="T58" fmla="*/ 77 w 80"/>
                <a:gd name="T59" fmla="*/ 37 h 49"/>
                <a:gd name="T60" fmla="*/ 78 w 80"/>
                <a:gd name="T61" fmla="*/ 34 h 49"/>
                <a:gd name="T62" fmla="*/ 80 w 80"/>
                <a:gd name="T63" fmla="*/ 30 h 49"/>
                <a:gd name="T64" fmla="*/ 80 w 80"/>
                <a:gd name="T65" fmla="*/ 27 h 49"/>
                <a:gd name="T66" fmla="*/ 78 w 80"/>
                <a:gd name="T67" fmla="*/ 23 h 49"/>
                <a:gd name="T68" fmla="*/ 76 w 80"/>
                <a:gd name="T69" fmla="*/ 19 h 49"/>
                <a:gd name="T70" fmla="*/ 69 w 80"/>
                <a:gd name="T71" fmla="*/ 15 h 49"/>
                <a:gd name="T72" fmla="*/ 47 w 80"/>
                <a:gd name="T73" fmla="*/ 3 h 49"/>
                <a:gd name="T74" fmla="*/ 44 w 80"/>
                <a:gd name="T75" fmla="*/ 1 h 49"/>
                <a:gd name="T76" fmla="*/ 41 w 80"/>
                <a:gd name="T77" fmla="*/ 1 h 49"/>
                <a:gd name="T78" fmla="*/ 36 w 80"/>
                <a:gd name="T79" fmla="*/ 0 h 49"/>
                <a:gd name="T80" fmla="*/ 32 w 80"/>
                <a:gd name="T81" fmla="*/ 1 h 49"/>
                <a:gd name="T82" fmla="*/ 26 w 80"/>
                <a:gd name="T83" fmla="*/ 3 h 49"/>
                <a:gd name="T84" fmla="*/ 21 w 80"/>
                <a:gd name="T85" fmla="*/ 7 h 49"/>
                <a:gd name="T86" fmla="*/ 15 w 80"/>
                <a:gd name="T87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0" h="49">
                  <a:moveTo>
                    <a:pt x="15" y="14"/>
                  </a:moveTo>
                  <a:lnTo>
                    <a:pt x="14" y="14"/>
                  </a:lnTo>
                  <a:lnTo>
                    <a:pt x="10" y="16"/>
                  </a:lnTo>
                  <a:lnTo>
                    <a:pt x="7" y="19"/>
                  </a:lnTo>
                  <a:lnTo>
                    <a:pt x="3" y="23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1" y="36"/>
                  </a:lnTo>
                  <a:lnTo>
                    <a:pt x="4" y="38"/>
                  </a:lnTo>
                  <a:lnTo>
                    <a:pt x="8" y="41"/>
                  </a:lnTo>
                  <a:lnTo>
                    <a:pt x="12" y="44"/>
                  </a:lnTo>
                  <a:lnTo>
                    <a:pt x="14" y="42"/>
                  </a:lnTo>
                  <a:lnTo>
                    <a:pt x="15" y="41"/>
                  </a:lnTo>
                  <a:lnTo>
                    <a:pt x="18" y="38"/>
                  </a:lnTo>
                  <a:lnTo>
                    <a:pt x="21" y="34"/>
                  </a:lnTo>
                  <a:lnTo>
                    <a:pt x="23" y="33"/>
                  </a:lnTo>
                  <a:lnTo>
                    <a:pt x="28" y="31"/>
                  </a:lnTo>
                  <a:lnTo>
                    <a:pt x="32" y="33"/>
                  </a:lnTo>
                  <a:lnTo>
                    <a:pt x="36" y="37"/>
                  </a:lnTo>
                  <a:lnTo>
                    <a:pt x="37" y="38"/>
                  </a:lnTo>
                  <a:lnTo>
                    <a:pt x="39" y="41"/>
                  </a:lnTo>
                  <a:lnTo>
                    <a:pt x="41" y="44"/>
                  </a:lnTo>
                  <a:lnTo>
                    <a:pt x="47" y="48"/>
                  </a:lnTo>
                  <a:lnTo>
                    <a:pt x="52" y="49"/>
                  </a:lnTo>
                  <a:lnTo>
                    <a:pt x="58" y="49"/>
                  </a:lnTo>
                  <a:lnTo>
                    <a:pt x="62" y="48"/>
                  </a:lnTo>
                  <a:lnTo>
                    <a:pt x="66" y="47"/>
                  </a:lnTo>
                  <a:lnTo>
                    <a:pt x="70" y="42"/>
                  </a:lnTo>
                  <a:lnTo>
                    <a:pt x="74" y="38"/>
                  </a:lnTo>
                  <a:lnTo>
                    <a:pt x="77" y="37"/>
                  </a:lnTo>
                  <a:lnTo>
                    <a:pt x="78" y="34"/>
                  </a:lnTo>
                  <a:lnTo>
                    <a:pt x="80" y="30"/>
                  </a:lnTo>
                  <a:lnTo>
                    <a:pt x="80" y="27"/>
                  </a:lnTo>
                  <a:lnTo>
                    <a:pt x="78" y="23"/>
                  </a:lnTo>
                  <a:lnTo>
                    <a:pt x="76" y="19"/>
                  </a:lnTo>
                  <a:lnTo>
                    <a:pt x="69" y="15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15" y="1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7" name="Freeform 233"/>
            <p:cNvSpPr>
              <a:spLocks/>
            </p:cNvSpPr>
            <p:nvPr/>
          </p:nvSpPr>
          <p:spPr bwMode="auto">
            <a:xfrm>
              <a:off x="1579" y="605"/>
              <a:ext cx="57" cy="33"/>
            </a:xfrm>
            <a:custGeom>
              <a:avLst/>
              <a:gdLst>
                <a:gd name="T0" fmla="*/ 16 w 70"/>
                <a:gd name="T1" fmla="*/ 0 h 42"/>
                <a:gd name="T2" fmla="*/ 15 w 70"/>
                <a:gd name="T3" fmla="*/ 2 h 42"/>
                <a:gd name="T4" fmla="*/ 11 w 70"/>
                <a:gd name="T5" fmla="*/ 5 h 42"/>
                <a:gd name="T6" fmla="*/ 7 w 70"/>
                <a:gd name="T7" fmla="*/ 9 h 42"/>
                <a:gd name="T8" fmla="*/ 2 w 70"/>
                <a:gd name="T9" fmla="*/ 14 h 42"/>
                <a:gd name="T10" fmla="*/ 0 w 70"/>
                <a:gd name="T11" fmla="*/ 20 h 42"/>
                <a:gd name="T12" fmla="*/ 0 w 70"/>
                <a:gd name="T13" fmla="*/ 27 h 42"/>
                <a:gd name="T14" fmla="*/ 1 w 70"/>
                <a:gd name="T15" fmla="*/ 31 h 42"/>
                <a:gd name="T16" fmla="*/ 2 w 70"/>
                <a:gd name="T17" fmla="*/ 33 h 42"/>
                <a:gd name="T18" fmla="*/ 5 w 70"/>
                <a:gd name="T19" fmla="*/ 38 h 42"/>
                <a:gd name="T20" fmla="*/ 9 w 70"/>
                <a:gd name="T21" fmla="*/ 40 h 42"/>
                <a:gd name="T22" fmla="*/ 11 w 70"/>
                <a:gd name="T23" fmla="*/ 40 h 42"/>
                <a:gd name="T24" fmla="*/ 12 w 70"/>
                <a:gd name="T25" fmla="*/ 42 h 42"/>
                <a:gd name="T26" fmla="*/ 15 w 70"/>
                <a:gd name="T27" fmla="*/ 42 h 42"/>
                <a:gd name="T28" fmla="*/ 18 w 70"/>
                <a:gd name="T29" fmla="*/ 42 h 42"/>
                <a:gd name="T30" fmla="*/ 23 w 70"/>
                <a:gd name="T31" fmla="*/ 42 h 42"/>
                <a:gd name="T32" fmla="*/ 27 w 70"/>
                <a:gd name="T33" fmla="*/ 42 h 42"/>
                <a:gd name="T34" fmla="*/ 33 w 70"/>
                <a:gd name="T35" fmla="*/ 40 h 42"/>
                <a:gd name="T36" fmla="*/ 40 w 70"/>
                <a:gd name="T37" fmla="*/ 39 h 42"/>
                <a:gd name="T38" fmla="*/ 42 w 70"/>
                <a:gd name="T39" fmla="*/ 38 h 42"/>
                <a:gd name="T40" fmla="*/ 45 w 70"/>
                <a:gd name="T41" fmla="*/ 35 h 42"/>
                <a:gd name="T42" fmla="*/ 48 w 70"/>
                <a:gd name="T43" fmla="*/ 32 h 42"/>
                <a:gd name="T44" fmla="*/ 51 w 70"/>
                <a:gd name="T45" fmla="*/ 28 h 42"/>
                <a:gd name="T46" fmla="*/ 55 w 70"/>
                <a:gd name="T47" fmla="*/ 25 h 42"/>
                <a:gd name="T48" fmla="*/ 57 w 70"/>
                <a:gd name="T49" fmla="*/ 22 h 42"/>
                <a:gd name="T50" fmla="*/ 60 w 70"/>
                <a:gd name="T51" fmla="*/ 21 h 42"/>
                <a:gd name="T52" fmla="*/ 63 w 70"/>
                <a:gd name="T53" fmla="*/ 21 h 42"/>
                <a:gd name="T54" fmla="*/ 64 w 70"/>
                <a:gd name="T55" fmla="*/ 21 h 42"/>
                <a:gd name="T56" fmla="*/ 67 w 70"/>
                <a:gd name="T57" fmla="*/ 20 h 42"/>
                <a:gd name="T58" fmla="*/ 68 w 70"/>
                <a:gd name="T59" fmla="*/ 18 h 42"/>
                <a:gd name="T60" fmla="*/ 70 w 70"/>
                <a:gd name="T61" fmla="*/ 16 h 42"/>
                <a:gd name="T62" fmla="*/ 70 w 70"/>
                <a:gd name="T63" fmla="*/ 13 h 42"/>
                <a:gd name="T64" fmla="*/ 68 w 70"/>
                <a:gd name="T65" fmla="*/ 10 h 42"/>
                <a:gd name="T66" fmla="*/ 64 w 70"/>
                <a:gd name="T67" fmla="*/ 7 h 42"/>
                <a:gd name="T68" fmla="*/ 59 w 70"/>
                <a:gd name="T69" fmla="*/ 5 h 42"/>
                <a:gd name="T70" fmla="*/ 51 w 70"/>
                <a:gd name="T71" fmla="*/ 3 h 42"/>
                <a:gd name="T72" fmla="*/ 44 w 70"/>
                <a:gd name="T73" fmla="*/ 2 h 42"/>
                <a:gd name="T74" fmla="*/ 37 w 70"/>
                <a:gd name="T75" fmla="*/ 2 h 42"/>
                <a:gd name="T76" fmla="*/ 30 w 70"/>
                <a:gd name="T77" fmla="*/ 0 h 42"/>
                <a:gd name="T78" fmla="*/ 24 w 70"/>
                <a:gd name="T79" fmla="*/ 0 h 42"/>
                <a:gd name="T80" fmla="*/ 20 w 70"/>
                <a:gd name="T81" fmla="*/ 0 h 42"/>
                <a:gd name="T82" fmla="*/ 16 w 70"/>
                <a:gd name="T83" fmla="*/ 0 h 42"/>
                <a:gd name="T84" fmla="*/ 16 w 70"/>
                <a:gd name="T8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0" h="42">
                  <a:moveTo>
                    <a:pt x="16" y="0"/>
                  </a:moveTo>
                  <a:lnTo>
                    <a:pt x="15" y="2"/>
                  </a:lnTo>
                  <a:lnTo>
                    <a:pt x="11" y="5"/>
                  </a:lnTo>
                  <a:lnTo>
                    <a:pt x="7" y="9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7"/>
                  </a:lnTo>
                  <a:lnTo>
                    <a:pt x="1" y="31"/>
                  </a:lnTo>
                  <a:lnTo>
                    <a:pt x="2" y="33"/>
                  </a:lnTo>
                  <a:lnTo>
                    <a:pt x="5" y="38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3" y="42"/>
                  </a:lnTo>
                  <a:lnTo>
                    <a:pt x="27" y="42"/>
                  </a:lnTo>
                  <a:lnTo>
                    <a:pt x="33" y="40"/>
                  </a:lnTo>
                  <a:lnTo>
                    <a:pt x="40" y="39"/>
                  </a:lnTo>
                  <a:lnTo>
                    <a:pt x="42" y="38"/>
                  </a:lnTo>
                  <a:lnTo>
                    <a:pt x="45" y="35"/>
                  </a:lnTo>
                  <a:lnTo>
                    <a:pt x="48" y="32"/>
                  </a:lnTo>
                  <a:lnTo>
                    <a:pt x="51" y="28"/>
                  </a:lnTo>
                  <a:lnTo>
                    <a:pt x="55" y="25"/>
                  </a:lnTo>
                  <a:lnTo>
                    <a:pt x="57" y="22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7" y="20"/>
                  </a:lnTo>
                  <a:lnTo>
                    <a:pt x="68" y="18"/>
                  </a:lnTo>
                  <a:lnTo>
                    <a:pt x="70" y="16"/>
                  </a:lnTo>
                  <a:lnTo>
                    <a:pt x="70" y="13"/>
                  </a:lnTo>
                  <a:lnTo>
                    <a:pt x="68" y="10"/>
                  </a:lnTo>
                  <a:lnTo>
                    <a:pt x="64" y="7"/>
                  </a:lnTo>
                  <a:lnTo>
                    <a:pt x="59" y="5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8" name="Freeform 234"/>
            <p:cNvSpPr>
              <a:spLocks/>
            </p:cNvSpPr>
            <p:nvPr/>
          </p:nvSpPr>
          <p:spPr bwMode="auto">
            <a:xfrm>
              <a:off x="1579" y="605"/>
              <a:ext cx="57" cy="33"/>
            </a:xfrm>
            <a:custGeom>
              <a:avLst/>
              <a:gdLst>
                <a:gd name="T0" fmla="*/ 16 w 70"/>
                <a:gd name="T1" fmla="*/ 0 h 42"/>
                <a:gd name="T2" fmla="*/ 15 w 70"/>
                <a:gd name="T3" fmla="*/ 2 h 42"/>
                <a:gd name="T4" fmla="*/ 11 w 70"/>
                <a:gd name="T5" fmla="*/ 5 h 42"/>
                <a:gd name="T6" fmla="*/ 7 w 70"/>
                <a:gd name="T7" fmla="*/ 9 h 42"/>
                <a:gd name="T8" fmla="*/ 2 w 70"/>
                <a:gd name="T9" fmla="*/ 14 h 42"/>
                <a:gd name="T10" fmla="*/ 0 w 70"/>
                <a:gd name="T11" fmla="*/ 20 h 42"/>
                <a:gd name="T12" fmla="*/ 0 w 70"/>
                <a:gd name="T13" fmla="*/ 27 h 42"/>
                <a:gd name="T14" fmla="*/ 1 w 70"/>
                <a:gd name="T15" fmla="*/ 31 h 42"/>
                <a:gd name="T16" fmla="*/ 2 w 70"/>
                <a:gd name="T17" fmla="*/ 33 h 42"/>
                <a:gd name="T18" fmla="*/ 5 w 70"/>
                <a:gd name="T19" fmla="*/ 38 h 42"/>
                <a:gd name="T20" fmla="*/ 9 w 70"/>
                <a:gd name="T21" fmla="*/ 40 h 42"/>
                <a:gd name="T22" fmla="*/ 11 w 70"/>
                <a:gd name="T23" fmla="*/ 40 h 42"/>
                <a:gd name="T24" fmla="*/ 12 w 70"/>
                <a:gd name="T25" fmla="*/ 42 h 42"/>
                <a:gd name="T26" fmla="*/ 15 w 70"/>
                <a:gd name="T27" fmla="*/ 42 h 42"/>
                <a:gd name="T28" fmla="*/ 18 w 70"/>
                <a:gd name="T29" fmla="*/ 42 h 42"/>
                <a:gd name="T30" fmla="*/ 23 w 70"/>
                <a:gd name="T31" fmla="*/ 42 h 42"/>
                <a:gd name="T32" fmla="*/ 27 w 70"/>
                <a:gd name="T33" fmla="*/ 42 h 42"/>
                <a:gd name="T34" fmla="*/ 33 w 70"/>
                <a:gd name="T35" fmla="*/ 40 h 42"/>
                <a:gd name="T36" fmla="*/ 40 w 70"/>
                <a:gd name="T37" fmla="*/ 39 h 42"/>
                <a:gd name="T38" fmla="*/ 42 w 70"/>
                <a:gd name="T39" fmla="*/ 38 h 42"/>
                <a:gd name="T40" fmla="*/ 45 w 70"/>
                <a:gd name="T41" fmla="*/ 35 h 42"/>
                <a:gd name="T42" fmla="*/ 48 w 70"/>
                <a:gd name="T43" fmla="*/ 32 h 42"/>
                <a:gd name="T44" fmla="*/ 51 w 70"/>
                <a:gd name="T45" fmla="*/ 28 h 42"/>
                <a:gd name="T46" fmla="*/ 55 w 70"/>
                <a:gd name="T47" fmla="*/ 25 h 42"/>
                <a:gd name="T48" fmla="*/ 57 w 70"/>
                <a:gd name="T49" fmla="*/ 22 h 42"/>
                <a:gd name="T50" fmla="*/ 60 w 70"/>
                <a:gd name="T51" fmla="*/ 21 h 42"/>
                <a:gd name="T52" fmla="*/ 63 w 70"/>
                <a:gd name="T53" fmla="*/ 21 h 42"/>
                <a:gd name="T54" fmla="*/ 64 w 70"/>
                <a:gd name="T55" fmla="*/ 21 h 42"/>
                <a:gd name="T56" fmla="*/ 67 w 70"/>
                <a:gd name="T57" fmla="*/ 20 h 42"/>
                <a:gd name="T58" fmla="*/ 68 w 70"/>
                <a:gd name="T59" fmla="*/ 18 h 42"/>
                <a:gd name="T60" fmla="*/ 70 w 70"/>
                <a:gd name="T61" fmla="*/ 16 h 42"/>
                <a:gd name="T62" fmla="*/ 70 w 70"/>
                <a:gd name="T63" fmla="*/ 13 h 42"/>
                <a:gd name="T64" fmla="*/ 68 w 70"/>
                <a:gd name="T65" fmla="*/ 10 h 42"/>
                <a:gd name="T66" fmla="*/ 64 w 70"/>
                <a:gd name="T67" fmla="*/ 7 h 42"/>
                <a:gd name="T68" fmla="*/ 59 w 70"/>
                <a:gd name="T69" fmla="*/ 5 h 42"/>
                <a:gd name="T70" fmla="*/ 51 w 70"/>
                <a:gd name="T71" fmla="*/ 3 h 42"/>
                <a:gd name="T72" fmla="*/ 44 w 70"/>
                <a:gd name="T73" fmla="*/ 2 h 42"/>
                <a:gd name="T74" fmla="*/ 37 w 70"/>
                <a:gd name="T75" fmla="*/ 2 h 42"/>
                <a:gd name="T76" fmla="*/ 30 w 70"/>
                <a:gd name="T77" fmla="*/ 0 h 42"/>
                <a:gd name="T78" fmla="*/ 24 w 70"/>
                <a:gd name="T79" fmla="*/ 0 h 42"/>
                <a:gd name="T80" fmla="*/ 20 w 70"/>
                <a:gd name="T81" fmla="*/ 0 h 42"/>
                <a:gd name="T82" fmla="*/ 16 w 70"/>
                <a:gd name="T8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0" h="42">
                  <a:moveTo>
                    <a:pt x="16" y="0"/>
                  </a:moveTo>
                  <a:lnTo>
                    <a:pt x="15" y="2"/>
                  </a:lnTo>
                  <a:lnTo>
                    <a:pt x="11" y="5"/>
                  </a:lnTo>
                  <a:lnTo>
                    <a:pt x="7" y="9"/>
                  </a:lnTo>
                  <a:lnTo>
                    <a:pt x="2" y="14"/>
                  </a:lnTo>
                  <a:lnTo>
                    <a:pt x="0" y="20"/>
                  </a:lnTo>
                  <a:lnTo>
                    <a:pt x="0" y="27"/>
                  </a:lnTo>
                  <a:lnTo>
                    <a:pt x="1" y="31"/>
                  </a:lnTo>
                  <a:lnTo>
                    <a:pt x="2" y="33"/>
                  </a:lnTo>
                  <a:lnTo>
                    <a:pt x="5" y="38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12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3" y="42"/>
                  </a:lnTo>
                  <a:lnTo>
                    <a:pt x="27" y="42"/>
                  </a:lnTo>
                  <a:lnTo>
                    <a:pt x="33" y="40"/>
                  </a:lnTo>
                  <a:lnTo>
                    <a:pt x="40" y="39"/>
                  </a:lnTo>
                  <a:lnTo>
                    <a:pt x="42" y="38"/>
                  </a:lnTo>
                  <a:lnTo>
                    <a:pt x="45" y="35"/>
                  </a:lnTo>
                  <a:lnTo>
                    <a:pt x="48" y="32"/>
                  </a:lnTo>
                  <a:lnTo>
                    <a:pt x="51" y="28"/>
                  </a:lnTo>
                  <a:lnTo>
                    <a:pt x="55" y="25"/>
                  </a:lnTo>
                  <a:lnTo>
                    <a:pt x="57" y="22"/>
                  </a:lnTo>
                  <a:lnTo>
                    <a:pt x="60" y="21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7" y="20"/>
                  </a:lnTo>
                  <a:lnTo>
                    <a:pt x="68" y="18"/>
                  </a:lnTo>
                  <a:lnTo>
                    <a:pt x="70" y="16"/>
                  </a:lnTo>
                  <a:lnTo>
                    <a:pt x="70" y="13"/>
                  </a:lnTo>
                  <a:lnTo>
                    <a:pt x="68" y="10"/>
                  </a:lnTo>
                  <a:lnTo>
                    <a:pt x="64" y="7"/>
                  </a:lnTo>
                  <a:lnTo>
                    <a:pt x="59" y="5"/>
                  </a:lnTo>
                  <a:lnTo>
                    <a:pt x="51" y="3"/>
                  </a:lnTo>
                  <a:lnTo>
                    <a:pt x="44" y="2"/>
                  </a:lnTo>
                  <a:lnTo>
                    <a:pt x="37" y="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9" name="Freeform 235"/>
            <p:cNvSpPr>
              <a:spLocks/>
            </p:cNvSpPr>
            <p:nvPr/>
          </p:nvSpPr>
          <p:spPr bwMode="auto">
            <a:xfrm>
              <a:off x="1509" y="707"/>
              <a:ext cx="20" cy="26"/>
            </a:xfrm>
            <a:custGeom>
              <a:avLst/>
              <a:gdLst>
                <a:gd name="T0" fmla="*/ 17 w 24"/>
                <a:gd name="T1" fmla="*/ 0 h 34"/>
                <a:gd name="T2" fmla="*/ 17 w 24"/>
                <a:gd name="T3" fmla="*/ 1 h 34"/>
                <a:gd name="T4" fmla="*/ 14 w 24"/>
                <a:gd name="T5" fmla="*/ 2 h 34"/>
                <a:gd name="T6" fmla="*/ 10 w 24"/>
                <a:gd name="T7" fmla="*/ 6 h 34"/>
                <a:gd name="T8" fmla="*/ 6 w 24"/>
                <a:gd name="T9" fmla="*/ 12 h 34"/>
                <a:gd name="T10" fmla="*/ 3 w 24"/>
                <a:gd name="T11" fmla="*/ 16 h 34"/>
                <a:gd name="T12" fmla="*/ 0 w 24"/>
                <a:gd name="T13" fmla="*/ 23 h 34"/>
                <a:gd name="T14" fmla="*/ 0 w 24"/>
                <a:gd name="T15" fmla="*/ 28 h 34"/>
                <a:gd name="T16" fmla="*/ 2 w 24"/>
                <a:gd name="T17" fmla="*/ 33 h 34"/>
                <a:gd name="T18" fmla="*/ 3 w 24"/>
                <a:gd name="T19" fmla="*/ 34 h 34"/>
                <a:gd name="T20" fmla="*/ 5 w 24"/>
                <a:gd name="T21" fmla="*/ 34 h 34"/>
                <a:gd name="T22" fmla="*/ 7 w 24"/>
                <a:gd name="T23" fmla="*/ 34 h 34"/>
                <a:gd name="T24" fmla="*/ 10 w 24"/>
                <a:gd name="T25" fmla="*/ 34 h 34"/>
                <a:gd name="T26" fmla="*/ 14 w 24"/>
                <a:gd name="T27" fmla="*/ 33 h 34"/>
                <a:gd name="T28" fmla="*/ 17 w 24"/>
                <a:gd name="T29" fmla="*/ 30 h 34"/>
                <a:gd name="T30" fmla="*/ 20 w 24"/>
                <a:gd name="T31" fmla="*/ 24 h 34"/>
                <a:gd name="T32" fmla="*/ 21 w 24"/>
                <a:gd name="T33" fmla="*/ 17 h 34"/>
                <a:gd name="T34" fmla="*/ 22 w 24"/>
                <a:gd name="T35" fmla="*/ 17 h 34"/>
                <a:gd name="T36" fmla="*/ 22 w 24"/>
                <a:gd name="T37" fmla="*/ 15 h 34"/>
                <a:gd name="T38" fmla="*/ 22 w 24"/>
                <a:gd name="T39" fmla="*/ 12 h 34"/>
                <a:gd name="T40" fmla="*/ 24 w 24"/>
                <a:gd name="T41" fmla="*/ 9 h 34"/>
                <a:gd name="T42" fmla="*/ 24 w 24"/>
                <a:gd name="T43" fmla="*/ 5 h 34"/>
                <a:gd name="T44" fmla="*/ 22 w 24"/>
                <a:gd name="T45" fmla="*/ 2 h 34"/>
                <a:gd name="T46" fmla="*/ 21 w 24"/>
                <a:gd name="T47" fmla="*/ 1 h 34"/>
                <a:gd name="T48" fmla="*/ 17 w 24"/>
                <a:gd name="T4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34">
                  <a:moveTo>
                    <a:pt x="17" y="0"/>
                  </a:moveTo>
                  <a:lnTo>
                    <a:pt x="17" y="1"/>
                  </a:lnTo>
                  <a:lnTo>
                    <a:pt x="14" y="2"/>
                  </a:lnTo>
                  <a:lnTo>
                    <a:pt x="10" y="6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0" y="34"/>
                  </a:lnTo>
                  <a:lnTo>
                    <a:pt x="14" y="33"/>
                  </a:lnTo>
                  <a:lnTo>
                    <a:pt x="17" y="30"/>
                  </a:lnTo>
                  <a:lnTo>
                    <a:pt x="20" y="24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5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0" name="Freeform 236"/>
            <p:cNvSpPr>
              <a:spLocks/>
            </p:cNvSpPr>
            <p:nvPr/>
          </p:nvSpPr>
          <p:spPr bwMode="auto">
            <a:xfrm>
              <a:off x="1509" y="707"/>
              <a:ext cx="20" cy="26"/>
            </a:xfrm>
            <a:custGeom>
              <a:avLst/>
              <a:gdLst>
                <a:gd name="T0" fmla="*/ 17 w 24"/>
                <a:gd name="T1" fmla="*/ 0 h 34"/>
                <a:gd name="T2" fmla="*/ 17 w 24"/>
                <a:gd name="T3" fmla="*/ 1 h 34"/>
                <a:gd name="T4" fmla="*/ 14 w 24"/>
                <a:gd name="T5" fmla="*/ 2 h 34"/>
                <a:gd name="T6" fmla="*/ 10 w 24"/>
                <a:gd name="T7" fmla="*/ 6 h 34"/>
                <a:gd name="T8" fmla="*/ 6 w 24"/>
                <a:gd name="T9" fmla="*/ 12 h 34"/>
                <a:gd name="T10" fmla="*/ 3 w 24"/>
                <a:gd name="T11" fmla="*/ 16 h 34"/>
                <a:gd name="T12" fmla="*/ 0 w 24"/>
                <a:gd name="T13" fmla="*/ 23 h 34"/>
                <a:gd name="T14" fmla="*/ 0 w 24"/>
                <a:gd name="T15" fmla="*/ 28 h 34"/>
                <a:gd name="T16" fmla="*/ 2 w 24"/>
                <a:gd name="T17" fmla="*/ 33 h 34"/>
                <a:gd name="T18" fmla="*/ 3 w 24"/>
                <a:gd name="T19" fmla="*/ 34 h 34"/>
                <a:gd name="T20" fmla="*/ 5 w 24"/>
                <a:gd name="T21" fmla="*/ 34 h 34"/>
                <a:gd name="T22" fmla="*/ 7 w 24"/>
                <a:gd name="T23" fmla="*/ 34 h 34"/>
                <a:gd name="T24" fmla="*/ 10 w 24"/>
                <a:gd name="T25" fmla="*/ 34 h 34"/>
                <a:gd name="T26" fmla="*/ 14 w 24"/>
                <a:gd name="T27" fmla="*/ 33 h 34"/>
                <a:gd name="T28" fmla="*/ 17 w 24"/>
                <a:gd name="T29" fmla="*/ 30 h 34"/>
                <a:gd name="T30" fmla="*/ 20 w 24"/>
                <a:gd name="T31" fmla="*/ 24 h 34"/>
                <a:gd name="T32" fmla="*/ 21 w 24"/>
                <a:gd name="T33" fmla="*/ 17 h 34"/>
                <a:gd name="T34" fmla="*/ 22 w 24"/>
                <a:gd name="T35" fmla="*/ 17 h 34"/>
                <a:gd name="T36" fmla="*/ 22 w 24"/>
                <a:gd name="T37" fmla="*/ 15 h 34"/>
                <a:gd name="T38" fmla="*/ 22 w 24"/>
                <a:gd name="T39" fmla="*/ 12 h 34"/>
                <a:gd name="T40" fmla="*/ 24 w 24"/>
                <a:gd name="T41" fmla="*/ 9 h 34"/>
                <a:gd name="T42" fmla="*/ 24 w 24"/>
                <a:gd name="T43" fmla="*/ 5 h 34"/>
                <a:gd name="T44" fmla="*/ 22 w 24"/>
                <a:gd name="T45" fmla="*/ 2 h 34"/>
                <a:gd name="T46" fmla="*/ 21 w 24"/>
                <a:gd name="T47" fmla="*/ 1 h 34"/>
                <a:gd name="T48" fmla="*/ 17 w 24"/>
                <a:gd name="T49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34">
                  <a:moveTo>
                    <a:pt x="17" y="0"/>
                  </a:moveTo>
                  <a:lnTo>
                    <a:pt x="17" y="1"/>
                  </a:lnTo>
                  <a:lnTo>
                    <a:pt x="14" y="2"/>
                  </a:lnTo>
                  <a:lnTo>
                    <a:pt x="10" y="6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3"/>
                  </a:lnTo>
                  <a:lnTo>
                    <a:pt x="0" y="28"/>
                  </a:lnTo>
                  <a:lnTo>
                    <a:pt x="2" y="33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10" y="34"/>
                  </a:lnTo>
                  <a:lnTo>
                    <a:pt x="14" y="33"/>
                  </a:lnTo>
                  <a:lnTo>
                    <a:pt x="17" y="30"/>
                  </a:lnTo>
                  <a:lnTo>
                    <a:pt x="20" y="24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5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5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7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1" name="Freeform 237"/>
            <p:cNvSpPr>
              <a:spLocks/>
            </p:cNvSpPr>
            <p:nvPr/>
          </p:nvSpPr>
          <p:spPr bwMode="auto">
            <a:xfrm>
              <a:off x="1506" y="725"/>
              <a:ext cx="110" cy="87"/>
            </a:xfrm>
            <a:custGeom>
              <a:avLst/>
              <a:gdLst>
                <a:gd name="T0" fmla="*/ 33 w 136"/>
                <a:gd name="T1" fmla="*/ 23 h 108"/>
                <a:gd name="T2" fmla="*/ 20 w 136"/>
                <a:gd name="T3" fmla="*/ 23 h 108"/>
                <a:gd name="T4" fmla="*/ 11 w 136"/>
                <a:gd name="T5" fmla="*/ 41 h 108"/>
                <a:gd name="T6" fmla="*/ 11 w 136"/>
                <a:gd name="T7" fmla="*/ 41 h 108"/>
                <a:gd name="T8" fmla="*/ 11 w 136"/>
                <a:gd name="T9" fmla="*/ 45 h 108"/>
                <a:gd name="T10" fmla="*/ 10 w 136"/>
                <a:gd name="T11" fmla="*/ 56 h 108"/>
                <a:gd name="T12" fmla="*/ 2 w 136"/>
                <a:gd name="T13" fmla="*/ 63 h 108"/>
                <a:gd name="T14" fmla="*/ 4 w 136"/>
                <a:gd name="T15" fmla="*/ 75 h 108"/>
                <a:gd name="T16" fmla="*/ 11 w 136"/>
                <a:gd name="T17" fmla="*/ 81 h 108"/>
                <a:gd name="T18" fmla="*/ 17 w 136"/>
                <a:gd name="T19" fmla="*/ 85 h 108"/>
                <a:gd name="T20" fmla="*/ 26 w 136"/>
                <a:gd name="T21" fmla="*/ 88 h 108"/>
                <a:gd name="T22" fmla="*/ 31 w 136"/>
                <a:gd name="T23" fmla="*/ 86 h 108"/>
                <a:gd name="T24" fmla="*/ 36 w 136"/>
                <a:gd name="T25" fmla="*/ 80 h 108"/>
                <a:gd name="T26" fmla="*/ 39 w 136"/>
                <a:gd name="T27" fmla="*/ 73 h 108"/>
                <a:gd name="T28" fmla="*/ 39 w 136"/>
                <a:gd name="T29" fmla="*/ 78 h 108"/>
                <a:gd name="T30" fmla="*/ 48 w 136"/>
                <a:gd name="T31" fmla="*/ 82 h 108"/>
                <a:gd name="T32" fmla="*/ 58 w 136"/>
                <a:gd name="T33" fmla="*/ 80 h 108"/>
                <a:gd name="T34" fmla="*/ 69 w 136"/>
                <a:gd name="T35" fmla="*/ 75 h 108"/>
                <a:gd name="T36" fmla="*/ 68 w 136"/>
                <a:gd name="T37" fmla="*/ 86 h 108"/>
                <a:gd name="T38" fmla="*/ 62 w 136"/>
                <a:gd name="T39" fmla="*/ 88 h 108"/>
                <a:gd name="T40" fmla="*/ 50 w 136"/>
                <a:gd name="T41" fmla="*/ 93 h 108"/>
                <a:gd name="T42" fmla="*/ 36 w 136"/>
                <a:gd name="T43" fmla="*/ 102 h 108"/>
                <a:gd name="T44" fmla="*/ 33 w 136"/>
                <a:gd name="T45" fmla="*/ 104 h 108"/>
                <a:gd name="T46" fmla="*/ 42 w 136"/>
                <a:gd name="T47" fmla="*/ 107 h 108"/>
                <a:gd name="T48" fmla="*/ 58 w 136"/>
                <a:gd name="T49" fmla="*/ 107 h 108"/>
                <a:gd name="T50" fmla="*/ 75 w 136"/>
                <a:gd name="T51" fmla="*/ 97 h 108"/>
                <a:gd name="T52" fmla="*/ 88 w 136"/>
                <a:gd name="T53" fmla="*/ 91 h 108"/>
                <a:gd name="T54" fmla="*/ 90 w 136"/>
                <a:gd name="T55" fmla="*/ 88 h 108"/>
                <a:gd name="T56" fmla="*/ 95 w 136"/>
                <a:gd name="T57" fmla="*/ 84 h 108"/>
                <a:gd name="T58" fmla="*/ 99 w 136"/>
                <a:gd name="T59" fmla="*/ 88 h 108"/>
                <a:gd name="T60" fmla="*/ 103 w 136"/>
                <a:gd name="T61" fmla="*/ 89 h 108"/>
                <a:gd name="T62" fmla="*/ 108 w 136"/>
                <a:gd name="T63" fmla="*/ 88 h 108"/>
                <a:gd name="T64" fmla="*/ 112 w 136"/>
                <a:gd name="T65" fmla="*/ 86 h 108"/>
                <a:gd name="T66" fmla="*/ 120 w 136"/>
                <a:gd name="T67" fmla="*/ 88 h 108"/>
                <a:gd name="T68" fmla="*/ 130 w 136"/>
                <a:gd name="T69" fmla="*/ 81 h 108"/>
                <a:gd name="T70" fmla="*/ 134 w 136"/>
                <a:gd name="T71" fmla="*/ 70 h 108"/>
                <a:gd name="T72" fmla="*/ 136 w 136"/>
                <a:gd name="T73" fmla="*/ 48 h 108"/>
                <a:gd name="T74" fmla="*/ 132 w 136"/>
                <a:gd name="T75" fmla="*/ 41 h 108"/>
                <a:gd name="T76" fmla="*/ 127 w 136"/>
                <a:gd name="T77" fmla="*/ 43 h 108"/>
                <a:gd name="T78" fmla="*/ 117 w 136"/>
                <a:gd name="T79" fmla="*/ 47 h 108"/>
                <a:gd name="T80" fmla="*/ 109 w 136"/>
                <a:gd name="T81" fmla="*/ 38 h 108"/>
                <a:gd name="T82" fmla="*/ 108 w 136"/>
                <a:gd name="T83" fmla="*/ 36 h 108"/>
                <a:gd name="T84" fmla="*/ 103 w 136"/>
                <a:gd name="T85" fmla="*/ 29 h 108"/>
                <a:gd name="T86" fmla="*/ 101 w 136"/>
                <a:gd name="T87" fmla="*/ 19 h 108"/>
                <a:gd name="T88" fmla="*/ 99 w 136"/>
                <a:gd name="T89" fmla="*/ 10 h 108"/>
                <a:gd name="T90" fmla="*/ 99 w 136"/>
                <a:gd name="T91" fmla="*/ 1 h 108"/>
                <a:gd name="T92" fmla="*/ 95 w 136"/>
                <a:gd name="T93" fmla="*/ 1 h 108"/>
                <a:gd name="T94" fmla="*/ 83 w 136"/>
                <a:gd name="T95" fmla="*/ 8 h 108"/>
                <a:gd name="T96" fmla="*/ 79 w 136"/>
                <a:gd name="T97" fmla="*/ 26 h 108"/>
                <a:gd name="T98" fmla="*/ 77 w 136"/>
                <a:gd name="T99" fmla="*/ 27 h 108"/>
                <a:gd name="T100" fmla="*/ 79 w 136"/>
                <a:gd name="T101" fmla="*/ 33 h 108"/>
                <a:gd name="T102" fmla="*/ 84 w 136"/>
                <a:gd name="T103" fmla="*/ 37 h 108"/>
                <a:gd name="T104" fmla="*/ 75 w 136"/>
                <a:gd name="T105" fmla="*/ 51 h 108"/>
                <a:gd name="T106" fmla="*/ 68 w 136"/>
                <a:gd name="T107" fmla="*/ 58 h 108"/>
                <a:gd name="T108" fmla="*/ 66 w 136"/>
                <a:gd name="T109" fmla="*/ 52 h 108"/>
                <a:gd name="T110" fmla="*/ 65 w 136"/>
                <a:gd name="T111" fmla="*/ 44 h 108"/>
                <a:gd name="T112" fmla="*/ 61 w 136"/>
                <a:gd name="T113" fmla="*/ 34 h 108"/>
                <a:gd name="T114" fmla="*/ 54 w 136"/>
                <a:gd name="T115" fmla="*/ 30 h 108"/>
                <a:gd name="T116" fmla="*/ 44 w 136"/>
                <a:gd name="T117" fmla="*/ 33 h 108"/>
                <a:gd name="T118" fmla="*/ 37 w 136"/>
                <a:gd name="T119" fmla="*/ 3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6" h="108">
                  <a:moveTo>
                    <a:pt x="37" y="26"/>
                  </a:moveTo>
                  <a:lnTo>
                    <a:pt x="36" y="25"/>
                  </a:lnTo>
                  <a:lnTo>
                    <a:pt x="33" y="23"/>
                  </a:lnTo>
                  <a:lnTo>
                    <a:pt x="29" y="22"/>
                  </a:lnTo>
                  <a:lnTo>
                    <a:pt x="24" y="22"/>
                  </a:lnTo>
                  <a:lnTo>
                    <a:pt x="20" y="23"/>
                  </a:lnTo>
                  <a:lnTo>
                    <a:pt x="15" y="26"/>
                  </a:lnTo>
                  <a:lnTo>
                    <a:pt x="13" y="32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0" y="48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7" y="58"/>
                  </a:lnTo>
                  <a:lnTo>
                    <a:pt x="4" y="60"/>
                  </a:lnTo>
                  <a:lnTo>
                    <a:pt x="2" y="6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4" y="75"/>
                  </a:lnTo>
                  <a:lnTo>
                    <a:pt x="10" y="80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3" y="82"/>
                  </a:lnTo>
                  <a:lnTo>
                    <a:pt x="14" y="84"/>
                  </a:lnTo>
                  <a:lnTo>
                    <a:pt x="17" y="85"/>
                  </a:lnTo>
                  <a:lnTo>
                    <a:pt x="20" y="86"/>
                  </a:lnTo>
                  <a:lnTo>
                    <a:pt x="22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8" y="86"/>
                  </a:lnTo>
                  <a:lnTo>
                    <a:pt x="31" y="86"/>
                  </a:lnTo>
                  <a:lnTo>
                    <a:pt x="32" y="85"/>
                  </a:lnTo>
                  <a:lnTo>
                    <a:pt x="35" y="82"/>
                  </a:lnTo>
                  <a:lnTo>
                    <a:pt x="36" y="80"/>
                  </a:lnTo>
                  <a:lnTo>
                    <a:pt x="37" y="77"/>
                  </a:lnTo>
                  <a:lnTo>
                    <a:pt x="39" y="71"/>
                  </a:lnTo>
                  <a:lnTo>
                    <a:pt x="39" y="73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40" y="80"/>
                  </a:lnTo>
                  <a:lnTo>
                    <a:pt x="43" y="81"/>
                  </a:lnTo>
                  <a:lnTo>
                    <a:pt x="48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8" y="80"/>
                  </a:lnTo>
                  <a:lnTo>
                    <a:pt x="62" y="78"/>
                  </a:lnTo>
                  <a:lnTo>
                    <a:pt x="66" y="77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0" y="81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5" y="86"/>
                  </a:lnTo>
                  <a:lnTo>
                    <a:pt x="62" y="88"/>
                  </a:lnTo>
                  <a:lnTo>
                    <a:pt x="58" y="89"/>
                  </a:lnTo>
                  <a:lnTo>
                    <a:pt x="54" y="91"/>
                  </a:lnTo>
                  <a:lnTo>
                    <a:pt x="50" y="93"/>
                  </a:lnTo>
                  <a:lnTo>
                    <a:pt x="46" y="96"/>
                  </a:lnTo>
                  <a:lnTo>
                    <a:pt x="40" y="99"/>
                  </a:lnTo>
                  <a:lnTo>
                    <a:pt x="36" y="102"/>
                  </a:lnTo>
                  <a:lnTo>
                    <a:pt x="33" y="103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7" y="106"/>
                  </a:lnTo>
                  <a:lnTo>
                    <a:pt x="42" y="107"/>
                  </a:lnTo>
                  <a:lnTo>
                    <a:pt x="47" y="108"/>
                  </a:lnTo>
                  <a:lnTo>
                    <a:pt x="53" y="108"/>
                  </a:lnTo>
                  <a:lnTo>
                    <a:pt x="58" y="107"/>
                  </a:lnTo>
                  <a:lnTo>
                    <a:pt x="64" y="104"/>
                  </a:lnTo>
                  <a:lnTo>
                    <a:pt x="69" y="102"/>
                  </a:lnTo>
                  <a:lnTo>
                    <a:pt x="75" y="97"/>
                  </a:lnTo>
                  <a:lnTo>
                    <a:pt x="80" y="95"/>
                  </a:lnTo>
                  <a:lnTo>
                    <a:pt x="84" y="92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88" y="89"/>
                  </a:lnTo>
                  <a:lnTo>
                    <a:pt x="90" y="88"/>
                  </a:lnTo>
                  <a:lnTo>
                    <a:pt x="91" y="85"/>
                  </a:lnTo>
                  <a:lnTo>
                    <a:pt x="94" y="84"/>
                  </a:lnTo>
                  <a:lnTo>
                    <a:pt x="95" y="84"/>
                  </a:lnTo>
                  <a:lnTo>
                    <a:pt x="97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6" y="89"/>
                  </a:lnTo>
                  <a:lnTo>
                    <a:pt x="108" y="88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3" y="86"/>
                  </a:lnTo>
                  <a:lnTo>
                    <a:pt x="125" y="85"/>
                  </a:lnTo>
                  <a:lnTo>
                    <a:pt x="130" y="81"/>
                  </a:lnTo>
                  <a:lnTo>
                    <a:pt x="130" y="80"/>
                  </a:lnTo>
                  <a:lnTo>
                    <a:pt x="131" y="75"/>
                  </a:lnTo>
                  <a:lnTo>
                    <a:pt x="134" y="70"/>
                  </a:lnTo>
                  <a:lnTo>
                    <a:pt x="135" y="63"/>
                  </a:lnTo>
                  <a:lnTo>
                    <a:pt x="136" y="55"/>
                  </a:lnTo>
                  <a:lnTo>
                    <a:pt x="136" y="48"/>
                  </a:lnTo>
                  <a:lnTo>
                    <a:pt x="135" y="45"/>
                  </a:lnTo>
                  <a:lnTo>
                    <a:pt x="134" y="44"/>
                  </a:lnTo>
                  <a:lnTo>
                    <a:pt x="132" y="41"/>
                  </a:lnTo>
                  <a:lnTo>
                    <a:pt x="130" y="40"/>
                  </a:lnTo>
                  <a:lnTo>
                    <a:pt x="128" y="41"/>
                  </a:lnTo>
                  <a:lnTo>
                    <a:pt x="127" y="43"/>
                  </a:lnTo>
                  <a:lnTo>
                    <a:pt x="124" y="44"/>
                  </a:lnTo>
                  <a:lnTo>
                    <a:pt x="120" y="45"/>
                  </a:lnTo>
                  <a:lnTo>
                    <a:pt x="117" y="47"/>
                  </a:lnTo>
                  <a:lnTo>
                    <a:pt x="113" y="47"/>
                  </a:lnTo>
                  <a:lnTo>
                    <a:pt x="110" y="44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8" y="37"/>
                  </a:lnTo>
                  <a:lnTo>
                    <a:pt x="108" y="36"/>
                  </a:lnTo>
                  <a:lnTo>
                    <a:pt x="106" y="34"/>
                  </a:lnTo>
                  <a:lnTo>
                    <a:pt x="105" y="33"/>
                  </a:lnTo>
                  <a:lnTo>
                    <a:pt x="103" y="29"/>
                  </a:lnTo>
                  <a:lnTo>
                    <a:pt x="102" y="26"/>
                  </a:lnTo>
                  <a:lnTo>
                    <a:pt x="101" y="21"/>
                  </a:lnTo>
                  <a:lnTo>
                    <a:pt x="101" y="19"/>
                  </a:lnTo>
                  <a:lnTo>
                    <a:pt x="99" y="16"/>
                  </a:lnTo>
                  <a:lnTo>
                    <a:pt x="99" y="12"/>
                  </a:lnTo>
                  <a:lnTo>
                    <a:pt x="99" y="10"/>
                  </a:lnTo>
                  <a:lnTo>
                    <a:pt x="99" y="5"/>
                  </a:lnTo>
                  <a:lnTo>
                    <a:pt x="99" y="3"/>
                  </a:lnTo>
                  <a:lnTo>
                    <a:pt x="99" y="1"/>
                  </a:lnTo>
                  <a:lnTo>
                    <a:pt x="99" y="0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1" y="3"/>
                  </a:lnTo>
                  <a:lnTo>
                    <a:pt x="87" y="4"/>
                  </a:lnTo>
                  <a:lnTo>
                    <a:pt x="83" y="8"/>
                  </a:lnTo>
                  <a:lnTo>
                    <a:pt x="80" y="12"/>
                  </a:lnTo>
                  <a:lnTo>
                    <a:pt x="77" y="18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79" y="33"/>
                  </a:lnTo>
                  <a:lnTo>
                    <a:pt x="81" y="34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1" y="41"/>
                  </a:lnTo>
                  <a:lnTo>
                    <a:pt x="79" y="45"/>
                  </a:lnTo>
                  <a:lnTo>
                    <a:pt x="75" y="51"/>
                  </a:lnTo>
                  <a:lnTo>
                    <a:pt x="72" y="55"/>
                  </a:lnTo>
                  <a:lnTo>
                    <a:pt x="69" y="58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6" y="51"/>
                  </a:lnTo>
                  <a:lnTo>
                    <a:pt x="65" y="47"/>
                  </a:lnTo>
                  <a:lnTo>
                    <a:pt x="65" y="44"/>
                  </a:lnTo>
                  <a:lnTo>
                    <a:pt x="64" y="40"/>
                  </a:lnTo>
                  <a:lnTo>
                    <a:pt x="62" y="37"/>
                  </a:lnTo>
                  <a:lnTo>
                    <a:pt x="61" y="34"/>
                  </a:lnTo>
                  <a:lnTo>
                    <a:pt x="59" y="32"/>
                  </a:lnTo>
                  <a:lnTo>
                    <a:pt x="57" y="30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47" y="33"/>
                  </a:lnTo>
                  <a:lnTo>
                    <a:pt x="44" y="33"/>
                  </a:lnTo>
                  <a:lnTo>
                    <a:pt x="42" y="34"/>
                  </a:lnTo>
                  <a:lnTo>
                    <a:pt x="40" y="33"/>
                  </a:lnTo>
                  <a:lnTo>
                    <a:pt x="37" y="30"/>
                  </a:lnTo>
                  <a:lnTo>
                    <a:pt x="37" y="2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2" name="Freeform 238"/>
            <p:cNvSpPr>
              <a:spLocks/>
            </p:cNvSpPr>
            <p:nvPr/>
          </p:nvSpPr>
          <p:spPr bwMode="auto">
            <a:xfrm>
              <a:off x="1506" y="725"/>
              <a:ext cx="110" cy="87"/>
            </a:xfrm>
            <a:custGeom>
              <a:avLst/>
              <a:gdLst>
                <a:gd name="T0" fmla="*/ 33 w 136"/>
                <a:gd name="T1" fmla="*/ 23 h 108"/>
                <a:gd name="T2" fmla="*/ 20 w 136"/>
                <a:gd name="T3" fmla="*/ 23 h 108"/>
                <a:gd name="T4" fmla="*/ 11 w 136"/>
                <a:gd name="T5" fmla="*/ 41 h 108"/>
                <a:gd name="T6" fmla="*/ 10 w 136"/>
                <a:gd name="T7" fmla="*/ 48 h 108"/>
                <a:gd name="T8" fmla="*/ 7 w 136"/>
                <a:gd name="T9" fmla="*/ 58 h 108"/>
                <a:gd name="T10" fmla="*/ 0 w 136"/>
                <a:gd name="T11" fmla="*/ 67 h 108"/>
                <a:gd name="T12" fmla="*/ 10 w 136"/>
                <a:gd name="T13" fmla="*/ 80 h 108"/>
                <a:gd name="T14" fmla="*/ 13 w 136"/>
                <a:gd name="T15" fmla="*/ 82 h 108"/>
                <a:gd name="T16" fmla="*/ 20 w 136"/>
                <a:gd name="T17" fmla="*/ 86 h 108"/>
                <a:gd name="T18" fmla="*/ 28 w 136"/>
                <a:gd name="T19" fmla="*/ 86 h 108"/>
                <a:gd name="T20" fmla="*/ 35 w 136"/>
                <a:gd name="T21" fmla="*/ 82 h 108"/>
                <a:gd name="T22" fmla="*/ 39 w 136"/>
                <a:gd name="T23" fmla="*/ 71 h 108"/>
                <a:gd name="T24" fmla="*/ 39 w 136"/>
                <a:gd name="T25" fmla="*/ 75 h 108"/>
                <a:gd name="T26" fmla="*/ 43 w 136"/>
                <a:gd name="T27" fmla="*/ 81 h 108"/>
                <a:gd name="T28" fmla="*/ 55 w 136"/>
                <a:gd name="T29" fmla="*/ 81 h 108"/>
                <a:gd name="T30" fmla="*/ 66 w 136"/>
                <a:gd name="T31" fmla="*/ 77 h 108"/>
                <a:gd name="T32" fmla="*/ 70 w 136"/>
                <a:gd name="T33" fmla="*/ 81 h 108"/>
                <a:gd name="T34" fmla="*/ 65 w 136"/>
                <a:gd name="T35" fmla="*/ 86 h 108"/>
                <a:gd name="T36" fmla="*/ 54 w 136"/>
                <a:gd name="T37" fmla="*/ 91 h 108"/>
                <a:gd name="T38" fmla="*/ 40 w 136"/>
                <a:gd name="T39" fmla="*/ 99 h 108"/>
                <a:gd name="T40" fmla="*/ 33 w 136"/>
                <a:gd name="T41" fmla="*/ 104 h 108"/>
                <a:gd name="T42" fmla="*/ 42 w 136"/>
                <a:gd name="T43" fmla="*/ 107 h 108"/>
                <a:gd name="T44" fmla="*/ 58 w 136"/>
                <a:gd name="T45" fmla="*/ 107 h 108"/>
                <a:gd name="T46" fmla="*/ 75 w 136"/>
                <a:gd name="T47" fmla="*/ 97 h 108"/>
                <a:gd name="T48" fmla="*/ 88 w 136"/>
                <a:gd name="T49" fmla="*/ 91 h 108"/>
                <a:gd name="T50" fmla="*/ 91 w 136"/>
                <a:gd name="T51" fmla="*/ 85 h 108"/>
                <a:gd name="T52" fmla="*/ 97 w 136"/>
                <a:gd name="T53" fmla="*/ 85 h 108"/>
                <a:gd name="T54" fmla="*/ 103 w 136"/>
                <a:gd name="T55" fmla="*/ 89 h 108"/>
                <a:gd name="T56" fmla="*/ 108 w 136"/>
                <a:gd name="T57" fmla="*/ 88 h 108"/>
                <a:gd name="T58" fmla="*/ 114 w 136"/>
                <a:gd name="T59" fmla="*/ 86 h 108"/>
                <a:gd name="T60" fmla="*/ 123 w 136"/>
                <a:gd name="T61" fmla="*/ 86 h 108"/>
                <a:gd name="T62" fmla="*/ 130 w 136"/>
                <a:gd name="T63" fmla="*/ 80 h 108"/>
                <a:gd name="T64" fmla="*/ 135 w 136"/>
                <a:gd name="T65" fmla="*/ 63 h 108"/>
                <a:gd name="T66" fmla="*/ 135 w 136"/>
                <a:gd name="T67" fmla="*/ 45 h 108"/>
                <a:gd name="T68" fmla="*/ 130 w 136"/>
                <a:gd name="T69" fmla="*/ 40 h 108"/>
                <a:gd name="T70" fmla="*/ 124 w 136"/>
                <a:gd name="T71" fmla="*/ 44 h 108"/>
                <a:gd name="T72" fmla="*/ 113 w 136"/>
                <a:gd name="T73" fmla="*/ 47 h 108"/>
                <a:gd name="T74" fmla="*/ 108 w 136"/>
                <a:gd name="T75" fmla="*/ 37 h 108"/>
                <a:gd name="T76" fmla="*/ 105 w 136"/>
                <a:gd name="T77" fmla="*/ 33 h 108"/>
                <a:gd name="T78" fmla="*/ 101 w 136"/>
                <a:gd name="T79" fmla="*/ 21 h 108"/>
                <a:gd name="T80" fmla="*/ 99 w 136"/>
                <a:gd name="T81" fmla="*/ 12 h 108"/>
                <a:gd name="T82" fmla="*/ 99 w 136"/>
                <a:gd name="T83" fmla="*/ 3 h 108"/>
                <a:gd name="T84" fmla="*/ 98 w 136"/>
                <a:gd name="T85" fmla="*/ 1 h 108"/>
                <a:gd name="T86" fmla="*/ 87 w 136"/>
                <a:gd name="T87" fmla="*/ 4 h 108"/>
                <a:gd name="T88" fmla="*/ 77 w 136"/>
                <a:gd name="T89" fmla="*/ 18 h 108"/>
                <a:gd name="T90" fmla="*/ 77 w 136"/>
                <a:gd name="T91" fmla="*/ 29 h 108"/>
                <a:gd name="T92" fmla="*/ 81 w 136"/>
                <a:gd name="T93" fmla="*/ 34 h 108"/>
                <a:gd name="T94" fmla="*/ 81 w 136"/>
                <a:gd name="T95" fmla="*/ 41 h 108"/>
                <a:gd name="T96" fmla="*/ 72 w 136"/>
                <a:gd name="T97" fmla="*/ 55 h 108"/>
                <a:gd name="T98" fmla="*/ 66 w 136"/>
                <a:gd name="T99" fmla="*/ 58 h 108"/>
                <a:gd name="T100" fmla="*/ 66 w 136"/>
                <a:gd name="T101" fmla="*/ 51 h 108"/>
                <a:gd name="T102" fmla="*/ 64 w 136"/>
                <a:gd name="T103" fmla="*/ 40 h 108"/>
                <a:gd name="T104" fmla="*/ 59 w 136"/>
                <a:gd name="T105" fmla="*/ 32 h 108"/>
                <a:gd name="T106" fmla="*/ 50 w 136"/>
                <a:gd name="T107" fmla="*/ 32 h 108"/>
                <a:gd name="T108" fmla="*/ 42 w 136"/>
                <a:gd name="T109" fmla="*/ 34 h 108"/>
                <a:gd name="T110" fmla="*/ 37 w 136"/>
                <a:gd name="T111" fmla="*/ 2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6" h="108">
                  <a:moveTo>
                    <a:pt x="37" y="26"/>
                  </a:moveTo>
                  <a:lnTo>
                    <a:pt x="36" y="25"/>
                  </a:lnTo>
                  <a:lnTo>
                    <a:pt x="33" y="23"/>
                  </a:lnTo>
                  <a:lnTo>
                    <a:pt x="29" y="22"/>
                  </a:lnTo>
                  <a:lnTo>
                    <a:pt x="24" y="22"/>
                  </a:lnTo>
                  <a:lnTo>
                    <a:pt x="20" y="23"/>
                  </a:lnTo>
                  <a:lnTo>
                    <a:pt x="15" y="26"/>
                  </a:lnTo>
                  <a:lnTo>
                    <a:pt x="13" y="32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5"/>
                  </a:lnTo>
                  <a:lnTo>
                    <a:pt x="10" y="48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7" y="58"/>
                  </a:lnTo>
                  <a:lnTo>
                    <a:pt x="4" y="60"/>
                  </a:lnTo>
                  <a:lnTo>
                    <a:pt x="2" y="63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4" y="75"/>
                  </a:lnTo>
                  <a:lnTo>
                    <a:pt x="10" y="80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3" y="82"/>
                  </a:lnTo>
                  <a:lnTo>
                    <a:pt x="14" y="84"/>
                  </a:lnTo>
                  <a:lnTo>
                    <a:pt x="17" y="85"/>
                  </a:lnTo>
                  <a:lnTo>
                    <a:pt x="20" y="86"/>
                  </a:lnTo>
                  <a:lnTo>
                    <a:pt x="22" y="88"/>
                  </a:lnTo>
                  <a:lnTo>
                    <a:pt x="26" y="88"/>
                  </a:lnTo>
                  <a:lnTo>
                    <a:pt x="28" y="86"/>
                  </a:lnTo>
                  <a:lnTo>
                    <a:pt x="31" y="86"/>
                  </a:lnTo>
                  <a:lnTo>
                    <a:pt x="32" y="85"/>
                  </a:lnTo>
                  <a:lnTo>
                    <a:pt x="35" y="82"/>
                  </a:lnTo>
                  <a:lnTo>
                    <a:pt x="36" y="80"/>
                  </a:lnTo>
                  <a:lnTo>
                    <a:pt x="37" y="77"/>
                  </a:lnTo>
                  <a:lnTo>
                    <a:pt x="39" y="71"/>
                  </a:lnTo>
                  <a:lnTo>
                    <a:pt x="39" y="73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8"/>
                  </a:lnTo>
                  <a:lnTo>
                    <a:pt x="40" y="80"/>
                  </a:lnTo>
                  <a:lnTo>
                    <a:pt x="43" y="81"/>
                  </a:lnTo>
                  <a:lnTo>
                    <a:pt x="48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8" y="80"/>
                  </a:lnTo>
                  <a:lnTo>
                    <a:pt x="62" y="78"/>
                  </a:lnTo>
                  <a:lnTo>
                    <a:pt x="66" y="77"/>
                  </a:lnTo>
                  <a:lnTo>
                    <a:pt x="69" y="75"/>
                  </a:lnTo>
                  <a:lnTo>
                    <a:pt x="72" y="77"/>
                  </a:lnTo>
                  <a:lnTo>
                    <a:pt x="70" y="81"/>
                  </a:lnTo>
                  <a:lnTo>
                    <a:pt x="68" y="86"/>
                  </a:lnTo>
                  <a:lnTo>
                    <a:pt x="66" y="86"/>
                  </a:lnTo>
                  <a:lnTo>
                    <a:pt x="65" y="86"/>
                  </a:lnTo>
                  <a:lnTo>
                    <a:pt x="62" y="88"/>
                  </a:lnTo>
                  <a:lnTo>
                    <a:pt x="58" y="89"/>
                  </a:lnTo>
                  <a:lnTo>
                    <a:pt x="54" y="91"/>
                  </a:lnTo>
                  <a:lnTo>
                    <a:pt x="50" y="93"/>
                  </a:lnTo>
                  <a:lnTo>
                    <a:pt x="46" y="96"/>
                  </a:lnTo>
                  <a:lnTo>
                    <a:pt x="40" y="99"/>
                  </a:lnTo>
                  <a:lnTo>
                    <a:pt x="36" y="102"/>
                  </a:lnTo>
                  <a:lnTo>
                    <a:pt x="33" y="103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7" y="106"/>
                  </a:lnTo>
                  <a:lnTo>
                    <a:pt x="42" y="107"/>
                  </a:lnTo>
                  <a:lnTo>
                    <a:pt x="47" y="108"/>
                  </a:lnTo>
                  <a:lnTo>
                    <a:pt x="53" y="108"/>
                  </a:lnTo>
                  <a:lnTo>
                    <a:pt x="58" y="107"/>
                  </a:lnTo>
                  <a:lnTo>
                    <a:pt x="64" y="104"/>
                  </a:lnTo>
                  <a:lnTo>
                    <a:pt x="69" y="102"/>
                  </a:lnTo>
                  <a:lnTo>
                    <a:pt x="75" y="97"/>
                  </a:lnTo>
                  <a:lnTo>
                    <a:pt x="80" y="95"/>
                  </a:lnTo>
                  <a:lnTo>
                    <a:pt x="84" y="92"/>
                  </a:lnTo>
                  <a:lnTo>
                    <a:pt x="88" y="91"/>
                  </a:lnTo>
                  <a:lnTo>
                    <a:pt x="88" y="89"/>
                  </a:lnTo>
                  <a:lnTo>
                    <a:pt x="90" y="88"/>
                  </a:lnTo>
                  <a:lnTo>
                    <a:pt x="91" y="85"/>
                  </a:lnTo>
                  <a:lnTo>
                    <a:pt x="94" y="84"/>
                  </a:lnTo>
                  <a:lnTo>
                    <a:pt x="95" y="84"/>
                  </a:lnTo>
                  <a:lnTo>
                    <a:pt x="97" y="85"/>
                  </a:lnTo>
                  <a:lnTo>
                    <a:pt x="99" y="88"/>
                  </a:lnTo>
                  <a:lnTo>
                    <a:pt x="101" y="89"/>
                  </a:lnTo>
                  <a:lnTo>
                    <a:pt x="103" y="89"/>
                  </a:lnTo>
                  <a:lnTo>
                    <a:pt x="105" y="89"/>
                  </a:lnTo>
                  <a:lnTo>
                    <a:pt x="106" y="89"/>
                  </a:lnTo>
                  <a:lnTo>
                    <a:pt x="108" y="88"/>
                  </a:lnTo>
                  <a:lnTo>
                    <a:pt x="110" y="85"/>
                  </a:lnTo>
                  <a:lnTo>
                    <a:pt x="112" y="86"/>
                  </a:lnTo>
                  <a:lnTo>
                    <a:pt x="114" y="86"/>
                  </a:lnTo>
                  <a:lnTo>
                    <a:pt x="117" y="88"/>
                  </a:lnTo>
                  <a:lnTo>
                    <a:pt x="120" y="88"/>
                  </a:lnTo>
                  <a:lnTo>
                    <a:pt x="123" y="86"/>
                  </a:lnTo>
                  <a:lnTo>
                    <a:pt x="125" y="85"/>
                  </a:lnTo>
                  <a:lnTo>
                    <a:pt x="130" y="81"/>
                  </a:lnTo>
                  <a:lnTo>
                    <a:pt x="130" y="80"/>
                  </a:lnTo>
                  <a:lnTo>
                    <a:pt x="131" y="75"/>
                  </a:lnTo>
                  <a:lnTo>
                    <a:pt x="134" y="70"/>
                  </a:lnTo>
                  <a:lnTo>
                    <a:pt x="135" y="63"/>
                  </a:lnTo>
                  <a:lnTo>
                    <a:pt x="136" y="55"/>
                  </a:lnTo>
                  <a:lnTo>
                    <a:pt x="136" y="48"/>
                  </a:lnTo>
                  <a:lnTo>
                    <a:pt x="135" y="45"/>
                  </a:lnTo>
                  <a:lnTo>
                    <a:pt x="134" y="44"/>
                  </a:lnTo>
                  <a:lnTo>
                    <a:pt x="132" y="41"/>
                  </a:lnTo>
                  <a:lnTo>
                    <a:pt x="130" y="40"/>
                  </a:lnTo>
                  <a:lnTo>
                    <a:pt x="128" y="41"/>
                  </a:lnTo>
                  <a:lnTo>
                    <a:pt x="127" y="43"/>
                  </a:lnTo>
                  <a:lnTo>
                    <a:pt x="124" y="44"/>
                  </a:lnTo>
                  <a:lnTo>
                    <a:pt x="120" y="45"/>
                  </a:lnTo>
                  <a:lnTo>
                    <a:pt x="117" y="47"/>
                  </a:lnTo>
                  <a:lnTo>
                    <a:pt x="113" y="47"/>
                  </a:lnTo>
                  <a:lnTo>
                    <a:pt x="110" y="44"/>
                  </a:lnTo>
                  <a:lnTo>
                    <a:pt x="109" y="38"/>
                  </a:lnTo>
                  <a:lnTo>
                    <a:pt x="108" y="37"/>
                  </a:lnTo>
                  <a:lnTo>
                    <a:pt x="108" y="36"/>
                  </a:lnTo>
                  <a:lnTo>
                    <a:pt x="106" y="34"/>
                  </a:lnTo>
                  <a:lnTo>
                    <a:pt x="105" y="33"/>
                  </a:lnTo>
                  <a:lnTo>
                    <a:pt x="103" y="29"/>
                  </a:lnTo>
                  <a:lnTo>
                    <a:pt x="102" y="26"/>
                  </a:lnTo>
                  <a:lnTo>
                    <a:pt x="101" y="21"/>
                  </a:lnTo>
                  <a:lnTo>
                    <a:pt x="101" y="19"/>
                  </a:lnTo>
                  <a:lnTo>
                    <a:pt x="99" y="16"/>
                  </a:lnTo>
                  <a:lnTo>
                    <a:pt x="99" y="12"/>
                  </a:lnTo>
                  <a:lnTo>
                    <a:pt x="99" y="10"/>
                  </a:lnTo>
                  <a:lnTo>
                    <a:pt x="99" y="5"/>
                  </a:lnTo>
                  <a:lnTo>
                    <a:pt x="99" y="3"/>
                  </a:lnTo>
                  <a:lnTo>
                    <a:pt x="99" y="1"/>
                  </a:lnTo>
                  <a:lnTo>
                    <a:pt x="99" y="0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1" y="3"/>
                  </a:lnTo>
                  <a:lnTo>
                    <a:pt x="87" y="4"/>
                  </a:lnTo>
                  <a:lnTo>
                    <a:pt x="83" y="8"/>
                  </a:lnTo>
                  <a:lnTo>
                    <a:pt x="80" y="12"/>
                  </a:lnTo>
                  <a:lnTo>
                    <a:pt x="77" y="18"/>
                  </a:lnTo>
                  <a:lnTo>
                    <a:pt x="79" y="26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7" y="32"/>
                  </a:lnTo>
                  <a:lnTo>
                    <a:pt x="79" y="33"/>
                  </a:lnTo>
                  <a:lnTo>
                    <a:pt x="81" y="34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1" y="41"/>
                  </a:lnTo>
                  <a:lnTo>
                    <a:pt x="79" y="45"/>
                  </a:lnTo>
                  <a:lnTo>
                    <a:pt x="75" y="51"/>
                  </a:lnTo>
                  <a:lnTo>
                    <a:pt x="72" y="55"/>
                  </a:lnTo>
                  <a:lnTo>
                    <a:pt x="69" y="58"/>
                  </a:lnTo>
                  <a:lnTo>
                    <a:pt x="68" y="58"/>
                  </a:lnTo>
                  <a:lnTo>
                    <a:pt x="66" y="58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6" y="51"/>
                  </a:lnTo>
                  <a:lnTo>
                    <a:pt x="65" y="47"/>
                  </a:lnTo>
                  <a:lnTo>
                    <a:pt x="65" y="44"/>
                  </a:lnTo>
                  <a:lnTo>
                    <a:pt x="64" y="40"/>
                  </a:lnTo>
                  <a:lnTo>
                    <a:pt x="62" y="37"/>
                  </a:lnTo>
                  <a:lnTo>
                    <a:pt x="61" y="34"/>
                  </a:lnTo>
                  <a:lnTo>
                    <a:pt x="59" y="32"/>
                  </a:lnTo>
                  <a:lnTo>
                    <a:pt x="57" y="30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47" y="33"/>
                  </a:lnTo>
                  <a:lnTo>
                    <a:pt x="44" y="33"/>
                  </a:lnTo>
                  <a:lnTo>
                    <a:pt x="42" y="34"/>
                  </a:lnTo>
                  <a:lnTo>
                    <a:pt x="40" y="33"/>
                  </a:lnTo>
                  <a:lnTo>
                    <a:pt x="37" y="30"/>
                  </a:lnTo>
                  <a:lnTo>
                    <a:pt x="37" y="2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3" name="Freeform 239"/>
            <p:cNvSpPr>
              <a:spLocks/>
            </p:cNvSpPr>
            <p:nvPr/>
          </p:nvSpPr>
          <p:spPr bwMode="auto">
            <a:xfrm>
              <a:off x="1680" y="600"/>
              <a:ext cx="20" cy="46"/>
            </a:xfrm>
            <a:custGeom>
              <a:avLst/>
              <a:gdLst>
                <a:gd name="T0" fmla="*/ 10 w 24"/>
                <a:gd name="T1" fmla="*/ 10 h 56"/>
                <a:gd name="T2" fmla="*/ 10 w 24"/>
                <a:gd name="T3" fmla="*/ 8 h 56"/>
                <a:gd name="T4" fmla="*/ 8 w 24"/>
                <a:gd name="T5" fmla="*/ 5 h 56"/>
                <a:gd name="T6" fmla="*/ 7 w 24"/>
                <a:gd name="T7" fmla="*/ 3 h 56"/>
                <a:gd name="T8" fmla="*/ 6 w 24"/>
                <a:gd name="T9" fmla="*/ 0 h 56"/>
                <a:gd name="T10" fmla="*/ 4 w 24"/>
                <a:gd name="T11" fmla="*/ 0 h 56"/>
                <a:gd name="T12" fmla="*/ 3 w 24"/>
                <a:gd name="T13" fmla="*/ 0 h 56"/>
                <a:gd name="T14" fmla="*/ 3 w 24"/>
                <a:gd name="T15" fmla="*/ 1 h 56"/>
                <a:gd name="T16" fmla="*/ 2 w 24"/>
                <a:gd name="T17" fmla="*/ 3 h 56"/>
                <a:gd name="T18" fmla="*/ 0 w 24"/>
                <a:gd name="T19" fmla="*/ 12 h 56"/>
                <a:gd name="T20" fmla="*/ 0 w 24"/>
                <a:gd name="T21" fmla="*/ 26 h 56"/>
                <a:gd name="T22" fmla="*/ 0 w 24"/>
                <a:gd name="T23" fmla="*/ 27 h 56"/>
                <a:gd name="T24" fmla="*/ 0 w 24"/>
                <a:gd name="T25" fmla="*/ 30 h 56"/>
                <a:gd name="T26" fmla="*/ 2 w 24"/>
                <a:gd name="T27" fmla="*/ 34 h 56"/>
                <a:gd name="T28" fmla="*/ 3 w 24"/>
                <a:gd name="T29" fmla="*/ 40 h 56"/>
                <a:gd name="T30" fmla="*/ 4 w 24"/>
                <a:gd name="T31" fmla="*/ 45 h 56"/>
                <a:gd name="T32" fmla="*/ 8 w 24"/>
                <a:gd name="T33" fmla="*/ 49 h 56"/>
                <a:gd name="T34" fmla="*/ 13 w 24"/>
                <a:gd name="T35" fmla="*/ 54 h 56"/>
                <a:gd name="T36" fmla="*/ 19 w 24"/>
                <a:gd name="T37" fmla="*/ 56 h 56"/>
                <a:gd name="T38" fmla="*/ 19 w 24"/>
                <a:gd name="T39" fmla="*/ 56 h 56"/>
                <a:gd name="T40" fmla="*/ 21 w 24"/>
                <a:gd name="T41" fmla="*/ 56 h 56"/>
                <a:gd name="T42" fmla="*/ 22 w 24"/>
                <a:gd name="T43" fmla="*/ 55 h 56"/>
                <a:gd name="T44" fmla="*/ 24 w 24"/>
                <a:gd name="T45" fmla="*/ 55 h 56"/>
                <a:gd name="T46" fmla="*/ 24 w 24"/>
                <a:gd name="T47" fmla="*/ 52 h 56"/>
                <a:gd name="T48" fmla="*/ 24 w 24"/>
                <a:gd name="T49" fmla="*/ 49 h 56"/>
                <a:gd name="T50" fmla="*/ 22 w 24"/>
                <a:gd name="T51" fmla="*/ 45 h 56"/>
                <a:gd name="T52" fmla="*/ 19 w 24"/>
                <a:gd name="T53" fmla="*/ 40 h 56"/>
                <a:gd name="T54" fmla="*/ 10 w 24"/>
                <a:gd name="T55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4" h="56">
                  <a:moveTo>
                    <a:pt x="10" y="10"/>
                  </a:moveTo>
                  <a:lnTo>
                    <a:pt x="10" y="8"/>
                  </a:lnTo>
                  <a:lnTo>
                    <a:pt x="8" y="5"/>
                  </a:lnTo>
                  <a:lnTo>
                    <a:pt x="7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3" y="40"/>
                  </a:lnTo>
                  <a:lnTo>
                    <a:pt x="4" y="45"/>
                  </a:lnTo>
                  <a:lnTo>
                    <a:pt x="8" y="49"/>
                  </a:lnTo>
                  <a:lnTo>
                    <a:pt x="13" y="54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2" y="55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2" y="45"/>
                  </a:lnTo>
                  <a:lnTo>
                    <a:pt x="19" y="4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4" name="Freeform 240"/>
            <p:cNvSpPr>
              <a:spLocks/>
            </p:cNvSpPr>
            <p:nvPr/>
          </p:nvSpPr>
          <p:spPr bwMode="auto">
            <a:xfrm>
              <a:off x="1680" y="600"/>
              <a:ext cx="20" cy="46"/>
            </a:xfrm>
            <a:custGeom>
              <a:avLst/>
              <a:gdLst>
                <a:gd name="T0" fmla="*/ 10 w 24"/>
                <a:gd name="T1" fmla="*/ 10 h 56"/>
                <a:gd name="T2" fmla="*/ 10 w 24"/>
                <a:gd name="T3" fmla="*/ 8 h 56"/>
                <a:gd name="T4" fmla="*/ 8 w 24"/>
                <a:gd name="T5" fmla="*/ 5 h 56"/>
                <a:gd name="T6" fmla="*/ 7 w 24"/>
                <a:gd name="T7" fmla="*/ 3 h 56"/>
                <a:gd name="T8" fmla="*/ 6 w 24"/>
                <a:gd name="T9" fmla="*/ 0 h 56"/>
                <a:gd name="T10" fmla="*/ 4 w 24"/>
                <a:gd name="T11" fmla="*/ 0 h 56"/>
                <a:gd name="T12" fmla="*/ 3 w 24"/>
                <a:gd name="T13" fmla="*/ 0 h 56"/>
                <a:gd name="T14" fmla="*/ 3 w 24"/>
                <a:gd name="T15" fmla="*/ 1 h 56"/>
                <a:gd name="T16" fmla="*/ 2 w 24"/>
                <a:gd name="T17" fmla="*/ 3 h 56"/>
                <a:gd name="T18" fmla="*/ 0 w 24"/>
                <a:gd name="T19" fmla="*/ 12 h 56"/>
                <a:gd name="T20" fmla="*/ 0 w 24"/>
                <a:gd name="T21" fmla="*/ 26 h 56"/>
                <a:gd name="T22" fmla="*/ 0 w 24"/>
                <a:gd name="T23" fmla="*/ 27 h 56"/>
                <a:gd name="T24" fmla="*/ 0 w 24"/>
                <a:gd name="T25" fmla="*/ 30 h 56"/>
                <a:gd name="T26" fmla="*/ 2 w 24"/>
                <a:gd name="T27" fmla="*/ 34 h 56"/>
                <a:gd name="T28" fmla="*/ 3 w 24"/>
                <a:gd name="T29" fmla="*/ 40 h 56"/>
                <a:gd name="T30" fmla="*/ 4 w 24"/>
                <a:gd name="T31" fmla="*/ 45 h 56"/>
                <a:gd name="T32" fmla="*/ 8 w 24"/>
                <a:gd name="T33" fmla="*/ 49 h 56"/>
                <a:gd name="T34" fmla="*/ 13 w 24"/>
                <a:gd name="T35" fmla="*/ 54 h 56"/>
                <a:gd name="T36" fmla="*/ 19 w 24"/>
                <a:gd name="T37" fmla="*/ 56 h 56"/>
                <a:gd name="T38" fmla="*/ 21 w 24"/>
                <a:gd name="T39" fmla="*/ 56 h 56"/>
                <a:gd name="T40" fmla="*/ 22 w 24"/>
                <a:gd name="T41" fmla="*/ 55 h 56"/>
                <a:gd name="T42" fmla="*/ 24 w 24"/>
                <a:gd name="T43" fmla="*/ 55 h 56"/>
                <a:gd name="T44" fmla="*/ 24 w 24"/>
                <a:gd name="T45" fmla="*/ 52 h 56"/>
                <a:gd name="T46" fmla="*/ 24 w 24"/>
                <a:gd name="T47" fmla="*/ 49 h 56"/>
                <a:gd name="T48" fmla="*/ 22 w 24"/>
                <a:gd name="T49" fmla="*/ 45 h 56"/>
                <a:gd name="T50" fmla="*/ 19 w 24"/>
                <a:gd name="T51" fmla="*/ 40 h 56"/>
                <a:gd name="T52" fmla="*/ 10 w 24"/>
                <a:gd name="T53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" h="56">
                  <a:moveTo>
                    <a:pt x="10" y="10"/>
                  </a:moveTo>
                  <a:lnTo>
                    <a:pt x="10" y="8"/>
                  </a:lnTo>
                  <a:lnTo>
                    <a:pt x="8" y="5"/>
                  </a:lnTo>
                  <a:lnTo>
                    <a:pt x="7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12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0" y="30"/>
                  </a:lnTo>
                  <a:lnTo>
                    <a:pt x="2" y="34"/>
                  </a:lnTo>
                  <a:lnTo>
                    <a:pt x="3" y="40"/>
                  </a:lnTo>
                  <a:lnTo>
                    <a:pt x="4" y="45"/>
                  </a:lnTo>
                  <a:lnTo>
                    <a:pt x="8" y="49"/>
                  </a:lnTo>
                  <a:lnTo>
                    <a:pt x="13" y="54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2" y="55"/>
                  </a:lnTo>
                  <a:lnTo>
                    <a:pt x="24" y="55"/>
                  </a:lnTo>
                  <a:lnTo>
                    <a:pt x="24" y="52"/>
                  </a:lnTo>
                  <a:lnTo>
                    <a:pt x="24" y="49"/>
                  </a:lnTo>
                  <a:lnTo>
                    <a:pt x="22" y="45"/>
                  </a:lnTo>
                  <a:lnTo>
                    <a:pt x="19" y="40"/>
                  </a:lnTo>
                  <a:lnTo>
                    <a:pt x="10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5" name="Freeform 241"/>
            <p:cNvSpPr>
              <a:spLocks/>
            </p:cNvSpPr>
            <p:nvPr/>
          </p:nvSpPr>
          <p:spPr bwMode="auto">
            <a:xfrm>
              <a:off x="1633" y="666"/>
              <a:ext cx="71" cy="86"/>
            </a:xfrm>
            <a:custGeom>
              <a:avLst/>
              <a:gdLst>
                <a:gd name="T0" fmla="*/ 18 w 88"/>
                <a:gd name="T1" fmla="*/ 11 h 107"/>
                <a:gd name="T2" fmla="*/ 11 w 88"/>
                <a:gd name="T3" fmla="*/ 8 h 107"/>
                <a:gd name="T4" fmla="*/ 2 w 88"/>
                <a:gd name="T5" fmla="*/ 7 h 107"/>
                <a:gd name="T6" fmla="*/ 0 w 88"/>
                <a:gd name="T7" fmla="*/ 15 h 107"/>
                <a:gd name="T8" fmla="*/ 1 w 88"/>
                <a:gd name="T9" fmla="*/ 26 h 107"/>
                <a:gd name="T10" fmla="*/ 5 w 88"/>
                <a:gd name="T11" fmla="*/ 32 h 107"/>
                <a:gd name="T12" fmla="*/ 11 w 88"/>
                <a:gd name="T13" fmla="*/ 43 h 107"/>
                <a:gd name="T14" fmla="*/ 16 w 88"/>
                <a:gd name="T15" fmla="*/ 54 h 107"/>
                <a:gd name="T16" fmla="*/ 19 w 88"/>
                <a:gd name="T17" fmla="*/ 59 h 107"/>
                <a:gd name="T18" fmla="*/ 27 w 88"/>
                <a:gd name="T19" fmla="*/ 59 h 107"/>
                <a:gd name="T20" fmla="*/ 37 w 88"/>
                <a:gd name="T21" fmla="*/ 62 h 107"/>
                <a:gd name="T22" fmla="*/ 44 w 88"/>
                <a:gd name="T23" fmla="*/ 70 h 107"/>
                <a:gd name="T24" fmla="*/ 44 w 88"/>
                <a:gd name="T25" fmla="*/ 84 h 107"/>
                <a:gd name="T26" fmla="*/ 51 w 88"/>
                <a:gd name="T27" fmla="*/ 96 h 107"/>
                <a:gd name="T28" fmla="*/ 62 w 88"/>
                <a:gd name="T29" fmla="*/ 106 h 107"/>
                <a:gd name="T30" fmla="*/ 75 w 88"/>
                <a:gd name="T31" fmla="*/ 107 h 107"/>
                <a:gd name="T32" fmla="*/ 86 w 88"/>
                <a:gd name="T33" fmla="*/ 100 h 107"/>
                <a:gd name="T34" fmla="*/ 86 w 88"/>
                <a:gd name="T35" fmla="*/ 98 h 107"/>
                <a:gd name="T36" fmla="*/ 82 w 88"/>
                <a:gd name="T37" fmla="*/ 100 h 107"/>
                <a:gd name="T38" fmla="*/ 77 w 88"/>
                <a:gd name="T39" fmla="*/ 103 h 107"/>
                <a:gd name="T40" fmla="*/ 75 w 88"/>
                <a:gd name="T41" fmla="*/ 102 h 107"/>
                <a:gd name="T42" fmla="*/ 75 w 88"/>
                <a:gd name="T43" fmla="*/ 92 h 107"/>
                <a:gd name="T44" fmla="*/ 74 w 88"/>
                <a:gd name="T45" fmla="*/ 77 h 107"/>
                <a:gd name="T46" fmla="*/ 70 w 88"/>
                <a:gd name="T47" fmla="*/ 61 h 107"/>
                <a:gd name="T48" fmla="*/ 68 w 88"/>
                <a:gd name="T49" fmla="*/ 51 h 107"/>
                <a:gd name="T50" fmla="*/ 74 w 88"/>
                <a:gd name="T51" fmla="*/ 39 h 107"/>
                <a:gd name="T52" fmla="*/ 79 w 88"/>
                <a:gd name="T53" fmla="*/ 22 h 107"/>
                <a:gd name="T54" fmla="*/ 79 w 88"/>
                <a:gd name="T55" fmla="*/ 10 h 107"/>
                <a:gd name="T56" fmla="*/ 75 w 88"/>
                <a:gd name="T57" fmla="*/ 6 h 107"/>
                <a:gd name="T58" fmla="*/ 70 w 88"/>
                <a:gd name="T59" fmla="*/ 4 h 107"/>
                <a:gd name="T60" fmla="*/ 62 w 88"/>
                <a:gd name="T61" fmla="*/ 1 h 107"/>
                <a:gd name="T62" fmla="*/ 51 w 88"/>
                <a:gd name="T63" fmla="*/ 0 h 107"/>
                <a:gd name="T64" fmla="*/ 44 w 88"/>
                <a:gd name="T65" fmla="*/ 1 h 107"/>
                <a:gd name="T66" fmla="*/ 41 w 88"/>
                <a:gd name="T67" fmla="*/ 4 h 107"/>
                <a:gd name="T68" fmla="*/ 42 w 88"/>
                <a:gd name="T69" fmla="*/ 12 h 107"/>
                <a:gd name="T70" fmla="*/ 48 w 88"/>
                <a:gd name="T71" fmla="*/ 28 h 107"/>
                <a:gd name="T72" fmla="*/ 52 w 88"/>
                <a:gd name="T73" fmla="*/ 40 h 107"/>
                <a:gd name="T74" fmla="*/ 51 w 88"/>
                <a:gd name="T75" fmla="*/ 45 h 107"/>
                <a:gd name="T76" fmla="*/ 48 w 88"/>
                <a:gd name="T77" fmla="*/ 45 h 107"/>
                <a:gd name="T78" fmla="*/ 40 w 88"/>
                <a:gd name="T79" fmla="*/ 41 h 107"/>
                <a:gd name="T80" fmla="*/ 30 w 88"/>
                <a:gd name="T81" fmla="*/ 34 h 107"/>
                <a:gd name="T82" fmla="*/ 23 w 88"/>
                <a:gd name="T83" fmla="*/ 28 h 107"/>
                <a:gd name="T84" fmla="*/ 19 w 88"/>
                <a:gd name="T85" fmla="*/ 1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107">
                  <a:moveTo>
                    <a:pt x="18" y="12"/>
                  </a:moveTo>
                  <a:lnTo>
                    <a:pt x="18" y="11"/>
                  </a:lnTo>
                  <a:lnTo>
                    <a:pt x="15" y="10"/>
                  </a:lnTo>
                  <a:lnTo>
                    <a:pt x="11" y="8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8" y="37"/>
                  </a:lnTo>
                  <a:lnTo>
                    <a:pt x="11" y="43"/>
                  </a:lnTo>
                  <a:lnTo>
                    <a:pt x="13" y="48"/>
                  </a:lnTo>
                  <a:lnTo>
                    <a:pt x="16" y="54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23" y="59"/>
                  </a:lnTo>
                  <a:lnTo>
                    <a:pt x="27" y="59"/>
                  </a:lnTo>
                  <a:lnTo>
                    <a:pt x="31" y="61"/>
                  </a:lnTo>
                  <a:lnTo>
                    <a:pt x="37" y="62"/>
                  </a:lnTo>
                  <a:lnTo>
                    <a:pt x="41" y="66"/>
                  </a:lnTo>
                  <a:lnTo>
                    <a:pt x="44" y="70"/>
                  </a:lnTo>
                  <a:lnTo>
                    <a:pt x="44" y="76"/>
                  </a:lnTo>
                  <a:lnTo>
                    <a:pt x="44" y="84"/>
                  </a:lnTo>
                  <a:lnTo>
                    <a:pt x="46" y="91"/>
                  </a:lnTo>
                  <a:lnTo>
                    <a:pt x="51" y="96"/>
                  </a:lnTo>
                  <a:lnTo>
                    <a:pt x="56" y="102"/>
                  </a:lnTo>
                  <a:lnTo>
                    <a:pt x="62" y="106"/>
                  </a:lnTo>
                  <a:lnTo>
                    <a:pt x="68" y="107"/>
                  </a:lnTo>
                  <a:lnTo>
                    <a:pt x="75" y="107"/>
                  </a:lnTo>
                  <a:lnTo>
                    <a:pt x="81" y="103"/>
                  </a:lnTo>
                  <a:lnTo>
                    <a:pt x="86" y="100"/>
                  </a:lnTo>
                  <a:lnTo>
                    <a:pt x="88" y="99"/>
                  </a:lnTo>
                  <a:lnTo>
                    <a:pt x="86" y="98"/>
                  </a:lnTo>
                  <a:lnTo>
                    <a:pt x="85" y="99"/>
                  </a:lnTo>
                  <a:lnTo>
                    <a:pt x="82" y="100"/>
                  </a:lnTo>
                  <a:lnTo>
                    <a:pt x="78" y="102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2"/>
                  </a:lnTo>
                  <a:lnTo>
                    <a:pt x="75" y="85"/>
                  </a:lnTo>
                  <a:lnTo>
                    <a:pt x="74" y="77"/>
                  </a:lnTo>
                  <a:lnTo>
                    <a:pt x="73" y="69"/>
                  </a:lnTo>
                  <a:lnTo>
                    <a:pt x="70" y="61"/>
                  </a:lnTo>
                  <a:lnTo>
                    <a:pt x="67" y="52"/>
                  </a:lnTo>
                  <a:lnTo>
                    <a:pt x="68" y="51"/>
                  </a:lnTo>
                  <a:lnTo>
                    <a:pt x="71" y="45"/>
                  </a:lnTo>
                  <a:lnTo>
                    <a:pt x="74" y="39"/>
                  </a:lnTo>
                  <a:lnTo>
                    <a:pt x="78" y="30"/>
                  </a:lnTo>
                  <a:lnTo>
                    <a:pt x="79" y="22"/>
                  </a:lnTo>
                  <a:lnTo>
                    <a:pt x="79" y="14"/>
                  </a:lnTo>
                  <a:lnTo>
                    <a:pt x="79" y="10"/>
                  </a:lnTo>
                  <a:lnTo>
                    <a:pt x="78" y="7"/>
                  </a:lnTo>
                  <a:lnTo>
                    <a:pt x="75" y="6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66" y="3"/>
                  </a:lnTo>
                  <a:lnTo>
                    <a:pt x="62" y="1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2" y="12"/>
                  </a:lnTo>
                  <a:lnTo>
                    <a:pt x="45" y="19"/>
                  </a:lnTo>
                  <a:lnTo>
                    <a:pt x="48" y="28"/>
                  </a:lnTo>
                  <a:lnTo>
                    <a:pt x="51" y="34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5" y="44"/>
                  </a:lnTo>
                  <a:lnTo>
                    <a:pt x="40" y="41"/>
                  </a:lnTo>
                  <a:lnTo>
                    <a:pt x="35" y="39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23" y="28"/>
                  </a:lnTo>
                  <a:lnTo>
                    <a:pt x="20" y="22"/>
                  </a:lnTo>
                  <a:lnTo>
                    <a:pt x="19" y="18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6" name="Freeform 242"/>
            <p:cNvSpPr>
              <a:spLocks/>
            </p:cNvSpPr>
            <p:nvPr/>
          </p:nvSpPr>
          <p:spPr bwMode="auto">
            <a:xfrm>
              <a:off x="1633" y="666"/>
              <a:ext cx="71" cy="86"/>
            </a:xfrm>
            <a:custGeom>
              <a:avLst/>
              <a:gdLst>
                <a:gd name="T0" fmla="*/ 18 w 88"/>
                <a:gd name="T1" fmla="*/ 11 h 107"/>
                <a:gd name="T2" fmla="*/ 11 w 88"/>
                <a:gd name="T3" fmla="*/ 8 h 107"/>
                <a:gd name="T4" fmla="*/ 2 w 88"/>
                <a:gd name="T5" fmla="*/ 7 h 107"/>
                <a:gd name="T6" fmla="*/ 0 w 88"/>
                <a:gd name="T7" fmla="*/ 15 h 107"/>
                <a:gd name="T8" fmla="*/ 4 w 88"/>
                <a:gd name="T9" fmla="*/ 29 h 107"/>
                <a:gd name="T10" fmla="*/ 8 w 88"/>
                <a:gd name="T11" fmla="*/ 37 h 107"/>
                <a:gd name="T12" fmla="*/ 13 w 88"/>
                <a:gd name="T13" fmla="*/ 48 h 107"/>
                <a:gd name="T14" fmla="*/ 18 w 88"/>
                <a:gd name="T15" fmla="*/ 59 h 107"/>
                <a:gd name="T16" fmla="*/ 23 w 88"/>
                <a:gd name="T17" fmla="*/ 59 h 107"/>
                <a:gd name="T18" fmla="*/ 31 w 88"/>
                <a:gd name="T19" fmla="*/ 61 h 107"/>
                <a:gd name="T20" fmla="*/ 41 w 88"/>
                <a:gd name="T21" fmla="*/ 66 h 107"/>
                <a:gd name="T22" fmla="*/ 44 w 88"/>
                <a:gd name="T23" fmla="*/ 76 h 107"/>
                <a:gd name="T24" fmla="*/ 46 w 88"/>
                <a:gd name="T25" fmla="*/ 91 h 107"/>
                <a:gd name="T26" fmla="*/ 56 w 88"/>
                <a:gd name="T27" fmla="*/ 102 h 107"/>
                <a:gd name="T28" fmla="*/ 68 w 88"/>
                <a:gd name="T29" fmla="*/ 107 h 107"/>
                <a:gd name="T30" fmla="*/ 81 w 88"/>
                <a:gd name="T31" fmla="*/ 103 h 107"/>
                <a:gd name="T32" fmla="*/ 88 w 88"/>
                <a:gd name="T33" fmla="*/ 99 h 107"/>
                <a:gd name="T34" fmla="*/ 85 w 88"/>
                <a:gd name="T35" fmla="*/ 99 h 107"/>
                <a:gd name="T36" fmla="*/ 78 w 88"/>
                <a:gd name="T37" fmla="*/ 102 h 107"/>
                <a:gd name="T38" fmla="*/ 75 w 88"/>
                <a:gd name="T39" fmla="*/ 103 h 107"/>
                <a:gd name="T40" fmla="*/ 75 w 88"/>
                <a:gd name="T41" fmla="*/ 99 h 107"/>
                <a:gd name="T42" fmla="*/ 75 w 88"/>
                <a:gd name="T43" fmla="*/ 85 h 107"/>
                <a:gd name="T44" fmla="*/ 73 w 88"/>
                <a:gd name="T45" fmla="*/ 69 h 107"/>
                <a:gd name="T46" fmla="*/ 67 w 88"/>
                <a:gd name="T47" fmla="*/ 52 h 107"/>
                <a:gd name="T48" fmla="*/ 71 w 88"/>
                <a:gd name="T49" fmla="*/ 45 h 107"/>
                <a:gd name="T50" fmla="*/ 78 w 88"/>
                <a:gd name="T51" fmla="*/ 30 h 107"/>
                <a:gd name="T52" fmla="*/ 79 w 88"/>
                <a:gd name="T53" fmla="*/ 14 h 107"/>
                <a:gd name="T54" fmla="*/ 78 w 88"/>
                <a:gd name="T55" fmla="*/ 7 h 107"/>
                <a:gd name="T56" fmla="*/ 71 w 88"/>
                <a:gd name="T57" fmla="*/ 4 h 107"/>
                <a:gd name="T58" fmla="*/ 66 w 88"/>
                <a:gd name="T59" fmla="*/ 3 h 107"/>
                <a:gd name="T60" fmla="*/ 56 w 88"/>
                <a:gd name="T61" fmla="*/ 0 h 107"/>
                <a:gd name="T62" fmla="*/ 45 w 88"/>
                <a:gd name="T63" fmla="*/ 0 h 107"/>
                <a:gd name="T64" fmla="*/ 42 w 88"/>
                <a:gd name="T65" fmla="*/ 3 h 107"/>
                <a:gd name="T66" fmla="*/ 41 w 88"/>
                <a:gd name="T67" fmla="*/ 7 h 107"/>
                <a:gd name="T68" fmla="*/ 45 w 88"/>
                <a:gd name="T69" fmla="*/ 19 h 107"/>
                <a:gd name="T70" fmla="*/ 51 w 88"/>
                <a:gd name="T71" fmla="*/ 34 h 107"/>
                <a:gd name="T72" fmla="*/ 52 w 88"/>
                <a:gd name="T73" fmla="*/ 44 h 107"/>
                <a:gd name="T74" fmla="*/ 49 w 88"/>
                <a:gd name="T75" fmla="*/ 45 h 107"/>
                <a:gd name="T76" fmla="*/ 45 w 88"/>
                <a:gd name="T77" fmla="*/ 44 h 107"/>
                <a:gd name="T78" fmla="*/ 35 w 88"/>
                <a:gd name="T79" fmla="*/ 39 h 107"/>
                <a:gd name="T80" fmla="*/ 26 w 88"/>
                <a:gd name="T81" fmla="*/ 30 h 107"/>
                <a:gd name="T82" fmla="*/ 20 w 88"/>
                <a:gd name="T83" fmla="*/ 22 h 107"/>
                <a:gd name="T84" fmla="*/ 18 w 88"/>
                <a:gd name="T85" fmla="*/ 1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8" h="107">
                  <a:moveTo>
                    <a:pt x="18" y="12"/>
                  </a:moveTo>
                  <a:lnTo>
                    <a:pt x="18" y="11"/>
                  </a:lnTo>
                  <a:lnTo>
                    <a:pt x="15" y="10"/>
                  </a:lnTo>
                  <a:lnTo>
                    <a:pt x="11" y="8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1" y="26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8" y="37"/>
                  </a:lnTo>
                  <a:lnTo>
                    <a:pt x="11" y="43"/>
                  </a:lnTo>
                  <a:lnTo>
                    <a:pt x="13" y="48"/>
                  </a:lnTo>
                  <a:lnTo>
                    <a:pt x="16" y="54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23" y="59"/>
                  </a:lnTo>
                  <a:lnTo>
                    <a:pt x="27" y="59"/>
                  </a:lnTo>
                  <a:lnTo>
                    <a:pt x="31" y="61"/>
                  </a:lnTo>
                  <a:lnTo>
                    <a:pt x="37" y="62"/>
                  </a:lnTo>
                  <a:lnTo>
                    <a:pt x="41" y="66"/>
                  </a:lnTo>
                  <a:lnTo>
                    <a:pt x="44" y="70"/>
                  </a:lnTo>
                  <a:lnTo>
                    <a:pt x="44" y="76"/>
                  </a:lnTo>
                  <a:lnTo>
                    <a:pt x="44" y="84"/>
                  </a:lnTo>
                  <a:lnTo>
                    <a:pt x="46" y="91"/>
                  </a:lnTo>
                  <a:lnTo>
                    <a:pt x="51" y="96"/>
                  </a:lnTo>
                  <a:lnTo>
                    <a:pt x="56" y="102"/>
                  </a:lnTo>
                  <a:lnTo>
                    <a:pt x="62" y="106"/>
                  </a:lnTo>
                  <a:lnTo>
                    <a:pt x="68" y="107"/>
                  </a:lnTo>
                  <a:lnTo>
                    <a:pt x="75" y="107"/>
                  </a:lnTo>
                  <a:lnTo>
                    <a:pt x="81" y="103"/>
                  </a:lnTo>
                  <a:lnTo>
                    <a:pt x="86" y="100"/>
                  </a:lnTo>
                  <a:lnTo>
                    <a:pt x="88" y="99"/>
                  </a:lnTo>
                  <a:lnTo>
                    <a:pt x="86" y="98"/>
                  </a:lnTo>
                  <a:lnTo>
                    <a:pt x="85" y="99"/>
                  </a:lnTo>
                  <a:lnTo>
                    <a:pt x="82" y="100"/>
                  </a:lnTo>
                  <a:lnTo>
                    <a:pt x="78" y="102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2"/>
                  </a:lnTo>
                  <a:lnTo>
                    <a:pt x="75" y="85"/>
                  </a:lnTo>
                  <a:lnTo>
                    <a:pt x="74" y="77"/>
                  </a:lnTo>
                  <a:lnTo>
                    <a:pt x="73" y="69"/>
                  </a:lnTo>
                  <a:lnTo>
                    <a:pt x="70" y="61"/>
                  </a:lnTo>
                  <a:lnTo>
                    <a:pt x="67" y="52"/>
                  </a:lnTo>
                  <a:lnTo>
                    <a:pt x="68" y="51"/>
                  </a:lnTo>
                  <a:lnTo>
                    <a:pt x="71" y="45"/>
                  </a:lnTo>
                  <a:lnTo>
                    <a:pt x="74" y="39"/>
                  </a:lnTo>
                  <a:lnTo>
                    <a:pt x="78" y="30"/>
                  </a:lnTo>
                  <a:lnTo>
                    <a:pt x="79" y="22"/>
                  </a:lnTo>
                  <a:lnTo>
                    <a:pt x="79" y="14"/>
                  </a:lnTo>
                  <a:lnTo>
                    <a:pt x="79" y="10"/>
                  </a:lnTo>
                  <a:lnTo>
                    <a:pt x="78" y="7"/>
                  </a:lnTo>
                  <a:lnTo>
                    <a:pt x="75" y="6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66" y="3"/>
                  </a:lnTo>
                  <a:lnTo>
                    <a:pt x="62" y="1"/>
                  </a:lnTo>
                  <a:lnTo>
                    <a:pt x="56" y="0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44" y="1"/>
                  </a:lnTo>
                  <a:lnTo>
                    <a:pt x="42" y="3"/>
                  </a:lnTo>
                  <a:lnTo>
                    <a:pt x="41" y="4"/>
                  </a:lnTo>
                  <a:lnTo>
                    <a:pt x="41" y="7"/>
                  </a:lnTo>
                  <a:lnTo>
                    <a:pt x="42" y="12"/>
                  </a:lnTo>
                  <a:lnTo>
                    <a:pt x="45" y="19"/>
                  </a:lnTo>
                  <a:lnTo>
                    <a:pt x="48" y="28"/>
                  </a:lnTo>
                  <a:lnTo>
                    <a:pt x="51" y="34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5" y="44"/>
                  </a:lnTo>
                  <a:lnTo>
                    <a:pt x="40" y="41"/>
                  </a:lnTo>
                  <a:lnTo>
                    <a:pt x="35" y="39"/>
                  </a:lnTo>
                  <a:lnTo>
                    <a:pt x="30" y="34"/>
                  </a:lnTo>
                  <a:lnTo>
                    <a:pt x="26" y="30"/>
                  </a:lnTo>
                  <a:lnTo>
                    <a:pt x="23" y="28"/>
                  </a:lnTo>
                  <a:lnTo>
                    <a:pt x="20" y="22"/>
                  </a:lnTo>
                  <a:lnTo>
                    <a:pt x="19" y="18"/>
                  </a:lnTo>
                  <a:lnTo>
                    <a:pt x="18" y="1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7" name="Freeform 243"/>
            <p:cNvSpPr>
              <a:spLocks/>
            </p:cNvSpPr>
            <p:nvPr/>
          </p:nvSpPr>
          <p:spPr bwMode="auto">
            <a:xfrm>
              <a:off x="1706" y="722"/>
              <a:ext cx="40" cy="42"/>
            </a:xfrm>
            <a:custGeom>
              <a:avLst/>
              <a:gdLst>
                <a:gd name="T0" fmla="*/ 12 w 50"/>
                <a:gd name="T1" fmla="*/ 3 h 53"/>
                <a:gd name="T2" fmla="*/ 11 w 50"/>
                <a:gd name="T3" fmla="*/ 3 h 53"/>
                <a:gd name="T4" fmla="*/ 9 w 50"/>
                <a:gd name="T5" fmla="*/ 1 h 53"/>
                <a:gd name="T6" fmla="*/ 6 w 50"/>
                <a:gd name="T7" fmla="*/ 0 h 53"/>
                <a:gd name="T8" fmla="*/ 5 w 50"/>
                <a:gd name="T9" fmla="*/ 0 h 53"/>
                <a:gd name="T10" fmla="*/ 2 w 50"/>
                <a:gd name="T11" fmla="*/ 0 h 53"/>
                <a:gd name="T12" fmla="*/ 2 w 50"/>
                <a:gd name="T13" fmla="*/ 3 h 53"/>
                <a:gd name="T14" fmla="*/ 2 w 50"/>
                <a:gd name="T15" fmla="*/ 8 h 53"/>
                <a:gd name="T16" fmla="*/ 5 w 50"/>
                <a:gd name="T17" fmla="*/ 15 h 53"/>
                <a:gd name="T18" fmla="*/ 5 w 50"/>
                <a:gd name="T19" fmla="*/ 16 h 53"/>
                <a:gd name="T20" fmla="*/ 5 w 50"/>
                <a:gd name="T21" fmla="*/ 19 h 53"/>
                <a:gd name="T22" fmla="*/ 5 w 50"/>
                <a:gd name="T23" fmla="*/ 22 h 53"/>
                <a:gd name="T24" fmla="*/ 4 w 50"/>
                <a:gd name="T25" fmla="*/ 26 h 53"/>
                <a:gd name="T26" fmla="*/ 4 w 50"/>
                <a:gd name="T27" fmla="*/ 31 h 53"/>
                <a:gd name="T28" fmla="*/ 2 w 50"/>
                <a:gd name="T29" fmla="*/ 37 h 53"/>
                <a:gd name="T30" fmla="*/ 1 w 50"/>
                <a:gd name="T31" fmla="*/ 41 h 53"/>
                <a:gd name="T32" fmla="*/ 0 w 50"/>
                <a:gd name="T33" fmla="*/ 45 h 53"/>
                <a:gd name="T34" fmla="*/ 19 w 50"/>
                <a:gd name="T35" fmla="*/ 41 h 53"/>
                <a:gd name="T36" fmla="*/ 27 w 50"/>
                <a:gd name="T37" fmla="*/ 53 h 53"/>
                <a:gd name="T38" fmla="*/ 27 w 50"/>
                <a:gd name="T39" fmla="*/ 53 h 53"/>
                <a:gd name="T40" fmla="*/ 28 w 50"/>
                <a:gd name="T41" fmla="*/ 53 h 53"/>
                <a:gd name="T42" fmla="*/ 31 w 50"/>
                <a:gd name="T43" fmla="*/ 52 h 53"/>
                <a:gd name="T44" fmla="*/ 35 w 50"/>
                <a:gd name="T45" fmla="*/ 52 h 53"/>
                <a:gd name="T46" fmla="*/ 38 w 50"/>
                <a:gd name="T47" fmla="*/ 51 h 53"/>
                <a:gd name="T48" fmla="*/ 41 w 50"/>
                <a:gd name="T49" fmla="*/ 48 h 53"/>
                <a:gd name="T50" fmla="*/ 44 w 50"/>
                <a:gd name="T51" fmla="*/ 47 h 53"/>
                <a:gd name="T52" fmla="*/ 46 w 50"/>
                <a:gd name="T53" fmla="*/ 44 h 53"/>
                <a:gd name="T54" fmla="*/ 46 w 50"/>
                <a:gd name="T55" fmla="*/ 42 h 53"/>
                <a:gd name="T56" fmla="*/ 48 w 50"/>
                <a:gd name="T57" fmla="*/ 41 h 53"/>
                <a:gd name="T58" fmla="*/ 49 w 50"/>
                <a:gd name="T59" fmla="*/ 38 h 53"/>
                <a:gd name="T60" fmla="*/ 49 w 50"/>
                <a:gd name="T61" fmla="*/ 34 h 53"/>
                <a:gd name="T62" fmla="*/ 50 w 50"/>
                <a:gd name="T63" fmla="*/ 30 h 53"/>
                <a:gd name="T64" fmla="*/ 50 w 50"/>
                <a:gd name="T65" fmla="*/ 26 h 53"/>
                <a:gd name="T66" fmla="*/ 49 w 50"/>
                <a:gd name="T67" fmla="*/ 20 h 53"/>
                <a:gd name="T68" fmla="*/ 46 w 50"/>
                <a:gd name="T69" fmla="*/ 15 h 53"/>
                <a:gd name="T70" fmla="*/ 45 w 50"/>
                <a:gd name="T71" fmla="*/ 15 h 53"/>
                <a:gd name="T72" fmla="*/ 44 w 50"/>
                <a:gd name="T73" fmla="*/ 12 h 53"/>
                <a:gd name="T74" fmla="*/ 39 w 50"/>
                <a:gd name="T75" fmla="*/ 8 h 53"/>
                <a:gd name="T76" fmla="*/ 35 w 50"/>
                <a:gd name="T77" fmla="*/ 4 h 53"/>
                <a:gd name="T78" fmla="*/ 30 w 50"/>
                <a:gd name="T79" fmla="*/ 1 h 53"/>
                <a:gd name="T80" fmla="*/ 24 w 50"/>
                <a:gd name="T81" fmla="*/ 0 h 53"/>
                <a:gd name="T82" fmla="*/ 17 w 50"/>
                <a:gd name="T83" fmla="*/ 0 h 53"/>
                <a:gd name="T84" fmla="*/ 12 w 50"/>
                <a:gd name="T85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" h="53">
                  <a:moveTo>
                    <a:pt x="12" y="3"/>
                  </a:moveTo>
                  <a:lnTo>
                    <a:pt x="11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8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4" y="26"/>
                  </a:lnTo>
                  <a:lnTo>
                    <a:pt x="4" y="31"/>
                  </a:lnTo>
                  <a:lnTo>
                    <a:pt x="2" y="37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19" y="41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1" y="52"/>
                  </a:lnTo>
                  <a:lnTo>
                    <a:pt x="35" y="52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4" y="47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8" y="41"/>
                  </a:lnTo>
                  <a:lnTo>
                    <a:pt x="49" y="38"/>
                  </a:lnTo>
                  <a:lnTo>
                    <a:pt x="49" y="34"/>
                  </a:lnTo>
                  <a:lnTo>
                    <a:pt x="50" y="30"/>
                  </a:lnTo>
                  <a:lnTo>
                    <a:pt x="50" y="26"/>
                  </a:lnTo>
                  <a:lnTo>
                    <a:pt x="49" y="20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4" y="12"/>
                  </a:lnTo>
                  <a:lnTo>
                    <a:pt x="39" y="8"/>
                  </a:lnTo>
                  <a:lnTo>
                    <a:pt x="35" y="4"/>
                  </a:lnTo>
                  <a:lnTo>
                    <a:pt x="30" y="1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8" name="Freeform 244"/>
            <p:cNvSpPr>
              <a:spLocks/>
            </p:cNvSpPr>
            <p:nvPr/>
          </p:nvSpPr>
          <p:spPr bwMode="auto">
            <a:xfrm>
              <a:off x="1706" y="722"/>
              <a:ext cx="40" cy="42"/>
            </a:xfrm>
            <a:custGeom>
              <a:avLst/>
              <a:gdLst>
                <a:gd name="T0" fmla="*/ 12 w 50"/>
                <a:gd name="T1" fmla="*/ 3 h 53"/>
                <a:gd name="T2" fmla="*/ 11 w 50"/>
                <a:gd name="T3" fmla="*/ 3 h 53"/>
                <a:gd name="T4" fmla="*/ 9 w 50"/>
                <a:gd name="T5" fmla="*/ 1 h 53"/>
                <a:gd name="T6" fmla="*/ 6 w 50"/>
                <a:gd name="T7" fmla="*/ 0 h 53"/>
                <a:gd name="T8" fmla="*/ 5 w 50"/>
                <a:gd name="T9" fmla="*/ 0 h 53"/>
                <a:gd name="T10" fmla="*/ 2 w 50"/>
                <a:gd name="T11" fmla="*/ 0 h 53"/>
                <a:gd name="T12" fmla="*/ 2 w 50"/>
                <a:gd name="T13" fmla="*/ 3 h 53"/>
                <a:gd name="T14" fmla="*/ 2 w 50"/>
                <a:gd name="T15" fmla="*/ 8 h 53"/>
                <a:gd name="T16" fmla="*/ 5 w 50"/>
                <a:gd name="T17" fmla="*/ 15 h 53"/>
                <a:gd name="T18" fmla="*/ 5 w 50"/>
                <a:gd name="T19" fmla="*/ 16 h 53"/>
                <a:gd name="T20" fmla="*/ 5 w 50"/>
                <a:gd name="T21" fmla="*/ 19 h 53"/>
                <a:gd name="T22" fmla="*/ 5 w 50"/>
                <a:gd name="T23" fmla="*/ 22 h 53"/>
                <a:gd name="T24" fmla="*/ 4 w 50"/>
                <a:gd name="T25" fmla="*/ 26 h 53"/>
                <a:gd name="T26" fmla="*/ 4 w 50"/>
                <a:gd name="T27" fmla="*/ 31 h 53"/>
                <a:gd name="T28" fmla="*/ 2 w 50"/>
                <a:gd name="T29" fmla="*/ 37 h 53"/>
                <a:gd name="T30" fmla="*/ 1 w 50"/>
                <a:gd name="T31" fmla="*/ 41 h 53"/>
                <a:gd name="T32" fmla="*/ 0 w 50"/>
                <a:gd name="T33" fmla="*/ 45 h 53"/>
                <a:gd name="T34" fmla="*/ 19 w 50"/>
                <a:gd name="T35" fmla="*/ 41 h 53"/>
                <a:gd name="T36" fmla="*/ 27 w 50"/>
                <a:gd name="T37" fmla="*/ 53 h 53"/>
                <a:gd name="T38" fmla="*/ 28 w 50"/>
                <a:gd name="T39" fmla="*/ 53 h 53"/>
                <a:gd name="T40" fmla="*/ 31 w 50"/>
                <a:gd name="T41" fmla="*/ 52 h 53"/>
                <a:gd name="T42" fmla="*/ 35 w 50"/>
                <a:gd name="T43" fmla="*/ 52 h 53"/>
                <a:gd name="T44" fmla="*/ 38 w 50"/>
                <a:gd name="T45" fmla="*/ 51 h 53"/>
                <a:gd name="T46" fmla="*/ 41 w 50"/>
                <a:gd name="T47" fmla="*/ 48 h 53"/>
                <a:gd name="T48" fmla="*/ 44 w 50"/>
                <a:gd name="T49" fmla="*/ 47 h 53"/>
                <a:gd name="T50" fmla="*/ 46 w 50"/>
                <a:gd name="T51" fmla="*/ 44 h 53"/>
                <a:gd name="T52" fmla="*/ 46 w 50"/>
                <a:gd name="T53" fmla="*/ 42 h 53"/>
                <a:gd name="T54" fmla="*/ 48 w 50"/>
                <a:gd name="T55" fmla="*/ 41 h 53"/>
                <a:gd name="T56" fmla="*/ 49 w 50"/>
                <a:gd name="T57" fmla="*/ 38 h 53"/>
                <a:gd name="T58" fmla="*/ 49 w 50"/>
                <a:gd name="T59" fmla="*/ 34 h 53"/>
                <a:gd name="T60" fmla="*/ 50 w 50"/>
                <a:gd name="T61" fmla="*/ 30 h 53"/>
                <a:gd name="T62" fmla="*/ 50 w 50"/>
                <a:gd name="T63" fmla="*/ 26 h 53"/>
                <a:gd name="T64" fmla="*/ 49 w 50"/>
                <a:gd name="T65" fmla="*/ 20 h 53"/>
                <a:gd name="T66" fmla="*/ 46 w 50"/>
                <a:gd name="T67" fmla="*/ 15 h 53"/>
                <a:gd name="T68" fmla="*/ 45 w 50"/>
                <a:gd name="T69" fmla="*/ 15 h 53"/>
                <a:gd name="T70" fmla="*/ 44 w 50"/>
                <a:gd name="T71" fmla="*/ 12 h 53"/>
                <a:gd name="T72" fmla="*/ 39 w 50"/>
                <a:gd name="T73" fmla="*/ 8 h 53"/>
                <a:gd name="T74" fmla="*/ 35 w 50"/>
                <a:gd name="T75" fmla="*/ 4 h 53"/>
                <a:gd name="T76" fmla="*/ 30 w 50"/>
                <a:gd name="T77" fmla="*/ 1 h 53"/>
                <a:gd name="T78" fmla="*/ 24 w 50"/>
                <a:gd name="T79" fmla="*/ 0 h 53"/>
                <a:gd name="T80" fmla="*/ 17 w 50"/>
                <a:gd name="T81" fmla="*/ 0 h 53"/>
                <a:gd name="T82" fmla="*/ 12 w 50"/>
                <a:gd name="T83" fmla="*/ 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" h="53">
                  <a:moveTo>
                    <a:pt x="12" y="3"/>
                  </a:moveTo>
                  <a:lnTo>
                    <a:pt x="11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8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22"/>
                  </a:lnTo>
                  <a:lnTo>
                    <a:pt x="4" y="26"/>
                  </a:lnTo>
                  <a:lnTo>
                    <a:pt x="4" y="31"/>
                  </a:lnTo>
                  <a:lnTo>
                    <a:pt x="2" y="37"/>
                  </a:lnTo>
                  <a:lnTo>
                    <a:pt x="1" y="41"/>
                  </a:lnTo>
                  <a:lnTo>
                    <a:pt x="0" y="45"/>
                  </a:lnTo>
                  <a:lnTo>
                    <a:pt x="19" y="41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31" y="52"/>
                  </a:lnTo>
                  <a:lnTo>
                    <a:pt x="35" y="52"/>
                  </a:lnTo>
                  <a:lnTo>
                    <a:pt x="38" y="51"/>
                  </a:lnTo>
                  <a:lnTo>
                    <a:pt x="41" y="48"/>
                  </a:lnTo>
                  <a:lnTo>
                    <a:pt x="44" y="47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8" y="41"/>
                  </a:lnTo>
                  <a:lnTo>
                    <a:pt x="49" y="38"/>
                  </a:lnTo>
                  <a:lnTo>
                    <a:pt x="49" y="34"/>
                  </a:lnTo>
                  <a:lnTo>
                    <a:pt x="50" y="30"/>
                  </a:lnTo>
                  <a:lnTo>
                    <a:pt x="50" y="26"/>
                  </a:lnTo>
                  <a:lnTo>
                    <a:pt x="49" y="20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4" y="12"/>
                  </a:lnTo>
                  <a:lnTo>
                    <a:pt x="39" y="8"/>
                  </a:lnTo>
                  <a:lnTo>
                    <a:pt x="35" y="4"/>
                  </a:lnTo>
                  <a:lnTo>
                    <a:pt x="30" y="1"/>
                  </a:lnTo>
                  <a:lnTo>
                    <a:pt x="24" y="0"/>
                  </a:lnTo>
                  <a:lnTo>
                    <a:pt x="17" y="0"/>
                  </a:lnTo>
                  <a:lnTo>
                    <a:pt x="12" y="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9" name="Freeform 245"/>
            <p:cNvSpPr>
              <a:spLocks/>
            </p:cNvSpPr>
            <p:nvPr/>
          </p:nvSpPr>
          <p:spPr bwMode="auto">
            <a:xfrm>
              <a:off x="1753" y="705"/>
              <a:ext cx="162" cy="94"/>
            </a:xfrm>
            <a:custGeom>
              <a:avLst/>
              <a:gdLst>
                <a:gd name="T0" fmla="*/ 11 w 199"/>
                <a:gd name="T1" fmla="*/ 0 h 116"/>
                <a:gd name="T2" fmla="*/ 1 w 199"/>
                <a:gd name="T3" fmla="*/ 3 h 116"/>
                <a:gd name="T4" fmla="*/ 4 w 199"/>
                <a:gd name="T5" fmla="*/ 29 h 116"/>
                <a:gd name="T6" fmla="*/ 7 w 199"/>
                <a:gd name="T7" fmla="*/ 35 h 116"/>
                <a:gd name="T8" fmla="*/ 18 w 199"/>
                <a:gd name="T9" fmla="*/ 37 h 116"/>
                <a:gd name="T10" fmla="*/ 31 w 199"/>
                <a:gd name="T11" fmla="*/ 30 h 116"/>
                <a:gd name="T12" fmla="*/ 38 w 199"/>
                <a:gd name="T13" fmla="*/ 28 h 116"/>
                <a:gd name="T14" fmla="*/ 44 w 199"/>
                <a:gd name="T15" fmla="*/ 44 h 116"/>
                <a:gd name="T16" fmla="*/ 52 w 199"/>
                <a:gd name="T17" fmla="*/ 84 h 116"/>
                <a:gd name="T18" fmla="*/ 46 w 199"/>
                <a:gd name="T19" fmla="*/ 85 h 116"/>
                <a:gd name="T20" fmla="*/ 44 w 199"/>
                <a:gd name="T21" fmla="*/ 91 h 116"/>
                <a:gd name="T22" fmla="*/ 51 w 199"/>
                <a:gd name="T23" fmla="*/ 103 h 116"/>
                <a:gd name="T24" fmla="*/ 60 w 199"/>
                <a:gd name="T25" fmla="*/ 103 h 116"/>
                <a:gd name="T26" fmla="*/ 66 w 199"/>
                <a:gd name="T27" fmla="*/ 102 h 116"/>
                <a:gd name="T28" fmla="*/ 70 w 199"/>
                <a:gd name="T29" fmla="*/ 100 h 116"/>
                <a:gd name="T30" fmla="*/ 78 w 199"/>
                <a:gd name="T31" fmla="*/ 100 h 116"/>
                <a:gd name="T32" fmla="*/ 86 w 199"/>
                <a:gd name="T33" fmla="*/ 106 h 116"/>
                <a:gd name="T34" fmla="*/ 97 w 199"/>
                <a:gd name="T35" fmla="*/ 113 h 116"/>
                <a:gd name="T36" fmla="*/ 119 w 199"/>
                <a:gd name="T37" fmla="*/ 116 h 116"/>
                <a:gd name="T38" fmla="*/ 140 w 199"/>
                <a:gd name="T39" fmla="*/ 113 h 116"/>
                <a:gd name="T40" fmla="*/ 143 w 199"/>
                <a:gd name="T41" fmla="*/ 105 h 116"/>
                <a:gd name="T42" fmla="*/ 156 w 199"/>
                <a:gd name="T43" fmla="*/ 105 h 116"/>
                <a:gd name="T44" fmla="*/ 169 w 199"/>
                <a:gd name="T45" fmla="*/ 110 h 116"/>
                <a:gd name="T46" fmla="*/ 180 w 199"/>
                <a:gd name="T47" fmla="*/ 106 h 116"/>
                <a:gd name="T48" fmla="*/ 183 w 199"/>
                <a:gd name="T49" fmla="*/ 89 h 116"/>
                <a:gd name="T50" fmla="*/ 187 w 199"/>
                <a:gd name="T51" fmla="*/ 88 h 116"/>
                <a:gd name="T52" fmla="*/ 194 w 199"/>
                <a:gd name="T53" fmla="*/ 84 h 116"/>
                <a:gd name="T54" fmla="*/ 195 w 199"/>
                <a:gd name="T55" fmla="*/ 77 h 116"/>
                <a:gd name="T56" fmla="*/ 199 w 199"/>
                <a:gd name="T57" fmla="*/ 69 h 116"/>
                <a:gd name="T58" fmla="*/ 183 w 199"/>
                <a:gd name="T59" fmla="*/ 59 h 116"/>
                <a:gd name="T60" fmla="*/ 165 w 199"/>
                <a:gd name="T61" fmla="*/ 57 h 116"/>
                <a:gd name="T62" fmla="*/ 151 w 199"/>
                <a:gd name="T63" fmla="*/ 51 h 116"/>
                <a:gd name="T64" fmla="*/ 132 w 199"/>
                <a:gd name="T65" fmla="*/ 52 h 116"/>
                <a:gd name="T66" fmla="*/ 126 w 199"/>
                <a:gd name="T67" fmla="*/ 57 h 116"/>
                <a:gd name="T68" fmla="*/ 111 w 199"/>
                <a:gd name="T69" fmla="*/ 59 h 116"/>
                <a:gd name="T70" fmla="*/ 73 w 199"/>
                <a:gd name="T71" fmla="*/ 39 h 116"/>
                <a:gd name="T72" fmla="*/ 71 w 199"/>
                <a:gd name="T73" fmla="*/ 35 h 116"/>
                <a:gd name="T74" fmla="*/ 66 w 199"/>
                <a:gd name="T75" fmla="*/ 29 h 116"/>
                <a:gd name="T76" fmla="*/ 62 w 199"/>
                <a:gd name="T77" fmla="*/ 28 h 116"/>
                <a:gd name="T78" fmla="*/ 59 w 199"/>
                <a:gd name="T79" fmla="*/ 25 h 116"/>
                <a:gd name="T80" fmla="*/ 59 w 199"/>
                <a:gd name="T81" fmla="*/ 22 h 116"/>
                <a:gd name="T82" fmla="*/ 60 w 199"/>
                <a:gd name="T83" fmla="*/ 19 h 116"/>
                <a:gd name="T84" fmla="*/ 57 w 199"/>
                <a:gd name="T85" fmla="*/ 11 h 116"/>
                <a:gd name="T86" fmla="*/ 48 w 199"/>
                <a:gd name="T87" fmla="*/ 10 h 116"/>
                <a:gd name="T88" fmla="*/ 44 w 199"/>
                <a:gd name="T89" fmla="*/ 15 h 116"/>
                <a:gd name="T90" fmla="*/ 35 w 199"/>
                <a:gd name="T91" fmla="*/ 17 h 116"/>
                <a:gd name="T92" fmla="*/ 33 w 199"/>
                <a:gd name="T93" fmla="*/ 8 h 116"/>
                <a:gd name="T94" fmla="*/ 27 w 199"/>
                <a:gd name="T95" fmla="*/ 4 h 116"/>
                <a:gd name="T96" fmla="*/ 18 w 199"/>
                <a:gd name="T97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9" h="116">
                  <a:moveTo>
                    <a:pt x="13" y="2"/>
                  </a:moveTo>
                  <a:lnTo>
                    <a:pt x="12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5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7" y="35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18" y="37"/>
                  </a:lnTo>
                  <a:lnTo>
                    <a:pt x="23" y="36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3" y="29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40" y="29"/>
                  </a:lnTo>
                  <a:lnTo>
                    <a:pt x="42" y="35"/>
                  </a:lnTo>
                  <a:lnTo>
                    <a:pt x="44" y="44"/>
                  </a:lnTo>
                  <a:lnTo>
                    <a:pt x="45" y="5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49" y="84"/>
                  </a:lnTo>
                  <a:lnTo>
                    <a:pt x="46" y="85"/>
                  </a:lnTo>
                  <a:lnTo>
                    <a:pt x="45" y="85"/>
                  </a:lnTo>
                  <a:lnTo>
                    <a:pt x="45" y="88"/>
                  </a:lnTo>
                  <a:lnTo>
                    <a:pt x="44" y="91"/>
                  </a:lnTo>
                  <a:lnTo>
                    <a:pt x="45" y="96"/>
                  </a:lnTo>
                  <a:lnTo>
                    <a:pt x="48" y="100"/>
                  </a:lnTo>
                  <a:lnTo>
                    <a:pt x="51" y="103"/>
                  </a:lnTo>
                  <a:lnTo>
                    <a:pt x="53" y="105"/>
                  </a:lnTo>
                  <a:lnTo>
                    <a:pt x="57" y="105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0"/>
                  </a:lnTo>
                  <a:lnTo>
                    <a:pt x="70" y="100"/>
                  </a:lnTo>
                  <a:lnTo>
                    <a:pt x="73" y="99"/>
                  </a:lnTo>
                  <a:lnTo>
                    <a:pt x="75" y="99"/>
                  </a:lnTo>
                  <a:lnTo>
                    <a:pt x="78" y="100"/>
                  </a:lnTo>
                  <a:lnTo>
                    <a:pt x="82" y="102"/>
                  </a:lnTo>
                  <a:lnTo>
                    <a:pt x="85" y="106"/>
                  </a:lnTo>
                  <a:lnTo>
                    <a:pt x="86" y="106"/>
                  </a:lnTo>
                  <a:lnTo>
                    <a:pt x="88" y="107"/>
                  </a:lnTo>
                  <a:lnTo>
                    <a:pt x="92" y="110"/>
                  </a:lnTo>
                  <a:lnTo>
                    <a:pt x="97" y="113"/>
                  </a:lnTo>
                  <a:lnTo>
                    <a:pt x="104" y="114"/>
                  </a:lnTo>
                  <a:lnTo>
                    <a:pt x="111" y="116"/>
                  </a:lnTo>
                  <a:lnTo>
                    <a:pt x="119" y="116"/>
                  </a:lnTo>
                  <a:lnTo>
                    <a:pt x="126" y="114"/>
                  </a:lnTo>
                  <a:lnTo>
                    <a:pt x="140" y="113"/>
                  </a:lnTo>
                  <a:lnTo>
                    <a:pt x="140" y="113"/>
                  </a:lnTo>
                  <a:lnTo>
                    <a:pt x="140" y="110"/>
                  </a:lnTo>
                  <a:lnTo>
                    <a:pt x="141" y="107"/>
                  </a:lnTo>
                  <a:lnTo>
                    <a:pt x="143" y="105"/>
                  </a:lnTo>
                  <a:lnTo>
                    <a:pt x="145" y="103"/>
                  </a:lnTo>
                  <a:lnTo>
                    <a:pt x="150" y="102"/>
                  </a:lnTo>
                  <a:lnTo>
                    <a:pt x="156" y="105"/>
                  </a:lnTo>
                  <a:lnTo>
                    <a:pt x="166" y="110"/>
                  </a:lnTo>
                  <a:lnTo>
                    <a:pt x="166" y="110"/>
                  </a:lnTo>
                  <a:lnTo>
                    <a:pt x="169" y="110"/>
                  </a:lnTo>
                  <a:lnTo>
                    <a:pt x="173" y="110"/>
                  </a:lnTo>
                  <a:lnTo>
                    <a:pt x="177" y="109"/>
                  </a:lnTo>
                  <a:lnTo>
                    <a:pt x="180" y="106"/>
                  </a:lnTo>
                  <a:lnTo>
                    <a:pt x="183" y="102"/>
                  </a:lnTo>
                  <a:lnTo>
                    <a:pt x="184" y="96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4" y="89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92" y="87"/>
                  </a:lnTo>
                  <a:lnTo>
                    <a:pt x="194" y="84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5" y="77"/>
                  </a:lnTo>
                  <a:lnTo>
                    <a:pt x="196" y="76"/>
                  </a:lnTo>
                  <a:lnTo>
                    <a:pt x="198" y="73"/>
                  </a:lnTo>
                  <a:lnTo>
                    <a:pt x="199" y="69"/>
                  </a:lnTo>
                  <a:lnTo>
                    <a:pt x="196" y="66"/>
                  </a:lnTo>
                  <a:lnTo>
                    <a:pt x="192" y="62"/>
                  </a:lnTo>
                  <a:lnTo>
                    <a:pt x="183" y="59"/>
                  </a:lnTo>
                  <a:lnTo>
                    <a:pt x="167" y="58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6" y="52"/>
                  </a:lnTo>
                  <a:lnTo>
                    <a:pt x="151" y="51"/>
                  </a:lnTo>
                  <a:lnTo>
                    <a:pt x="144" y="51"/>
                  </a:lnTo>
                  <a:lnTo>
                    <a:pt x="137" y="51"/>
                  </a:lnTo>
                  <a:lnTo>
                    <a:pt x="132" y="52"/>
                  </a:lnTo>
                  <a:lnTo>
                    <a:pt x="130" y="54"/>
                  </a:lnTo>
                  <a:lnTo>
                    <a:pt x="129" y="55"/>
                  </a:lnTo>
                  <a:lnTo>
                    <a:pt x="126" y="57"/>
                  </a:lnTo>
                  <a:lnTo>
                    <a:pt x="122" y="58"/>
                  </a:lnTo>
                  <a:lnTo>
                    <a:pt x="117" y="59"/>
                  </a:lnTo>
                  <a:lnTo>
                    <a:pt x="111" y="59"/>
                  </a:lnTo>
                  <a:lnTo>
                    <a:pt x="104" y="57"/>
                  </a:lnTo>
                  <a:lnTo>
                    <a:pt x="96" y="52"/>
                  </a:lnTo>
                  <a:lnTo>
                    <a:pt x="73" y="39"/>
                  </a:lnTo>
                  <a:lnTo>
                    <a:pt x="73" y="37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0" y="33"/>
                  </a:lnTo>
                  <a:lnTo>
                    <a:pt x="68" y="30"/>
                  </a:lnTo>
                  <a:lnTo>
                    <a:pt x="66" y="29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9" y="22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57" y="11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4" y="15"/>
                  </a:lnTo>
                  <a:lnTo>
                    <a:pt x="41" y="17"/>
                  </a:lnTo>
                  <a:lnTo>
                    <a:pt x="38" y="18"/>
                  </a:lnTo>
                  <a:lnTo>
                    <a:pt x="35" y="17"/>
                  </a:lnTo>
                  <a:lnTo>
                    <a:pt x="34" y="14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1" y="7"/>
                  </a:lnTo>
                  <a:lnTo>
                    <a:pt x="30" y="6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0" name="Freeform 246"/>
            <p:cNvSpPr>
              <a:spLocks/>
            </p:cNvSpPr>
            <p:nvPr/>
          </p:nvSpPr>
          <p:spPr bwMode="auto">
            <a:xfrm>
              <a:off x="1753" y="705"/>
              <a:ext cx="162" cy="94"/>
            </a:xfrm>
            <a:custGeom>
              <a:avLst/>
              <a:gdLst>
                <a:gd name="T0" fmla="*/ 11 w 199"/>
                <a:gd name="T1" fmla="*/ 0 h 116"/>
                <a:gd name="T2" fmla="*/ 1 w 199"/>
                <a:gd name="T3" fmla="*/ 3 h 116"/>
                <a:gd name="T4" fmla="*/ 4 w 199"/>
                <a:gd name="T5" fmla="*/ 29 h 116"/>
                <a:gd name="T6" fmla="*/ 9 w 199"/>
                <a:gd name="T7" fmla="*/ 36 h 116"/>
                <a:gd name="T8" fmla="*/ 23 w 199"/>
                <a:gd name="T9" fmla="*/ 36 h 116"/>
                <a:gd name="T10" fmla="*/ 35 w 199"/>
                <a:gd name="T11" fmla="*/ 28 h 116"/>
                <a:gd name="T12" fmla="*/ 42 w 199"/>
                <a:gd name="T13" fmla="*/ 35 h 116"/>
                <a:gd name="T14" fmla="*/ 52 w 199"/>
                <a:gd name="T15" fmla="*/ 84 h 116"/>
                <a:gd name="T16" fmla="*/ 46 w 199"/>
                <a:gd name="T17" fmla="*/ 85 h 116"/>
                <a:gd name="T18" fmla="*/ 44 w 199"/>
                <a:gd name="T19" fmla="*/ 91 h 116"/>
                <a:gd name="T20" fmla="*/ 51 w 199"/>
                <a:gd name="T21" fmla="*/ 103 h 116"/>
                <a:gd name="T22" fmla="*/ 60 w 199"/>
                <a:gd name="T23" fmla="*/ 103 h 116"/>
                <a:gd name="T24" fmla="*/ 67 w 199"/>
                <a:gd name="T25" fmla="*/ 102 h 116"/>
                <a:gd name="T26" fmla="*/ 73 w 199"/>
                <a:gd name="T27" fmla="*/ 99 h 116"/>
                <a:gd name="T28" fmla="*/ 82 w 199"/>
                <a:gd name="T29" fmla="*/ 102 h 116"/>
                <a:gd name="T30" fmla="*/ 88 w 199"/>
                <a:gd name="T31" fmla="*/ 107 h 116"/>
                <a:gd name="T32" fmla="*/ 104 w 199"/>
                <a:gd name="T33" fmla="*/ 114 h 116"/>
                <a:gd name="T34" fmla="*/ 126 w 199"/>
                <a:gd name="T35" fmla="*/ 114 h 116"/>
                <a:gd name="T36" fmla="*/ 141 w 199"/>
                <a:gd name="T37" fmla="*/ 107 h 116"/>
                <a:gd name="T38" fmla="*/ 150 w 199"/>
                <a:gd name="T39" fmla="*/ 102 h 116"/>
                <a:gd name="T40" fmla="*/ 169 w 199"/>
                <a:gd name="T41" fmla="*/ 110 h 116"/>
                <a:gd name="T42" fmla="*/ 180 w 199"/>
                <a:gd name="T43" fmla="*/ 106 h 116"/>
                <a:gd name="T44" fmla="*/ 183 w 199"/>
                <a:gd name="T45" fmla="*/ 89 h 116"/>
                <a:gd name="T46" fmla="*/ 189 w 199"/>
                <a:gd name="T47" fmla="*/ 88 h 116"/>
                <a:gd name="T48" fmla="*/ 195 w 199"/>
                <a:gd name="T49" fmla="*/ 81 h 116"/>
                <a:gd name="T50" fmla="*/ 196 w 199"/>
                <a:gd name="T51" fmla="*/ 76 h 116"/>
                <a:gd name="T52" fmla="*/ 196 w 199"/>
                <a:gd name="T53" fmla="*/ 66 h 116"/>
                <a:gd name="T54" fmla="*/ 167 w 199"/>
                <a:gd name="T55" fmla="*/ 58 h 116"/>
                <a:gd name="T56" fmla="*/ 161 w 199"/>
                <a:gd name="T57" fmla="*/ 55 h 116"/>
                <a:gd name="T58" fmla="*/ 144 w 199"/>
                <a:gd name="T59" fmla="*/ 51 h 116"/>
                <a:gd name="T60" fmla="*/ 130 w 199"/>
                <a:gd name="T61" fmla="*/ 54 h 116"/>
                <a:gd name="T62" fmla="*/ 122 w 199"/>
                <a:gd name="T63" fmla="*/ 58 h 116"/>
                <a:gd name="T64" fmla="*/ 104 w 199"/>
                <a:gd name="T65" fmla="*/ 57 h 116"/>
                <a:gd name="T66" fmla="*/ 73 w 199"/>
                <a:gd name="T67" fmla="*/ 37 h 116"/>
                <a:gd name="T68" fmla="*/ 70 w 199"/>
                <a:gd name="T69" fmla="*/ 33 h 116"/>
                <a:gd name="T70" fmla="*/ 64 w 199"/>
                <a:gd name="T71" fmla="*/ 28 h 116"/>
                <a:gd name="T72" fmla="*/ 59 w 199"/>
                <a:gd name="T73" fmla="*/ 25 h 116"/>
                <a:gd name="T74" fmla="*/ 59 w 199"/>
                <a:gd name="T75" fmla="*/ 22 h 116"/>
                <a:gd name="T76" fmla="*/ 59 w 199"/>
                <a:gd name="T77" fmla="*/ 17 h 116"/>
                <a:gd name="T78" fmla="*/ 56 w 199"/>
                <a:gd name="T79" fmla="*/ 10 h 116"/>
                <a:gd name="T80" fmla="*/ 48 w 199"/>
                <a:gd name="T81" fmla="*/ 11 h 116"/>
                <a:gd name="T82" fmla="*/ 41 w 199"/>
                <a:gd name="T83" fmla="*/ 17 h 116"/>
                <a:gd name="T84" fmla="*/ 34 w 199"/>
                <a:gd name="T85" fmla="*/ 14 h 116"/>
                <a:gd name="T86" fmla="*/ 30 w 199"/>
                <a:gd name="T87" fmla="*/ 6 h 116"/>
                <a:gd name="T88" fmla="*/ 22 w 199"/>
                <a:gd name="T89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9" h="116">
                  <a:moveTo>
                    <a:pt x="13" y="2"/>
                  </a:moveTo>
                  <a:lnTo>
                    <a:pt x="12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5"/>
                  </a:lnTo>
                  <a:lnTo>
                    <a:pt x="4" y="29"/>
                  </a:lnTo>
                  <a:lnTo>
                    <a:pt x="5" y="32"/>
                  </a:lnTo>
                  <a:lnTo>
                    <a:pt x="7" y="35"/>
                  </a:lnTo>
                  <a:lnTo>
                    <a:pt x="9" y="36"/>
                  </a:lnTo>
                  <a:lnTo>
                    <a:pt x="12" y="37"/>
                  </a:lnTo>
                  <a:lnTo>
                    <a:pt x="18" y="37"/>
                  </a:lnTo>
                  <a:lnTo>
                    <a:pt x="23" y="36"/>
                  </a:lnTo>
                  <a:lnTo>
                    <a:pt x="31" y="30"/>
                  </a:lnTo>
                  <a:lnTo>
                    <a:pt x="33" y="29"/>
                  </a:lnTo>
                  <a:lnTo>
                    <a:pt x="35" y="28"/>
                  </a:lnTo>
                  <a:lnTo>
                    <a:pt x="38" y="28"/>
                  </a:lnTo>
                  <a:lnTo>
                    <a:pt x="40" y="29"/>
                  </a:lnTo>
                  <a:lnTo>
                    <a:pt x="42" y="35"/>
                  </a:lnTo>
                  <a:lnTo>
                    <a:pt x="44" y="44"/>
                  </a:lnTo>
                  <a:lnTo>
                    <a:pt x="45" y="58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49" y="84"/>
                  </a:lnTo>
                  <a:lnTo>
                    <a:pt x="46" y="85"/>
                  </a:lnTo>
                  <a:lnTo>
                    <a:pt x="45" y="85"/>
                  </a:lnTo>
                  <a:lnTo>
                    <a:pt x="45" y="88"/>
                  </a:lnTo>
                  <a:lnTo>
                    <a:pt x="44" y="91"/>
                  </a:lnTo>
                  <a:lnTo>
                    <a:pt x="45" y="96"/>
                  </a:lnTo>
                  <a:lnTo>
                    <a:pt x="48" y="100"/>
                  </a:lnTo>
                  <a:lnTo>
                    <a:pt x="51" y="103"/>
                  </a:lnTo>
                  <a:lnTo>
                    <a:pt x="53" y="105"/>
                  </a:lnTo>
                  <a:lnTo>
                    <a:pt x="57" y="105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6" y="102"/>
                  </a:lnTo>
                  <a:lnTo>
                    <a:pt x="67" y="102"/>
                  </a:lnTo>
                  <a:lnTo>
                    <a:pt x="68" y="100"/>
                  </a:lnTo>
                  <a:lnTo>
                    <a:pt x="70" y="100"/>
                  </a:lnTo>
                  <a:lnTo>
                    <a:pt x="73" y="99"/>
                  </a:lnTo>
                  <a:lnTo>
                    <a:pt x="75" y="99"/>
                  </a:lnTo>
                  <a:lnTo>
                    <a:pt x="78" y="100"/>
                  </a:lnTo>
                  <a:lnTo>
                    <a:pt x="82" y="102"/>
                  </a:lnTo>
                  <a:lnTo>
                    <a:pt x="85" y="106"/>
                  </a:lnTo>
                  <a:lnTo>
                    <a:pt x="86" y="106"/>
                  </a:lnTo>
                  <a:lnTo>
                    <a:pt x="88" y="107"/>
                  </a:lnTo>
                  <a:lnTo>
                    <a:pt x="92" y="110"/>
                  </a:lnTo>
                  <a:lnTo>
                    <a:pt x="97" y="113"/>
                  </a:lnTo>
                  <a:lnTo>
                    <a:pt x="104" y="114"/>
                  </a:lnTo>
                  <a:lnTo>
                    <a:pt x="111" y="116"/>
                  </a:lnTo>
                  <a:lnTo>
                    <a:pt x="119" y="116"/>
                  </a:lnTo>
                  <a:lnTo>
                    <a:pt x="126" y="114"/>
                  </a:lnTo>
                  <a:lnTo>
                    <a:pt x="140" y="113"/>
                  </a:lnTo>
                  <a:lnTo>
                    <a:pt x="140" y="110"/>
                  </a:lnTo>
                  <a:lnTo>
                    <a:pt x="141" y="107"/>
                  </a:lnTo>
                  <a:lnTo>
                    <a:pt x="143" y="105"/>
                  </a:lnTo>
                  <a:lnTo>
                    <a:pt x="145" y="103"/>
                  </a:lnTo>
                  <a:lnTo>
                    <a:pt x="150" y="102"/>
                  </a:lnTo>
                  <a:lnTo>
                    <a:pt x="156" y="105"/>
                  </a:lnTo>
                  <a:lnTo>
                    <a:pt x="166" y="110"/>
                  </a:lnTo>
                  <a:lnTo>
                    <a:pt x="169" y="110"/>
                  </a:lnTo>
                  <a:lnTo>
                    <a:pt x="173" y="110"/>
                  </a:lnTo>
                  <a:lnTo>
                    <a:pt x="177" y="109"/>
                  </a:lnTo>
                  <a:lnTo>
                    <a:pt x="180" y="106"/>
                  </a:lnTo>
                  <a:lnTo>
                    <a:pt x="183" y="102"/>
                  </a:lnTo>
                  <a:lnTo>
                    <a:pt x="184" y="96"/>
                  </a:lnTo>
                  <a:lnTo>
                    <a:pt x="183" y="89"/>
                  </a:lnTo>
                  <a:lnTo>
                    <a:pt x="184" y="89"/>
                  </a:lnTo>
                  <a:lnTo>
                    <a:pt x="187" y="88"/>
                  </a:lnTo>
                  <a:lnTo>
                    <a:pt x="189" y="88"/>
                  </a:lnTo>
                  <a:lnTo>
                    <a:pt x="192" y="87"/>
                  </a:lnTo>
                  <a:lnTo>
                    <a:pt x="194" y="84"/>
                  </a:lnTo>
                  <a:lnTo>
                    <a:pt x="195" y="81"/>
                  </a:lnTo>
                  <a:lnTo>
                    <a:pt x="195" y="78"/>
                  </a:lnTo>
                  <a:lnTo>
                    <a:pt x="195" y="77"/>
                  </a:lnTo>
                  <a:lnTo>
                    <a:pt x="196" y="76"/>
                  </a:lnTo>
                  <a:lnTo>
                    <a:pt x="198" y="73"/>
                  </a:lnTo>
                  <a:lnTo>
                    <a:pt x="199" y="69"/>
                  </a:lnTo>
                  <a:lnTo>
                    <a:pt x="196" y="66"/>
                  </a:lnTo>
                  <a:lnTo>
                    <a:pt x="192" y="62"/>
                  </a:lnTo>
                  <a:lnTo>
                    <a:pt x="183" y="59"/>
                  </a:lnTo>
                  <a:lnTo>
                    <a:pt x="167" y="58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6" y="52"/>
                  </a:lnTo>
                  <a:lnTo>
                    <a:pt x="151" y="51"/>
                  </a:lnTo>
                  <a:lnTo>
                    <a:pt x="144" y="51"/>
                  </a:lnTo>
                  <a:lnTo>
                    <a:pt x="137" y="51"/>
                  </a:lnTo>
                  <a:lnTo>
                    <a:pt x="132" y="52"/>
                  </a:lnTo>
                  <a:lnTo>
                    <a:pt x="130" y="54"/>
                  </a:lnTo>
                  <a:lnTo>
                    <a:pt x="129" y="55"/>
                  </a:lnTo>
                  <a:lnTo>
                    <a:pt x="126" y="57"/>
                  </a:lnTo>
                  <a:lnTo>
                    <a:pt x="122" y="58"/>
                  </a:lnTo>
                  <a:lnTo>
                    <a:pt x="117" y="59"/>
                  </a:lnTo>
                  <a:lnTo>
                    <a:pt x="111" y="59"/>
                  </a:lnTo>
                  <a:lnTo>
                    <a:pt x="104" y="57"/>
                  </a:lnTo>
                  <a:lnTo>
                    <a:pt x="96" y="52"/>
                  </a:lnTo>
                  <a:lnTo>
                    <a:pt x="73" y="39"/>
                  </a:lnTo>
                  <a:lnTo>
                    <a:pt x="73" y="37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0" y="33"/>
                  </a:lnTo>
                  <a:lnTo>
                    <a:pt x="68" y="30"/>
                  </a:lnTo>
                  <a:lnTo>
                    <a:pt x="66" y="29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0" y="26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9" y="22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57" y="11"/>
                  </a:lnTo>
                  <a:lnTo>
                    <a:pt x="56" y="10"/>
                  </a:lnTo>
                  <a:lnTo>
                    <a:pt x="53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6" y="13"/>
                  </a:lnTo>
                  <a:lnTo>
                    <a:pt x="44" y="15"/>
                  </a:lnTo>
                  <a:lnTo>
                    <a:pt x="41" y="17"/>
                  </a:lnTo>
                  <a:lnTo>
                    <a:pt x="38" y="18"/>
                  </a:lnTo>
                  <a:lnTo>
                    <a:pt x="35" y="17"/>
                  </a:lnTo>
                  <a:lnTo>
                    <a:pt x="34" y="14"/>
                  </a:lnTo>
                  <a:lnTo>
                    <a:pt x="33" y="8"/>
                  </a:lnTo>
                  <a:lnTo>
                    <a:pt x="31" y="7"/>
                  </a:lnTo>
                  <a:lnTo>
                    <a:pt x="30" y="6"/>
                  </a:lnTo>
                  <a:lnTo>
                    <a:pt x="27" y="4"/>
                  </a:lnTo>
                  <a:lnTo>
                    <a:pt x="24" y="3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3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1" name="Freeform 247"/>
            <p:cNvSpPr>
              <a:spLocks/>
            </p:cNvSpPr>
            <p:nvPr/>
          </p:nvSpPr>
          <p:spPr bwMode="auto">
            <a:xfrm>
              <a:off x="1668" y="509"/>
              <a:ext cx="83" cy="97"/>
            </a:xfrm>
            <a:custGeom>
              <a:avLst/>
              <a:gdLst>
                <a:gd name="T0" fmla="*/ 33 w 103"/>
                <a:gd name="T1" fmla="*/ 52 h 121"/>
                <a:gd name="T2" fmla="*/ 31 w 103"/>
                <a:gd name="T3" fmla="*/ 48 h 121"/>
                <a:gd name="T4" fmla="*/ 29 w 103"/>
                <a:gd name="T5" fmla="*/ 41 h 121"/>
                <a:gd name="T6" fmla="*/ 22 w 103"/>
                <a:gd name="T7" fmla="*/ 36 h 121"/>
                <a:gd name="T8" fmla="*/ 15 w 103"/>
                <a:gd name="T9" fmla="*/ 33 h 121"/>
                <a:gd name="T10" fmla="*/ 7 w 103"/>
                <a:gd name="T11" fmla="*/ 26 h 121"/>
                <a:gd name="T12" fmla="*/ 0 w 103"/>
                <a:gd name="T13" fmla="*/ 17 h 121"/>
                <a:gd name="T14" fmla="*/ 0 w 103"/>
                <a:gd name="T15" fmla="*/ 7 h 121"/>
                <a:gd name="T16" fmla="*/ 4 w 103"/>
                <a:gd name="T17" fmla="*/ 2 h 121"/>
                <a:gd name="T18" fmla="*/ 9 w 103"/>
                <a:gd name="T19" fmla="*/ 0 h 121"/>
                <a:gd name="T20" fmla="*/ 16 w 103"/>
                <a:gd name="T21" fmla="*/ 0 h 121"/>
                <a:gd name="T22" fmla="*/ 26 w 103"/>
                <a:gd name="T23" fmla="*/ 3 h 121"/>
                <a:gd name="T24" fmla="*/ 34 w 103"/>
                <a:gd name="T25" fmla="*/ 13 h 121"/>
                <a:gd name="T26" fmla="*/ 35 w 103"/>
                <a:gd name="T27" fmla="*/ 19 h 121"/>
                <a:gd name="T28" fmla="*/ 37 w 103"/>
                <a:gd name="T29" fmla="*/ 22 h 121"/>
                <a:gd name="T30" fmla="*/ 41 w 103"/>
                <a:gd name="T31" fmla="*/ 28 h 121"/>
                <a:gd name="T32" fmla="*/ 47 w 103"/>
                <a:gd name="T33" fmla="*/ 30 h 121"/>
                <a:gd name="T34" fmla="*/ 49 w 103"/>
                <a:gd name="T35" fmla="*/ 29 h 121"/>
                <a:gd name="T36" fmla="*/ 51 w 103"/>
                <a:gd name="T37" fmla="*/ 21 h 121"/>
                <a:gd name="T38" fmla="*/ 53 w 103"/>
                <a:gd name="T39" fmla="*/ 13 h 121"/>
                <a:gd name="T40" fmla="*/ 62 w 103"/>
                <a:gd name="T41" fmla="*/ 11 h 121"/>
                <a:gd name="T42" fmla="*/ 69 w 103"/>
                <a:gd name="T43" fmla="*/ 18 h 121"/>
                <a:gd name="T44" fmla="*/ 67 w 103"/>
                <a:gd name="T45" fmla="*/ 24 h 121"/>
                <a:gd name="T46" fmla="*/ 67 w 103"/>
                <a:gd name="T47" fmla="*/ 32 h 121"/>
                <a:gd name="T48" fmla="*/ 69 w 103"/>
                <a:gd name="T49" fmla="*/ 41 h 121"/>
                <a:gd name="T50" fmla="*/ 73 w 103"/>
                <a:gd name="T51" fmla="*/ 50 h 121"/>
                <a:gd name="T52" fmla="*/ 77 w 103"/>
                <a:gd name="T53" fmla="*/ 54 h 121"/>
                <a:gd name="T54" fmla="*/ 81 w 103"/>
                <a:gd name="T55" fmla="*/ 54 h 121"/>
                <a:gd name="T56" fmla="*/ 85 w 103"/>
                <a:gd name="T57" fmla="*/ 47 h 121"/>
                <a:gd name="T58" fmla="*/ 89 w 103"/>
                <a:gd name="T59" fmla="*/ 39 h 121"/>
                <a:gd name="T60" fmla="*/ 93 w 103"/>
                <a:gd name="T61" fmla="*/ 33 h 121"/>
                <a:gd name="T62" fmla="*/ 97 w 103"/>
                <a:gd name="T63" fmla="*/ 30 h 121"/>
                <a:gd name="T64" fmla="*/ 100 w 103"/>
                <a:gd name="T65" fmla="*/ 32 h 121"/>
                <a:gd name="T66" fmla="*/ 103 w 103"/>
                <a:gd name="T67" fmla="*/ 40 h 121"/>
                <a:gd name="T68" fmla="*/ 103 w 103"/>
                <a:gd name="T69" fmla="*/ 55 h 121"/>
                <a:gd name="T70" fmla="*/ 99 w 103"/>
                <a:gd name="T71" fmla="*/ 66 h 121"/>
                <a:gd name="T72" fmla="*/ 96 w 103"/>
                <a:gd name="T73" fmla="*/ 83 h 121"/>
                <a:gd name="T74" fmla="*/ 99 w 103"/>
                <a:gd name="T75" fmla="*/ 99 h 121"/>
                <a:gd name="T76" fmla="*/ 103 w 103"/>
                <a:gd name="T77" fmla="*/ 107 h 121"/>
                <a:gd name="T78" fmla="*/ 100 w 103"/>
                <a:gd name="T79" fmla="*/ 113 h 121"/>
                <a:gd name="T80" fmla="*/ 96 w 103"/>
                <a:gd name="T81" fmla="*/ 120 h 121"/>
                <a:gd name="T82" fmla="*/ 92 w 103"/>
                <a:gd name="T83" fmla="*/ 120 h 121"/>
                <a:gd name="T84" fmla="*/ 91 w 103"/>
                <a:gd name="T85" fmla="*/ 113 h 121"/>
                <a:gd name="T86" fmla="*/ 89 w 103"/>
                <a:gd name="T87" fmla="*/ 103 h 121"/>
                <a:gd name="T88" fmla="*/ 86 w 103"/>
                <a:gd name="T89" fmla="*/ 92 h 121"/>
                <a:gd name="T90" fmla="*/ 82 w 103"/>
                <a:gd name="T91" fmla="*/ 88 h 121"/>
                <a:gd name="T92" fmla="*/ 78 w 103"/>
                <a:gd name="T93" fmla="*/ 90 h 121"/>
                <a:gd name="T94" fmla="*/ 75 w 103"/>
                <a:gd name="T95" fmla="*/ 91 h 121"/>
                <a:gd name="T96" fmla="*/ 70 w 103"/>
                <a:gd name="T97" fmla="*/ 88 h 121"/>
                <a:gd name="T98" fmla="*/ 60 w 103"/>
                <a:gd name="T99" fmla="*/ 83 h 121"/>
                <a:gd name="T100" fmla="*/ 53 w 103"/>
                <a:gd name="T101" fmla="*/ 76 h 121"/>
                <a:gd name="T102" fmla="*/ 33 w 103"/>
                <a:gd name="T103" fmla="*/ 5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3" h="121">
                  <a:moveTo>
                    <a:pt x="33" y="52"/>
                  </a:moveTo>
                  <a:lnTo>
                    <a:pt x="33" y="52"/>
                  </a:lnTo>
                  <a:lnTo>
                    <a:pt x="33" y="51"/>
                  </a:lnTo>
                  <a:lnTo>
                    <a:pt x="31" y="48"/>
                  </a:lnTo>
                  <a:lnTo>
                    <a:pt x="30" y="46"/>
                  </a:lnTo>
                  <a:lnTo>
                    <a:pt x="29" y="41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16" y="35"/>
                  </a:lnTo>
                  <a:lnTo>
                    <a:pt x="15" y="33"/>
                  </a:lnTo>
                  <a:lnTo>
                    <a:pt x="12" y="30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6" y="3"/>
                  </a:lnTo>
                  <a:lnTo>
                    <a:pt x="31" y="7"/>
                  </a:lnTo>
                  <a:lnTo>
                    <a:pt x="34" y="13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2"/>
                  </a:lnTo>
                  <a:lnTo>
                    <a:pt x="38" y="25"/>
                  </a:lnTo>
                  <a:lnTo>
                    <a:pt x="41" y="28"/>
                  </a:lnTo>
                  <a:lnTo>
                    <a:pt x="42" y="29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49" y="25"/>
                  </a:lnTo>
                  <a:lnTo>
                    <a:pt x="51" y="21"/>
                  </a:lnTo>
                  <a:lnTo>
                    <a:pt x="51" y="17"/>
                  </a:lnTo>
                  <a:lnTo>
                    <a:pt x="53" y="13"/>
                  </a:lnTo>
                  <a:lnTo>
                    <a:pt x="58" y="11"/>
                  </a:lnTo>
                  <a:lnTo>
                    <a:pt x="62" y="11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69" y="19"/>
                  </a:lnTo>
                  <a:lnTo>
                    <a:pt x="67" y="24"/>
                  </a:lnTo>
                  <a:lnTo>
                    <a:pt x="67" y="28"/>
                  </a:lnTo>
                  <a:lnTo>
                    <a:pt x="67" y="32"/>
                  </a:lnTo>
                  <a:lnTo>
                    <a:pt x="69" y="37"/>
                  </a:lnTo>
                  <a:lnTo>
                    <a:pt x="69" y="41"/>
                  </a:lnTo>
                  <a:lnTo>
                    <a:pt x="71" y="46"/>
                  </a:lnTo>
                  <a:lnTo>
                    <a:pt x="73" y="50"/>
                  </a:lnTo>
                  <a:lnTo>
                    <a:pt x="75" y="52"/>
                  </a:lnTo>
                  <a:lnTo>
                    <a:pt x="77" y="54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2" y="51"/>
                  </a:lnTo>
                  <a:lnTo>
                    <a:pt x="85" y="47"/>
                  </a:lnTo>
                  <a:lnTo>
                    <a:pt x="88" y="40"/>
                  </a:lnTo>
                  <a:lnTo>
                    <a:pt x="89" y="39"/>
                  </a:lnTo>
                  <a:lnTo>
                    <a:pt x="91" y="36"/>
                  </a:lnTo>
                  <a:lnTo>
                    <a:pt x="93" y="33"/>
                  </a:lnTo>
                  <a:lnTo>
                    <a:pt x="96" y="30"/>
                  </a:lnTo>
                  <a:lnTo>
                    <a:pt x="97" y="30"/>
                  </a:lnTo>
                  <a:lnTo>
                    <a:pt x="99" y="30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103" y="40"/>
                  </a:lnTo>
                  <a:lnTo>
                    <a:pt x="103" y="52"/>
                  </a:lnTo>
                  <a:lnTo>
                    <a:pt x="103" y="55"/>
                  </a:lnTo>
                  <a:lnTo>
                    <a:pt x="102" y="59"/>
                  </a:lnTo>
                  <a:lnTo>
                    <a:pt x="99" y="66"/>
                  </a:lnTo>
                  <a:lnTo>
                    <a:pt x="97" y="74"/>
                  </a:lnTo>
                  <a:lnTo>
                    <a:pt x="96" y="83"/>
                  </a:lnTo>
                  <a:lnTo>
                    <a:pt x="96" y="91"/>
                  </a:lnTo>
                  <a:lnTo>
                    <a:pt x="99" y="99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10"/>
                  </a:lnTo>
                  <a:lnTo>
                    <a:pt x="100" y="113"/>
                  </a:lnTo>
                  <a:lnTo>
                    <a:pt x="99" y="117"/>
                  </a:lnTo>
                  <a:lnTo>
                    <a:pt x="96" y="120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4"/>
                  </a:lnTo>
                  <a:lnTo>
                    <a:pt x="91" y="113"/>
                  </a:lnTo>
                  <a:lnTo>
                    <a:pt x="89" y="109"/>
                  </a:lnTo>
                  <a:lnTo>
                    <a:pt x="89" y="103"/>
                  </a:lnTo>
                  <a:lnTo>
                    <a:pt x="88" y="98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88"/>
                  </a:lnTo>
                  <a:lnTo>
                    <a:pt x="81" y="88"/>
                  </a:lnTo>
                  <a:lnTo>
                    <a:pt x="78" y="90"/>
                  </a:lnTo>
                  <a:lnTo>
                    <a:pt x="75" y="91"/>
                  </a:lnTo>
                  <a:lnTo>
                    <a:pt x="75" y="91"/>
                  </a:lnTo>
                  <a:lnTo>
                    <a:pt x="73" y="90"/>
                  </a:lnTo>
                  <a:lnTo>
                    <a:pt x="70" y="88"/>
                  </a:lnTo>
                  <a:lnTo>
                    <a:pt x="66" y="85"/>
                  </a:lnTo>
                  <a:lnTo>
                    <a:pt x="60" y="83"/>
                  </a:lnTo>
                  <a:lnTo>
                    <a:pt x="56" y="79"/>
                  </a:lnTo>
                  <a:lnTo>
                    <a:pt x="53" y="76"/>
                  </a:lnTo>
                  <a:lnTo>
                    <a:pt x="49" y="72"/>
                  </a:lnTo>
                  <a:lnTo>
                    <a:pt x="33" y="5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2" name="Freeform 248"/>
            <p:cNvSpPr>
              <a:spLocks/>
            </p:cNvSpPr>
            <p:nvPr/>
          </p:nvSpPr>
          <p:spPr bwMode="auto">
            <a:xfrm>
              <a:off x="1668" y="509"/>
              <a:ext cx="83" cy="97"/>
            </a:xfrm>
            <a:custGeom>
              <a:avLst/>
              <a:gdLst>
                <a:gd name="T0" fmla="*/ 33 w 103"/>
                <a:gd name="T1" fmla="*/ 51 h 121"/>
                <a:gd name="T2" fmla="*/ 30 w 103"/>
                <a:gd name="T3" fmla="*/ 46 h 121"/>
                <a:gd name="T4" fmla="*/ 24 w 103"/>
                <a:gd name="T5" fmla="*/ 39 h 121"/>
                <a:gd name="T6" fmla="*/ 16 w 103"/>
                <a:gd name="T7" fmla="*/ 35 h 121"/>
                <a:gd name="T8" fmla="*/ 12 w 103"/>
                <a:gd name="T9" fmla="*/ 30 h 121"/>
                <a:gd name="T10" fmla="*/ 4 w 103"/>
                <a:gd name="T11" fmla="*/ 22 h 121"/>
                <a:gd name="T12" fmla="*/ 0 w 103"/>
                <a:gd name="T13" fmla="*/ 10 h 121"/>
                <a:gd name="T14" fmla="*/ 1 w 103"/>
                <a:gd name="T15" fmla="*/ 4 h 121"/>
                <a:gd name="T16" fmla="*/ 8 w 103"/>
                <a:gd name="T17" fmla="*/ 0 h 121"/>
                <a:gd name="T18" fmla="*/ 12 w 103"/>
                <a:gd name="T19" fmla="*/ 0 h 121"/>
                <a:gd name="T20" fmla="*/ 22 w 103"/>
                <a:gd name="T21" fmla="*/ 2 h 121"/>
                <a:gd name="T22" fmla="*/ 31 w 103"/>
                <a:gd name="T23" fmla="*/ 7 h 121"/>
                <a:gd name="T24" fmla="*/ 35 w 103"/>
                <a:gd name="T25" fmla="*/ 19 h 121"/>
                <a:gd name="T26" fmla="*/ 37 w 103"/>
                <a:gd name="T27" fmla="*/ 22 h 121"/>
                <a:gd name="T28" fmla="*/ 41 w 103"/>
                <a:gd name="T29" fmla="*/ 28 h 121"/>
                <a:gd name="T30" fmla="*/ 47 w 103"/>
                <a:gd name="T31" fmla="*/ 30 h 121"/>
                <a:gd name="T32" fmla="*/ 49 w 103"/>
                <a:gd name="T33" fmla="*/ 29 h 121"/>
                <a:gd name="T34" fmla="*/ 51 w 103"/>
                <a:gd name="T35" fmla="*/ 21 h 121"/>
                <a:gd name="T36" fmla="*/ 53 w 103"/>
                <a:gd name="T37" fmla="*/ 13 h 121"/>
                <a:gd name="T38" fmla="*/ 62 w 103"/>
                <a:gd name="T39" fmla="*/ 11 h 121"/>
                <a:gd name="T40" fmla="*/ 69 w 103"/>
                <a:gd name="T41" fmla="*/ 18 h 121"/>
                <a:gd name="T42" fmla="*/ 67 w 103"/>
                <a:gd name="T43" fmla="*/ 24 h 121"/>
                <a:gd name="T44" fmla="*/ 67 w 103"/>
                <a:gd name="T45" fmla="*/ 32 h 121"/>
                <a:gd name="T46" fmla="*/ 69 w 103"/>
                <a:gd name="T47" fmla="*/ 41 h 121"/>
                <a:gd name="T48" fmla="*/ 73 w 103"/>
                <a:gd name="T49" fmla="*/ 50 h 121"/>
                <a:gd name="T50" fmla="*/ 77 w 103"/>
                <a:gd name="T51" fmla="*/ 54 h 121"/>
                <a:gd name="T52" fmla="*/ 81 w 103"/>
                <a:gd name="T53" fmla="*/ 54 h 121"/>
                <a:gd name="T54" fmla="*/ 85 w 103"/>
                <a:gd name="T55" fmla="*/ 47 h 121"/>
                <a:gd name="T56" fmla="*/ 89 w 103"/>
                <a:gd name="T57" fmla="*/ 39 h 121"/>
                <a:gd name="T58" fmla="*/ 93 w 103"/>
                <a:gd name="T59" fmla="*/ 33 h 121"/>
                <a:gd name="T60" fmla="*/ 97 w 103"/>
                <a:gd name="T61" fmla="*/ 30 h 121"/>
                <a:gd name="T62" fmla="*/ 100 w 103"/>
                <a:gd name="T63" fmla="*/ 32 h 121"/>
                <a:gd name="T64" fmla="*/ 103 w 103"/>
                <a:gd name="T65" fmla="*/ 40 h 121"/>
                <a:gd name="T66" fmla="*/ 103 w 103"/>
                <a:gd name="T67" fmla="*/ 55 h 121"/>
                <a:gd name="T68" fmla="*/ 99 w 103"/>
                <a:gd name="T69" fmla="*/ 66 h 121"/>
                <a:gd name="T70" fmla="*/ 96 w 103"/>
                <a:gd name="T71" fmla="*/ 83 h 121"/>
                <a:gd name="T72" fmla="*/ 99 w 103"/>
                <a:gd name="T73" fmla="*/ 99 h 121"/>
                <a:gd name="T74" fmla="*/ 103 w 103"/>
                <a:gd name="T75" fmla="*/ 107 h 121"/>
                <a:gd name="T76" fmla="*/ 100 w 103"/>
                <a:gd name="T77" fmla="*/ 113 h 121"/>
                <a:gd name="T78" fmla="*/ 96 w 103"/>
                <a:gd name="T79" fmla="*/ 120 h 121"/>
                <a:gd name="T80" fmla="*/ 92 w 103"/>
                <a:gd name="T81" fmla="*/ 120 h 121"/>
                <a:gd name="T82" fmla="*/ 91 w 103"/>
                <a:gd name="T83" fmla="*/ 113 h 121"/>
                <a:gd name="T84" fmla="*/ 89 w 103"/>
                <a:gd name="T85" fmla="*/ 103 h 121"/>
                <a:gd name="T86" fmla="*/ 86 w 103"/>
                <a:gd name="T87" fmla="*/ 92 h 121"/>
                <a:gd name="T88" fmla="*/ 82 w 103"/>
                <a:gd name="T89" fmla="*/ 88 h 121"/>
                <a:gd name="T90" fmla="*/ 78 w 103"/>
                <a:gd name="T91" fmla="*/ 90 h 121"/>
                <a:gd name="T92" fmla="*/ 73 w 103"/>
                <a:gd name="T93" fmla="*/ 90 h 121"/>
                <a:gd name="T94" fmla="*/ 66 w 103"/>
                <a:gd name="T95" fmla="*/ 85 h 121"/>
                <a:gd name="T96" fmla="*/ 56 w 103"/>
                <a:gd name="T97" fmla="*/ 79 h 121"/>
                <a:gd name="T98" fmla="*/ 49 w 103"/>
                <a:gd name="T99" fmla="*/ 7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" h="121">
                  <a:moveTo>
                    <a:pt x="33" y="52"/>
                  </a:moveTo>
                  <a:lnTo>
                    <a:pt x="33" y="51"/>
                  </a:lnTo>
                  <a:lnTo>
                    <a:pt x="31" y="48"/>
                  </a:lnTo>
                  <a:lnTo>
                    <a:pt x="30" y="46"/>
                  </a:lnTo>
                  <a:lnTo>
                    <a:pt x="29" y="41"/>
                  </a:lnTo>
                  <a:lnTo>
                    <a:pt x="24" y="39"/>
                  </a:lnTo>
                  <a:lnTo>
                    <a:pt x="22" y="36"/>
                  </a:lnTo>
                  <a:lnTo>
                    <a:pt x="16" y="35"/>
                  </a:lnTo>
                  <a:lnTo>
                    <a:pt x="15" y="33"/>
                  </a:lnTo>
                  <a:lnTo>
                    <a:pt x="12" y="30"/>
                  </a:lnTo>
                  <a:lnTo>
                    <a:pt x="7" y="26"/>
                  </a:lnTo>
                  <a:lnTo>
                    <a:pt x="4" y="22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0" y="7"/>
                  </a:lnTo>
                  <a:lnTo>
                    <a:pt x="1" y="4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6" y="3"/>
                  </a:lnTo>
                  <a:lnTo>
                    <a:pt x="31" y="7"/>
                  </a:lnTo>
                  <a:lnTo>
                    <a:pt x="34" y="13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2"/>
                  </a:lnTo>
                  <a:lnTo>
                    <a:pt x="38" y="25"/>
                  </a:lnTo>
                  <a:lnTo>
                    <a:pt x="41" y="28"/>
                  </a:lnTo>
                  <a:lnTo>
                    <a:pt x="42" y="29"/>
                  </a:lnTo>
                  <a:lnTo>
                    <a:pt x="47" y="30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49" y="25"/>
                  </a:lnTo>
                  <a:lnTo>
                    <a:pt x="51" y="21"/>
                  </a:lnTo>
                  <a:lnTo>
                    <a:pt x="51" y="17"/>
                  </a:lnTo>
                  <a:lnTo>
                    <a:pt x="53" y="13"/>
                  </a:lnTo>
                  <a:lnTo>
                    <a:pt x="58" y="11"/>
                  </a:lnTo>
                  <a:lnTo>
                    <a:pt x="62" y="11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69" y="19"/>
                  </a:lnTo>
                  <a:lnTo>
                    <a:pt x="67" y="24"/>
                  </a:lnTo>
                  <a:lnTo>
                    <a:pt x="67" y="28"/>
                  </a:lnTo>
                  <a:lnTo>
                    <a:pt x="67" y="32"/>
                  </a:lnTo>
                  <a:lnTo>
                    <a:pt x="69" y="37"/>
                  </a:lnTo>
                  <a:lnTo>
                    <a:pt x="69" y="41"/>
                  </a:lnTo>
                  <a:lnTo>
                    <a:pt x="71" y="46"/>
                  </a:lnTo>
                  <a:lnTo>
                    <a:pt x="73" y="50"/>
                  </a:lnTo>
                  <a:lnTo>
                    <a:pt x="75" y="52"/>
                  </a:lnTo>
                  <a:lnTo>
                    <a:pt x="77" y="54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2" y="51"/>
                  </a:lnTo>
                  <a:lnTo>
                    <a:pt x="85" y="47"/>
                  </a:lnTo>
                  <a:lnTo>
                    <a:pt x="88" y="40"/>
                  </a:lnTo>
                  <a:lnTo>
                    <a:pt x="89" y="39"/>
                  </a:lnTo>
                  <a:lnTo>
                    <a:pt x="91" y="36"/>
                  </a:lnTo>
                  <a:lnTo>
                    <a:pt x="93" y="33"/>
                  </a:lnTo>
                  <a:lnTo>
                    <a:pt x="96" y="30"/>
                  </a:lnTo>
                  <a:lnTo>
                    <a:pt x="97" y="30"/>
                  </a:lnTo>
                  <a:lnTo>
                    <a:pt x="99" y="30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103" y="40"/>
                  </a:lnTo>
                  <a:lnTo>
                    <a:pt x="103" y="52"/>
                  </a:lnTo>
                  <a:lnTo>
                    <a:pt x="103" y="55"/>
                  </a:lnTo>
                  <a:lnTo>
                    <a:pt x="102" y="59"/>
                  </a:lnTo>
                  <a:lnTo>
                    <a:pt x="99" y="66"/>
                  </a:lnTo>
                  <a:lnTo>
                    <a:pt x="97" y="74"/>
                  </a:lnTo>
                  <a:lnTo>
                    <a:pt x="96" y="83"/>
                  </a:lnTo>
                  <a:lnTo>
                    <a:pt x="96" y="91"/>
                  </a:lnTo>
                  <a:lnTo>
                    <a:pt x="99" y="99"/>
                  </a:lnTo>
                  <a:lnTo>
                    <a:pt x="103" y="106"/>
                  </a:lnTo>
                  <a:lnTo>
                    <a:pt x="103" y="107"/>
                  </a:lnTo>
                  <a:lnTo>
                    <a:pt x="102" y="110"/>
                  </a:lnTo>
                  <a:lnTo>
                    <a:pt x="100" y="113"/>
                  </a:lnTo>
                  <a:lnTo>
                    <a:pt x="99" y="117"/>
                  </a:lnTo>
                  <a:lnTo>
                    <a:pt x="96" y="120"/>
                  </a:lnTo>
                  <a:lnTo>
                    <a:pt x="93" y="121"/>
                  </a:lnTo>
                  <a:lnTo>
                    <a:pt x="92" y="120"/>
                  </a:lnTo>
                  <a:lnTo>
                    <a:pt x="91" y="114"/>
                  </a:lnTo>
                  <a:lnTo>
                    <a:pt x="91" y="113"/>
                  </a:lnTo>
                  <a:lnTo>
                    <a:pt x="89" y="109"/>
                  </a:lnTo>
                  <a:lnTo>
                    <a:pt x="89" y="103"/>
                  </a:lnTo>
                  <a:lnTo>
                    <a:pt x="88" y="98"/>
                  </a:lnTo>
                  <a:lnTo>
                    <a:pt x="86" y="92"/>
                  </a:lnTo>
                  <a:lnTo>
                    <a:pt x="84" y="90"/>
                  </a:lnTo>
                  <a:lnTo>
                    <a:pt x="82" y="88"/>
                  </a:lnTo>
                  <a:lnTo>
                    <a:pt x="81" y="88"/>
                  </a:lnTo>
                  <a:lnTo>
                    <a:pt x="78" y="90"/>
                  </a:lnTo>
                  <a:lnTo>
                    <a:pt x="75" y="91"/>
                  </a:lnTo>
                  <a:lnTo>
                    <a:pt x="73" y="90"/>
                  </a:lnTo>
                  <a:lnTo>
                    <a:pt x="70" y="88"/>
                  </a:lnTo>
                  <a:lnTo>
                    <a:pt x="66" y="85"/>
                  </a:lnTo>
                  <a:lnTo>
                    <a:pt x="60" y="83"/>
                  </a:lnTo>
                  <a:lnTo>
                    <a:pt x="56" y="79"/>
                  </a:lnTo>
                  <a:lnTo>
                    <a:pt x="53" y="76"/>
                  </a:lnTo>
                  <a:lnTo>
                    <a:pt x="49" y="72"/>
                  </a:lnTo>
                  <a:lnTo>
                    <a:pt x="33" y="5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3" name="Freeform 249"/>
            <p:cNvSpPr>
              <a:spLocks/>
            </p:cNvSpPr>
            <p:nvPr/>
          </p:nvSpPr>
          <p:spPr bwMode="auto">
            <a:xfrm>
              <a:off x="1769" y="551"/>
              <a:ext cx="37" cy="52"/>
            </a:xfrm>
            <a:custGeom>
              <a:avLst/>
              <a:gdLst>
                <a:gd name="T0" fmla="*/ 18 w 45"/>
                <a:gd name="T1" fmla="*/ 0 h 65"/>
                <a:gd name="T2" fmla="*/ 16 w 45"/>
                <a:gd name="T3" fmla="*/ 0 h 65"/>
                <a:gd name="T4" fmla="*/ 15 w 45"/>
                <a:gd name="T5" fmla="*/ 0 h 65"/>
                <a:gd name="T6" fmla="*/ 12 w 45"/>
                <a:gd name="T7" fmla="*/ 1 h 65"/>
                <a:gd name="T8" fmla="*/ 10 w 45"/>
                <a:gd name="T9" fmla="*/ 4 h 65"/>
                <a:gd name="T10" fmla="*/ 7 w 45"/>
                <a:gd name="T11" fmla="*/ 7 h 65"/>
                <a:gd name="T12" fmla="*/ 4 w 45"/>
                <a:gd name="T13" fmla="*/ 12 h 65"/>
                <a:gd name="T14" fmla="*/ 3 w 45"/>
                <a:gd name="T15" fmla="*/ 19 h 65"/>
                <a:gd name="T16" fmla="*/ 1 w 45"/>
                <a:gd name="T17" fmla="*/ 29 h 65"/>
                <a:gd name="T18" fmla="*/ 0 w 45"/>
                <a:gd name="T19" fmla="*/ 56 h 65"/>
                <a:gd name="T20" fmla="*/ 1 w 45"/>
                <a:gd name="T21" fmla="*/ 58 h 65"/>
                <a:gd name="T22" fmla="*/ 7 w 45"/>
                <a:gd name="T23" fmla="*/ 59 h 65"/>
                <a:gd name="T24" fmla="*/ 14 w 45"/>
                <a:gd name="T25" fmla="*/ 62 h 65"/>
                <a:gd name="T26" fmla="*/ 22 w 45"/>
                <a:gd name="T27" fmla="*/ 63 h 65"/>
                <a:gd name="T28" fmla="*/ 30 w 45"/>
                <a:gd name="T29" fmla="*/ 65 h 65"/>
                <a:gd name="T30" fmla="*/ 37 w 45"/>
                <a:gd name="T31" fmla="*/ 62 h 65"/>
                <a:gd name="T32" fmla="*/ 40 w 45"/>
                <a:gd name="T33" fmla="*/ 61 h 65"/>
                <a:gd name="T34" fmla="*/ 43 w 45"/>
                <a:gd name="T35" fmla="*/ 58 h 65"/>
                <a:gd name="T36" fmla="*/ 44 w 45"/>
                <a:gd name="T37" fmla="*/ 54 h 65"/>
                <a:gd name="T38" fmla="*/ 45 w 45"/>
                <a:gd name="T39" fmla="*/ 48 h 65"/>
                <a:gd name="T40" fmla="*/ 18 w 45"/>
                <a:gd name="T4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65">
                  <a:moveTo>
                    <a:pt x="18" y="0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2"/>
                  </a:lnTo>
                  <a:lnTo>
                    <a:pt x="3" y="19"/>
                  </a:lnTo>
                  <a:lnTo>
                    <a:pt x="1" y="29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7" y="59"/>
                  </a:lnTo>
                  <a:lnTo>
                    <a:pt x="14" y="62"/>
                  </a:lnTo>
                  <a:lnTo>
                    <a:pt x="22" y="63"/>
                  </a:lnTo>
                  <a:lnTo>
                    <a:pt x="30" y="65"/>
                  </a:lnTo>
                  <a:lnTo>
                    <a:pt x="37" y="62"/>
                  </a:lnTo>
                  <a:lnTo>
                    <a:pt x="40" y="61"/>
                  </a:lnTo>
                  <a:lnTo>
                    <a:pt x="43" y="58"/>
                  </a:lnTo>
                  <a:lnTo>
                    <a:pt x="44" y="54"/>
                  </a:lnTo>
                  <a:lnTo>
                    <a:pt x="45" y="48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4" name="Freeform 250"/>
            <p:cNvSpPr>
              <a:spLocks/>
            </p:cNvSpPr>
            <p:nvPr/>
          </p:nvSpPr>
          <p:spPr bwMode="auto">
            <a:xfrm>
              <a:off x="1769" y="551"/>
              <a:ext cx="37" cy="52"/>
            </a:xfrm>
            <a:custGeom>
              <a:avLst/>
              <a:gdLst>
                <a:gd name="T0" fmla="*/ 18 w 45"/>
                <a:gd name="T1" fmla="*/ 0 h 65"/>
                <a:gd name="T2" fmla="*/ 16 w 45"/>
                <a:gd name="T3" fmla="*/ 0 h 65"/>
                <a:gd name="T4" fmla="*/ 15 w 45"/>
                <a:gd name="T5" fmla="*/ 0 h 65"/>
                <a:gd name="T6" fmla="*/ 12 w 45"/>
                <a:gd name="T7" fmla="*/ 1 h 65"/>
                <a:gd name="T8" fmla="*/ 10 w 45"/>
                <a:gd name="T9" fmla="*/ 4 h 65"/>
                <a:gd name="T10" fmla="*/ 7 w 45"/>
                <a:gd name="T11" fmla="*/ 7 h 65"/>
                <a:gd name="T12" fmla="*/ 4 w 45"/>
                <a:gd name="T13" fmla="*/ 12 h 65"/>
                <a:gd name="T14" fmla="*/ 3 w 45"/>
                <a:gd name="T15" fmla="*/ 19 h 65"/>
                <a:gd name="T16" fmla="*/ 1 w 45"/>
                <a:gd name="T17" fmla="*/ 29 h 65"/>
                <a:gd name="T18" fmla="*/ 0 w 45"/>
                <a:gd name="T19" fmla="*/ 56 h 65"/>
                <a:gd name="T20" fmla="*/ 1 w 45"/>
                <a:gd name="T21" fmla="*/ 58 h 65"/>
                <a:gd name="T22" fmla="*/ 7 w 45"/>
                <a:gd name="T23" fmla="*/ 59 h 65"/>
                <a:gd name="T24" fmla="*/ 14 w 45"/>
                <a:gd name="T25" fmla="*/ 62 h 65"/>
                <a:gd name="T26" fmla="*/ 22 w 45"/>
                <a:gd name="T27" fmla="*/ 63 h 65"/>
                <a:gd name="T28" fmla="*/ 30 w 45"/>
                <a:gd name="T29" fmla="*/ 65 h 65"/>
                <a:gd name="T30" fmla="*/ 37 w 45"/>
                <a:gd name="T31" fmla="*/ 62 h 65"/>
                <a:gd name="T32" fmla="*/ 40 w 45"/>
                <a:gd name="T33" fmla="*/ 61 h 65"/>
                <a:gd name="T34" fmla="*/ 43 w 45"/>
                <a:gd name="T35" fmla="*/ 58 h 65"/>
                <a:gd name="T36" fmla="*/ 44 w 45"/>
                <a:gd name="T37" fmla="*/ 54 h 65"/>
                <a:gd name="T38" fmla="*/ 45 w 45"/>
                <a:gd name="T39" fmla="*/ 48 h 65"/>
                <a:gd name="T40" fmla="*/ 18 w 45"/>
                <a:gd name="T41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65">
                  <a:moveTo>
                    <a:pt x="18" y="0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4"/>
                  </a:lnTo>
                  <a:lnTo>
                    <a:pt x="7" y="7"/>
                  </a:lnTo>
                  <a:lnTo>
                    <a:pt x="4" y="12"/>
                  </a:lnTo>
                  <a:lnTo>
                    <a:pt x="3" y="19"/>
                  </a:lnTo>
                  <a:lnTo>
                    <a:pt x="1" y="29"/>
                  </a:lnTo>
                  <a:lnTo>
                    <a:pt x="0" y="56"/>
                  </a:lnTo>
                  <a:lnTo>
                    <a:pt x="1" y="58"/>
                  </a:lnTo>
                  <a:lnTo>
                    <a:pt x="7" y="59"/>
                  </a:lnTo>
                  <a:lnTo>
                    <a:pt x="14" y="62"/>
                  </a:lnTo>
                  <a:lnTo>
                    <a:pt x="22" y="63"/>
                  </a:lnTo>
                  <a:lnTo>
                    <a:pt x="30" y="65"/>
                  </a:lnTo>
                  <a:lnTo>
                    <a:pt x="37" y="62"/>
                  </a:lnTo>
                  <a:lnTo>
                    <a:pt x="40" y="61"/>
                  </a:lnTo>
                  <a:lnTo>
                    <a:pt x="43" y="58"/>
                  </a:lnTo>
                  <a:lnTo>
                    <a:pt x="44" y="54"/>
                  </a:lnTo>
                  <a:lnTo>
                    <a:pt x="45" y="48"/>
                  </a:lnTo>
                  <a:lnTo>
                    <a:pt x="18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5" name="Freeform 251"/>
            <p:cNvSpPr>
              <a:spLocks/>
            </p:cNvSpPr>
            <p:nvPr/>
          </p:nvSpPr>
          <p:spPr bwMode="auto">
            <a:xfrm>
              <a:off x="1890" y="559"/>
              <a:ext cx="65" cy="141"/>
            </a:xfrm>
            <a:custGeom>
              <a:avLst/>
              <a:gdLst>
                <a:gd name="T0" fmla="*/ 20 w 81"/>
                <a:gd name="T1" fmla="*/ 2 h 174"/>
                <a:gd name="T2" fmla="*/ 15 w 81"/>
                <a:gd name="T3" fmla="*/ 0 h 174"/>
                <a:gd name="T4" fmla="*/ 11 w 81"/>
                <a:gd name="T5" fmla="*/ 9 h 174"/>
                <a:gd name="T6" fmla="*/ 12 w 81"/>
                <a:gd name="T7" fmla="*/ 11 h 174"/>
                <a:gd name="T8" fmla="*/ 15 w 81"/>
                <a:gd name="T9" fmla="*/ 17 h 174"/>
                <a:gd name="T10" fmla="*/ 11 w 81"/>
                <a:gd name="T11" fmla="*/ 24 h 174"/>
                <a:gd name="T12" fmla="*/ 7 w 81"/>
                <a:gd name="T13" fmla="*/ 28 h 174"/>
                <a:gd name="T14" fmla="*/ 3 w 81"/>
                <a:gd name="T15" fmla="*/ 40 h 174"/>
                <a:gd name="T16" fmla="*/ 3 w 81"/>
                <a:gd name="T17" fmla="*/ 58 h 174"/>
                <a:gd name="T18" fmla="*/ 1 w 81"/>
                <a:gd name="T19" fmla="*/ 68 h 174"/>
                <a:gd name="T20" fmla="*/ 0 w 81"/>
                <a:gd name="T21" fmla="*/ 69 h 174"/>
                <a:gd name="T22" fmla="*/ 0 w 81"/>
                <a:gd name="T23" fmla="*/ 73 h 174"/>
                <a:gd name="T24" fmla="*/ 1 w 81"/>
                <a:gd name="T25" fmla="*/ 84 h 174"/>
                <a:gd name="T26" fmla="*/ 3 w 81"/>
                <a:gd name="T27" fmla="*/ 101 h 174"/>
                <a:gd name="T28" fmla="*/ 7 w 81"/>
                <a:gd name="T29" fmla="*/ 101 h 174"/>
                <a:gd name="T30" fmla="*/ 14 w 81"/>
                <a:gd name="T31" fmla="*/ 105 h 174"/>
                <a:gd name="T32" fmla="*/ 16 w 81"/>
                <a:gd name="T33" fmla="*/ 116 h 174"/>
                <a:gd name="T34" fmla="*/ 18 w 81"/>
                <a:gd name="T35" fmla="*/ 123 h 174"/>
                <a:gd name="T36" fmla="*/ 16 w 81"/>
                <a:gd name="T37" fmla="*/ 128 h 174"/>
                <a:gd name="T38" fmla="*/ 14 w 81"/>
                <a:gd name="T39" fmla="*/ 130 h 174"/>
                <a:gd name="T40" fmla="*/ 11 w 81"/>
                <a:gd name="T41" fmla="*/ 137 h 174"/>
                <a:gd name="T42" fmla="*/ 14 w 81"/>
                <a:gd name="T43" fmla="*/ 152 h 174"/>
                <a:gd name="T44" fmla="*/ 12 w 81"/>
                <a:gd name="T45" fmla="*/ 157 h 174"/>
                <a:gd name="T46" fmla="*/ 15 w 81"/>
                <a:gd name="T47" fmla="*/ 167 h 174"/>
                <a:gd name="T48" fmla="*/ 27 w 81"/>
                <a:gd name="T49" fmla="*/ 172 h 174"/>
                <a:gd name="T50" fmla="*/ 36 w 81"/>
                <a:gd name="T51" fmla="*/ 174 h 174"/>
                <a:gd name="T52" fmla="*/ 41 w 81"/>
                <a:gd name="T53" fmla="*/ 174 h 174"/>
                <a:gd name="T54" fmla="*/ 44 w 81"/>
                <a:gd name="T55" fmla="*/ 174 h 174"/>
                <a:gd name="T56" fmla="*/ 52 w 81"/>
                <a:gd name="T57" fmla="*/ 171 h 174"/>
                <a:gd name="T58" fmla="*/ 59 w 81"/>
                <a:gd name="T59" fmla="*/ 160 h 174"/>
                <a:gd name="T60" fmla="*/ 60 w 81"/>
                <a:gd name="T61" fmla="*/ 154 h 174"/>
                <a:gd name="T62" fmla="*/ 67 w 81"/>
                <a:gd name="T63" fmla="*/ 141 h 174"/>
                <a:gd name="T64" fmla="*/ 74 w 81"/>
                <a:gd name="T65" fmla="*/ 132 h 174"/>
                <a:gd name="T66" fmla="*/ 78 w 81"/>
                <a:gd name="T67" fmla="*/ 124 h 174"/>
                <a:gd name="T68" fmla="*/ 81 w 81"/>
                <a:gd name="T69" fmla="*/ 108 h 174"/>
                <a:gd name="T70" fmla="*/ 80 w 81"/>
                <a:gd name="T71" fmla="*/ 98 h 174"/>
                <a:gd name="T72" fmla="*/ 74 w 81"/>
                <a:gd name="T73" fmla="*/ 94 h 174"/>
                <a:gd name="T74" fmla="*/ 66 w 81"/>
                <a:gd name="T75" fmla="*/ 95 h 174"/>
                <a:gd name="T76" fmla="*/ 63 w 81"/>
                <a:gd name="T77" fmla="*/ 97 h 174"/>
                <a:gd name="T78" fmla="*/ 59 w 81"/>
                <a:gd name="T79" fmla="*/ 95 h 174"/>
                <a:gd name="T80" fmla="*/ 63 w 81"/>
                <a:gd name="T81" fmla="*/ 88 h 174"/>
                <a:gd name="T82" fmla="*/ 66 w 81"/>
                <a:gd name="T83" fmla="*/ 86 h 174"/>
                <a:gd name="T84" fmla="*/ 67 w 81"/>
                <a:gd name="T85" fmla="*/ 75 h 174"/>
                <a:gd name="T86" fmla="*/ 66 w 81"/>
                <a:gd name="T87" fmla="*/ 65 h 174"/>
                <a:gd name="T88" fmla="*/ 62 w 81"/>
                <a:gd name="T89" fmla="*/ 53 h 174"/>
                <a:gd name="T90" fmla="*/ 51 w 81"/>
                <a:gd name="T91" fmla="*/ 35 h 174"/>
                <a:gd name="T92" fmla="*/ 47 w 81"/>
                <a:gd name="T93" fmla="*/ 29 h 174"/>
                <a:gd name="T94" fmla="*/ 37 w 81"/>
                <a:gd name="T95" fmla="*/ 18 h 174"/>
                <a:gd name="T96" fmla="*/ 30 w 81"/>
                <a:gd name="T97" fmla="*/ 14 h 174"/>
                <a:gd name="T98" fmla="*/ 25 w 81"/>
                <a:gd name="T99" fmla="*/ 10 h 174"/>
                <a:gd name="T100" fmla="*/ 22 w 81"/>
                <a:gd name="T101" fmla="*/ 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1" h="174">
                  <a:moveTo>
                    <a:pt x="22" y="2"/>
                  </a:moveTo>
                  <a:lnTo>
                    <a:pt x="22" y="2"/>
                  </a:lnTo>
                  <a:lnTo>
                    <a:pt x="20" y="2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4" y="21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4" y="35"/>
                  </a:lnTo>
                  <a:lnTo>
                    <a:pt x="3" y="40"/>
                  </a:lnTo>
                  <a:lnTo>
                    <a:pt x="3" y="47"/>
                  </a:lnTo>
                  <a:lnTo>
                    <a:pt x="3" y="54"/>
                  </a:lnTo>
                  <a:lnTo>
                    <a:pt x="3" y="58"/>
                  </a:lnTo>
                  <a:lnTo>
                    <a:pt x="3" y="62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2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4"/>
                  </a:lnTo>
                  <a:lnTo>
                    <a:pt x="3" y="88"/>
                  </a:lnTo>
                  <a:lnTo>
                    <a:pt x="5" y="93"/>
                  </a:lnTo>
                  <a:lnTo>
                    <a:pt x="3" y="101"/>
                  </a:lnTo>
                  <a:lnTo>
                    <a:pt x="4" y="101"/>
                  </a:lnTo>
                  <a:lnTo>
                    <a:pt x="5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12" y="102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8" y="126"/>
                  </a:lnTo>
                  <a:lnTo>
                    <a:pt x="16" y="127"/>
                  </a:lnTo>
                  <a:lnTo>
                    <a:pt x="16" y="128"/>
                  </a:lnTo>
                  <a:lnTo>
                    <a:pt x="15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2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41"/>
                  </a:lnTo>
                  <a:lnTo>
                    <a:pt x="11" y="145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60"/>
                  </a:lnTo>
                  <a:lnTo>
                    <a:pt x="14" y="164"/>
                  </a:lnTo>
                  <a:lnTo>
                    <a:pt x="15" y="167"/>
                  </a:lnTo>
                  <a:lnTo>
                    <a:pt x="19" y="170"/>
                  </a:lnTo>
                  <a:lnTo>
                    <a:pt x="25" y="172"/>
                  </a:lnTo>
                  <a:lnTo>
                    <a:pt x="27" y="172"/>
                  </a:lnTo>
                  <a:lnTo>
                    <a:pt x="29" y="174"/>
                  </a:lnTo>
                  <a:lnTo>
                    <a:pt x="33" y="174"/>
                  </a:lnTo>
                  <a:lnTo>
                    <a:pt x="36" y="174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1" y="174"/>
                  </a:lnTo>
                  <a:lnTo>
                    <a:pt x="42" y="174"/>
                  </a:lnTo>
                  <a:lnTo>
                    <a:pt x="42" y="174"/>
                  </a:lnTo>
                  <a:lnTo>
                    <a:pt x="44" y="174"/>
                  </a:lnTo>
                  <a:lnTo>
                    <a:pt x="47" y="174"/>
                  </a:lnTo>
                  <a:lnTo>
                    <a:pt x="49" y="172"/>
                  </a:lnTo>
                  <a:lnTo>
                    <a:pt x="52" y="171"/>
                  </a:lnTo>
                  <a:lnTo>
                    <a:pt x="55" y="170"/>
                  </a:lnTo>
                  <a:lnTo>
                    <a:pt x="58" y="165"/>
                  </a:lnTo>
                  <a:lnTo>
                    <a:pt x="59" y="160"/>
                  </a:lnTo>
                  <a:lnTo>
                    <a:pt x="59" y="159"/>
                  </a:lnTo>
                  <a:lnTo>
                    <a:pt x="60" y="157"/>
                  </a:lnTo>
                  <a:lnTo>
                    <a:pt x="60" y="154"/>
                  </a:lnTo>
                  <a:lnTo>
                    <a:pt x="62" y="150"/>
                  </a:lnTo>
                  <a:lnTo>
                    <a:pt x="65" y="146"/>
                  </a:lnTo>
                  <a:lnTo>
                    <a:pt x="67" y="141"/>
                  </a:lnTo>
                  <a:lnTo>
                    <a:pt x="70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6" y="131"/>
                  </a:lnTo>
                  <a:lnTo>
                    <a:pt x="77" y="128"/>
                  </a:lnTo>
                  <a:lnTo>
                    <a:pt x="78" y="124"/>
                  </a:lnTo>
                  <a:lnTo>
                    <a:pt x="80" y="120"/>
                  </a:lnTo>
                  <a:lnTo>
                    <a:pt x="81" y="115"/>
                  </a:lnTo>
                  <a:lnTo>
                    <a:pt x="81" y="108"/>
                  </a:lnTo>
                  <a:lnTo>
                    <a:pt x="80" y="101"/>
                  </a:lnTo>
                  <a:lnTo>
                    <a:pt x="80" y="99"/>
                  </a:lnTo>
                  <a:lnTo>
                    <a:pt x="80" y="98"/>
                  </a:lnTo>
                  <a:lnTo>
                    <a:pt x="77" y="97"/>
                  </a:lnTo>
                  <a:lnTo>
                    <a:pt x="76" y="95"/>
                  </a:lnTo>
                  <a:lnTo>
                    <a:pt x="74" y="94"/>
                  </a:lnTo>
                  <a:lnTo>
                    <a:pt x="71" y="93"/>
                  </a:lnTo>
                  <a:lnTo>
                    <a:pt x="69" y="94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5" y="95"/>
                  </a:lnTo>
                  <a:lnTo>
                    <a:pt x="63" y="97"/>
                  </a:lnTo>
                  <a:lnTo>
                    <a:pt x="62" y="97"/>
                  </a:lnTo>
                  <a:lnTo>
                    <a:pt x="60" y="97"/>
                  </a:lnTo>
                  <a:lnTo>
                    <a:pt x="59" y="95"/>
                  </a:lnTo>
                  <a:lnTo>
                    <a:pt x="60" y="93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5" y="87"/>
                  </a:lnTo>
                  <a:lnTo>
                    <a:pt x="66" y="86"/>
                  </a:lnTo>
                  <a:lnTo>
                    <a:pt x="66" y="83"/>
                  </a:lnTo>
                  <a:lnTo>
                    <a:pt x="67" y="79"/>
                  </a:lnTo>
                  <a:lnTo>
                    <a:pt x="67" y="75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5" y="61"/>
                  </a:lnTo>
                  <a:lnTo>
                    <a:pt x="63" y="57"/>
                  </a:lnTo>
                  <a:lnTo>
                    <a:pt x="62" y="53"/>
                  </a:lnTo>
                  <a:lnTo>
                    <a:pt x="59" y="46"/>
                  </a:lnTo>
                  <a:lnTo>
                    <a:pt x="55" y="40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48" y="32"/>
                  </a:lnTo>
                  <a:lnTo>
                    <a:pt x="47" y="29"/>
                  </a:lnTo>
                  <a:lnTo>
                    <a:pt x="42" y="25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33" y="16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5" y="10"/>
                  </a:lnTo>
                  <a:lnTo>
                    <a:pt x="23" y="9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6" name="Freeform 252"/>
            <p:cNvSpPr>
              <a:spLocks/>
            </p:cNvSpPr>
            <p:nvPr/>
          </p:nvSpPr>
          <p:spPr bwMode="auto">
            <a:xfrm>
              <a:off x="1890" y="559"/>
              <a:ext cx="65" cy="141"/>
            </a:xfrm>
            <a:custGeom>
              <a:avLst/>
              <a:gdLst>
                <a:gd name="T0" fmla="*/ 19 w 81"/>
                <a:gd name="T1" fmla="*/ 0 h 174"/>
                <a:gd name="T2" fmla="*/ 12 w 81"/>
                <a:gd name="T3" fmla="*/ 2 h 174"/>
                <a:gd name="T4" fmla="*/ 12 w 81"/>
                <a:gd name="T5" fmla="*/ 10 h 174"/>
                <a:gd name="T6" fmla="*/ 15 w 81"/>
                <a:gd name="T7" fmla="*/ 16 h 174"/>
                <a:gd name="T8" fmla="*/ 12 w 81"/>
                <a:gd name="T9" fmla="*/ 24 h 174"/>
                <a:gd name="T10" fmla="*/ 7 w 81"/>
                <a:gd name="T11" fmla="*/ 28 h 174"/>
                <a:gd name="T12" fmla="*/ 3 w 81"/>
                <a:gd name="T13" fmla="*/ 40 h 174"/>
                <a:gd name="T14" fmla="*/ 3 w 81"/>
                <a:gd name="T15" fmla="*/ 58 h 174"/>
                <a:gd name="T16" fmla="*/ 1 w 81"/>
                <a:gd name="T17" fmla="*/ 68 h 174"/>
                <a:gd name="T18" fmla="*/ 0 w 81"/>
                <a:gd name="T19" fmla="*/ 72 h 174"/>
                <a:gd name="T20" fmla="*/ 0 w 81"/>
                <a:gd name="T21" fmla="*/ 80 h 174"/>
                <a:gd name="T22" fmla="*/ 5 w 81"/>
                <a:gd name="T23" fmla="*/ 93 h 174"/>
                <a:gd name="T24" fmla="*/ 5 w 81"/>
                <a:gd name="T25" fmla="*/ 101 h 174"/>
                <a:gd name="T26" fmla="*/ 12 w 81"/>
                <a:gd name="T27" fmla="*/ 102 h 174"/>
                <a:gd name="T28" fmla="*/ 16 w 81"/>
                <a:gd name="T29" fmla="*/ 116 h 174"/>
                <a:gd name="T30" fmla="*/ 18 w 81"/>
                <a:gd name="T31" fmla="*/ 123 h 174"/>
                <a:gd name="T32" fmla="*/ 16 w 81"/>
                <a:gd name="T33" fmla="*/ 128 h 174"/>
                <a:gd name="T34" fmla="*/ 12 w 81"/>
                <a:gd name="T35" fmla="*/ 131 h 174"/>
                <a:gd name="T36" fmla="*/ 11 w 81"/>
                <a:gd name="T37" fmla="*/ 141 h 174"/>
                <a:gd name="T38" fmla="*/ 12 w 81"/>
                <a:gd name="T39" fmla="*/ 152 h 174"/>
                <a:gd name="T40" fmla="*/ 12 w 81"/>
                <a:gd name="T41" fmla="*/ 160 h 174"/>
                <a:gd name="T42" fmla="*/ 19 w 81"/>
                <a:gd name="T43" fmla="*/ 170 h 174"/>
                <a:gd name="T44" fmla="*/ 29 w 81"/>
                <a:gd name="T45" fmla="*/ 174 h 174"/>
                <a:gd name="T46" fmla="*/ 38 w 81"/>
                <a:gd name="T47" fmla="*/ 174 h 174"/>
                <a:gd name="T48" fmla="*/ 42 w 81"/>
                <a:gd name="T49" fmla="*/ 174 h 174"/>
                <a:gd name="T50" fmla="*/ 49 w 81"/>
                <a:gd name="T51" fmla="*/ 172 h 174"/>
                <a:gd name="T52" fmla="*/ 58 w 81"/>
                <a:gd name="T53" fmla="*/ 165 h 174"/>
                <a:gd name="T54" fmla="*/ 60 w 81"/>
                <a:gd name="T55" fmla="*/ 157 h 174"/>
                <a:gd name="T56" fmla="*/ 65 w 81"/>
                <a:gd name="T57" fmla="*/ 146 h 174"/>
                <a:gd name="T58" fmla="*/ 74 w 81"/>
                <a:gd name="T59" fmla="*/ 134 h 174"/>
                <a:gd name="T60" fmla="*/ 77 w 81"/>
                <a:gd name="T61" fmla="*/ 128 h 174"/>
                <a:gd name="T62" fmla="*/ 81 w 81"/>
                <a:gd name="T63" fmla="*/ 115 h 174"/>
                <a:gd name="T64" fmla="*/ 80 w 81"/>
                <a:gd name="T65" fmla="*/ 99 h 174"/>
                <a:gd name="T66" fmla="*/ 76 w 81"/>
                <a:gd name="T67" fmla="*/ 95 h 174"/>
                <a:gd name="T68" fmla="*/ 69 w 81"/>
                <a:gd name="T69" fmla="*/ 94 h 174"/>
                <a:gd name="T70" fmla="*/ 63 w 81"/>
                <a:gd name="T71" fmla="*/ 97 h 174"/>
                <a:gd name="T72" fmla="*/ 59 w 81"/>
                <a:gd name="T73" fmla="*/ 95 h 174"/>
                <a:gd name="T74" fmla="*/ 63 w 81"/>
                <a:gd name="T75" fmla="*/ 88 h 174"/>
                <a:gd name="T76" fmla="*/ 66 w 81"/>
                <a:gd name="T77" fmla="*/ 83 h 174"/>
                <a:gd name="T78" fmla="*/ 66 w 81"/>
                <a:gd name="T79" fmla="*/ 68 h 174"/>
                <a:gd name="T80" fmla="*/ 63 w 81"/>
                <a:gd name="T81" fmla="*/ 57 h 174"/>
                <a:gd name="T82" fmla="*/ 55 w 81"/>
                <a:gd name="T83" fmla="*/ 40 h 174"/>
                <a:gd name="T84" fmla="*/ 47 w 81"/>
                <a:gd name="T85" fmla="*/ 29 h 174"/>
                <a:gd name="T86" fmla="*/ 37 w 81"/>
                <a:gd name="T87" fmla="*/ 18 h 174"/>
                <a:gd name="T88" fmla="*/ 30 w 81"/>
                <a:gd name="T89" fmla="*/ 14 h 174"/>
                <a:gd name="T90" fmla="*/ 25 w 81"/>
                <a:gd name="T91" fmla="*/ 10 h 174"/>
                <a:gd name="T92" fmla="*/ 22 w 81"/>
                <a:gd name="T93" fmla="*/ 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81" h="174">
                  <a:moveTo>
                    <a:pt x="22" y="2"/>
                  </a:moveTo>
                  <a:lnTo>
                    <a:pt x="20" y="2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1" y="5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4" y="13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4" y="21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5" y="31"/>
                  </a:lnTo>
                  <a:lnTo>
                    <a:pt x="4" y="35"/>
                  </a:lnTo>
                  <a:lnTo>
                    <a:pt x="3" y="40"/>
                  </a:lnTo>
                  <a:lnTo>
                    <a:pt x="3" y="47"/>
                  </a:lnTo>
                  <a:lnTo>
                    <a:pt x="3" y="54"/>
                  </a:lnTo>
                  <a:lnTo>
                    <a:pt x="3" y="58"/>
                  </a:lnTo>
                  <a:lnTo>
                    <a:pt x="3" y="62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0" y="72"/>
                  </a:lnTo>
                  <a:lnTo>
                    <a:pt x="0" y="73"/>
                  </a:lnTo>
                  <a:lnTo>
                    <a:pt x="0" y="77"/>
                  </a:lnTo>
                  <a:lnTo>
                    <a:pt x="0" y="80"/>
                  </a:lnTo>
                  <a:lnTo>
                    <a:pt x="1" y="84"/>
                  </a:lnTo>
                  <a:lnTo>
                    <a:pt x="3" y="88"/>
                  </a:lnTo>
                  <a:lnTo>
                    <a:pt x="5" y="93"/>
                  </a:lnTo>
                  <a:lnTo>
                    <a:pt x="3" y="101"/>
                  </a:lnTo>
                  <a:lnTo>
                    <a:pt x="4" y="101"/>
                  </a:lnTo>
                  <a:lnTo>
                    <a:pt x="5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12" y="102"/>
                  </a:lnTo>
                  <a:lnTo>
                    <a:pt x="14" y="105"/>
                  </a:lnTo>
                  <a:lnTo>
                    <a:pt x="16" y="109"/>
                  </a:lnTo>
                  <a:lnTo>
                    <a:pt x="16" y="116"/>
                  </a:lnTo>
                  <a:lnTo>
                    <a:pt x="16" y="117"/>
                  </a:lnTo>
                  <a:lnTo>
                    <a:pt x="18" y="120"/>
                  </a:lnTo>
                  <a:lnTo>
                    <a:pt x="18" y="123"/>
                  </a:lnTo>
                  <a:lnTo>
                    <a:pt x="18" y="126"/>
                  </a:lnTo>
                  <a:lnTo>
                    <a:pt x="16" y="127"/>
                  </a:lnTo>
                  <a:lnTo>
                    <a:pt x="16" y="128"/>
                  </a:lnTo>
                  <a:lnTo>
                    <a:pt x="15" y="130"/>
                  </a:lnTo>
                  <a:lnTo>
                    <a:pt x="14" y="130"/>
                  </a:lnTo>
                  <a:lnTo>
                    <a:pt x="12" y="131"/>
                  </a:lnTo>
                  <a:lnTo>
                    <a:pt x="11" y="134"/>
                  </a:lnTo>
                  <a:lnTo>
                    <a:pt x="11" y="137"/>
                  </a:lnTo>
                  <a:lnTo>
                    <a:pt x="11" y="141"/>
                  </a:lnTo>
                  <a:lnTo>
                    <a:pt x="11" y="145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2" y="157"/>
                  </a:lnTo>
                  <a:lnTo>
                    <a:pt x="12" y="160"/>
                  </a:lnTo>
                  <a:lnTo>
                    <a:pt x="14" y="164"/>
                  </a:lnTo>
                  <a:lnTo>
                    <a:pt x="15" y="167"/>
                  </a:lnTo>
                  <a:lnTo>
                    <a:pt x="19" y="170"/>
                  </a:lnTo>
                  <a:lnTo>
                    <a:pt x="25" y="172"/>
                  </a:lnTo>
                  <a:lnTo>
                    <a:pt x="27" y="172"/>
                  </a:lnTo>
                  <a:lnTo>
                    <a:pt x="29" y="174"/>
                  </a:lnTo>
                  <a:lnTo>
                    <a:pt x="33" y="174"/>
                  </a:lnTo>
                  <a:lnTo>
                    <a:pt x="36" y="174"/>
                  </a:lnTo>
                  <a:lnTo>
                    <a:pt x="38" y="174"/>
                  </a:lnTo>
                  <a:lnTo>
                    <a:pt x="40" y="174"/>
                  </a:lnTo>
                  <a:lnTo>
                    <a:pt x="41" y="174"/>
                  </a:lnTo>
                  <a:lnTo>
                    <a:pt x="42" y="174"/>
                  </a:lnTo>
                  <a:lnTo>
                    <a:pt x="44" y="174"/>
                  </a:lnTo>
                  <a:lnTo>
                    <a:pt x="47" y="174"/>
                  </a:lnTo>
                  <a:lnTo>
                    <a:pt x="49" y="172"/>
                  </a:lnTo>
                  <a:lnTo>
                    <a:pt x="52" y="171"/>
                  </a:lnTo>
                  <a:lnTo>
                    <a:pt x="55" y="170"/>
                  </a:lnTo>
                  <a:lnTo>
                    <a:pt x="58" y="165"/>
                  </a:lnTo>
                  <a:lnTo>
                    <a:pt x="59" y="160"/>
                  </a:lnTo>
                  <a:lnTo>
                    <a:pt x="59" y="159"/>
                  </a:lnTo>
                  <a:lnTo>
                    <a:pt x="60" y="157"/>
                  </a:lnTo>
                  <a:lnTo>
                    <a:pt x="60" y="154"/>
                  </a:lnTo>
                  <a:lnTo>
                    <a:pt x="62" y="150"/>
                  </a:lnTo>
                  <a:lnTo>
                    <a:pt x="65" y="146"/>
                  </a:lnTo>
                  <a:lnTo>
                    <a:pt x="67" y="141"/>
                  </a:lnTo>
                  <a:lnTo>
                    <a:pt x="70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6" y="131"/>
                  </a:lnTo>
                  <a:lnTo>
                    <a:pt x="77" y="128"/>
                  </a:lnTo>
                  <a:lnTo>
                    <a:pt x="78" y="124"/>
                  </a:lnTo>
                  <a:lnTo>
                    <a:pt x="80" y="120"/>
                  </a:lnTo>
                  <a:lnTo>
                    <a:pt x="81" y="115"/>
                  </a:lnTo>
                  <a:lnTo>
                    <a:pt x="81" y="108"/>
                  </a:lnTo>
                  <a:lnTo>
                    <a:pt x="80" y="101"/>
                  </a:lnTo>
                  <a:lnTo>
                    <a:pt x="80" y="99"/>
                  </a:lnTo>
                  <a:lnTo>
                    <a:pt x="80" y="98"/>
                  </a:lnTo>
                  <a:lnTo>
                    <a:pt x="77" y="97"/>
                  </a:lnTo>
                  <a:lnTo>
                    <a:pt x="76" y="95"/>
                  </a:lnTo>
                  <a:lnTo>
                    <a:pt x="74" y="94"/>
                  </a:lnTo>
                  <a:lnTo>
                    <a:pt x="71" y="93"/>
                  </a:lnTo>
                  <a:lnTo>
                    <a:pt x="69" y="94"/>
                  </a:lnTo>
                  <a:lnTo>
                    <a:pt x="66" y="95"/>
                  </a:lnTo>
                  <a:lnTo>
                    <a:pt x="65" y="95"/>
                  </a:lnTo>
                  <a:lnTo>
                    <a:pt x="63" y="97"/>
                  </a:lnTo>
                  <a:lnTo>
                    <a:pt x="62" y="97"/>
                  </a:lnTo>
                  <a:lnTo>
                    <a:pt x="60" y="97"/>
                  </a:lnTo>
                  <a:lnTo>
                    <a:pt x="59" y="95"/>
                  </a:lnTo>
                  <a:lnTo>
                    <a:pt x="60" y="93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5" y="87"/>
                  </a:lnTo>
                  <a:lnTo>
                    <a:pt x="66" y="86"/>
                  </a:lnTo>
                  <a:lnTo>
                    <a:pt x="66" y="83"/>
                  </a:lnTo>
                  <a:lnTo>
                    <a:pt x="67" y="79"/>
                  </a:lnTo>
                  <a:lnTo>
                    <a:pt x="67" y="75"/>
                  </a:lnTo>
                  <a:lnTo>
                    <a:pt x="66" y="68"/>
                  </a:lnTo>
                  <a:lnTo>
                    <a:pt x="66" y="65"/>
                  </a:lnTo>
                  <a:lnTo>
                    <a:pt x="65" y="61"/>
                  </a:lnTo>
                  <a:lnTo>
                    <a:pt x="63" y="57"/>
                  </a:lnTo>
                  <a:lnTo>
                    <a:pt x="62" y="53"/>
                  </a:lnTo>
                  <a:lnTo>
                    <a:pt x="59" y="46"/>
                  </a:lnTo>
                  <a:lnTo>
                    <a:pt x="55" y="40"/>
                  </a:lnTo>
                  <a:lnTo>
                    <a:pt x="51" y="35"/>
                  </a:lnTo>
                  <a:lnTo>
                    <a:pt x="48" y="32"/>
                  </a:lnTo>
                  <a:lnTo>
                    <a:pt x="47" y="29"/>
                  </a:lnTo>
                  <a:lnTo>
                    <a:pt x="42" y="25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33" y="16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27" y="11"/>
                  </a:lnTo>
                  <a:lnTo>
                    <a:pt x="25" y="10"/>
                  </a:lnTo>
                  <a:lnTo>
                    <a:pt x="23" y="9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7" name="Freeform 253"/>
            <p:cNvSpPr>
              <a:spLocks/>
            </p:cNvSpPr>
            <p:nvPr/>
          </p:nvSpPr>
          <p:spPr bwMode="auto">
            <a:xfrm>
              <a:off x="1660" y="959"/>
              <a:ext cx="49" cy="44"/>
            </a:xfrm>
            <a:custGeom>
              <a:avLst/>
              <a:gdLst>
                <a:gd name="T0" fmla="*/ 29 w 60"/>
                <a:gd name="T1" fmla="*/ 21 h 54"/>
                <a:gd name="T2" fmla="*/ 29 w 60"/>
                <a:gd name="T3" fmla="*/ 21 h 54"/>
                <a:gd name="T4" fmla="*/ 27 w 60"/>
                <a:gd name="T5" fmla="*/ 21 h 54"/>
                <a:gd name="T6" fmla="*/ 24 w 60"/>
                <a:gd name="T7" fmla="*/ 21 h 54"/>
                <a:gd name="T8" fmla="*/ 20 w 60"/>
                <a:gd name="T9" fmla="*/ 22 h 54"/>
                <a:gd name="T10" fmla="*/ 17 w 60"/>
                <a:gd name="T11" fmla="*/ 22 h 54"/>
                <a:gd name="T12" fmla="*/ 14 w 60"/>
                <a:gd name="T13" fmla="*/ 25 h 54"/>
                <a:gd name="T14" fmla="*/ 11 w 60"/>
                <a:gd name="T15" fmla="*/ 27 h 54"/>
                <a:gd name="T16" fmla="*/ 10 w 60"/>
                <a:gd name="T17" fmla="*/ 30 h 54"/>
                <a:gd name="T18" fmla="*/ 10 w 60"/>
                <a:gd name="T19" fmla="*/ 30 h 54"/>
                <a:gd name="T20" fmla="*/ 9 w 60"/>
                <a:gd name="T21" fmla="*/ 30 h 54"/>
                <a:gd name="T22" fmla="*/ 7 w 60"/>
                <a:gd name="T23" fmla="*/ 30 h 54"/>
                <a:gd name="T24" fmla="*/ 5 w 60"/>
                <a:gd name="T25" fmla="*/ 30 h 54"/>
                <a:gd name="T26" fmla="*/ 2 w 60"/>
                <a:gd name="T27" fmla="*/ 32 h 54"/>
                <a:gd name="T28" fmla="*/ 0 w 60"/>
                <a:gd name="T29" fmla="*/ 34 h 54"/>
                <a:gd name="T30" fmla="*/ 0 w 60"/>
                <a:gd name="T31" fmla="*/ 38 h 54"/>
                <a:gd name="T32" fmla="*/ 0 w 60"/>
                <a:gd name="T33" fmla="*/ 44 h 54"/>
                <a:gd name="T34" fmla="*/ 0 w 60"/>
                <a:gd name="T35" fmla="*/ 44 h 54"/>
                <a:gd name="T36" fmla="*/ 2 w 60"/>
                <a:gd name="T37" fmla="*/ 45 h 54"/>
                <a:gd name="T38" fmla="*/ 5 w 60"/>
                <a:gd name="T39" fmla="*/ 47 h 54"/>
                <a:gd name="T40" fmla="*/ 7 w 60"/>
                <a:gd name="T41" fmla="*/ 48 h 54"/>
                <a:gd name="T42" fmla="*/ 11 w 60"/>
                <a:gd name="T43" fmla="*/ 51 h 54"/>
                <a:gd name="T44" fmla="*/ 17 w 60"/>
                <a:gd name="T45" fmla="*/ 52 h 54"/>
                <a:gd name="T46" fmla="*/ 22 w 60"/>
                <a:gd name="T47" fmla="*/ 54 h 54"/>
                <a:gd name="T48" fmla="*/ 29 w 60"/>
                <a:gd name="T49" fmla="*/ 54 h 54"/>
                <a:gd name="T50" fmla="*/ 31 w 60"/>
                <a:gd name="T51" fmla="*/ 54 h 54"/>
                <a:gd name="T52" fmla="*/ 33 w 60"/>
                <a:gd name="T53" fmla="*/ 52 h 54"/>
                <a:gd name="T54" fmla="*/ 38 w 60"/>
                <a:gd name="T55" fmla="*/ 52 h 54"/>
                <a:gd name="T56" fmla="*/ 43 w 60"/>
                <a:gd name="T57" fmla="*/ 51 h 54"/>
                <a:gd name="T58" fmla="*/ 49 w 60"/>
                <a:gd name="T59" fmla="*/ 51 h 54"/>
                <a:gd name="T60" fmla="*/ 53 w 60"/>
                <a:gd name="T61" fmla="*/ 51 h 54"/>
                <a:gd name="T62" fmla="*/ 57 w 60"/>
                <a:gd name="T63" fmla="*/ 52 h 54"/>
                <a:gd name="T64" fmla="*/ 60 w 60"/>
                <a:gd name="T65" fmla="*/ 54 h 54"/>
                <a:gd name="T66" fmla="*/ 60 w 60"/>
                <a:gd name="T67" fmla="*/ 52 h 54"/>
                <a:gd name="T68" fmla="*/ 58 w 60"/>
                <a:gd name="T69" fmla="*/ 49 h 54"/>
                <a:gd name="T70" fmla="*/ 58 w 60"/>
                <a:gd name="T71" fmla="*/ 45 h 54"/>
                <a:gd name="T72" fmla="*/ 57 w 60"/>
                <a:gd name="T73" fmla="*/ 41 h 54"/>
                <a:gd name="T74" fmla="*/ 56 w 60"/>
                <a:gd name="T75" fmla="*/ 37 h 54"/>
                <a:gd name="T76" fmla="*/ 53 w 60"/>
                <a:gd name="T77" fmla="*/ 32 h 54"/>
                <a:gd name="T78" fmla="*/ 51 w 60"/>
                <a:gd name="T79" fmla="*/ 29 h 54"/>
                <a:gd name="T80" fmla="*/ 49 w 60"/>
                <a:gd name="T81" fmla="*/ 26 h 54"/>
                <a:gd name="T82" fmla="*/ 49 w 60"/>
                <a:gd name="T83" fmla="*/ 25 h 54"/>
                <a:gd name="T84" fmla="*/ 47 w 60"/>
                <a:gd name="T85" fmla="*/ 21 h 54"/>
                <a:gd name="T86" fmla="*/ 46 w 60"/>
                <a:gd name="T87" fmla="*/ 16 h 54"/>
                <a:gd name="T88" fmla="*/ 44 w 60"/>
                <a:gd name="T89" fmla="*/ 11 h 54"/>
                <a:gd name="T90" fmla="*/ 42 w 60"/>
                <a:gd name="T91" fmla="*/ 5 h 54"/>
                <a:gd name="T92" fmla="*/ 39 w 60"/>
                <a:gd name="T93" fmla="*/ 1 h 54"/>
                <a:gd name="T94" fmla="*/ 38 w 60"/>
                <a:gd name="T95" fmla="*/ 0 h 54"/>
                <a:gd name="T96" fmla="*/ 36 w 60"/>
                <a:gd name="T97" fmla="*/ 0 h 54"/>
                <a:gd name="T98" fmla="*/ 33 w 60"/>
                <a:gd name="T99" fmla="*/ 0 h 54"/>
                <a:gd name="T100" fmla="*/ 32 w 60"/>
                <a:gd name="T101" fmla="*/ 1 h 54"/>
                <a:gd name="T102" fmla="*/ 29 w 60"/>
                <a:gd name="T103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" h="54">
                  <a:moveTo>
                    <a:pt x="29" y="21"/>
                  </a:moveTo>
                  <a:lnTo>
                    <a:pt x="29" y="21"/>
                  </a:lnTo>
                  <a:lnTo>
                    <a:pt x="27" y="21"/>
                  </a:lnTo>
                  <a:lnTo>
                    <a:pt x="24" y="21"/>
                  </a:lnTo>
                  <a:lnTo>
                    <a:pt x="20" y="22"/>
                  </a:lnTo>
                  <a:lnTo>
                    <a:pt x="17" y="22"/>
                  </a:lnTo>
                  <a:lnTo>
                    <a:pt x="14" y="25"/>
                  </a:lnTo>
                  <a:lnTo>
                    <a:pt x="11" y="27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5" y="30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7" y="48"/>
                  </a:lnTo>
                  <a:lnTo>
                    <a:pt x="11" y="51"/>
                  </a:lnTo>
                  <a:lnTo>
                    <a:pt x="17" y="52"/>
                  </a:lnTo>
                  <a:lnTo>
                    <a:pt x="22" y="54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38" y="52"/>
                  </a:lnTo>
                  <a:lnTo>
                    <a:pt x="43" y="51"/>
                  </a:lnTo>
                  <a:lnTo>
                    <a:pt x="49" y="51"/>
                  </a:lnTo>
                  <a:lnTo>
                    <a:pt x="53" y="51"/>
                  </a:lnTo>
                  <a:lnTo>
                    <a:pt x="57" y="52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57" y="41"/>
                  </a:lnTo>
                  <a:lnTo>
                    <a:pt x="56" y="37"/>
                  </a:lnTo>
                  <a:lnTo>
                    <a:pt x="53" y="32"/>
                  </a:lnTo>
                  <a:lnTo>
                    <a:pt x="51" y="29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6" y="16"/>
                  </a:lnTo>
                  <a:lnTo>
                    <a:pt x="44" y="11"/>
                  </a:lnTo>
                  <a:lnTo>
                    <a:pt x="42" y="5"/>
                  </a:lnTo>
                  <a:lnTo>
                    <a:pt x="39" y="1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29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8" name="Freeform 254"/>
            <p:cNvSpPr>
              <a:spLocks/>
            </p:cNvSpPr>
            <p:nvPr/>
          </p:nvSpPr>
          <p:spPr bwMode="auto">
            <a:xfrm>
              <a:off x="1660" y="959"/>
              <a:ext cx="49" cy="44"/>
            </a:xfrm>
            <a:custGeom>
              <a:avLst/>
              <a:gdLst>
                <a:gd name="T0" fmla="*/ 29 w 60"/>
                <a:gd name="T1" fmla="*/ 21 h 54"/>
                <a:gd name="T2" fmla="*/ 27 w 60"/>
                <a:gd name="T3" fmla="*/ 21 h 54"/>
                <a:gd name="T4" fmla="*/ 24 w 60"/>
                <a:gd name="T5" fmla="*/ 21 h 54"/>
                <a:gd name="T6" fmla="*/ 20 w 60"/>
                <a:gd name="T7" fmla="*/ 22 h 54"/>
                <a:gd name="T8" fmla="*/ 17 w 60"/>
                <a:gd name="T9" fmla="*/ 22 h 54"/>
                <a:gd name="T10" fmla="*/ 14 w 60"/>
                <a:gd name="T11" fmla="*/ 25 h 54"/>
                <a:gd name="T12" fmla="*/ 11 w 60"/>
                <a:gd name="T13" fmla="*/ 27 h 54"/>
                <a:gd name="T14" fmla="*/ 10 w 60"/>
                <a:gd name="T15" fmla="*/ 30 h 54"/>
                <a:gd name="T16" fmla="*/ 9 w 60"/>
                <a:gd name="T17" fmla="*/ 30 h 54"/>
                <a:gd name="T18" fmla="*/ 7 w 60"/>
                <a:gd name="T19" fmla="*/ 30 h 54"/>
                <a:gd name="T20" fmla="*/ 5 w 60"/>
                <a:gd name="T21" fmla="*/ 30 h 54"/>
                <a:gd name="T22" fmla="*/ 2 w 60"/>
                <a:gd name="T23" fmla="*/ 32 h 54"/>
                <a:gd name="T24" fmla="*/ 0 w 60"/>
                <a:gd name="T25" fmla="*/ 34 h 54"/>
                <a:gd name="T26" fmla="*/ 0 w 60"/>
                <a:gd name="T27" fmla="*/ 38 h 54"/>
                <a:gd name="T28" fmla="*/ 0 w 60"/>
                <a:gd name="T29" fmla="*/ 44 h 54"/>
                <a:gd name="T30" fmla="*/ 2 w 60"/>
                <a:gd name="T31" fmla="*/ 45 h 54"/>
                <a:gd name="T32" fmla="*/ 5 w 60"/>
                <a:gd name="T33" fmla="*/ 47 h 54"/>
                <a:gd name="T34" fmla="*/ 7 w 60"/>
                <a:gd name="T35" fmla="*/ 48 h 54"/>
                <a:gd name="T36" fmla="*/ 11 w 60"/>
                <a:gd name="T37" fmla="*/ 51 h 54"/>
                <a:gd name="T38" fmla="*/ 17 w 60"/>
                <a:gd name="T39" fmla="*/ 52 h 54"/>
                <a:gd name="T40" fmla="*/ 22 w 60"/>
                <a:gd name="T41" fmla="*/ 54 h 54"/>
                <a:gd name="T42" fmla="*/ 29 w 60"/>
                <a:gd name="T43" fmla="*/ 54 h 54"/>
                <a:gd name="T44" fmla="*/ 31 w 60"/>
                <a:gd name="T45" fmla="*/ 54 h 54"/>
                <a:gd name="T46" fmla="*/ 33 w 60"/>
                <a:gd name="T47" fmla="*/ 52 h 54"/>
                <a:gd name="T48" fmla="*/ 38 w 60"/>
                <a:gd name="T49" fmla="*/ 52 h 54"/>
                <a:gd name="T50" fmla="*/ 43 w 60"/>
                <a:gd name="T51" fmla="*/ 51 h 54"/>
                <a:gd name="T52" fmla="*/ 49 w 60"/>
                <a:gd name="T53" fmla="*/ 51 h 54"/>
                <a:gd name="T54" fmla="*/ 53 w 60"/>
                <a:gd name="T55" fmla="*/ 51 h 54"/>
                <a:gd name="T56" fmla="*/ 57 w 60"/>
                <a:gd name="T57" fmla="*/ 52 h 54"/>
                <a:gd name="T58" fmla="*/ 60 w 60"/>
                <a:gd name="T59" fmla="*/ 54 h 54"/>
                <a:gd name="T60" fmla="*/ 60 w 60"/>
                <a:gd name="T61" fmla="*/ 52 h 54"/>
                <a:gd name="T62" fmla="*/ 58 w 60"/>
                <a:gd name="T63" fmla="*/ 49 h 54"/>
                <a:gd name="T64" fmla="*/ 58 w 60"/>
                <a:gd name="T65" fmla="*/ 45 h 54"/>
                <a:gd name="T66" fmla="*/ 57 w 60"/>
                <a:gd name="T67" fmla="*/ 41 h 54"/>
                <a:gd name="T68" fmla="*/ 56 w 60"/>
                <a:gd name="T69" fmla="*/ 37 h 54"/>
                <a:gd name="T70" fmla="*/ 53 w 60"/>
                <a:gd name="T71" fmla="*/ 32 h 54"/>
                <a:gd name="T72" fmla="*/ 51 w 60"/>
                <a:gd name="T73" fmla="*/ 29 h 54"/>
                <a:gd name="T74" fmla="*/ 49 w 60"/>
                <a:gd name="T75" fmla="*/ 26 h 54"/>
                <a:gd name="T76" fmla="*/ 49 w 60"/>
                <a:gd name="T77" fmla="*/ 25 h 54"/>
                <a:gd name="T78" fmla="*/ 47 w 60"/>
                <a:gd name="T79" fmla="*/ 21 h 54"/>
                <a:gd name="T80" fmla="*/ 46 w 60"/>
                <a:gd name="T81" fmla="*/ 16 h 54"/>
                <a:gd name="T82" fmla="*/ 44 w 60"/>
                <a:gd name="T83" fmla="*/ 11 h 54"/>
                <a:gd name="T84" fmla="*/ 42 w 60"/>
                <a:gd name="T85" fmla="*/ 5 h 54"/>
                <a:gd name="T86" fmla="*/ 39 w 60"/>
                <a:gd name="T87" fmla="*/ 1 h 54"/>
                <a:gd name="T88" fmla="*/ 38 w 60"/>
                <a:gd name="T89" fmla="*/ 0 h 54"/>
                <a:gd name="T90" fmla="*/ 36 w 60"/>
                <a:gd name="T91" fmla="*/ 0 h 54"/>
                <a:gd name="T92" fmla="*/ 33 w 60"/>
                <a:gd name="T93" fmla="*/ 0 h 54"/>
                <a:gd name="T94" fmla="*/ 32 w 60"/>
                <a:gd name="T95" fmla="*/ 1 h 54"/>
                <a:gd name="T96" fmla="*/ 29 w 60"/>
                <a:gd name="T97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0" h="54">
                  <a:moveTo>
                    <a:pt x="29" y="21"/>
                  </a:moveTo>
                  <a:lnTo>
                    <a:pt x="27" y="21"/>
                  </a:lnTo>
                  <a:lnTo>
                    <a:pt x="24" y="21"/>
                  </a:lnTo>
                  <a:lnTo>
                    <a:pt x="20" y="22"/>
                  </a:lnTo>
                  <a:lnTo>
                    <a:pt x="17" y="22"/>
                  </a:lnTo>
                  <a:lnTo>
                    <a:pt x="14" y="25"/>
                  </a:lnTo>
                  <a:lnTo>
                    <a:pt x="11" y="27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5" y="30"/>
                  </a:lnTo>
                  <a:lnTo>
                    <a:pt x="2" y="32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0" y="44"/>
                  </a:lnTo>
                  <a:lnTo>
                    <a:pt x="2" y="45"/>
                  </a:lnTo>
                  <a:lnTo>
                    <a:pt x="5" y="47"/>
                  </a:lnTo>
                  <a:lnTo>
                    <a:pt x="7" y="48"/>
                  </a:lnTo>
                  <a:lnTo>
                    <a:pt x="11" y="51"/>
                  </a:lnTo>
                  <a:lnTo>
                    <a:pt x="17" y="52"/>
                  </a:lnTo>
                  <a:lnTo>
                    <a:pt x="22" y="54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2"/>
                  </a:lnTo>
                  <a:lnTo>
                    <a:pt x="38" y="52"/>
                  </a:lnTo>
                  <a:lnTo>
                    <a:pt x="43" y="51"/>
                  </a:lnTo>
                  <a:lnTo>
                    <a:pt x="49" y="51"/>
                  </a:lnTo>
                  <a:lnTo>
                    <a:pt x="53" y="51"/>
                  </a:lnTo>
                  <a:lnTo>
                    <a:pt x="57" y="52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58" y="49"/>
                  </a:lnTo>
                  <a:lnTo>
                    <a:pt x="58" y="45"/>
                  </a:lnTo>
                  <a:lnTo>
                    <a:pt x="57" y="41"/>
                  </a:lnTo>
                  <a:lnTo>
                    <a:pt x="56" y="37"/>
                  </a:lnTo>
                  <a:lnTo>
                    <a:pt x="53" y="32"/>
                  </a:lnTo>
                  <a:lnTo>
                    <a:pt x="51" y="29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7" y="21"/>
                  </a:lnTo>
                  <a:lnTo>
                    <a:pt x="46" y="16"/>
                  </a:lnTo>
                  <a:lnTo>
                    <a:pt x="44" y="11"/>
                  </a:lnTo>
                  <a:lnTo>
                    <a:pt x="42" y="5"/>
                  </a:lnTo>
                  <a:lnTo>
                    <a:pt x="39" y="1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29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79" name="Freeform 255"/>
            <p:cNvSpPr>
              <a:spLocks/>
            </p:cNvSpPr>
            <p:nvPr/>
          </p:nvSpPr>
          <p:spPr bwMode="auto">
            <a:xfrm>
              <a:off x="1689" y="576"/>
              <a:ext cx="32" cy="20"/>
            </a:xfrm>
            <a:custGeom>
              <a:avLst/>
              <a:gdLst>
                <a:gd name="T0" fmla="*/ 19 w 40"/>
                <a:gd name="T1" fmla="*/ 5 h 24"/>
                <a:gd name="T2" fmla="*/ 18 w 40"/>
                <a:gd name="T3" fmla="*/ 4 h 24"/>
                <a:gd name="T4" fmla="*/ 16 w 40"/>
                <a:gd name="T5" fmla="*/ 4 h 24"/>
                <a:gd name="T6" fmla="*/ 15 w 40"/>
                <a:gd name="T7" fmla="*/ 1 h 24"/>
                <a:gd name="T8" fmla="*/ 12 w 40"/>
                <a:gd name="T9" fmla="*/ 0 h 24"/>
                <a:gd name="T10" fmla="*/ 9 w 40"/>
                <a:gd name="T11" fmla="*/ 0 h 24"/>
                <a:gd name="T12" fmla="*/ 7 w 40"/>
                <a:gd name="T13" fmla="*/ 0 h 24"/>
                <a:gd name="T14" fmla="*/ 3 w 40"/>
                <a:gd name="T15" fmla="*/ 1 h 24"/>
                <a:gd name="T16" fmla="*/ 0 w 40"/>
                <a:gd name="T17" fmla="*/ 5 h 24"/>
                <a:gd name="T18" fmla="*/ 0 w 40"/>
                <a:gd name="T19" fmla="*/ 7 h 24"/>
                <a:gd name="T20" fmla="*/ 0 w 40"/>
                <a:gd name="T21" fmla="*/ 8 h 24"/>
                <a:gd name="T22" fmla="*/ 1 w 40"/>
                <a:gd name="T23" fmla="*/ 9 h 24"/>
                <a:gd name="T24" fmla="*/ 3 w 40"/>
                <a:gd name="T25" fmla="*/ 12 h 24"/>
                <a:gd name="T26" fmla="*/ 4 w 40"/>
                <a:gd name="T27" fmla="*/ 13 h 24"/>
                <a:gd name="T28" fmla="*/ 7 w 40"/>
                <a:gd name="T29" fmla="*/ 16 h 24"/>
                <a:gd name="T30" fmla="*/ 9 w 40"/>
                <a:gd name="T31" fmla="*/ 18 h 24"/>
                <a:gd name="T32" fmla="*/ 15 w 40"/>
                <a:gd name="T33" fmla="*/ 19 h 24"/>
                <a:gd name="T34" fmla="*/ 16 w 40"/>
                <a:gd name="T35" fmla="*/ 20 h 24"/>
                <a:gd name="T36" fmla="*/ 19 w 40"/>
                <a:gd name="T37" fmla="*/ 22 h 24"/>
                <a:gd name="T38" fmla="*/ 25 w 40"/>
                <a:gd name="T39" fmla="*/ 23 h 24"/>
                <a:gd name="T40" fmla="*/ 30 w 40"/>
                <a:gd name="T41" fmla="*/ 24 h 24"/>
                <a:gd name="T42" fmla="*/ 34 w 40"/>
                <a:gd name="T43" fmla="*/ 24 h 24"/>
                <a:gd name="T44" fmla="*/ 38 w 40"/>
                <a:gd name="T45" fmla="*/ 24 h 24"/>
                <a:gd name="T46" fmla="*/ 40 w 40"/>
                <a:gd name="T47" fmla="*/ 24 h 24"/>
                <a:gd name="T48" fmla="*/ 40 w 40"/>
                <a:gd name="T49" fmla="*/ 23 h 24"/>
                <a:gd name="T50" fmla="*/ 40 w 40"/>
                <a:gd name="T51" fmla="*/ 20 h 24"/>
                <a:gd name="T52" fmla="*/ 38 w 40"/>
                <a:gd name="T53" fmla="*/ 19 h 24"/>
                <a:gd name="T54" fmla="*/ 36 w 40"/>
                <a:gd name="T55" fmla="*/ 15 h 24"/>
                <a:gd name="T56" fmla="*/ 33 w 40"/>
                <a:gd name="T57" fmla="*/ 11 h 24"/>
                <a:gd name="T58" fmla="*/ 29 w 40"/>
                <a:gd name="T59" fmla="*/ 8 h 24"/>
                <a:gd name="T60" fmla="*/ 26 w 40"/>
                <a:gd name="T61" fmla="*/ 7 h 24"/>
                <a:gd name="T62" fmla="*/ 23 w 40"/>
                <a:gd name="T63" fmla="*/ 5 h 24"/>
                <a:gd name="T64" fmla="*/ 21 w 40"/>
                <a:gd name="T65" fmla="*/ 5 h 24"/>
                <a:gd name="T66" fmla="*/ 19 w 40"/>
                <a:gd name="T67" fmla="*/ 5 h 24"/>
                <a:gd name="T68" fmla="*/ 19 w 40"/>
                <a:gd name="T69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" h="24">
                  <a:moveTo>
                    <a:pt x="19" y="5"/>
                  </a:moveTo>
                  <a:lnTo>
                    <a:pt x="18" y="4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9" y="22"/>
                  </a:lnTo>
                  <a:lnTo>
                    <a:pt x="25" y="23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3"/>
                  </a:lnTo>
                  <a:lnTo>
                    <a:pt x="40" y="20"/>
                  </a:lnTo>
                  <a:lnTo>
                    <a:pt x="38" y="19"/>
                  </a:lnTo>
                  <a:lnTo>
                    <a:pt x="36" y="15"/>
                  </a:lnTo>
                  <a:lnTo>
                    <a:pt x="33" y="11"/>
                  </a:lnTo>
                  <a:lnTo>
                    <a:pt x="29" y="8"/>
                  </a:lnTo>
                  <a:lnTo>
                    <a:pt x="26" y="7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9" y="5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0" name="Freeform 256"/>
            <p:cNvSpPr>
              <a:spLocks/>
            </p:cNvSpPr>
            <p:nvPr/>
          </p:nvSpPr>
          <p:spPr bwMode="auto">
            <a:xfrm>
              <a:off x="1689" y="576"/>
              <a:ext cx="32" cy="20"/>
            </a:xfrm>
            <a:custGeom>
              <a:avLst/>
              <a:gdLst>
                <a:gd name="T0" fmla="*/ 19 w 40"/>
                <a:gd name="T1" fmla="*/ 5 h 24"/>
                <a:gd name="T2" fmla="*/ 18 w 40"/>
                <a:gd name="T3" fmla="*/ 4 h 24"/>
                <a:gd name="T4" fmla="*/ 16 w 40"/>
                <a:gd name="T5" fmla="*/ 4 h 24"/>
                <a:gd name="T6" fmla="*/ 15 w 40"/>
                <a:gd name="T7" fmla="*/ 1 h 24"/>
                <a:gd name="T8" fmla="*/ 12 w 40"/>
                <a:gd name="T9" fmla="*/ 0 h 24"/>
                <a:gd name="T10" fmla="*/ 9 w 40"/>
                <a:gd name="T11" fmla="*/ 0 h 24"/>
                <a:gd name="T12" fmla="*/ 7 w 40"/>
                <a:gd name="T13" fmla="*/ 0 h 24"/>
                <a:gd name="T14" fmla="*/ 3 w 40"/>
                <a:gd name="T15" fmla="*/ 1 h 24"/>
                <a:gd name="T16" fmla="*/ 0 w 40"/>
                <a:gd name="T17" fmla="*/ 5 h 24"/>
                <a:gd name="T18" fmla="*/ 0 w 40"/>
                <a:gd name="T19" fmla="*/ 7 h 24"/>
                <a:gd name="T20" fmla="*/ 0 w 40"/>
                <a:gd name="T21" fmla="*/ 8 h 24"/>
                <a:gd name="T22" fmla="*/ 1 w 40"/>
                <a:gd name="T23" fmla="*/ 9 h 24"/>
                <a:gd name="T24" fmla="*/ 3 w 40"/>
                <a:gd name="T25" fmla="*/ 12 h 24"/>
                <a:gd name="T26" fmla="*/ 4 w 40"/>
                <a:gd name="T27" fmla="*/ 13 h 24"/>
                <a:gd name="T28" fmla="*/ 7 w 40"/>
                <a:gd name="T29" fmla="*/ 16 h 24"/>
                <a:gd name="T30" fmla="*/ 9 w 40"/>
                <a:gd name="T31" fmla="*/ 18 h 24"/>
                <a:gd name="T32" fmla="*/ 15 w 40"/>
                <a:gd name="T33" fmla="*/ 19 h 24"/>
                <a:gd name="T34" fmla="*/ 16 w 40"/>
                <a:gd name="T35" fmla="*/ 20 h 24"/>
                <a:gd name="T36" fmla="*/ 19 w 40"/>
                <a:gd name="T37" fmla="*/ 22 h 24"/>
                <a:gd name="T38" fmla="*/ 25 w 40"/>
                <a:gd name="T39" fmla="*/ 23 h 24"/>
                <a:gd name="T40" fmla="*/ 30 w 40"/>
                <a:gd name="T41" fmla="*/ 24 h 24"/>
                <a:gd name="T42" fmla="*/ 34 w 40"/>
                <a:gd name="T43" fmla="*/ 24 h 24"/>
                <a:gd name="T44" fmla="*/ 38 w 40"/>
                <a:gd name="T45" fmla="*/ 24 h 24"/>
                <a:gd name="T46" fmla="*/ 40 w 40"/>
                <a:gd name="T47" fmla="*/ 24 h 24"/>
                <a:gd name="T48" fmla="*/ 40 w 40"/>
                <a:gd name="T49" fmla="*/ 23 h 24"/>
                <a:gd name="T50" fmla="*/ 40 w 40"/>
                <a:gd name="T51" fmla="*/ 20 h 24"/>
                <a:gd name="T52" fmla="*/ 38 w 40"/>
                <a:gd name="T53" fmla="*/ 19 h 24"/>
                <a:gd name="T54" fmla="*/ 36 w 40"/>
                <a:gd name="T55" fmla="*/ 15 h 24"/>
                <a:gd name="T56" fmla="*/ 33 w 40"/>
                <a:gd name="T57" fmla="*/ 11 h 24"/>
                <a:gd name="T58" fmla="*/ 29 w 40"/>
                <a:gd name="T59" fmla="*/ 8 h 24"/>
                <a:gd name="T60" fmla="*/ 26 w 40"/>
                <a:gd name="T61" fmla="*/ 7 h 24"/>
                <a:gd name="T62" fmla="*/ 23 w 40"/>
                <a:gd name="T63" fmla="*/ 5 h 24"/>
                <a:gd name="T64" fmla="*/ 21 w 40"/>
                <a:gd name="T65" fmla="*/ 5 h 24"/>
                <a:gd name="T66" fmla="*/ 19 w 40"/>
                <a:gd name="T67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" h="24">
                  <a:moveTo>
                    <a:pt x="19" y="5"/>
                  </a:moveTo>
                  <a:lnTo>
                    <a:pt x="18" y="4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2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9" y="22"/>
                  </a:lnTo>
                  <a:lnTo>
                    <a:pt x="25" y="23"/>
                  </a:lnTo>
                  <a:lnTo>
                    <a:pt x="30" y="24"/>
                  </a:lnTo>
                  <a:lnTo>
                    <a:pt x="34" y="24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3"/>
                  </a:lnTo>
                  <a:lnTo>
                    <a:pt x="40" y="20"/>
                  </a:lnTo>
                  <a:lnTo>
                    <a:pt x="38" y="19"/>
                  </a:lnTo>
                  <a:lnTo>
                    <a:pt x="36" y="15"/>
                  </a:lnTo>
                  <a:lnTo>
                    <a:pt x="33" y="11"/>
                  </a:lnTo>
                  <a:lnTo>
                    <a:pt x="29" y="8"/>
                  </a:lnTo>
                  <a:lnTo>
                    <a:pt x="26" y="7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5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1" name="Freeform 257"/>
            <p:cNvSpPr>
              <a:spLocks/>
            </p:cNvSpPr>
            <p:nvPr/>
          </p:nvSpPr>
          <p:spPr bwMode="auto">
            <a:xfrm>
              <a:off x="1652" y="642"/>
              <a:ext cx="17" cy="17"/>
            </a:xfrm>
            <a:custGeom>
              <a:avLst/>
              <a:gdLst>
                <a:gd name="T0" fmla="*/ 10 w 21"/>
                <a:gd name="T1" fmla="*/ 21 h 21"/>
                <a:gd name="T2" fmla="*/ 13 w 21"/>
                <a:gd name="T3" fmla="*/ 21 h 21"/>
                <a:gd name="T4" fmla="*/ 14 w 21"/>
                <a:gd name="T5" fmla="*/ 21 h 21"/>
                <a:gd name="T6" fmla="*/ 17 w 21"/>
                <a:gd name="T7" fmla="*/ 19 h 21"/>
                <a:gd name="T8" fmla="*/ 18 w 21"/>
                <a:gd name="T9" fmla="*/ 18 h 21"/>
                <a:gd name="T10" fmla="*/ 20 w 21"/>
                <a:gd name="T11" fmla="*/ 17 h 21"/>
                <a:gd name="T12" fmla="*/ 20 w 21"/>
                <a:gd name="T13" fmla="*/ 14 h 21"/>
                <a:gd name="T14" fmla="*/ 21 w 21"/>
                <a:gd name="T15" fmla="*/ 13 h 21"/>
                <a:gd name="T16" fmla="*/ 21 w 21"/>
                <a:gd name="T17" fmla="*/ 11 h 21"/>
                <a:gd name="T18" fmla="*/ 21 w 21"/>
                <a:gd name="T19" fmla="*/ 8 h 21"/>
                <a:gd name="T20" fmla="*/ 20 w 21"/>
                <a:gd name="T21" fmla="*/ 7 h 21"/>
                <a:gd name="T22" fmla="*/ 20 w 21"/>
                <a:gd name="T23" fmla="*/ 4 h 21"/>
                <a:gd name="T24" fmla="*/ 18 w 21"/>
                <a:gd name="T25" fmla="*/ 3 h 21"/>
                <a:gd name="T26" fmla="*/ 17 w 21"/>
                <a:gd name="T27" fmla="*/ 2 h 21"/>
                <a:gd name="T28" fmla="*/ 14 w 21"/>
                <a:gd name="T29" fmla="*/ 0 h 21"/>
                <a:gd name="T30" fmla="*/ 13 w 21"/>
                <a:gd name="T31" fmla="*/ 0 h 21"/>
                <a:gd name="T32" fmla="*/ 10 w 21"/>
                <a:gd name="T33" fmla="*/ 0 h 21"/>
                <a:gd name="T34" fmla="*/ 9 w 21"/>
                <a:gd name="T35" fmla="*/ 0 h 21"/>
                <a:gd name="T36" fmla="*/ 7 w 21"/>
                <a:gd name="T37" fmla="*/ 0 h 21"/>
                <a:gd name="T38" fmla="*/ 5 w 21"/>
                <a:gd name="T39" fmla="*/ 2 h 21"/>
                <a:gd name="T40" fmla="*/ 3 w 21"/>
                <a:gd name="T41" fmla="*/ 3 h 21"/>
                <a:gd name="T42" fmla="*/ 2 w 21"/>
                <a:gd name="T43" fmla="*/ 4 h 21"/>
                <a:gd name="T44" fmla="*/ 2 w 21"/>
                <a:gd name="T45" fmla="*/ 7 h 21"/>
                <a:gd name="T46" fmla="*/ 0 w 21"/>
                <a:gd name="T47" fmla="*/ 8 h 21"/>
                <a:gd name="T48" fmla="*/ 0 w 21"/>
                <a:gd name="T49" fmla="*/ 11 h 21"/>
                <a:gd name="T50" fmla="*/ 0 w 21"/>
                <a:gd name="T51" fmla="*/ 13 h 21"/>
                <a:gd name="T52" fmla="*/ 2 w 21"/>
                <a:gd name="T53" fmla="*/ 14 h 21"/>
                <a:gd name="T54" fmla="*/ 2 w 21"/>
                <a:gd name="T55" fmla="*/ 17 h 21"/>
                <a:gd name="T56" fmla="*/ 3 w 21"/>
                <a:gd name="T57" fmla="*/ 18 h 21"/>
                <a:gd name="T58" fmla="*/ 5 w 21"/>
                <a:gd name="T59" fmla="*/ 19 h 21"/>
                <a:gd name="T60" fmla="*/ 7 w 21"/>
                <a:gd name="T61" fmla="*/ 21 h 21"/>
                <a:gd name="T62" fmla="*/ 9 w 21"/>
                <a:gd name="T63" fmla="*/ 21 h 21"/>
                <a:gd name="T64" fmla="*/ 10 w 21"/>
                <a:gd name="T6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lnTo>
                    <a:pt x="13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8" y="18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3" y="18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0" y="2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2" name="Freeform 258"/>
            <p:cNvSpPr>
              <a:spLocks/>
            </p:cNvSpPr>
            <p:nvPr/>
          </p:nvSpPr>
          <p:spPr bwMode="auto">
            <a:xfrm>
              <a:off x="1652" y="642"/>
              <a:ext cx="17" cy="17"/>
            </a:xfrm>
            <a:custGeom>
              <a:avLst/>
              <a:gdLst>
                <a:gd name="T0" fmla="*/ 10 w 21"/>
                <a:gd name="T1" fmla="*/ 21 h 21"/>
                <a:gd name="T2" fmla="*/ 13 w 21"/>
                <a:gd name="T3" fmla="*/ 21 h 21"/>
                <a:gd name="T4" fmla="*/ 14 w 21"/>
                <a:gd name="T5" fmla="*/ 21 h 21"/>
                <a:gd name="T6" fmla="*/ 17 w 21"/>
                <a:gd name="T7" fmla="*/ 19 h 21"/>
                <a:gd name="T8" fmla="*/ 18 w 21"/>
                <a:gd name="T9" fmla="*/ 18 h 21"/>
                <a:gd name="T10" fmla="*/ 20 w 21"/>
                <a:gd name="T11" fmla="*/ 17 h 21"/>
                <a:gd name="T12" fmla="*/ 20 w 21"/>
                <a:gd name="T13" fmla="*/ 14 h 21"/>
                <a:gd name="T14" fmla="*/ 21 w 21"/>
                <a:gd name="T15" fmla="*/ 13 h 21"/>
                <a:gd name="T16" fmla="*/ 21 w 21"/>
                <a:gd name="T17" fmla="*/ 11 h 21"/>
                <a:gd name="T18" fmla="*/ 21 w 21"/>
                <a:gd name="T19" fmla="*/ 8 h 21"/>
                <a:gd name="T20" fmla="*/ 20 w 21"/>
                <a:gd name="T21" fmla="*/ 7 h 21"/>
                <a:gd name="T22" fmla="*/ 20 w 21"/>
                <a:gd name="T23" fmla="*/ 4 h 21"/>
                <a:gd name="T24" fmla="*/ 18 w 21"/>
                <a:gd name="T25" fmla="*/ 3 h 21"/>
                <a:gd name="T26" fmla="*/ 17 w 21"/>
                <a:gd name="T27" fmla="*/ 2 h 21"/>
                <a:gd name="T28" fmla="*/ 14 w 21"/>
                <a:gd name="T29" fmla="*/ 0 h 21"/>
                <a:gd name="T30" fmla="*/ 13 w 21"/>
                <a:gd name="T31" fmla="*/ 0 h 21"/>
                <a:gd name="T32" fmla="*/ 10 w 21"/>
                <a:gd name="T33" fmla="*/ 0 h 21"/>
                <a:gd name="T34" fmla="*/ 9 w 21"/>
                <a:gd name="T35" fmla="*/ 0 h 21"/>
                <a:gd name="T36" fmla="*/ 7 w 21"/>
                <a:gd name="T37" fmla="*/ 0 h 21"/>
                <a:gd name="T38" fmla="*/ 5 w 21"/>
                <a:gd name="T39" fmla="*/ 2 h 21"/>
                <a:gd name="T40" fmla="*/ 3 w 21"/>
                <a:gd name="T41" fmla="*/ 3 h 21"/>
                <a:gd name="T42" fmla="*/ 2 w 21"/>
                <a:gd name="T43" fmla="*/ 4 h 21"/>
                <a:gd name="T44" fmla="*/ 2 w 21"/>
                <a:gd name="T45" fmla="*/ 7 h 21"/>
                <a:gd name="T46" fmla="*/ 0 w 21"/>
                <a:gd name="T47" fmla="*/ 8 h 21"/>
                <a:gd name="T48" fmla="*/ 0 w 21"/>
                <a:gd name="T49" fmla="*/ 11 h 21"/>
                <a:gd name="T50" fmla="*/ 0 w 21"/>
                <a:gd name="T51" fmla="*/ 13 h 21"/>
                <a:gd name="T52" fmla="*/ 2 w 21"/>
                <a:gd name="T53" fmla="*/ 14 h 21"/>
                <a:gd name="T54" fmla="*/ 2 w 21"/>
                <a:gd name="T55" fmla="*/ 17 h 21"/>
                <a:gd name="T56" fmla="*/ 3 w 21"/>
                <a:gd name="T57" fmla="*/ 18 h 21"/>
                <a:gd name="T58" fmla="*/ 5 w 21"/>
                <a:gd name="T59" fmla="*/ 19 h 21"/>
                <a:gd name="T60" fmla="*/ 7 w 21"/>
                <a:gd name="T61" fmla="*/ 21 h 21"/>
                <a:gd name="T62" fmla="*/ 9 w 21"/>
                <a:gd name="T63" fmla="*/ 21 h 21"/>
                <a:gd name="T64" fmla="*/ 10 w 21"/>
                <a:gd name="T6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21">
                  <a:moveTo>
                    <a:pt x="10" y="21"/>
                  </a:moveTo>
                  <a:lnTo>
                    <a:pt x="13" y="21"/>
                  </a:lnTo>
                  <a:lnTo>
                    <a:pt x="14" y="21"/>
                  </a:lnTo>
                  <a:lnTo>
                    <a:pt x="17" y="19"/>
                  </a:lnTo>
                  <a:lnTo>
                    <a:pt x="18" y="18"/>
                  </a:lnTo>
                  <a:lnTo>
                    <a:pt x="20" y="17"/>
                  </a:lnTo>
                  <a:lnTo>
                    <a:pt x="20" y="14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7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3" y="18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10" y="2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3" name="Freeform 259"/>
            <p:cNvSpPr>
              <a:spLocks/>
            </p:cNvSpPr>
            <p:nvPr/>
          </p:nvSpPr>
          <p:spPr bwMode="auto">
            <a:xfrm>
              <a:off x="1678" y="654"/>
              <a:ext cx="18" cy="12"/>
            </a:xfrm>
            <a:custGeom>
              <a:avLst/>
              <a:gdLst>
                <a:gd name="T0" fmla="*/ 11 w 22"/>
                <a:gd name="T1" fmla="*/ 16 h 16"/>
                <a:gd name="T2" fmla="*/ 13 w 22"/>
                <a:gd name="T3" fmla="*/ 15 h 16"/>
                <a:gd name="T4" fmla="*/ 16 w 22"/>
                <a:gd name="T5" fmla="*/ 15 h 16"/>
                <a:gd name="T6" fmla="*/ 17 w 22"/>
                <a:gd name="T7" fmla="*/ 15 h 16"/>
                <a:gd name="T8" fmla="*/ 18 w 22"/>
                <a:gd name="T9" fmla="*/ 13 h 16"/>
                <a:gd name="T10" fmla="*/ 20 w 22"/>
                <a:gd name="T11" fmla="*/ 12 h 16"/>
                <a:gd name="T12" fmla="*/ 21 w 22"/>
                <a:gd name="T13" fmla="*/ 11 h 16"/>
                <a:gd name="T14" fmla="*/ 22 w 22"/>
                <a:gd name="T15" fmla="*/ 9 h 16"/>
                <a:gd name="T16" fmla="*/ 22 w 22"/>
                <a:gd name="T17" fmla="*/ 8 h 16"/>
                <a:gd name="T18" fmla="*/ 22 w 22"/>
                <a:gd name="T19" fmla="*/ 5 h 16"/>
                <a:gd name="T20" fmla="*/ 21 w 22"/>
                <a:gd name="T21" fmla="*/ 4 h 16"/>
                <a:gd name="T22" fmla="*/ 20 w 22"/>
                <a:gd name="T23" fmla="*/ 2 h 16"/>
                <a:gd name="T24" fmla="*/ 18 w 22"/>
                <a:gd name="T25" fmla="*/ 2 h 16"/>
                <a:gd name="T26" fmla="*/ 17 w 22"/>
                <a:gd name="T27" fmla="*/ 1 h 16"/>
                <a:gd name="T28" fmla="*/ 16 w 22"/>
                <a:gd name="T29" fmla="*/ 0 h 16"/>
                <a:gd name="T30" fmla="*/ 13 w 22"/>
                <a:gd name="T31" fmla="*/ 0 h 16"/>
                <a:gd name="T32" fmla="*/ 11 w 22"/>
                <a:gd name="T33" fmla="*/ 0 h 16"/>
                <a:gd name="T34" fmla="*/ 9 w 22"/>
                <a:gd name="T35" fmla="*/ 0 h 16"/>
                <a:gd name="T36" fmla="*/ 7 w 22"/>
                <a:gd name="T37" fmla="*/ 0 h 16"/>
                <a:gd name="T38" fmla="*/ 6 w 22"/>
                <a:gd name="T39" fmla="*/ 1 h 16"/>
                <a:gd name="T40" fmla="*/ 5 w 22"/>
                <a:gd name="T41" fmla="*/ 2 h 16"/>
                <a:gd name="T42" fmla="*/ 3 w 22"/>
                <a:gd name="T43" fmla="*/ 2 h 16"/>
                <a:gd name="T44" fmla="*/ 2 w 22"/>
                <a:gd name="T45" fmla="*/ 4 h 16"/>
                <a:gd name="T46" fmla="*/ 2 w 22"/>
                <a:gd name="T47" fmla="*/ 5 h 16"/>
                <a:gd name="T48" fmla="*/ 0 w 22"/>
                <a:gd name="T49" fmla="*/ 8 h 16"/>
                <a:gd name="T50" fmla="*/ 2 w 22"/>
                <a:gd name="T51" fmla="*/ 9 h 16"/>
                <a:gd name="T52" fmla="*/ 2 w 22"/>
                <a:gd name="T53" fmla="*/ 11 h 16"/>
                <a:gd name="T54" fmla="*/ 3 w 22"/>
                <a:gd name="T55" fmla="*/ 12 h 16"/>
                <a:gd name="T56" fmla="*/ 5 w 22"/>
                <a:gd name="T57" fmla="*/ 13 h 16"/>
                <a:gd name="T58" fmla="*/ 6 w 22"/>
                <a:gd name="T59" fmla="*/ 15 h 16"/>
                <a:gd name="T60" fmla="*/ 7 w 22"/>
                <a:gd name="T61" fmla="*/ 15 h 16"/>
                <a:gd name="T62" fmla="*/ 9 w 22"/>
                <a:gd name="T63" fmla="*/ 15 h 16"/>
                <a:gd name="T64" fmla="*/ 11 w 22"/>
                <a:gd name="T6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" h="16">
                  <a:moveTo>
                    <a:pt x="11" y="16"/>
                  </a:moveTo>
                  <a:lnTo>
                    <a:pt x="13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1" y="11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5" y="13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1" y="16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4" name="Freeform 260"/>
            <p:cNvSpPr>
              <a:spLocks/>
            </p:cNvSpPr>
            <p:nvPr/>
          </p:nvSpPr>
          <p:spPr bwMode="auto">
            <a:xfrm>
              <a:off x="1678" y="654"/>
              <a:ext cx="18" cy="12"/>
            </a:xfrm>
            <a:custGeom>
              <a:avLst/>
              <a:gdLst>
                <a:gd name="T0" fmla="*/ 11 w 22"/>
                <a:gd name="T1" fmla="*/ 16 h 16"/>
                <a:gd name="T2" fmla="*/ 13 w 22"/>
                <a:gd name="T3" fmla="*/ 15 h 16"/>
                <a:gd name="T4" fmla="*/ 16 w 22"/>
                <a:gd name="T5" fmla="*/ 15 h 16"/>
                <a:gd name="T6" fmla="*/ 17 w 22"/>
                <a:gd name="T7" fmla="*/ 15 h 16"/>
                <a:gd name="T8" fmla="*/ 18 w 22"/>
                <a:gd name="T9" fmla="*/ 13 h 16"/>
                <a:gd name="T10" fmla="*/ 20 w 22"/>
                <a:gd name="T11" fmla="*/ 12 h 16"/>
                <a:gd name="T12" fmla="*/ 21 w 22"/>
                <a:gd name="T13" fmla="*/ 11 h 16"/>
                <a:gd name="T14" fmla="*/ 22 w 22"/>
                <a:gd name="T15" fmla="*/ 9 h 16"/>
                <a:gd name="T16" fmla="*/ 22 w 22"/>
                <a:gd name="T17" fmla="*/ 8 h 16"/>
                <a:gd name="T18" fmla="*/ 22 w 22"/>
                <a:gd name="T19" fmla="*/ 5 h 16"/>
                <a:gd name="T20" fmla="*/ 21 w 22"/>
                <a:gd name="T21" fmla="*/ 4 h 16"/>
                <a:gd name="T22" fmla="*/ 20 w 22"/>
                <a:gd name="T23" fmla="*/ 2 h 16"/>
                <a:gd name="T24" fmla="*/ 18 w 22"/>
                <a:gd name="T25" fmla="*/ 2 h 16"/>
                <a:gd name="T26" fmla="*/ 17 w 22"/>
                <a:gd name="T27" fmla="*/ 1 h 16"/>
                <a:gd name="T28" fmla="*/ 16 w 22"/>
                <a:gd name="T29" fmla="*/ 0 h 16"/>
                <a:gd name="T30" fmla="*/ 13 w 22"/>
                <a:gd name="T31" fmla="*/ 0 h 16"/>
                <a:gd name="T32" fmla="*/ 11 w 22"/>
                <a:gd name="T33" fmla="*/ 0 h 16"/>
                <a:gd name="T34" fmla="*/ 9 w 22"/>
                <a:gd name="T35" fmla="*/ 0 h 16"/>
                <a:gd name="T36" fmla="*/ 7 w 22"/>
                <a:gd name="T37" fmla="*/ 0 h 16"/>
                <a:gd name="T38" fmla="*/ 6 w 22"/>
                <a:gd name="T39" fmla="*/ 1 h 16"/>
                <a:gd name="T40" fmla="*/ 5 w 22"/>
                <a:gd name="T41" fmla="*/ 2 h 16"/>
                <a:gd name="T42" fmla="*/ 3 w 22"/>
                <a:gd name="T43" fmla="*/ 2 h 16"/>
                <a:gd name="T44" fmla="*/ 2 w 22"/>
                <a:gd name="T45" fmla="*/ 4 h 16"/>
                <a:gd name="T46" fmla="*/ 2 w 22"/>
                <a:gd name="T47" fmla="*/ 5 h 16"/>
                <a:gd name="T48" fmla="*/ 0 w 22"/>
                <a:gd name="T49" fmla="*/ 8 h 16"/>
                <a:gd name="T50" fmla="*/ 2 w 22"/>
                <a:gd name="T51" fmla="*/ 9 h 16"/>
                <a:gd name="T52" fmla="*/ 2 w 22"/>
                <a:gd name="T53" fmla="*/ 11 h 16"/>
                <a:gd name="T54" fmla="*/ 3 w 22"/>
                <a:gd name="T55" fmla="*/ 12 h 16"/>
                <a:gd name="T56" fmla="*/ 5 w 22"/>
                <a:gd name="T57" fmla="*/ 13 h 16"/>
                <a:gd name="T58" fmla="*/ 6 w 22"/>
                <a:gd name="T59" fmla="*/ 15 h 16"/>
                <a:gd name="T60" fmla="*/ 7 w 22"/>
                <a:gd name="T61" fmla="*/ 15 h 16"/>
                <a:gd name="T62" fmla="*/ 9 w 22"/>
                <a:gd name="T63" fmla="*/ 15 h 16"/>
                <a:gd name="T64" fmla="*/ 11 w 22"/>
                <a:gd name="T6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" h="16">
                  <a:moveTo>
                    <a:pt x="11" y="16"/>
                  </a:moveTo>
                  <a:lnTo>
                    <a:pt x="13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1" y="11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2" y="5"/>
                  </a:lnTo>
                  <a:lnTo>
                    <a:pt x="21" y="4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4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9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5" y="13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1" y="16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5" name="Freeform 261"/>
            <p:cNvSpPr>
              <a:spLocks/>
            </p:cNvSpPr>
            <p:nvPr/>
          </p:nvSpPr>
          <p:spPr bwMode="auto">
            <a:xfrm>
              <a:off x="1704" y="604"/>
              <a:ext cx="11" cy="8"/>
            </a:xfrm>
            <a:custGeom>
              <a:avLst/>
              <a:gdLst>
                <a:gd name="T0" fmla="*/ 7 w 14"/>
                <a:gd name="T1" fmla="*/ 10 h 10"/>
                <a:gd name="T2" fmla="*/ 8 w 14"/>
                <a:gd name="T3" fmla="*/ 10 h 10"/>
                <a:gd name="T4" fmla="*/ 10 w 14"/>
                <a:gd name="T5" fmla="*/ 10 h 10"/>
                <a:gd name="T6" fmla="*/ 11 w 14"/>
                <a:gd name="T7" fmla="*/ 10 h 10"/>
                <a:gd name="T8" fmla="*/ 13 w 14"/>
                <a:gd name="T9" fmla="*/ 8 h 10"/>
                <a:gd name="T10" fmla="*/ 13 w 14"/>
                <a:gd name="T11" fmla="*/ 8 h 10"/>
                <a:gd name="T12" fmla="*/ 14 w 14"/>
                <a:gd name="T13" fmla="*/ 7 h 10"/>
                <a:gd name="T14" fmla="*/ 14 w 14"/>
                <a:gd name="T15" fmla="*/ 6 h 10"/>
                <a:gd name="T16" fmla="*/ 14 w 14"/>
                <a:gd name="T17" fmla="*/ 6 h 10"/>
                <a:gd name="T18" fmla="*/ 14 w 14"/>
                <a:gd name="T19" fmla="*/ 4 h 10"/>
                <a:gd name="T20" fmla="*/ 14 w 14"/>
                <a:gd name="T21" fmla="*/ 3 h 10"/>
                <a:gd name="T22" fmla="*/ 13 w 14"/>
                <a:gd name="T23" fmla="*/ 3 h 10"/>
                <a:gd name="T24" fmla="*/ 13 w 14"/>
                <a:gd name="T25" fmla="*/ 1 h 10"/>
                <a:gd name="T26" fmla="*/ 11 w 14"/>
                <a:gd name="T27" fmla="*/ 1 h 10"/>
                <a:gd name="T28" fmla="*/ 10 w 14"/>
                <a:gd name="T29" fmla="*/ 0 h 10"/>
                <a:gd name="T30" fmla="*/ 8 w 14"/>
                <a:gd name="T31" fmla="*/ 0 h 10"/>
                <a:gd name="T32" fmla="*/ 7 w 14"/>
                <a:gd name="T33" fmla="*/ 0 h 10"/>
                <a:gd name="T34" fmla="*/ 6 w 14"/>
                <a:gd name="T35" fmla="*/ 0 h 10"/>
                <a:gd name="T36" fmla="*/ 4 w 14"/>
                <a:gd name="T37" fmla="*/ 0 h 10"/>
                <a:gd name="T38" fmla="*/ 3 w 14"/>
                <a:gd name="T39" fmla="*/ 1 h 10"/>
                <a:gd name="T40" fmla="*/ 2 w 14"/>
                <a:gd name="T41" fmla="*/ 1 h 10"/>
                <a:gd name="T42" fmla="*/ 2 w 14"/>
                <a:gd name="T43" fmla="*/ 3 h 10"/>
                <a:gd name="T44" fmla="*/ 0 w 14"/>
                <a:gd name="T45" fmla="*/ 3 h 10"/>
                <a:gd name="T46" fmla="*/ 0 w 14"/>
                <a:gd name="T47" fmla="*/ 4 h 10"/>
                <a:gd name="T48" fmla="*/ 0 w 14"/>
                <a:gd name="T49" fmla="*/ 6 h 10"/>
                <a:gd name="T50" fmla="*/ 0 w 14"/>
                <a:gd name="T51" fmla="*/ 6 h 10"/>
                <a:gd name="T52" fmla="*/ 0 w 14"/>
                <a:gd name="T53" fmla="*/ 7 h 10"/>
                <a:gd name="T54" fmla="*/ 2 w 14"/>
                <a:gd name="T55" fmla="*/ 8 h 10"/>
                <a:gd name="T56" fmla="*/ 2 w 14"/>
                <a:gd name="T57" fmla="*/ 8 h 10"/>
                <a:gd name="T58" fmla="*/ 3 w 14"/>
                <a:gd name="T59" fmla="*/ 10 h 10"/>
                <a:gd name="T60" fmla="*/ 4 w 14"/>
                <a:gd name="T61" fmla="*/ 10 h 10"/>
                <a:gd name="T62" fmla="*/ 6 w 14"/>
                <a:gd name="T63" fmla="*/ 10 h 10"/>
                <a:gd name="T64" fmla="*/ 7 w 14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0">
                  <a:moveTo>
                    <a:pt x="7" y="10"/>
                  </a:moveTo>
                  <a:lnTo>
                    <a:pt x="8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7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6" name="Freeform 262"/>
            <p:cNvSpPr>
              <a:spLocks/>
            </p:cNvSpPr>
            <p:nvPr/>
          </p:nvSpPr>
          <p:spPr bwMode="auto">
            <a:xfrm>
              <a:off x="1704" y="604"/>
              <a:ext cx="11" cy="8"/>
            </a:xfrm>
            <a:custGeom>
              <a:avLst/>
              <a:gdLst>
                <a:gd name="T0" fmla="*/ 7 w 14"/>
                <a:gd name="T1" fmla="*/ 10 h 10"/>
                <a:gd name="T2" fmla="*/ 8 w 14"/>
                <a:gd name="T3" fmla="*/ 10 h 10"/>
                <a:gd name="T4" fmla="*/ 10 w 14"/>
                <a:gd name="T5" fmla="*/ 10 h 10"/>
                <a:gd name="T6" fmla="*/ 11 w 14"/>
                <a:gd name="T7" fmla="*/ 10 h 10"/>
                <a:gd name="T8" fmla="*/ 13 w 14"/>
                <a:gd name="T9" fmla="*/ 8 h 10"/>
                <a:gd name="T10" fmla="*/ 14 w 14"/>
                <a:gd name="T11" fmla="*/ 7 h 10"/>
                <a:gd name="T12" fmla="*/ 14 w 14"/>
                <a:gd name="T13" fmla="*/ 6 h 10"/>
                <a:gd name="T14" fmla="*/ 14 w 14"/>
                <a:gd name="T15" fmla="*/ 4 h 10"/>
                <a:gd name="T16" fmla="*/ 14 w 14"/>
                <a:gd name="T17" fmla="*/ 3 h 10"/>
                <a:gd name="T18" fmla="*/ 13 w 14"/>
                <a:gd name="T19" fmla="*/ 3 h 10"/>
                <a:gd name="T20" fmla="*/ 13 w 14"/>
                <a:gd name="T21" fmla="*/ 1 h 10"/>
                <a:gd name="T22" fmla="*/ 11 w 14"/>
                <a:gd name="T23" fmla="*/ 1 h 10"/>
                <a:gd name="T24" fmla="*/ 10 w 14"/>
                <a:gd name="T25" fmla="*/ 0 h 10"/>
                <a:gd name="T26" fmla="*/ 8 w 14"/>
                <a:gd name="T27" fmla="*/ 0 h 10"/>
                <a:gd name="T28" fmla="*/ 7 w 14"/>
                <a:gd name="T29" fmla="*/ 0 h 10"/>
                <a:gd name="T30" fmla="*/ 6 w 14"/>
                <a:gd name="T31" fmla="*/ 0 h 10"/>
                <a:gd name="T32" fmla="*/ 4 w 14"/>
                <a:gd name="T33" fmla="*/ 0 h 10"/>
                <a:gd name="T34" fmla="*/ 3 w 14"/>
                <a:gd name="T35" fmla="*/ 1 h 10"/>
                <a:gd name="T36" fmla="*/ 2 w 14"/>
                <a:gd name="T37" fmla="*/ 1 h 10"/>
                <a:gd name="T38" fmla="*/ 2 w 14"/>
                <a:gd name="T39" fmla="*/ 3 h 10"/>
                <a:gd name="T40" fmla="*/ 0 w 14"/>
                <a:gd name="T41" fmla="*/ 3 h 10"/>
                <a:gd name="T42" fmla="*/ 0 w 14"/>
                <a:gd name="T43" fmla="*/ 4 h 10"/>
                <a:gd name="T44" fmla="*/ 0 w 14"/>
                <a:gd name="T45" fmla="*/ 6 h 10"/>
                <a:gd name="T46" fmla="*/ 0 w 14"/>
                <a:gd name="T47" fmla="*/ 7 h 10"/>
                <a:gd name="T48" fmla="*/ 2 w 14"/>
                <a:gd name="T49" fmla="*/ 8 h 10"/>
                <a:gd name="T50" fmla="*/ 3 w 14"/>
                <a:gd name="T51" fmla="*/ 10 h 10"/>
                <a:gd name="T52" fmla="*/ 4 w 14"/>
                <a:gd name="T53" fmla="*/ 10 h 10"/>
                <a:gd name="T54" fmla="*/ 6 w 14"/>
                <a:gd name="T55" fmla="*/ 10 h 10"/>
                <a:gd name="T56" fmla="*/ 7 w 14"/>
                <a:gd name="T5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0">
                  <a:moveTo>
                    <a:pt x="7" y="10"/>
                  </a:moveTo>
                  <a:lnTo>
                    <a:pt x="8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3" y="8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7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7" name="Freeform 263"/>
            <p:cNvSpPr>
              <a:spLocks/>
            </p:cNvSpPr>
            <p:nvPr/>
          </p:nvSpPr>
          <p:spPr bwMode="auto">
            <a:xfrm>
              <a:off x="1562" y="670"/>
              <a:ext cx="17" cy="6"/>
            </a:xfrm>
            <a:custGeom>
              <a:avLst/>
              <a:gdLst>
                <a:gd name="T0" fmla="*/ 11 w 21"/>
                <a:gd name="T1" fmla="*/ 0 h 8"/>
                <a:gd name="T2" fmla="*/ 12 w 21"/>
                <a:gd name="T3" fmla="*/ 0 h 8"/>
                <a:gd name="T4" fmla="*/ 15 w 21"/>
                <a:gd name="T5" fmla="*/ 0 h 8"/>
                <a:gd name="T6" fmla="*/ 17 w 21"/>
                <a:gd name="T7" fmla="*/ 0 h 8"/>
                <a:gd name="T8" fmla="*/ 18 w 21"/>
                <a:gd name="T9" fmla="*/ 2 h 8"/>
                <a:gd name="T10" fmla="*/ 19 w 21"/>
                <a:gd name="T11" fmla="*/ 2 h 8"/>
                <a:gd name="T12" fmla="*/ 21 w 21"/>
                <a:gd name="T13" fmla="*/ 2 h 8"/>
                <a:gd name="T14" fmla="*/ 21 w 21"/>
                <a:gd name="T15" fmla="*/ 3 h 8"/>
                <a:gd name="T16" fmla="*/ 21 w 21"/>
                <a:gd name="T17" fmla="*/ 4 h 8"/>
                <a:gd name="T18" fmla="*/ 21 w 21"/>
                <a:gd name="T19" fmla="*/ 4 h 8"/>
                <a:gd name="T20" fmla="*/ 21 w 21"/>
                <a:gd name="T21" fmla="*/ 6 h 8"/>
                <a:gd name="T22" fmla="*/ 19 w 21"/>
                <a:gd name="T23" fmla="*/ 7 h 8"/>
                <a:gd name="T24" fmla="*/ 18 w 21"/>
                <a:gd name="T25" fmla="*/ 7 h 8"/>
                <a:gd name="T26" fmla="*/ 17 w 21"/>
                <a:gd name="T27" fmla="*/ 7 h 8"/>
                <a:gd name="T28" fmla="*/ 15 w 21"/>
                <a:gd name="T29" fmla="*/ 8 h 8"/>
                <a:gd name="T30" fmla="*/ 12 w 21"/>
                <a:gd name="T31" fmla="*/ 8 h 8"/>
                <a:gd name="T32" fmla="*/ 11 w 21"/>
                <a:gd name="T33" fmla="*/ 8 h 8"/>
                <a:gd name="T34" fmla="*/ 8 w 21"/>
                <a:gd name="T35" fmla="*/ 8 h 8"/>
                <a:gd name="T36" fmla="*/ 7 w 21"/>
                <a:gd name="T37" fmla="*/ 8 h 8"/>
                <a:gd name="T38" fmla="*/ 4 w 21"/>
                <a:gd name="T39" fmla="*/ 7 h 8"/>
                <a:gd name="T40" fmla="*/ 3 w 21"/>
                <a:gd name="T41" fmla="*/ 7 h 8"/>
                <a:gd name="T42" fmla="*/ 1 w 21"/>
                <a:gd name="T43" fmla="*/ 7 h 8"/>
                <a:gd name="T44" fmla="*/ 1 w 21"/>
                <a:gd name="T45" fmla="*/ 6 h 8"/>
                <a:gd name="T46" fmla="*/ 0 w 21"/>
                <a:gd name="T47" fmla="*/ 4 h 8"/>
                <a:gd name="T48" fmla="*/ 0 w 21"/>
                <a:gd name="T49" fmla="*/ 4 h 8"/>
                <a:gd name="T50" fmla="*/ 0 w 21"/>
                <a:gd name="T51" fmla="*/ 3 h 8"/>
                <a:gd name="T52" fmla="*/ 1 w 21"/>
                <a:gd name="T53" fmla="*/ 2 h 8"/>
                <a:gd name="T54" fmla="*/ 1 w 21"/>
                <a:gd name="T55" fmla="*/ 2 h 8"/>
                <a:gd name="T56" fmla="*/ 3 w 21"/>
                <a:gd name="T57" fmla="*/ 2 h 8"/>
                <a:gd name="T58" fmla="*/ 4 w 21"/>
                <a:gd name="T59" fmla="*/ 0 h 8"/>
                <a:gd name="T60" fmla="*/ 7 w 21"/>
                <a:gd name="T61" fmla="*/ 0 h 8"/>
                <a:gd name="T62" fmla="*/ 8 w 21"/>
                <a:gd name="T63" fmla="*/ 0 h 8"/>
                <a:gd name="T64" fmla="*/ 11 w 21"/>
                <a:gd name="T6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8">
                  <a:moveTo>
                    <a:pt x="11" y="0"/>
                  </a:moveTo>
                  <a:lnTo>
                    <a:pt x="12" y="0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5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4" y="7"/>
                  </a:lnTo>
                  <a:lnTo>
                    <a:pt x="3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8" name="Freeform 264"/>
            <p:cNvSpPr>
              <a:spLocks/>
            </p:cNvSpPr>
            <p:nvPr/>
          </p:nvSpPr>
          <p:spPr bwMode="auto">
            <a:xfrm>
              <a:off x="1562" y="670"/>
              <a:ext cx="17" cy="6"/>
            </a:xfrm>
            <a:custGeom>
              <a:avLst/>
              <a:gdLst>
                <a:gd name="T0" fmla="*/ 11 w 21"/>
                <a:gd name="T1" fmla="*/ 0 h 8"/>
                <a:gd name="T2" fmla="*/ 12 w 21"/>
                <a:gd name="T3" fmla="*/ 0 h 8"/>
                <a:gd name="T4" fmla="*/ 15 w 21"/>
                <a:gd name="T5" fmla="*/ 0 h 8"/>
                <a:gd name="T6" fmla="*/ 17 w 21"/>
                <a:gd name="T7" fmla="*/ 0 h 8"/>
                <a:gd name="T8" fmla="*/ 18 w 21"/>
                <a:gd name="T9" fmla="*/ 2 h 8"/>
                <a:gd name="T10" fmla="*/ 19 w 21"/>
                <a:gd name="T11" fmla="*/ 2 h 8"/>
                <a:gd name="T12" fmla="*/ 21 w 21"/>
                <a:gd name="T13" fmla="*/ 2 h 8"/>
                <a:gd name="T14" fmla="*/ 21 w 21"/>
                <a:gd name="T15" fmla="*/ 3 h 8"/>
                <a:gd name="T16" fmla="*/ 21 w 21"/>
                <a:gd name="T17" fmla="*/ 4 h 8"/>
                <a:gd name="T18" fmla="*/ 21 w 21"/>
                <a:gd name="T19" fmla="*/ 6 h 8"/>
                <a:gd name="T20" fmla="*/ 19 w 21"/>
                <a:gd name="T21" fmla="*/ 7 h 8"/>
                <a:gd name="T22" fmla="*/ 18 w 21"/>
                <a:gd name="T23" fmla="*/ 7 h 8"/>
                <a:gd name="T24" fmla="*/ 17 w 21"/>
                <a:gd name="T25" fmla="*/ 7 h 8"/>
                <a:gd name="T26" fmla="*/ 15 w 21"/>
                <a:gd name="T27" fmla="*/ 8 h 8"/>
                <a:gd name="T28" fmla="*/ 12 w 21"/>
                <a:gd name="T29" fmla="*/ 8 h 8"/>
                <a:gd name="T30" fmla="*/ 11 w 21"/>
                <a:gd name="T31" fmla="*/ 8 h 8"/>
                <a:gd name="T32" fmla="*/ 8 w 21"/>
                <a:gd name="T33" fmla="*/ 8 h 8"/>
                <a:gd name="T34" fmla="*/ 7 w 21"/>
                <a:gd name="T35" fmla="*/ 8 h 8"/>
                <a:gd name="T36" fmla="*/ 4 w 21"/>
                <a:gd name="T37" fmla="*/ 7 h 8"/>
                <a:gd name="T38" fmla="*/ 3 w 21"/>
                <a:gd name="T39" fmla="*/ 7 h 8"/>
                <a:gd name="T40" fmla="*/ 1 w 21"/>
                <a:gd name="T41" fmla="*/ 7 h 8"/>
                <a:gd name="T42" fmla="*/ 1 w 21"/>
                <a:gd name="T43" fmla="*/ 6 h 8"/>
                <a:gd name="T44" fmla="*/ 0 w 21"/>
                <a:gd name="T45" fmla="*/ 4 h 8"/>
                <a:gd name="T46" fmla="*/ 0 w 21"/>
                <a:gd name="T47" fmla="*/ 3 h 8"/>
                <a:gd name="T48" fmla="*/ 1 w 21"/>
                <a:gd name="T49" fmla="*/ 2 h 8"/>
                <a:gd name="T50" fmla="*/ 3 w 21"/>
                <a:gd name="T51" fmla="*/ 2 h 8"/>
                <a:gd name="T52" fmla="*/ 4 w 21"/>
                <a:gd name="T53" fmla="*/ 0 h 8"/>
                <a:gd name="T54" fmla="*/ 7 w 21"/>
                <a:gd name="T55" fmla="*/ 0 h 8"/>
                <a:gd name="T56" fmla="*/ 8 w 21"/>
                <a:gd name="T57" fmla="*/ 0 h 8"/>
                <a:gd name="T58" fmla="*/ 11 w 21"/>
                <a:gd name="T5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1" h="8">
                  <a:moveTo>
                    <a:pt x="11" y="0"/>
                  </a:moveTo>
                  <a:lnTo>
                    <a:pt x="12" y="0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5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4" y="7"/>
                  </a:lnTo>
                  <a:lnTo>
                    <a:pt x="3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11" y="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9" name="Freeform 265"/>
            <p:cNvSpPr>
              <a:spLocks/>
            </p:cNvSpPr>
            <p:nvPr/>
          </p:nvSpPr>
          <p:spPr bwMode="auto">
            <a:xfrm>
              <a:off x="1902" y="802"/>
              <a:ext cx="59" cy="43"/>
            </a:xfrm>
            <a:custGeom>
              <a:avLst/>
              <a:gdLst>
                <a:gd name="T0" fmla="*/ 19 w 72"/>
                <a:gd name="T1" fmla="*/ 4 h 53"/>
                <a:gd name="T2" fmla="*/ 18 w 72"/>
                <a:gd name="T3" fmla="*/ 2 h 53"/>
                <a:gd name="T4" fmla="*/ 15 w 72"/>
                <a:gd name="T5" fmla="*/ 2 h 53"/>
                <a:gd name="T6" fmla="*/ 12 w 72"/>
                <a:gd name="T7" fmla="*/ 2 h 53"/>
                <a:gd name="T8" fmla="*/ 10 w 72"/>
                <a:gd name="T9" fmla="*/ 2 h 53"/>
                <a:gd name="T10" fmla="*/ 5 w 72"/>
                <a:gd name="T11" fmla="*/ 4 h 53"/>
                <a:gd name="T12" fmla="*/ 3 w 72"/>
                <a:gd name="T13" fmla="*/ 7 h 53"/>
                <a:gd name="T14" fmla="*/ 1 w 72"/>
                <a:gd name="T15" fmla="*/ 11 h 53"/>
                <a:gd name="T16" fmla="*/ 1 w 72"/>
                <a:gd name="T17" fmla="*/ 16 h 53"/>
                <a:gd name="T18" fmla="*/ 1 w 72"/>
                <a:gd name="T19" fmla="*/ 18 h 53"/>
                <a:gd name="T20" fmla="*/ 1 w 72"/>
                <a:gd name="T21" fmla="*/ 22 h 53"/>
                <a:gd name="T22" fmla="*/ 0 w 72"/>
                <a:gd name="T23" fmla="*/ 26 h 53"/>
                <a:gd name="T24" fmla="*/ 1 w 72"/>
                <a:gd name="T25" fmla="*/ 33 h 53"/>
                <a:gd name="T26" fmla="*/ 1 w 72"/>
                <a:gd name="T27" fmla="*/ 38 h 53"/>
                <a:gd name="T28" fmla="*/ 4 w 72"/>
                <a:gd name="T29" fmla="*/ 42 h 53"/>
                <a:gd name="T30" fmla="*/ 7 w 72"/>
                <a:gd name="T31" fmla="*/ 45 h 53"/>
                <a:gd name="T32" fmla="*/ 8 w 72"/>
                <a:gd name="T33" fmla="*/ 46 h 53"/>
                <a:gd name="T34" fmla="*/ 11 w 72"/>
                <a:gd name="T35" fmla="*/ 48 h 53"/>
                <a:gd name="T36" fmla="*/ 15 w 72"/>
                <a:gd name="T37" fmla="*/ 48 h 53"/>
                <a:gd name="T38" fmla="*/ 15 w 72"/>
                <a:gd name="T39" fmla="*/ 48 h 53"/>
                <a:gd name="T40" fmla="*/ 16 w 72"/>
                <a:gd name="T41" fmla="*/ 49 h 53"/>
                <a:gd name="T42" fmla="*/ 18 w 72"/>
                <a:gd name="T43" fmla="*/ 51 h 53"/>
                <a:gd name="T44" fmla="*/ 19 w 72"/>
                <a:gd name="T45" fmla="*/ 52 h 53"/>
                <a:gd name="T46" fmla="*/ 22 w 72"/>
                <a:gd name="T47" fmla="*/ 53 h 53"/>
                <a:gd name="T48" fmla="*/ 25 w 72"/>
                <a:gd name="T49" fmla="*/ 53 h 53"/>
                <a:gd name="T50" fmla="*/ 27 w 72"/>
                <a:gd name="T51" fmla="*/ 53 h 53"/>
                <a:gd name="T52" fmla="*/ 32 w 72"/>
                <a:gd name="T53" fmla="*/ 52 h 53"/>
                <a:gd name="T54" fmla="*/ 69 w 72"/>
                <a:gd name="T55" fmla="*/ 51 h 53"/>
                <a:gd name="T56" fmla="*/ 72 w 72"/>
                <a:gd name="T57" fmla="*/ 44 h 53"/>
                <a:gd name="T58" fmla="*/ 72 w 72"/>
                <a:gd name="T59" fmla="*/ 42 h 53"/>
                <a:gd name="T60" fmla="*/ 70 w 72"/>
                <a:gd name="T61" fmla="*/ 40 h 53"/>
                <a:gd name="T62" fmla="*/ 69 w 72"/>
                <a:gd name="T63" fmla="*/ 35 h 53"/>
                <a:gd name="T64" fmla="*/ 69 w 72"/>
                <a:gd name="T65" fmla="*/ 30 h 53"/>
                <a:gd name="T66" fmla="*/ 67 w 72"/>
                <a:gd name="T67" fmla="*/ 24 h 53"/>
                <a:gd name="T68" fmla="*/ 66 w 72"/>
                <a:gd name="T69" fmla="*/ 19 h 53"/>
                <a:gd name="T70" fmla="*/ 66 w 72"/>
                <a:gd name="T71" fmla="*/ 15 h 53"/>
                <a:gd name="T72" fmla="*/ 65 w 72"/>
                <a:gd name="T73" fmla="*/ 12 h 53"/>
                <a:gd name="T74" fmla="*/ 65 w 72"/>
                <a:gd name="T75" fmla="*/ 9 h 53"/>
                <a:gd name="T76" fmla="*/ 63 w 72"/>
                <a:gd name="T77" fmla="*/ 7 h 53"/>
                <a:gd name="T78" fmla="*/ 61 w 72"/>
                <a:gd name="T79" fmla="*/ 4 h 53"/>
                <a:gd name="T80" fmla="*/ 58 w 72"/>
                <a:gd name="T81" fmla="*/ 2 h 53"/>
                <a:gd name="T82" fmla="*/ 54 w 72"/>
                <a:gd name="T83" fmla="*/ 1 h 53"/>
                <a:gd name="T84" fmla="*/ 50 w 72"/>
                <a:gd name="T85" fmla="*/ 0 h 53"/>
                <a:gd name="T86" fmla="*/ 44 w 72"/>
                <a:gd name="T87" fmla="*/ 1 h 53"/>
                <a:gd name="T88" fmla="*/ 38 w 72"/>
                <a:gd name="T89" fmla="*/ 4 h 53"/>
                <a:gd name="T90" fmla="*/ 19 w 72"/>
                <a:gd name="T91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2" h="53">
                  <a:moveTo>
                    <a:pt x="19" y="4"/>
                  </a:moveTo>
                  <a:lnTo>
                    <a:pt x="18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9"/>
                  </a:lnTo>
                  <a:lnTo>
                    <a:pt x="18" y="51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32" y="52"/>
                  </a:lnTo>
                  <a:lnTo>
                    <a:pt x="69" y="51"/>
                  </a:lnTo>
                  <a:lnTo>
                    <a:pt x="72" y="44"/>
                  </a:lnTo>
                  <a:lnTo>
                    <a:pt x="72" y="42"/>
                  </a:lnTo>
                  <a:lnTo>
                    <a:pt x="70" y="40"/>
                  </a:lnTo>
                  <a:lnTo>
                    <a:pt x="69" y="35"/>
                  </a:lnTo>
                  <a:lnTo>
                    <a:pt x="69" y="30"/>
                  </a:lnTo>
                  <a:lnTo>
                    <a:pt x="67" y="24"/>
                  </a:lnTo>
                  <a:lnTo>
                    <a:pt x="66" y="19"/>
                  </a:lnTo>
                  <a:lnTo>
                    <a:pt x="66" y="15"/>
                  </a:lnTo>
                  <a:lnTo>
                    <a:pt x="65" y="12"/>
                  </a:lnTo>
                  <a:lnTo>
                    <a:pt x="65" y="9"/>
                  </a:lnTo>
                  <a:lnTo>
                    <a:pt x="63" y="7"/>
                  </a:lnTo>
                  <a:lnTo>
                    <a:pt x="61" y="4"/>
                  </a:lnTo>
                  <a:lnTo>
                    <a:pt x="58" y="2"/>
                  </a:lnTo>
                  <a:lnTo>
                    <a:pt x="54" y="1"/>
                  </a:lnTo>
                  <a:lnTo>
                    <a:pt x="50" y="0"/>
                  </a:lnTo>
                  <a:lnTo>
                    <a:pt x="44" y="1"/>
                  </a:lnTo>
                  <a:lnTo>
                    <a:pt x="38" y="4"/>
                  </a:lnTo>
                  <a:lnTo>
                    <a:pt x="19" y="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0" name="Freeform 266"/>
            <p:cNvSpPr>
              <a:spLocks/>
            </p:cNvSpPr>
            <p:nvPr/>
          </p:nvSpPr>
          <p:spPr bwMode="auto">
            <a:xfrm>
              <a:off x="1902" y="802"/>
              <a:ext cx="59" cy="43"/>
            </a:xfrm>
            <a:custGeom>
              <a:avLst/>
              <a:gdLst>
                <a:gd name="T0" fmla="*/ 19 w 72"/>
                <a:gd name="T1" fmla="*/ 4 h 53"/>
                <a:gd name="T2" fmla="*/ 18 w 72"/>
                <a:gd name="T3" fmla="*/ 2 h 53"/>
                <a:gd name="T4" fmla="*/ 15 w 72"/>
                <a:gd name="T5" fmla="*/ 2 h 53"/>
                <a:gd name="T6" fmla="*/ 12 w 72"/>
                <a:gd name="T7" fmla="*/ 2 h 53"/>
                <a:gd name="T8" fmla="*/ 10 w 72"/>
                <a:gd name="T9" fmla="*/ 2 h 53"/>
                <a:gd name="T10" fmla="*/ 5 w 72"/>
                <a:gd name="T11" fmla="*/ 4 h 53"/>
                <a:gd name="T12" fmla="*/ 3 w 72"/>
                <a:gd name="T13" fmla="*/ 7 h 53"/>
                <a:gd name="T14" fmla="*/ 1 w 72"/>
                <a:gd name="T15" fmla="*/ 11 h 53"/>
                <a:gd name="T16" fmla="*/ 1 w 72"/>
                <a:gd name="T17" fmla="*/ 16 h 53"/>
                <a:gd name="T18" fmla="*/ 1 w 72"/>
                <a:gd name="T19" fmla="*/ 18 h 53"/>
                <a:gd name="T20" fmla="*/ 1 w 72"/>
                <a:gd name="T21" fmla="*/ 22 h 53"/>
                <a:gd name="T22" fmla="*/ 0 w 72"/>
                <a:gd name="T23" fmla="*/ 26 h 53"/>
                <a:gd name="T24" fmla="*/ 1 w 72"/>
                <a:gd name="T25" fmla="*/ 33 h 53"/>
                <a:gd name="T26" fmla="*/ 1 w 72"/>
                <a:gd name="T27" fmla="*/ 38 h 53"/>
                <a:gd name="T28" fmla="*/ 4 w 72"/>
                <a:gd name="T29" fmla="*/ 42 h 53"/>
                <a:gd name="T30" fmla="*/ 7 w 72"/>
                <a:gd name="T31" fmla="*/ 45 h 53"/>
                <a:gd name="T32" fmla="*/ 8 w 72"/>
                <a:gd name="T33" fmla="*/ 46 h 53"/>
                <a:gd name="T34" fmla="*/ 11 w 72"/>
                <a:gd name="T35" fmla="*/ 48 h 53"/>
                <a:gd name="T36" fmla="*/ 15 w 72"/>
                <a:gd name="T37" fmla="*/ 48 h 53"/>
                <a:gd name="T38" fmla="*/ 16 w 72"/>
                <a:gd name="T39" fmla="*/ 49 h 53"/>
                <a:gd name="T40" fmla="*/ 18 w 72"/>
                <a:gd name="T41" fmla="*/ 51 h 53"/>
                <a:gd name="T42" fmla="*/ 19 w 72"/>
                <a:gd name="T43" fmla="*/ 52 h 53"/>
                <a:gd name="T44" fmla="*/ 22 w 72"/>
                <a:gd name="T45" fmla="*/ 53 h 53"/>
                <a:gd name="T46" fmla="*/ 25 w 72"/>
                <a:gd name="T47" fmla="*/ 53 h 53"/>
                <a:gd name="T48" fmla="*/ 27 w 72"/>
                <a:gd name="T49" fmla="*/ 53 h 53"/>
                <a:gd name="T50" fmla="*/ 32 w 72"/>
                <a:gd name="T51" fmla="*/ 52 h 53"/>
                <a:gd name="T52" fmla="*/ 69 w 72"/>
                <a:gd name="T53" fmla="*/ 51 h 53"/>
                <a:gd name="T54" fmla="*/ 72 w 72"/>
                <a:gd name="T55" fmla="*/ 44 h 53"/>
                <a:gd name="T56" fmla="*/ 72 w 72"/>
                <a:gd name="T57" fmla="*/ 42 h 53"/>
                <a:gd name="T58" fmla="*/ 70 w 72"/>
                <a:gd name="T59" fmla="*/ 40 h 53"/>
                <a:gd name="T60" fmla="*/ 69 w 72"/>
                <a:gd name="T61" fmla="*/ 35 h 53"/>
                <a:gd name="T62" fmla="*/ 69 w 72"/>
                <a:gd name="T63" fmla="*/ 30 h 53"/>
                <a:gd name="T64" fmla="*/ 67 w 72"/>
                <a:gd name="T65" fmla="*/ 24 h 53"/>
                <a:gd name="T66" fmla="*/ 66 w 72"/>
                <a:gd name="T67" fmla="*/ 19 h 53"/>
                <a:gd name="T68" fmla="*/ 66 w 72"/>
                <a:gd name="T69" fmla="*/ 15 h 53"/>
                <a:gd name="T70" fmla="*/ 65 w 72"/>
                <a:gd name="T71" fmla="*/ 12 h 53"/>
                <a:gd name="T72" fmla="*/ 65 w 72"/>
                <a:gd name="T73" fmla="*/ 9 h 53"/>
                <a:gd name="T74" fmla="*/ 63 w 72"/>
                <a:gd name="T75" fmla="*/ 7 h 53"/>
                <a:gd name="T76" fmla="*/ 61 w 72"/>
                <a:gd name="T77" fmla="*/ 4 h 53"/>
                <a:gd name="T78" fmla="*/ 58 w 72"/>
                <a:gd name="T79" fmla="*/ 2 h 53"/>
                <a:gd name="T80" fmla="*/ 54 w 72"/>
                <a:gd name="T81" fmla="*/ 1 h 53"/>
                <a:gd name="T82" fmla="*/ 50 w 72"/>
                <a:gd name="T83" fmla="*/ 0 h 53"/>
                <a:gd name="T84" fmla="*/ 44 w 72"/>
                <a:gd name="T85" fmla="*/ 1 h 53"/>
                <a:gd name="T86" fmla="*/ 38 w 72"/>
                <a:gd name="T87" fmla="*/ 4 h 53"/>
                <a:gd name="T88" fmla="*/ 19 w 72"/>
                <a:gd name="T89" fmla="*/ 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2" h="53">
                  <a:moveTo>
                    <a:pt x="19" y="4"/>
                  </a:moveTo>
                  <a:lnTo>
                    <a:pt x="18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0" y="2"/>
                  </a:lnTo>
                  <a:lnTo>
                    <a:pt x="5" y="4"/>
                  </a:lnTo>
                  <a:lnTo>
                    <a:pt x="3" y="7"/>
                  </a:lnTo>
                  <a:lnTo>
                    <a:pt x="1" y="11"/>
                  </a:lnTo>
                  <a:lnTo>
                    <a:pt x="1" y="16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4" y="42"/>
                  </a:lnTo>
                  <a:lnTo>
                    <a:pt x="7" y="45"/>
                  </a:lnTo>
                  <a:lnTo>
                    <a:pt x="8" y="46"/>
                  </a:lnTo>
                  <a:lnTo>
                    <a:pt x="11" y="48"/>
                  </a:lnTo>
                  <a:lnTo>
                    <a:pt x="15" y="48"/>
                  </a:lnTo>
                  <a:lnTo>
                    <a:pt x="16" y="49"/>
                  </a:lnTo>
                  <a:lnTo>
                    <a:pt x="18" y="51"/>
                  </a:lnTo>
                  <a:lnTo>
                    <a:pt x="19" y="52"/>
                  </a:lnTo>
                  <a:lnTo>
                    <a:pt x="22" y="53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32" y="52"/>
                  </a:lnTo>
                  <a:lnTo>
                    <a:pt x="69" y="51"/>
                  </a:lnTo>
                  <a:lnTo>
                    <a:pt x="72" y="44"/>
                  </a:lnTo>
                  <a:lnTo>
                    <a:pt x="72" y="42"/>
                  </a:lnTo>
                  <a:lnTo>
                    <a:pt x="70" y="40"/>
                  </a:lnTo>
                  <a:lnTo>
                    <a:pt x="69" y="35"/>
                  </a:lnTo>
                  <a:lnTo>
                    <a:pt x="69" y="30"/>
                  </a:lnTo>
                  <a:lnTo>
                    <a:pt x="67" y="24"/>
                  </a:lnTo>
                  <a:lnTo>
                    <a:pt x="66" y="19"/>
                  </a:lnTo>
                  <a:lnTo>
                    <a:pt x="66" y="15"/>
                  </a:lnTo>
                  <a:lnTo>
                    <a:pt x="65" y="12"/>
                  </a:lnTo>
                  <a:lnTo>
                    <a:pt x="65" y="9"/>
                  </a:lnTo>
                  <a:lnTo>
                    <a:pt x="63" y="7"/>
                  </a:lnTo>
                  <a:lnTo>
                    <a:pt x="61" y="4"/>
                  </a:lnTo>
                  <a:lnTo>
                    <a:pt x="58" y="2"/>
                  </a:lnTo>
                  <a:lnTo>
                    <a:pt x="54" y="1"/>
                  </a:lnTo>
                  <a:lnTo>
                    <a:pt x="50" y="0"/>
                  </a:lnTo>
                  <a:lnTo>
                    <a:pt x="44" y="1"/>
                  </a:lnTo>
                  <a:lnTo>
                    <a:pt x="38" y="4"/>
                  </a:lnTo>
                  <a:lnTo>
                    <a:pt x="19" y="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1" name="Freeform 267"/>
            <p:cNvSpPr>
              <a:spLocks/>
            </p:cNvSpPr>
            <p:nvPr/>
          </p:nvSpPr>
          <p:spPr bwMode="auto">
            <a:xfrm>
              <a:off x="1943" y="1001"/>
              <a:ext cx="25" cy="30"/>
            </a:xfrm>
            <a:custGeom>
              <a:avLst/>
              <a:gdLst>
                <a:gd name="T0" fmla="*/ 13 w 31"/>
                <a:gd name="T1" fmla="*/ 1 h 38"/>
                <a:gd name="T2" fmla="*/ 13 w 31"/>
                <a:gd name="T3" fmla="*/ 0 h 38"/>
                <a:gd name="T4" fmla="*/ 11 w 31"/>
                <a:gd name="T5" fmla="*/ 0 h 38"/>
                <a:gd name="T6" fmla="*/ 9 w 31"/>
                <a:gd name="T7" fmla="*/ 0 h 38"/>
                <a:gd name="T8" fmla="*/ 6 w 31"/>
                <a:gd name="T9" fmla="*/ 1 h 38"/>
                <a:gd name="T10" fmla="*/ 4 w 31"/>
                <a:gd name="T11" fmla="*/ 3 h 38"/>
                <a:gd name="T12" fmla="*/ 2 w 31"/>
                <a:gd name="T13" fmla="*/ 7 h 38"/>
                <a:gd name="T14" fmla="*/ 1 w 31"/>
                <a:gd name="T15" fmla="*/ 11 h 38"/>
                <a:gd name="T16" fmla="*/ 0 w 31"/>
                <a:gd name="T17" fmla="*/ 18 h 38"/>
                <a:gd name="T18" fmla="*/ 0 w 31"/>
                <a:gd name="T19" fmla="*/ 19 h 38"/>
                <a:gd name="T20" fmla="*/ 0 w 31"/>
                <a:gd name="T21" fmla="*/ 20 h 38"/>
                <a:gd name="T22" fmla="*/ 0 w 31"/>
                <a:gd name="T23" fmla="*/ 23 h 38"/>
                <a:gd name="T24" fmla="*/ 1 w 31"/>
                <a:gd name="T25" fmla="*/ 26 h 38"/>
                <a:gd name="T26" fmla="*/ 1 w 31"/>
                <a:gd name="T27" fmla="*/ 30 h 38"/>
                <a:gd name="T28" fmla="*/ 2 w 31"/>
                <a:gd name="T29" fmla="*/ 33 h 38"/>
                <a:gd name="T30" fmla="*/ 5 w 31"/>
                <a:gd name="T31" fmla="*/ 36 h 38"/>
                <a:gd name="T32" fmla="*/ 8 w 31"/>
                <a:gd name="T33" fmla="*/ 37 h 38"/>
                <a:gd name="T34" fmla="*/ 9 w 31"/>
                <a:gd name="T35" fmla="*/ 37 h 38"/>
                <a:gd name="T36" fmla="*/ 12 w 31"/>
                <a:gd name="T37" fmla="*/ 37 h 38"/>
                <a:gd name="T38" fmla="*/ 15 w 31"/>
                <a:gd name="T39" fmla="*/ 38 h 38"/>
                <a:gd name="T40" fmla="*/ 19 w 31"/>
                <a:gd name="T41" fmla="*/ 38 h 38"/>
                <a:gd name="T42" fmla="*/ 23 w 31"/>
                <a:gd name="T43" fmla="*/ 38 h 38"/>
                <a:gd name="T44" fmla="*/ 26 w 31"/>
                <a:gd name="T45" fmla="*/ 37 h 38"/>
                <a:gd name="T46" fmla="*/ 28 w 31"/>
                <a:gd name="T47" fmla="*/ 34 h 38"/>
                <a:gd name="T48" fmla="*/ 30 w 31"/>
                <a:gd name="T49" fmla="*/ 30 h 38"/>
                <a:gd name="T50" fmla="*/ 30 w 31"/>
                <a:gd name="T51" fmla="*/ 29 h 38"/>
                <a:gd name="T52" fmla="*/ 30 w 31"/>
                <a:gd name="T53" fmla="*/ 25 h 38"/>
                <a:gd name="T54" fmla="*/ 31 w 31"/>
                <a:gd name="T55" fmla="*/ 19 h 38"/>
                <a:gd name="T56" fmla="*/ 30 w 31"/>
                <a:gd name="T57" fmla="*/ 14 h 38"/>
                <a:gd name="T58" fmla="*/ 28 w 31"/>
                <a:gd name="T59" fmla="*/ 8 h 38"/>
                <a:gd name="T60" fmla="*/ 26 w 31"/>
                <a:gd name="T61" fmla="*/ 4 h 38"/>
                <a:gd name="T62" fmla="*/ 23 w 31"/>
                <a:gd name="T63" fmla="*/ 1 h 38"/>
                <a:gd name="T64" fmla="*/ 20 w 31"/>
                <a:gd name="T65" fmla="*/ 1 h 38"/>
                <a:gd name="T66" fmla="*/ 17 w 31"/>
                <a:gd name="T67" fmla="*/ 0 h 38"/>
                <a:gd name="T68" fmla="*/ 13 w 31"/>
                <a:gd name="T6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38">
                  <a:moveTo>
                    <a:pt x="13" y="1"/>
                  </a:move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1" y="30"/>
                  </a:lnTo>
                  <a:lnTo>
                    <a:pt x="2" y="33"/>
                  </a:lnTo>
                  <a:lnTo>
                    <a:pt x="5" y="36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12" y="37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8"/>
                  </a:lnTo>
                  <a:lnTo>
                    <a:pt x="26" y="37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5"/>
                  </a:lnTo>
                  <a:lnTo>
                    <a:pt x="31" y="19"/>
                  </a:lnTo>
                  <a:lnTo>
                    <a:pt x="30" y="14"/>
                  </a:lnTo>
                  <a:lnTo>
                    <a:pt x="28" y="8"/>
                  </a:lnTo>
                  <a:lnTo>
                    <a:pt x="26" y="4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2" name="Freeform 268"/>
            <p:cNvSpPr>
              <a:spLocks/>
            </p:cNvSpPr>
            <p:nvPr/>
          </p:nvSpPr>
          <p:spPr bwMode="auto">
            <a:xfrm>
              <a:off x="1943" y="1001"/>
              <a:ext cx="25" cy="30"/>
            </a:xfrm>
            <a:custGeom>
              <a:avLst/>
              <a:gdLst>
                <a:gd name="T0" fmla="*/ 13 w 31"/>
                <a:gd name="T1" fmla="*/ 1 h 38"/>
                <a:gd name="T2" fmla="*/ 13 w 31"/>
                <a:gd name="T3" fmla="*/ 0 h 38"/>
                <a:gd name="T4" fmla="*/ 11 w 31"/>
                <a:gd name="T5" fmla="*/ 0 h 38"/>
                <a:gd name="T6" fmla="*/ 9 w 31"/>
                <a:gd name="T7" fmla="*/ 0 h 38"/>
                <a:gd name="T8" fmla="*/ 6 w 31"/>
                <a:gd name="T9" fmla="*/ 1 h 38"/>
                <a:gd name="T10" fmla="*/ 4 w 31"/>
                <a:gd name="T11" fmla="*/ 3 h 38"/>
                <a:gd name="T12" fmla="*/ 2 w 31"/>
                <a:gd name="T13" fmla="*/ 7 h 38"/>
                <a:gd name="T14" fmla="*/ 1 w 31"/>
                <a:gd name="T15" fmla="*/ 11 h 38"/>
                <a:gd name="T16" fmla="*/ 0 w 31"/>
                <a:gd name="T17" fmla="*/ 18 h 38"/>
                <a:gd name="T18" fmla="*/ 0 w 31"/>
                <a:gd name="T19" fmla="*/ 19 h 38"/>
                <a:gd name="T20" fmla="*/ 0 w 31"/>
                <a:gd name="T21" fmla="*/ 20 h 38"/>
                <a:gd name="T22" fmla="*/ 0 w 31"/>
                <a:gd name="T23" fmla="*/ 23 h 38"/>
                <a:gd name="T24" fmla="*/ 1 w 31"/>
                <a:gd name="T25" fmla="*/ 26 h 38"/>
                <a:gd name="T26" fmla="*/ 1 w 31"/>
                <a:gd name="T27" fmla="*/ 30 h 38"/>
                <a:gd name="T28" fmla="*/ 2 w 31"/>
                <a:gd name="T29" fmla="*/ 33 h 38"/>
                <a:gd name="T30" fmla="*/ 5 w 31"/>
                <a:gd name="T31" fmla="*/ 36 h 38"/>
                <a:gd name="T32" fmla="*/ 8 w 31"/>
                <a:gd name="T33" fmla="*/ 37 h 38"/>
                <a:gd name="T34" fmla="*/ 9 w 31"/>
                <a:gd name="T35" fmla="*/ 37 h 38"/>
                <a:gd name="T36" fmla="*/ 12 w 31"/>
                <a:gd name="T37" fmla="*/ 37 h 38"/>
                <a:gd name="T38" fmla="*/ 15 w 31"/>
                <a:gd name="T39" fmla="*/ 38 h 38"/>
                <a:gd name="T40" fmla="*/ 19 w 31"/>
                <a:gd name="T41" fmla="*/ 38 h 38"/>
                <a:gd name="T42" fmla="*/ 23 w 31"/>
                <a:gd name="T43" fmla="*/ 38 h 38"/>
                <a:gd name="T44" fmla="*/ 26 w 31"/>
                <a:gd name="T45" fmla="*/ 37 h 38"/>
                <a:gd name="T46" fmla="*/ 28 w 31"/>
                <a:gd name="T47" fmla="*/ 34 h 38"/>
                <a:gd name="T48" fmla="*/ 30 w 31"/>
                <a:gd name="T49" fmla="*/ 30 h 38"/>
                <a:gd name="T50" fmla="*/ 30 w 31"/>
                <a:gd name="T51" fmla="*/ 29 h 38"/>
                <a:gd name="T52" fmla="*/ 30 w 31"/>
                <a:gd name="T53" fmla="*/ 25 h 38"/>
                <a:gd name="T54" fmla="*/ 31 w 31"/>
                <a:gd name="T55" fmla="*/ 19 h 38"/>
                <a:gd name="T56" fmla="*/ 30 w 31"/>
                <a:gd name="T57" fmla="*/ 14 h 38"/>
                <a:gd name="T58" fmla="*/ 28 w 31"/>
                <a:gd name="T59" fmla="*/ 8 h 38"/>
                <a:gd name="T60" fmla="*/ 26 w 31"/>
                <a:gd name="T61" fmla="*/ 4 h 38"/>
                <a:gd name="T62" fmla="*/ 23 w 31"/>
                <a:gd name="T63" fmla="*/ 1 h 38"/>
                <a:gd name="T64" fmla="*/ 20 w 31"/>
                <a:gd name="T65" fmla="*/ 1 h 38"/>
                <a:gd name="T66" fmla="*/ 17 w 31"/>
                <a:gd name="T67" fmla="*/ 0 h 38"/>
                <a:gd name="T68" fmla="*/ 13 w 31"/>
                <a:gd name="T69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" h="38">
                  <a:moveTo>
                    <a:pt x="13" y="1"/>
                  </a:moveTo>
                  <a:lnTo>
                    <a:pt x="13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1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1" y="30"/>
                  </a:lnTo>
                  <a:lnTo>
                    <a:pt x="2" y="33"/>
                  </a:lnTo>
                  <a:lnTo>
                    <a:pt x="5" y="36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12" y="37"/>
                  </a:lnTo>
                  <a:lnTo>
                    <a:pt x="15" y="38"/>
                  </a:lnTo>
                  <a:lnTo>
                    <a:pt x="19" y="38"/>
                  </a:lnTo>
                  <a:lnTo>
                    <a:pt x="23" y="38"/>
                  </a:lnTo>
                  <a:lnTo>
                    <a:pt x="26" y="37"/>
                  </a:lnTo>
                  <a:lnTo>
                    <a:pt x="28" y="34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5"/>
                  </a:lnTo>
                  <a:lnTo>
                    <a:pt x="31" y="19"/>
                  </a:lnTo>
                  <a:lnTo>
                    <a:pt x="30" y="14"/>
                  </a:lnTo>
                  <a:lnTo>
                    <a:pt x="28" y="8"/>
                  </a:lnTo>
                  <a:lnTo>
                    <a:pt x="26" y="4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3" name="Freeform 269"/>
            <p:cNvSpPr>
              <a:spLocks/>
            </p:cNvSpPr>
            <p:nvPr/>
          </p:nvSpPr>
          <p:spPr bwMode="auto">
            <a:xfrm>
              <a:off x="1867" y="1170"/>
              <a:ext cx="26" cy="8"/>
            </a:xfrm>
            <a:custGeom>
              <a:avLst/>
              <a:gdLst>
                <a:gd name="T0" fmla="*/ 16 w 33"/>
                <a:gd name="T1" fmla="*/ 10 h 10"/>
                <a:gd name="T2" fmla="*/ 21 w 33"/>
                <a:gd name="T3" fmla="*/ 10 h 10"/>
                <a:gd name="T4" fmla="*/ 23 w 33"/>
                <a:gd name="T5" fmla="*/ 10 h 10"/>
                <a:gd name="T6" fmla="*/ 26 w 33"/>
                <a:gd name="T7" fmla="*/ 8 h 10"/>
                <a:gd name="T8" fmla="*/ 29 w 33"/>
                <a:gd name="T9" fmla="*/ 8 h 10"/>
                <a:gd name="T10" fmla="*/ 30 w 33"/>
                <a:gd name="T11" fmla="*/ 8 h 10"/>
                <a:gd name="T12" fmla="*/ 32 w 33"/>
                <a:gd name="T13" fmla="*/ 7 h 10"/>
                <a:gd name="T14" fmla="*/ 33 w 33"/>
                <a:gd name="T15" fmla="*/ 7 h 10"/>
                <a:gd name="T16" fmla="*/ 33 w 33"/>
                <a:gd name="T17" fmla="*/ 6 h 10"/>
                <a:gd name="T18" fmla="*/ 33 w 33"/>
                <a:gd name="T19" fmla="*/ 4 h 10"/>
                <a:gd name="T20" fmla="*/ 32 w 33"/>
                <a:gd name="T21" fmla="*/ 4 h 10"/>
                <a:gd name="T22" fmla="*/ 30 w 33"/>
                <a:gd name="T23" fmla="*/ 3 h 10"/>
                <a:gd name="T24" fmla="*/ 29 w 33"/>
                <a:gd name="T25" fmla="*/ 1 h 10"/>
                <a:gd name="T26" fmla="*/ 26 w 33"/>
                <a:gd name="T27" fmla="*/ 1 h 10"/>
                <a:gd name="T28" fmla="*/ 23 w 33"/>
                <a:gd name="T29" fmla="*/ 1 h 10"/>
                <a:gd name="T30" fmla="*/ 21 w 33"/>
                <a:gd name="T31" fmla="*/ 1 h 10"/>
                <a:gd name="T32" fmla="*/ 16 w 33"/>
                <a:gd name="T33" fmla="*/ 0 h 10"/>
                <a:gd name="T34" fmla="*/ 14 w 33"/>
                <a:gd name="T35" fmla="*/ 1 h 10"/>
                <a:gd name="T36" fmla="*/ 11 w 33"/>
                <a:gd name="T37" fmla="*/ 1 h 10"/>
                <a:gd name="T38" fmla="*/ 8 w 33"/>
                <a:gd name="T39" fmla="*/ 1 h 10"/>
                <a:gd name="T40" fmla="*/ 5 w 33"/>
                <a:gd name="T41" fmla="*/ 1 h 10"/>
                <a:gd name="T42" fmla="*/ 3 w 33"/>
                <a:gd name="T43" fmla="*/ 3 h 10"/>
                <a:gd name="T44" fmla="*/ 1 w 33"/>
                <a:gd name="T45" fmla="*/ 4 h 10"/>
                <a:gd name="T46" fmla="*/ 0 w 33"/>
                <a:gd name="T47" fmla="*/ 4 h 10"/>
                <a:gd name="T48" fmla="*/ 0 w 33"/>
                <a:gd name="T49" fmla="*/ 6 h 10"/>
                <a:gd name="T50" fmla="*/ 0 w 33"/>
                <a:gd name="T51" fmla="*/ 7 h 10"/>
                <a:gd name="T52" fmla="*/ 1 w 33"/>
                <a:gd name="T53" fmla="*/ 7 h 10"/>
                <a:gd name="T54" fmla="*/ 3 w 33"/>
                <a:gd name="T55" fmla="*/ 8 h 10"/>
                <a:gd name="T56" fmla="*/ 5 w 33"/>
                <a:gd name="T57" fmla="*/ 8 h 10"/>
                <a:gd name="T58" fmla="*/ 8 w 33"/>
                <a:gd name="T59" fmla="*/ 8 h 10"/>
                <a:gd name="T60" fmla="*/ 11 w 33"/>
                <a:gd name="T61" fmla="*/ 10 h 10"/>
                <a:gd name="T62" fmla="*/ 14 w 33"/>
                <a:gd name="T63" fmla="*/ 10 h 10"/>
                <a:gd name="T64" fmla="*/ 16 w 33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0">
                  <a:moveTo>
                    <a:pt x="16" y="10"/>
                  </a:moveTo>
                  <a:lnTo>
                    <a:pt x="21" y="10"/>
                  </a:lnTo>
                  <a:lnTo>
                    <a:pt x="23" y="10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0" y="3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4" name="Freeform 270"/>
            <p:cNvSpPr>
              <a:spLocks/>
            </p:cNvSpPr>
            <p:nvPr/>
          </p:nvSpPr>
          <p:spPr bwMode="auto">
            <a:xfrm>
              <a:off x="1867" y="1170"/>
              <a:ext cx="26" cy="8"/>
            </a:xfrm>
            <a:custGeom>
              <a:avLst/>
              <a:gdLst>
                <a:gd name="T0" fmla="*/ 16 w 33"/>
                <a:gd name="T1" fmla="*/ 10 h 10"/>
                <a:gd name="T2" fmla="*/ 21 w 33"/>
                <a:gd name="T3" fmla="*/ 10 h 10"/>
                <a:gd name="T4" fmla="*/ 23 w 33"/>
                <a:gd name="T5" fmla="*/ 10 h 10"/>
                <a:gd name="T6" fmla="*/ 26 w 33"/>
                <a:gd name="T7" fmla="*/ 8 h 10"/>
                <a:gd name="T8" fmla="*/ 29 w 33"/>
                <a:gd name="T9" fmla="*/ 8 h 10"/>
                <a:gd name="T10" fmla="*/ 30 w 33"/>
                <a:gd name="T11" fmla="*/ 8 h 10"/>
                <a:gd name="T12" fmla="*/ 32 w 33"/>
                <a:gd name="T13" fmla="*/ 7 h 10"/>
                <a:gd name="T14" fmla="*/ 33 w 33"/>
                <a:gd name="T15" fmla="*/ 7 h 10"/>
                <a:gd name="T16" fmla="*/ 33 w 33"/>
                <a:gd name="T17" fmla="*/ 6 h 10"/>
                <a:gd name="T18" fmla="*/ 33 w 33"/>
                <a:gd name="T19" fmla="*/ 4 h 10"/>
                <a:gd name="T20" fmla="*/ 32 w 33"/>
                <a:gd name="T21" fmla="*/ 4 h 10"/>
                <a:gd name="T22" fmla="*/ 30 w 33"/>
                <a:gd name="T23" fmla="*/ 3 h 10"/>
                <a:gd name="T24" fmla="*/ 29 w 33"/>
                <a:gd name="T25" fmla="*/ 1 h 10"/>
                <a:gd name="T26" fmla="*/ 26 w 33"/>
                <a:gd name="T27" fmla="*/ 1 h 10"/>
                <a:gd name="T28" fmla="*/ 23 w 33"/>
                <a:gd name="T29" fmla="*/ 1 h 10"/>
                <a:gd name="T30" fmla="*/ 21 w 33"/>
                <a:gd name="T31" fmla="*/ 1 h 10"/>
                <a:gd name="T32" fmla="*/ 16 w 33"/>
                <a:gd name="T33" fmla="*/ 0 h 10"/>
                <a:gd name="T34" fmla="*/ 14 w 33"/>
                <a:gd name="T35" fmla="*/ 1 h 10"/>
                <a:gd name="T36" fmla="*/ 11 w 33"/>
                <a:gd name="T37" fmla="*/ 1 h 10"/>
                <a:gd name="T38" fmla="*/ 8 w 33"/>
                <a:gd name="T39" fmla="*/ 1 h 10"/>
                <a:gd name="T40" fmla="*/ 5 w 33"/>
                <a:gd name="T41" fmla="*/ 1 h 10"/>
                <a:gd name="T42" fmla="*/ 3 w 33"/>
                <a:gd name="T43" fmla="*/ 3 h 10"/>
                <a:gd name="T44" fmla="*/ 1 w 33"/>
                <a:gd name="T45" fmla="*/ 4 h 10"/>
                <a:gd name="T46" fmla="*/ 0 w 33"/>
                <a:gd name="T47" fmla="*/ 4 h 10"/>
                <a:gd name="T48" fmla="*/ 0 w 33"/>
                <a:gd name="T49" fmla="*/ 6 h 10"/>
                <a:gd name="T50" fmla="*/ 0 w 33"/>
                <a:gd name="T51" fmla="*/ 7 h 10"/>
                <a:gd name="T52" fmla="*/ 1 w 33"/>
                <a:gd name="T53" fmla="*/ 7 h 10"/>
                <a:gd name="T54" fmla="*/ 3 w 33"/>
                <a:gd name="T55" fmla="*/ 8 h 10"/>
                <a:gd name="T56" fmla="*/ 5 w 33"/>
                <a:gd name="T57" fmla="*/ 8 h 10"/>
                <a:gd name="T58" fmla="*/ 8 w 33"/>
                <a:gd name="T59" fmla="*/ 8 h 10"/>
                <a:gd name="T60" fmla="*/ 11 w 33"/>
                <a:gd name="T61" fmla="*/ 10 h 10"/>
                <a:gd name="T62" fmla="*/ 14 w 33"/>
                <a:gd name="T63" fmla="*/ 10 h 10"/>
                <a:gd name="T64" fmla="*/ 16 w 33"/>
                <a:gd name="T6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10">
                  <a:moveTo>
                    <a:pt x="16" y="10"/>
                  </a:moveTo>
                  <a:lnTo>
                    <a:pt x="21" y="10"/>
                  </a:lnTo>
                  <a:lnTo>
                    <a:pt x="23" y="10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0" y="3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3" y="1"/>
                  </a:lnTo>
                  <a:lnTo>
                    <a:pt x="21" y="1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1" y="1"/>
                  </a:lnTo>
                  <a:lnTo>
                    <a:pt x="8" y="1"/>
                  </a:lnTo>
                  <a:lnTo>
                    <a:pt x="5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7"/>
                  </a:lnTo>
                  <a:lnTo>
                    <a:pt x="3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0"/>
                  </a:lnTo>
                  <a:lnTo>
                    <a:pt x="14" y="10"/>
                  </a:lnTo>
                  <a:lnTo>
                    <a:pt x="16" y="10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5" name="Freeform 271"/>
            <p:cNvSpPr>
              <a:spLocks/>
            </p:cNvSpPr>
            <p:nvPr/>
          </p:nvSpPr>
          <p:spPr bwMode="auto">
            <a:xfrm>
              <a:off x="1906" y="1191"/>
              <a:ext cx="9" cy="26"/>
            </a:xfrm>
            <a:custGeom>
              <a:avLst/>
              <a:gdLst>
                <a:gd name="T0" fmla="*/ 6 w 12"/>
                <a:gd name="T1" fmla="*/ 33 h 33"/>
                <a:gd name="T2" fmla="*/ 7 w 12"/>
                <a:gd name="T3" fmla="*/ 33 h 33"/>
                <a:gd name="T4" fmla="*/ 8 w 12"/>
                <a:gd name="T5" fmla="*/ 31 h 33"/>
                <a:gd name="T6" fmla="*/ 10 w 12"/>
                <a:gd name="T7" fmla="*/ 30 h 33"/>
                <a:gd name="T8" fmla="*/ 10 w 12"/>
                <a:gd name="T9" fmla="*/ 27 h 33"/>
                <a:gd name="T10" fmla="*/ 11 w 12"/>
                <a:gd name="T11" fmla="*/ 25 h 33"/>
                <a:gd name="T12" fmla="*/ 11 w 12"/>
                <a:gd name="T13" fmla="*/ 22 h 33"/>
                <a:gd name="T14" fmla="*/ 11 w 12"/>
                <a:gd name="T15" fmla="*/ 19 h 33"/>
                <a:gd name="T16" fmla="*/ 12 w 12"/>
                <a:gd name="T17" fmla="*/ 16 h 33"/>
                <a:gd name="T18" fmla="*/ 11 w 12"/>
                <a:gd name="T19" fmla="*/ 12 h 33"/>
                <a:gd name="T20" fmla="*/ 11 w 12"/>
                <a:gd name="T21" fmla="*/ 9 h 33"/>
                <a:gd name="T22" fmla="*/ 11 w 12"/>
                <a:gd name="T23" fmla="*/ 7 h 33"/>
                <a:gd name="T24" fmla="*/ 10 w 12"/>
                <a:gd name="T25" fmla="*/ 4 h 33"/>
                <a:gd name="T26" fmla="*/ 10 w 12"/>
                <a:gd name="T27" fmla="*/ 3 h 33"/>
                <a:gd name="T28" fmla="*/ 8 w 12"/>
                <a:gd name="T29" fmla="*/ 1 h 33"/>
                <a:gd name="T30" fmla="*/ 7 w 12"/>
                <a:gd name="T31" fmla="*/ 0 h 33"/>
                <a:gd name="T32" fmla="*/ 6 w 12"/>
                <a:gd name="T33" fmla="*/ 0 h 33"/>
                <a:gd name="T34" fmla="*/ 4 w 12"/>
                <a:gd name="T35" fmla="*/ 0 h 33"/>
                <a:gd name="T36" fmla="*/ 4 w 12"/>
                <a:gd name="T37" fmla="*/ 1 h 33"/>
                <a:gd name="T38" fmla="*/ 3 w 12"/>
                <a:gd name="T39" fmla="*/ 3 h 33"/>
                <a:gd name="T40" fmla="*/ 1 w 12"/>
                <a:gd name="T41" fmla="*/ 4 h 33"/>
                <a:gd name="T42" fmla="*/ 1 w 12"/>
                <a:gd name="T43" fmla="*/ 7 h 33"/>
                <a:gd name="T44" fmla="*/ 0 w 12"/>
                <a:gd name="T45" fmla="*/ 9 h 33"/>
                <a:gd name="T46" fmla="*/ 0 w 12"/>
                <a:gd name="T47" fmla="*/ 12 h 33"/>
                <a:gd name="T48" fmla="*/ 0 w 12"/>
                <a:gd name="T49" fmla="*/ 16 h 33"/>
                <a:gd name="T50" fmla="*/ 0 w 12"/>
                <a:gd name="T51" fmla="*/ 19 h 33"/>
                <a:gd name="T52" fmla="*/ 0 w 12"/>
                <a:gd name="T53" fmla="*/ 22 h 33"/>
                <a:gd name="T54" fmla="*/ 1 w 12"/>
                <a:gd name="T55" fmla="*/ 25 h 33"/>
                <a:gd name="T56" fmla="*/ 1 w 12"/>
                <a:gd name="T57" fmla="*/ 27 h 33"/>
                <a:gd name="T58" fmla="*/ 3 w 12"/>
                <a:gd name="T59" fmla="*/ 30 h 33"/>
                <a:gd name="T60" fmla="*/ 4 w 12"/>
                <a:gd name="T61" fmla="*/ 31 h 33"/>
                <a:gd name="T62" fmla="*/ 4 w 12"/>
                <a:gd name="T63" fmla="*/ 33 h 33"/>
                <a:gd name="T64" fmla="*/ 6 w 12"/>
                <a:gd name="T6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" h="33">
                  <a:moveTo>
                    <a:pt x="6" y="33"/>
                  </a:moveTo>
                  <a:lnTo>
                    <a:pt x="7" y="33"/>
                  </a:lnTo>
                  <a:lnTo>
                    <a:pt x="8" y="31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12" y="16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1" y="25"/>
                  </a:lnTo>
                  <a:lnTo>
                    <a:pt x="1" y="27"/>
                  </a:lnTo>
                  <a:lnTo>
                    <a:pt x="3" y="30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6" y="3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6" name="Freeform 272"/>
            <p:cNvSpPr>
              <a:spLocks/>
            </p:cNvSpPr>
            <p:nvPr/>
          </p:nvSpPr>
          <p:spPr bwMode="auto">
            <a:xfrm>
              <a:off x="1906" y="1191"/>
              <a:ext cx="9" cy="26"/>
            </a:xfrm>
            <a:custGeom>
              <a:avLst/>
              <a:gdLst>
                <a:gd name="T0" fmla="*/ 6 w 12"/>
                <a:gd name="T1" fmla="*/ 33 h 33"/>
                <a:gd name="T2" fmla="*/ 7 w 12"/>
                <a:gd name="T3" fmla="*/ 33 h 33"/>
                <a:gd name="T4" fmla="*/ 8 w 12"/>
                <a:gd name="T5" fmla="*/ 31 h 33"/>
                <a:gd name="T6" fmla="*/ 10 w 12"/>
                <a:gd name="T7" fmla="*/ 30 h 33"/>
                <a:gd name="T8" fmla="*/ 10 w 12"/>
                <a:gd name="T9" fmla="*/ 27 h 33"/>
                <a:gd name="T10" fmla="*/ 11 w 12"/>
                <a:gd name="T11" fmla="*/ 25 h 33"/>
                <a:gd name="T12" fmla="*/ 11 w 12"/>
                <a:gd name="T13" fmla="*/ 22 h 33"/>
                <a:gd name="T14" fmla="*/ 11 w 12"/>
                <a:gd name="T15" fmla="*/ 19 h 33"/>
                <a:gd name="T16" fmla="*/ 12 w 12"/>
                <a:gd name="T17" fmla="*/ 16 h 33"/>
                <a:gd name="T18" fmla="*/ 11 w 12"/>
                <a:gd name="T19" fmla="*/ 12 h 33"/>
                <a:gd name="T20" fmla="*/ 11 w 12"/>
                <a:gd name="T21" fmla="*/ 9 h 33"/>
                <a:gd name="T22" fmla="*/ 11 w 12"/>
                <a:gd name="T23" fmla="*/ 7 h 33"/>
                <a:gd name="T24" fmla="*/ 10 w 12"/>
                <a:gd name="T25" fmla="*/ 4 h 33"/>
                <a:gd name="T26" fmla="*/ 10 w 12"/>
                <a:gd name="T27" fmla="*/ 3 h 33"/>
                <a:gd name="T28" fmla="*/ 8 w 12"/>
                <a:gd name="T29" fmla="*/ 1 h 33"/>
                <a:gd name="T30" fmla="*/ 7 w 12"/>
                <a:gd name="T31" fmla="*/ 0 h 33"/>
                <a:gd name="T32" fmla="*/ 6 w 12"/>
                <a:gd name="T33" fmla="*/ 0 h 33"/>
                <a:gd name="T34" fmla="*/ 4 w 12"/>
                <a:gd name="T35" fmla="*/ 0 h 33"/>
                <a:gd name="T36" fmla="*/ 4 w 12"/>
                <a:gd name="T37" fmla="*/ 1 h 33"/>
                <a:gd name="T38" fmla="*/ 3 w 12"/>
                <a:gd name="T39" fmla="*/ 3 h 33"/>
                <a:gd name="T40" fmla="*/ 1 w 12"/>
                <a:gd name="T41" fmla="*/ 4 h 33"/>
                <a:gd name="T42" fmla="*/ 1 w 12"/>
                <a:gd name="T43" fmla="*/ 7 h 33"/>
                <a:gd name="T44" fmla="*/ 0 w 12"/>
                <a:gd name="T45" fmla="*/ 9 h 33"/>
                <a:gd name="T46" fmla="*/ 0 w 12"/>
                <a:gd name="T47" fmla="*/ 12 h 33"/>
                <a:gd name="T48" fmla="*/ 0 w 12"/>
                <a:gd name="T49" fmla="*/ 16 h 33"/>
                <a:gd name="T50" fmla="*/ 0 w 12"/>
                <a:gd name="T51" fmla="*/ 19 h 33"/>
                <a:gd name="T52" fmla="*/ 0 w 12"/>
                <a:gd name="T53" fmla="*/ 22 h 33"/>
                <a:gd name="T54" fmla="*/ 1 w 12"/>
                <a:gd name="T55" fmla="*/ 25 h 33"/>
                <a:gd name="T56" fmla="*/ 1 w 12"/>
                <a:gd name="T57" fmla="*/ 27 h 33"/>
                <a:gd name="T58" fmla="*/ 3 w 12"/>
                <a:gd name="T59" fmla="*/ 30 h 33"/>
                <a:gd name="T60" fmla="*/ 4 w 12"/>
                <a:gd name="T61" fmla="*/ 31 h 33"/>
                <a:gd name="T62" fmla="*/ 4 w 12"/>
                <a:gd name="T63" fmla="*/ 33 h 33"/>
                <a:gd name="T64" fmla="*/ 6 w 12"/>
                <a:gd name="T6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" h="33">
                  <a:moveTo>
                    <a:pt x="6" y="33"/>
                  </a:moveTo>
                  <a:lnTo>
                    <a:pt x="7" y="33"/>
                  </a:lnTo>
                  <a:lnTo>
                    <a:pt x="8" y="31"/>
                  </a:lnTo>
                  <a:lnTo>
                    <a:pt x="10" y="30"/>
                  </a:lnTo>
                  <a:lnTo>
                    <a:pt x="10" y="27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19"/>
                  </a:lnTo>
                  <a:lnTo>
                    <a:pt x="12" y="16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1" y="25"/>
                  </a:lnTo>
                  <a:lnTo>
                    <a:pt x="1" y="27"/>
                  </a:lnTo>
                  <a:lnTo>
                    <a:pt x="3" y="30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6" y="33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7" name="Freeform 273"/>
            <p:cNvSpPr>
              <a:spLocks/>
            </p:cNvSpPr>
            <p:nvPr/>
          </p:nvSpPr>
          <p:spPr bwMode="auto">
            <a:xfrm>
              <a:off x="1943" y="1154"/>
              <a:ext cx="16" cy="19"/>
            </a:xfrm>
            <a:custGeom>
              <a:avLst/>
              <a:gdLst>
                <a:gd name="T0" fmla="*/ 9 w 20"/>
                <a:gd name="T1" fmla="*/ 24 h 24"/>
                <a:gd name="T2" fmla="*/ 12 w 20"/>
                <a:gd name="T3" fmla="*/ 24 h 24"/>
                <a:gd name="T4" fmla="*/ 13 w 20"/>
                <a:gd name="T5" fmla="*/ 24 h 24"/>
                <a:gd name="T6" fmla="*/ 16 w 20"/>
                <a:gd name="T7" fmla="*/ 22 h 24"/>
                <a:gd name="T8" fmla="*/ 17 w 20"/>
                <a:gd name="T9" fmla="*/ 21 h 24"/>
                <a:gd name="T10" fmla="*/ 19 w 20"/>
                <a:gd name="T11" fmla="*/ 20 h 24"/>
                <a:gd name="T12" fmla="*/ 19 w 20"/>
                <a:gd name="T13" fmla="*/ 17 h 24"/>
                <a:gd name="T14" fmla="*/ 20 w 20"/>
                <a:gd name="T15" fmla="*/ 16 h 24"/>
                <a:gd name="T16" fmla="*/ 20 w 20"/>
                <a:gd name="T17" fmla="*/ 13 h 24"/>
                <a:gd name="T18" fmla="*/ 20 w 20"/>
                <a:gd name="T19" fmla="*/ 10 h 24"/>
                <a:gd name="T20" fmla="*/ 19 w 20"/>
                <a:gd name="T21" fmla="*/ 7 h 24"/>
                <a:gd name="T22" fmla="*/ 19 w 20"/>
                <a:gd name="T23" fmla="*/ 6 h 24"/>
                <a:gd name="T24" fmla="*/ 17 w 20"/>
                <a:gd name="T25" fmla="*/ 5 h 24"/>
                <a:gd name="T26" fmla="*/ 16 w 20"/>
                <a:gd name="T27" fmla="*/ 3 h 24"/>
                <a:gd name="T28" fmla="*/ 13 w 20"/>
                <a:gd name="T29" fmla="*/ 2 h 24"/>
                <a:gd name="T30" fmla="*/ 12 w 20"/>
                <a:gd name="T31" fmla="*/ 0 h 24"/>
                <a:gd name="T32" fmla="*/ 9 w 20"/>
                <a:gd name="T33" fmla="*/ 0 h 24"/>
                <a:gd name="T34" fmla="*/ 8 w 20"/>
                <a:gd name="T35" fmla="*/ 0 h 24"/>
                <a:gd name="T36" fmla="*/ 6 w 20"/>
                <a:gd name="T37" fmla="*/ 2 h 24"/>
                <a:gd name="T38" fmla="*/ 4 w 20"/>
                <a:gd name="T39" fmla="*/ 3 h 24"/>
                <a:gd name="T40" fmla="*/ 2 w 20"/>
                <a:gd name="T41" fmla="*/ 5 h 24"/>
                <a:gd name="T42" fmla="*/ 1 w 20"/>
                <a:gd name="T43" fmla="*/ 6 h 24"/>
                <a:gd name="T44" fmla="*/ 1 w 20"/>
                <a:gd name="T45" fmla="*/ 7 h 24"/>
                <a:gd name="T46" fmla="*/ 0 w 20"/>
                <a:gd name="T47" fmla="*/ 10 h 24"/>
                <a:gd name="T48" fmla="*/ 0 w 20"/>
                <a:gd name="T49" fmla="*/ 13 h 24"/>
                <a:gd name="T50" fmla="*/ 0 w 20"/>
                <a:gd name="T51" fmla="*/ 16 h 24"/>
                <a:gd name="T52" fmla="*/ 1 w 20"/>
                <a:gd name="T53" fmla="*/ 17 h 24"/>
                <a:gd name="T54" fmla="*/ 1 w 20"/>
                <a:gd name="T55" fmla="*/ 20 h 24"/>
                <a:gd name="T56" fmla="*/ 2 w 20"/>
                <a:gd name="T57" fmla="*/ 21 h 24"/>
                <a:gd name="T58" fmla="*/ 4 w 20"/>
                <a:gd name="T59" fmla="*/ 22 h 24"/>
                <a:gd name="T60" fmla="*/ 6 w 20"/>
                <a:gd name="T61" fmla="*/ 24 h 24"/>
                <a:gd name="T62" fmla="*/ 8 w 20"/>
                <a:gd name="T63" fmla="*/ 24 h 24"/>
                <a:gd name="T64" fmla="*/ 9 w 20"/>
                <a:gd name="T6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24">
                  <a:moveTo>
                    <a:pt x="9" y="24"/>
                  </a:moveTo>
                  <a:lnTo>
                    <a:pt x="12" y="24"/>
                  </a:lnTo>
                  <a:lnTo>
                    <a:pt x="13" y="24"/>
                  </a:lnTo>
                  <a:lnTo>
                    <a:pt x="16" y="22"/>
                  </a:lnTo>
                  <a:lnTo>
                    <a:pt x="17" y="21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20" y="16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2" y="21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9" y="2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8" name="Freeform 274"/>
            <p:cNvSpPr>
              <a:spLocks/>
            </p:cNvSpPr>
            <p:nvPr/>
          </p:nvSpPr>
          <p:spPr bwMode="auto">
            <a:xfrm>
              <a:off x="1943" y="1154"/>
              <a:ext cx="16" cy="19"/>
            </a:xfrm>
            <a:custGeom>
              <a:avLst/>
              <a:gdLst>
                <a:gd name="T0" fmla="*/ 9 w 20"/>
                <a:gd name="T1" fmla="*/ 24 h 24"/>
                <a:gd name="T2" fmla="*/ 12 w 20"/>
                <a:gd name="T3" fmla="*/ 24 h 24"/>
                <a:gd name="T4" fmla="*/ 13 w 20"/>
                <a:gd name="T5" fmla="*/ 24 h 24"/>
                <a:gd name="T6" fmla="*/ 16 w 20"/>
                <a:gd name="T7" fmla="*/ 22 h 24"/>
                <a:gd name="T8" fmla="*/ 17 w 20"/>
                <a:gd name="T9" fmla="*/ 21 h 24"/>
                <a:gd name="T10" fmla="*/ 19 w 20"/>
                <a:gd name="T11" fmla="*/ 20 h 24"/>
                <a:gd name="T12" fmla="*/ 19 w 20"/>
                <a:gd name="T13" fmla="*/ 17 h 24"/>
                <a:gd name="T14" fmla="*/ 20 w 20"/>
                <a:gd name="T15" fmla="*/ 16 h 24"/>
                <a:gd name="T16" fmla="*/ 20 w 20"/>
                <a:gd name="T17" fmla="*/ 13 h 24"/>
                <a:gd name="T18" fmla="*/ 20 w 20"/>
                <a:gd name="T19" fmla="*/ 10 h 24"/>
                <a:gd name="T20" fmla="*/ 19 w 20"/>
                <a:gd name="T21" fmla="*/ 7 h 24"/>
                <a:gd name="T22" fmla="*/ 19 w 20"/>
                <a:gd name="T23" fmla="*/ 6 h 24"/>
                <a:gd name="T24" fmla="*/ 17 w 20"/>
                <a:gd name="T25" fmla="*/ 5 h 24"/>
                <a:gd name="T26" fmla="*/ 16 w 20"/>
                <a:gd name="T27" fmla="*/ 3 h 24"/>
                <a:gd name="T28" fmla="*/ 13 w 20"/>
                <a:gd name="T29" fmla="*/ 2 h 24"/>
                <a:gd name="T30" fmla="*/ 12 w 20"/>
                <a:gd name="T31" fmla="*/ 0 h 24"/>
                <a:gd name="T32" fmla="*/ 9 w 20"/>
                <a:gd name="T33" fmla="*/ 0 h 24"/>
                <a:gd name="T34" fmla="*/ 8 w 20"/>
                <a:gd name="T35" fmla="*/ 0 h 24"/>
                <a:gd name="T36" fmla="*/ 6 w 20"/>
                <a:gd name="T37" fmla="*/ 2 h 24"/>
                <a:gd name="T38" fmla="*/ 4 w 20"/>
                <a:gd name="T39" fmla="*/ 3 h 24"/>
                <a:gd name="T40" fmla="*/ 2 w 20"/>
                <a:gd name="T41" fmla="*/ 5 h 24"/>
                <a:gd name="T42" fmla="*/ 1 w 20"/>
                <a:gd name="T43" fmla="*/ 6 h 24"/>
                <a:gd name="T44" fmla="*/ 1 w 20"/>
                <a:gd name="T45" fmla="*/ 7 h 24"/>
                <a:gd name="T46" fmla="*/ 0 w 20"/>
                <a:gd name="T47" fmla="*/ 10 h 24"/>
                <a:gd name="T48" fmla="*/ 0 w 20"/>
                <a:gd name="T49" fmla="*/ 13 h 24"/>
                <a:gd name="T50" fmla="*/ 0 w 20"/>
                <a:gd name="T51" fmla="*/ 16 h 24"/>
                <a:gd name="T52" fmla="*/ 1 w 20"/>
                <a:gd name="T53" fmla="*/ 17 h 24"/>
                <a:gd name="T54" fmla="*/ 1 w 20"/>
                <a:gd name="T55" fmla="*/ 20 h 24"/>
                <a:gd name="T56" fmla="*/ 2 w 20"/>
                <a:gd name="T57" fmla="*/ 21 h 24"/>
                <a:gd name="T58" fmla="*/ 4 w 20"/>
                <a:gd name="T59" fmla="*/ 22 h 24"/>
                <a:gd name="T60" fmla="*/ 6 w 20"/>
                <a:gd name="T61" fmla="*/ 24 h 24"/>
                <a:gd name="T62" fmla="*/ 8 w 20"/>
                <a:gd name="T63" fmla="*/ 24 h 24"/>
                <a:gd name="T64" fmla="*/ 9 w 20"/>
                <a:gd name="T6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24">
                  <a:moveTo>
                    <a:pt x="9" y="24"/>
                  </a:moveTo>
                  <a:lnTo>
                    <a:pt x="12" y="24"/>
                  </a:lnTo>
                  <a:lnTo>
                    <a:pt x="13" y="24"/>
                  </a:lnTo>
                  <a:lnTo>
                    <a:pt x="16" y="22"/>
                  </a:lnTo>
                  <a:lnTo>
                    <a:pt x="17" y="21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20" y="16"/>
                  </a:lnTo>
                  <a:lnTo>
                    <a:pt x="20" y="13"/>
                  </a:lnTo>
                  <a:lnTo>
                    <a:pt x="20" y="10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7" y="5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20"/>
                  </a:lnTo>
                  <a:lnTo>
                    <a:pt x="2" y="21"/>
                  </a:lnTo>
                  <a:lnTo>
                    <a:pt x="4" y="22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9" y="24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9" name="Freeform 275"/>
            <p:cNvSpPr>
              <a:spLocks/>
            </p:cNvSpPr>
            <p:nvPr/>
          </p:nvSpPr>
          <p:spPr bwMode="auto">
            <a:xfrm>
              <a:off x="1935" y="665"/>
              <a:ext cx="169" cy="129"/>
            </a:xfrm>
            <a:custGeom>
              <a:avLst/>
              <a:gdLst>
                <a:gd name="T0" fmla="*/ 198 w 210"/>
                <a:gd name="T1" fmla="*/ 5 h 159"/>
                <a:gd name="T2" fmla="*/ 195 w 210"/>
                <a:gd name="T3" fmla="*/ 11 h 159"/>
                <a:gd name="T4" fmla="*/ 183 w 210"/>
                <a:gd name="T5" fmla="*/ 22 h 159"/>
                <a:gd name="T6" fmla="*/ 181 w 210"/>
                <a:gd name="T7" fmla="*/ 26 h 159"/>
                <a:gd name="T8" fmla="*/ 176 w 210"/>
                <a:gd name="T9" fmla="*/ 35 h 159"/>
                <a:gd name="T10" fmla="*/ 155 w 210"/>
                <a:gd name="T11" fmla="*/ 37 h 159"/>
                <a:gd name="T12" fmla="*/ 143 w 210"/>
                <a:gd name="T13" fmla="*/ 45 h 159"/>
                <a:gd name="T14" fmla="*/ 137 w 210"/>
                <a:gd name="T15" fmla="*/ 55 h 159"/>
                <a:gd name="T16" fmla="*/ 132 w 210"/>
                <a:gd name="T17" fmla="*/ 56 h 159"/>
                <a:gd name="T18" fmla="*/ 125 w 210"/>
                <a:gd name="T19" fmla="*/ 62 h 159"/>
                <a:gd name="T20" fmla="*/ 129 w 210"/>
                <a:gd name="T21" fmla="*/ 63 h 159"/>
                <a:gd name="T22" fmla="*/ 140 w 210"/>
                <a:gd name="T23" fmla="*/ 67 h 159"/>
                <a:gd name="T24" fmla="*/ 137 w 210"/>
                <a:gd name="T25" fmla="*/ 75 h 159"/>
                <a:gd name="T26" fmla="*/ 129 w 210"/>
                <a:gd name="T27" fmla="*/ 81 h 159"/>
                <a:gd name="T28" fmla="*/ 122 w 210"/>
                <a:gd name="T29" fmla="*/ 89 h 159"/>
                <a:gd name="T30" fmla="*/ 114 w 210"/>
                <a:gd name="T31" fmla="*/ 104 h 159"/>
                <a:gd name="T32" fmla="*/ 100 w 210"/>
                <a:gd name="T33" fmla="*/ 110 h 159"/>
                <a:gd name="T34" fmla="*/ 91 w 210"/>
                <a:gd name="T35" fmla="*/ 117 h 159"/>
                <a:gd name="T36" fmla="*/ 91 w 210"/>
                <a:gd name="T37" fmla="*/ 127 h 159"/>
                <a:gd name="T38" fmla="*/ 92 w 210"/>
                <a:gd name="T39" fmla="*/ 140 h 159"/>
                <a:gd name="T40" fmla="*/ 87 w 210"/>
                <a:gd name="T41" fmla="*/ 152 h 159"/>
                <a:gd name="T42" fmla="*/ 73 w 210"/>
                <a:gd name="T43" fmla="*/ 158 h 159"/>
                <a:gd name="T44" fmla="*/ 56 w 210"/>
                <a:gd name="T45" fmla="*/ 155 h 159"/>
                <a:gd name="T46" fmla="*/ 48 w 210"/>
                <a:gd name="T47" fmla="*/ 144 h 159"/>
                <a:gd name="T48" fmla="*/ 37 w 210"/>
                <a:gd name="T49" fmla="*/ 143 h 159"/>
                <a:gd name="T50" fmla="*/ 22 w 210"/>
                <a:gd name="T51" fmla="*/ 143 h 159"/>
                <a:gd name="T52" fmla="*/ 8 w 210"/>
                <a:gd name="T53" fmla="*/ 133 h 159"/>
                <a:gd name="T54" fmla="*/ 0 w 210"/>
                <a:gd name="T55" fmla="*/ 123 h 159"/>
                <a:gd name="T56" fmla="*/ 11 w 210"/>
                <a:gd name="T57" fmla="*/ 108 h 159"/>
                <a:gd name="T58" fmla="*/ 23 w 210"/>
                <a:gd name="T59" fmla="*/ 103 h 159"/>
                <a:gd name="T60" fmla="*/ 23 w 210"/>
                <a:gd name="T61" fmla="*/ 96 h 159"/>
                <a:gd name="T62" fmla="*/ 23 w 210"/>
                <a:gd name="T63" fmla="*/ 88 h 159"/>
                <a:gd name="T64" fmla="*/ 32 w 210"/>
                <a:gd name="T65" fmla="*/ 89 h 159"/>
                <a:gd name="T66" fmla="*/ 44 w 210"/>
                <a:gd name="T67" fmla="*/ 101 h 159"/>
                <a:gd name="T68" fmla="*/ 51 w 210"/>
                <a:gd name="T69" fmla="*/ 100 h 159"/>
                <a:gd name="T70" fmla="*/ 47 w 210"/>
                <a:gd name="T71" fmla="*/ 88 h 159"/>
                <a:gd name="T72" fmla="*/ 43 w 210"/>
                <a:gd name="T73" fmla="*/ 79 h 159"/>
                <a:gd name="T74" fmla="*/ 47 w 210"/>
                <a:gd name="T75" fmla="*/ 74 h 159"/>
                <a:gd name="T76" fmla="*/ 43 w 210"/>
                <a:gd name="T77" fmla="*/ 71 h 159"/>
                <a:gd name="T78" fmla="*/ 29 w 210"/>
                <a:gd name="T79" fmla="*/ 75 h 159"/>
                <a:gd name="T80" fmla="*/ 34 w 210"/>
                <a:gd name="T81" fmla="*/ 63 h 159"/>
                <a:gd name="T82" fmla="*/ 45 w 210"/>
                <a:gd name="T83" fmla="*/ 49 h 159"/>
                <a:gd name="T84" fmla="*/ 51 w 210"/>
                <a:gd name="T85" fmla="*/ 53 h 159"/>
                <a:gd name="T86" fmla="*/ 71 w 210"/>
                <a:gd name="T87" fmla="*/ 44 h 159"/>
                <a:gd name="T88" fmla="*/ 81 w 210"/>
                <a:gd name="T89" fmla="*/ 37 h 159"/>
                <a:gd name="T90" fmla="*/ 74 w 210"/>
                <a:gd name="T91" fmla="*/ 35 h 159"/>
                <a:gd name="T92" fmla="*/ 62 w 210"/>
                <a:gd name="T93" fmla="*/ 37 h 159"/>
                <a:gd name="T94" fmla="*/ 66 w 210"/>
                <a:gd name="T95" fmla="*/ 12 h 159"/>
                <a:gd name="T96" fmla="*/ 70 w 210"/>
                <a:gd name="T97" fmla="*/ 2 h 159"/>
                <a:gd name="T98" fmla="*/ 87 w 210"/>
                <a:gd name="T99" fmla="*/ 12 h 159"/>
                <a:gd name="T100" fmla="*/ 95 w 210"/>
                <a:gd name="T101" fmla="*/ 5 h 159"/>
                <a:gd name="T102" fmla="*/ 96 w 210"/>
                <a:gd name="T103" fmla="*/ 1 h 159"/>
                <a:gd name="T104" fmla="*/ 95 w 210"/>
                <a:gd name="T105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159">
                  <a:moveTo>
                    <a:pt x="210" y="0"/>
                  </a:moveTo>
                  <a:lnTo>
                    <a:pt x="206" y="2"/>
                  </a:lnTo>
                  <a:lnTo>
                    <a:pt x="203" y="4"/>
                  </a:lnTo>
                  <a:lnTo>
                    <a:pt x="201" y="5"/>
                  </a:lnTo>
                  <a:lnTo>
                    <a:pt x="198" y="5"/>
                  </a:lnTo>
                  <a:lnTo>
                    <a:pt x="195" y="5"/>
                  </a:lnTo>
                  <a:lnTo>
                    <a:pt x="194" y="5"/>
                  </a:lnTo>
                  <a:lnTo>
                    <a:pt x="192" y="5"/>
                  </a:lnTo>
                  <a:lnTo>
                    <a:pt x="192" y="5"/>
                  </a:lnTo>
                  <a:lnTo>
                    <a:pt x="195" y="11"/>
                  </a:lnTo>
                  <a:lnTo>
                    <a:pt x="188" y="19"/>
                  </a:lnTo>
                  <a:lnTo>
                    <a:pt x="187" y="19"/>
                  </a:lnTo>
                  <a:lnTo>
                    <a:pt x="186" y="19"/>
                  </a:lnTo>
                  <a:lnTo>
                    <a:pt x="184" y="20"/>
                  </a:lnTo>
                  <a:lnTo>
                    <a:pt x="183" y="22"/>
                  </a:lnTo>
                  <a:lnTo>
                    <a:pt x="181" y="23"/>
                  </a:lnTo>
                  <a:lnTo>
                    <a:pt x="181" y="23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1" y="26"/>
                  </a:lnTo>
                  <a:lnTo>
                    <a:pt x="183" y="29"/>
                  </a:lnTo>
                  <a:lnTo>
                    <a:pt x="181" y="30"/>
                  </a:lnTo>
                  <a:lnTo>
                    <a:pt x="180" y="33"/>
                  </a:lnTo>
                  <a:lnTo>
                    <a:pt x="177" y="34"/>
                  </a:lnTo>
                  <a:lnTo>
                    <a:pt x="176" y="35"/>
                  </a:lnTo>
                  <a:lnTo>
                    <a:pt x="173" y="37"/>
                  </a:lnTo>
                  <a:lnTo>
                    <a:pt x="173" y="37"/>
                  </a:lnTo>
                  <a:lnTo>
                    <a:pt x="166" y="33"/>
                  </a:lnTo>
                  <a:lnTo>
                    <a:pt x="157" y="38"/>
                  </a:lnTo>
                  <a:lnTo>
                    <a:pt x="155" y="37"/>
                  </a:lnTo>
                  <a:lnTo>
                    <a:pt x="153" y="37"/>
                  </a:lnTo>
                  <a:lnTo>
                    <a:pt x="150" y="38"/>
                  </a:lnTo>
                  <a:lnTo>
                    <a:pt x="147" y="41"/>
                  </a:lnTo>
                  <a:lnTo>
                    <a:pt x="146" y="44"/>
                  </a:lnTo>
                  <a:lnTo>
                    <a:pt x="143" y="45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0" y="51"/>
                  </a:lnTo>
                  <a:lnTo>
                    <a:pt x="139" y="53"/>
                  </a:lnTo>
                  <a:lnTo>
                    <a:pt x="137" y="55"/>
                  </a:lnTo>
                  <a:lnTo>
                    <a:pt x="136" y="55"/>
                  </a:lnTo>
                  <a:lnTo>
                    <a:pt x="135" y="56"/>
                  </a:lnTo>
                  <a:lnTo>
                    <a:pt x="133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29" y="56"/>
                  </a:lnTo>
                  <a:lnTo>
                    <a:pt x="126" y="56"/>
                  </a:lnTo>
                  <a:lnTo>
                    <a:pt x="125" y="57"/>
                  </a:lnTo>
                  <a:lnTo>
                    <a:pt x="125" y="60"/>
                  </a:lnTo>
                  <a:lnTo>
                    <a:pt x="125" y="62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6" y="63"/>
                  </a:lnTo>
                  <a:lnTo>
                    <a:pt x="129" y="63"/>
                  </a:lnTo>
                  <a:lnTo>
                    <a:pt x="132" y="64"/>
                  </a:lnTo>
                  <a:lnTo>
                    <a:pt x="135" y="64"/>
                  </a:lnTo>
                  <a:lnTo>
                    <a:pt x="136" y="66"/>
                  </a:lnTo>
                  <a:lnTo>
                    <a:pt x="139" y="67"/>
                  </a:lnTo>
                  <a:lnTo>
                    <a:pt x="140" y="67"/>
                  </a:lnTo>
                  <a:lnTo>
                    <a:pt x="140" y="67"/>
                  </a:lnTo>
                  <a:lnTo>
                    <a:pt x="142" y="70"/>
                  </a:lnTo>
                  <a:lnTo>
                    <a:pt x="142" y="71"/>
                  </a:lnTo>
                  <a:lnTo>
                    <a:pt x="140" y="74"/>
                  </a:lnTo>
                  <a:lnTo>
                    <a:pt x="137" y="75"/>
                  </a:lnTo>
                  <a:lnTo>
                    <a:pt x="135" y="77"/>
                  </a:lnTo>
                  <a:lnTo>
                    <a:pt x="132" y="78"/>
                  </a:lnTo>
                  <a:lnTo>
                    <a:pt x="131" y="78"/>
                  </a:lnTo>
                  <a:lnTo>
                    <a:pt x="131" y="78"/>
                  </a:lnTo>
                  <a:lnTo>
                    <a:pt x="129" y="81"/>
                  </a:lnTo>
                  <a:lnTo>
                    <a:pt x="128" y="84"/>
                  </a:lnTo>
                  <a:lnTo>
                    <a:pt x="126" y="85"/>
                  </a:lnTo>
                  <a:lnTo>
                    <a:pt x="125" y="86"/>
                  </a:lnTo>
                  <a:lnTo>
                    <a:pt x="124" y="88"/>
                  </a:lnTo>
                  <a:lnTo>
                    <a:pt x="122" y="89"/>
                  </a:lnTo>
                  <a:lnTo>
                    <a:pt x="121" y="89"/>
                  </a:lnTo>
                  <a:lnTo>
                    <a:pt x="121" y="89"/>
                  </a:lnTo>
                  <a:lnTo>
                    <a:pt x="120" y="96"/>
                  </a:lnTo>
                  <a:lnTo>
                    <a:pt x="117" y="100"/>
                  </a:lnTo>
                  <a:lnTo>
                    <a:pt x="114" y="104"/>
                  </a:lnTo>
                  <a:lnTo>
                    <a:pt x="110" y="107"/>
                  </a:lnTo>
                  <a:lnTo>
                    <a:pt x="107" y="108"/>
                  </a:lnTo>
                  <a:lnTo>
                    <a:pt x="103" y="110"/>
                  </a:lnTo>
                  <a:lnTo>
                    <a:pt x="102" y="110"/>
                  </a:lnTo>
                  <a:lnTo>
                    <a:pt x="100" y="110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3" y="111"/>
                  </a:lnTo>
                  <a:lnTo>
                    <a:pt x="92" y="114"/>
                  </a:lnTo>
                  <a:lnTo>
                    <a:pt x="91" y="117"/>
                  </a:lnTo>
                  <a:lnTo>
                    <a:pt x="89" y="119"/>
                  </a:lnTo>
                  <a:lnTo>
                    <a:pt x="88" y="122"/>
                  </a:lnTo>
                  <a:lnTo>
                    <a:pt x="88" y="123"/>
                  </a:lnTo>
                  <a:lnTo>
                    <a:pt x="89" y="125"/>
                  </a:lnTo>
                  <a:lnTo>
                    <a:pt x="91" y="127"/>
                  </a:lnTo>
                  <a:lnTo>
                    <a:pt x="92" y="130"/>
                  </a:lnTo>
                  <a:lnTo>
                    <a:pt x="92" y="133"/>
                  </a:lnTo>
                  <a:lnTo>
                    <a:pt x="92" y="136"/>
                  </a:lnTo>
                  <a:lnTo>
                    <a:pt x="92" y="138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5"/>
                  </a:lnTo>
                  <a:lnTo>
                    <a:pt x="91" y="148"/>
                  </a:lnTo>
                  <a:lnTo>
                    <a:pt x="88" y="151"/>
                  </a:lnTo>
                  <a:lnTo>
                    <a:pt x="87" y="152"/>
                  </a:lnTo>
                  <a:lnTo>
                    <a:pt x="84" y="154"/>
                  </a:lnTo>
                  <a:lnTo>
                    <a:pt x="82" y="154"/>
                  </a:lnTo>
                  <a:lnTo>
                    <a:pt x="81" y="154"/>
                  </a:lnTo>
                  <a:lnTo>
                    <a:pt x="80" y="154"/>
                  </a:lnTo>
                  <a:lnTo>
                    <a:pt x="73" y="158"/>
                  </a:lnTo>
                  <a:lnTo>
                    <a:pt x="66" y="159"/>
                  </a:lnTo>
                  <a:lnTo>
                    <a:pt x="62" y="159"/>
                  </a:lnTo>
                  <a:lnTo>
                    <a:pt x="59" y="158"/>
                  </a:lnTo>
                  <a:lnTo>
                    <a:pt x="58" y="156"/>
                  </a:lnTo>
                  <a:lnTo>
                    <a:pt x="56" y="155"/>
                  </a:lnTo>
                  <a:lnTo>
                    <a:pt x="56" y="154"/>
                  </a:lnTo>
                  <a:lnTo>
                    <a:pt x="56" y="152"/>
                  </a:lnTo>
                  <a:lnTo>
                    <a:pt x="54" y="149"/>
                  </a:lnTo>
                  <a:lnTo>
                    <a:pt x="51" y="147"/>
                  </a:lnTo>
                  <a:lnTo>
                    <a:pt x="48" y="144"/>
                  </a:lnTo>
                  <a:lnTo>
                    <a:pt x="45" y="144"/>
                  </a:lnTo>
                  <a:lnTo>
                    <a:pt x="43" y="143"/>
                  </a:lnTo>
                  <a:lnTo>
                    <a:pt x="40" y="143"/>
                  </a:lnTo>
                  <a:lnTo>
                    <a:pt x="38" y="143"/>
                  </a:lnTo>
                  <a:lnTo>
                    <a:pt x="37" y="143"/>
                  </a:lnTo>
                  <a:lnTo>
                    <a:pt x="34" y="145"/>
                  </a:lnTo>
                  <a:lnTo>
                    <a:pt x="30" y="147"/>
                  </a:lnTo>
                  <a:lnTo>
                    <a:pt x="27" y="145"/>
                  </a:lnTo>
                  <a:lnTo>
                    <a:pt x="25" y="144"/>
                  </a:lnTo>
                  <a:lnTo>
                    <a:pt x="22" y="143"/>
                  </a:lnTo>
                  <a:lnTo>
                    <a:pt x="21" y="140"/>
                  </a:lnTo>
                  <a:lnTo>
                    <a:pt x="19" y="138"/>
                  </a:lnTo>
                  <a:lnTo>
                    <a:pt x="19" y="138"/>
                  </a:lnTo>
                  <a:lnTo>
                    <a:pt x="12" y="136"/>
                  </a:lnTo>
                  <a:lnTo>
                    <a:pt x="8" y="133"/>
                  </a:lnTo>
                  <a:lnTo>
                    <a:pt x="4" y="130"/>
                  </a:lnTo>
                  <a:lnTo>
                    <a:pt x="3" y="127"/>
                  </a:lnTo>
                  <a:lnTo>
                    <a:pt x="1" y="126"/>
                  </a:lnTo>
                  <a:lnTo>
                    <a:pt x="0" y="125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3" y="118"/>
                  </a:lnTo>
                  <a:lnTo>
                    <a:pt x="5" y="114"/>
                  </a:lnTo>
                  <a:lnTo>
                    <a:pt x="8" y="111"/>
                  </a:lnTo>
                  <a:lnTo>
                    <a:pt x="11" y="108"/>
                  </a:lnTo>
                  <a:lnTo>
                    <a:pt x="14" y="107"/>
                  </a:lnTo>
                  <a:lnTo>
                    <a:pt x="15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23" y="103"/>
                  </a:lnTo>
                  <a:lnTo>
                    <a:pt x="26" y="101"/>
                  </a:lnTo>
                  <a:lnTo>
                    <a:pt x="27" y="100"/>
                  </a:lnTo>
                  <a:lnTo>
                    <a:pt x="26" y="99"/>
                  </a:lnTo>
                  <a:lnTo>
                    <a:pt x="25" y="97"/>
                  </a:lnTo>
                  <a:lnTo>
                    <a:pt x="23" y="96"/>
                  </a:lnTo>
                  <a:lnTo>
                    <a:pt x="21" y="96"/>
                  </a:lnTo>
                  <a:lnTo>
                    <a:pt x="21" y="95"/>
                  </a:lnTo>
                  <a:lnTo>
                    <a:pt x="21" y="92"/>
                  </a:lnTo>
                  <a:lnTo>
                    <a:pt x="22" y="89"/>
                  </a:lnTo>
                  <a:lnTo>
                    <a:pt x="23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30" y="88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4" y="93"/>
                  </a:lnTo>
                  <a:lnTo>
                    <a:pt x="37" y="97"/>
                  </a:lnTo>
                  <a:lnTo>
                    <a:pt x="40" y="100"/>
                  </a:lnTo>
                  <a:lnTo>
                    <a:pt x="43" y="100"/>
                  </a:lnTo>
                  <a:lnTo>
                    <a:pt x="44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51" y="101"/>
                  </a:lnTo>
                  <a:lnTo>
                    <a:pt x="51" y="100"/>
                  </a:lnTo>
                  <a:lnTo>
                    <a:pt x="51" y="99"/>
                  </a:lnTo>
                  <a:lnTo>
                    <a:pt x="51" y="96"/>
                  </a:lnTo>
                  <a:lnTo>
                    <a:pt x="49" y="93"/>
                  </a:lnTo>
                  <a:lnTo>
                    <a:pt x="48" y="90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4" y="85"/>
                  </a:lnTo>
                  <a:lnTo>
                    <a:pt x="43" y="82"/>
                  </a:lnTo>
                  <a:lnTo>
                    <a:pt x="41" y="81"/>
                  </a:lnTo>
                  <a:lnTo>
                    <a:pt x="43" y="79"/>
                  </a:lnTo>
                  <a:lnTo>
                    <a:pt x="43" y="78"/>
                  </a:lnTo>
                  <a:lnTo>
                    <a:pt x="44" y="78"/>
                  </a:lnTo>
                  <a:lnTo>
                    <a:pt x="45" y="77"/>
                  </a:lnTo>
                  <a:lnTo>
                    <a:pt x="45" y="77"/>
                  </a:lnTo>
                  <a:lnTo>
                    <a:pt x="47" y="74"/>
                  </a:lnTo>
                  <a:lnTo>
                    <a:pt x="47" y="73"/>
                  </a:lnTo>
                  <a:lnTo>
                    <a:pt x="45" y="71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1" y="71"/>
                  </a:lnTo>
                  <a:lnTo>
                    <a:pt x="33" y="78"/>
                  </a:lnTo>
                  <a:lnTo>
                    <a:pt x="30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0" y="70"/>
                  </a:lnTo>
                  <a:lnTo>
                    <a:pt x="32" y="67"/>
                  </a:lnTo>
                  <a:lnTo>
                    <a:pt x="33" y="64"/>
                  </a:lnTo>
                  <a:lnTo>
                    <a:pt x="34" y="63"/>
                  </a:lnTo>
                  <a:lnTo>
                    <a:pt x="34" y="62"/>
                  </a:lnTo>
                  <a:lnTo>
                    <a:pt x="38" y="56"/>
                  </a:lnTo>
                  <a:lnTo>
                    <a:pt x="41" y="52"/>
                  </a:lnTo>
                  <a:lnTo>
                    <a:pt x="44" y="49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51" y="53"/>
                  </a:lnTo>
                  <a:lnTo>
                    <a:pt x="54" y="52"/>
                  </a:lnTo>
                  <a:lnTo>
                    <a:pt x="58" y="51"/>
                  </a:lnTo>
                  <a:lnTo>
                    <a:pt x="63" y="49"/>
                  </a:lnTo>
                  <a:lnTo>
                    <a:pt x="67" y="46"/>
                  </a:lnTo>
                  <a:lnTo>
                    <a:pt x="71" y="44"/>
                  </a:lnTo>
                  <a:lnTo>
                    <a:pt x="74" y="42"/>
                  </a:lnTo>
                  <a:lnTo>
                    <a:pt x="74" y="41"/>
                  </a:lnTo>
                  <a:lnTo>
                    <a:pt x="78" y="40"/>
                  </a:lnTo>
                  <a:lnTo>
                    <a:pt x="81" y="38"/>
                  </a:lnTo>
                  <a:lnTo>
                    <a:pt x="81" y="37"/>
                  </a:lnTo>
                  <a:lnTo>
                    <a:pt x="80" y="35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1" y="37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5" y="38"/>
                  </a:lnTo>
                  <a:lnTo>
                    <a:pt x="62" y="37"/>
                  </a:lnTo>
                  <a:lnTo>
                    <a:pt x="60" y="37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3" y="15"/>
                  </a:lnTo>
                  <a:lnTo>
                    <a:pt x="66" y="12"/>
                  </a:lnTo>
                  <a:lnTo>
                    <a:pt x="67" y="9"/>
                  </a:lnTo>
                  <a:lnTo>
                    <a:pt x="69" y="7"/>
                  </a:lnTo>
                  <a:lnTo>
                    <a:pt x="69" y="5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69" y="0"/>
                  </a:lnTo>
                  <a:lnTo>
                    <a:pt x="85" y="0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8" y="13"/>
                  </a:lnTo>
                  <a:lnTo>
                    <a:pt x="89" y="12"/>
                  </a:lnTo>
                  <a:lnTo>
                    <a:pt x="91" y="11"/>
                  </a:lnTo>
                  <a:lnTo>
                    <a:pt x="93" y="8"/>
                  </a:lnTo>
                  <a:lnTo>
                    <a:pt x="95" y="5"/>
                  </a:lnTo>
                  <a:lnTo>
                    <a:pt x="95" y="2"/>
                  </a:lnTo>
                  <a:lnTo>
                    <a:pt x="96" y="2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5" y="0"/>
                  </a:lnTo>
                  <a:lnTo>
                    <a:pt x="210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0" name="Freeform 276"/>
            <p:cNvSpPr>
              <a:spLocks noEditPoints="1"/>
            </p:cNvSpPr>
            <p:nvPr/>
          </p:nvSpPr>
          <p:spPr bwMode="auto">
            <a:xfrm>
              <a:off x="1974" y="537"/>
              <a:ext cx="180" cy="128"/>
            </a:xfrm>
            <a:custGeom>
              <a:avLst/>
              <a:gdLst>
                <a:gd name="T0" fmla="*/ 207 w 222"/>
                <a:gd name="T1" fmla="*/ 99 h 158"/>
                <a:gd name="T2" fmla="*/ 193 w 222"/>
                <a:gd name="T3" fmla="*/ 96 h 158"/>
                <a:gd name="T4" fmla="*/ 185 w 222"/>
                <a:gd name="T5" fmla="*/ 100 h 158"/>
                <a:gd name="T6" fmla="*/ 190 w 222"/>
                <a:gd name="T7" fmla="*/ 107 h 158"/>
                <a:gd name="T8" fmla="*/ 183 w 222"/>
                <a:gd name="T9" fmla="*/ 108 h 158"/>
                <a:gd name="T10" fmla="*/ 179 w 222"/>
                <a:gd name="T11" fmla="*/ 112 h 158"/>
                <a:gd name="T12" fmla="*/ 193 w 222"/>
                <a:gd name="T13" fmla="*/ 114 h 158"/>
                <a:gd name="T14" fmla="*/ 196 w 222"/>
                <a:gd name="T15" fmla="*/ 119 h 158"/>
                <a:gd name="T16" fmla="*/ 190 w 222"/>
                <a:gd name="T17" fmla="*/ 122 h 158"/>
                <a:gd name="T18" fmla="*/ 190 w 222"/>
                <a:gd name="T19" fmla="*/ 127 h 158"/>
                <a:gd name="T20" fmla="*/ 207 w 222"/>
                <a:gd name="T21" fmla="*/ 133 h 158"/>
                <a:gd name="T22" fmla="*/ 198 w 222"/>
                <a:gd name="T23" fmla="*/ 136 h 158"/>
                <a:gd name="T24" fmla="*/ 171 w 222"/>
                <a:gd name="T25" fmla="*/ 147 h 158"/>
                <a:gd name="T26" fmla="*/ 165 w 222"/>
                <a:gd name="T27" fmla="*/ 154 h 158"/>
                <a:gd name="T28" fmla="*/ 161 w 222"/>
                <a:gd name="T29" fmla="*/ 158 h 158"/>
                <a:gd name="T30" fmla="*/ 46 w 222"/>
                <a:gd name="T31" fmla="*/ 147 h 158"/>
                <a:gd name="T32" fmla="*/ 46 w 222"/>
                <a:gd name="T33" fmla="*/ 138 h 158"/>
                <a:gd name="T34" fmla="*/ 50 w 222"/>
                <a:gd name="T35" fmla="*/ 129 h 158"/>
                <a:gd name="T36" fmla="*/ 51 w 222"/>
                <a:gd name="T37" fmla="*/ 122 h 158"/>
                <a:gd name="T38" fmla="*/ 53 w 222"/>
                <a:gd name="T39" fmla="*/ 114 h 158"/>
                <a:gd name="T40" fmla="*/ 83 w 222"/>
                <a:gd name="T41" fmla="*/ 115 h 158"/>
                <a:gd name="T42" fmla="*/ 90 w 222"/>
                <a:gd name="T43" fmla="*/ 111 h 158"/>
                <a:gd name="T44" fmla="*/ 101 w 222"/>
                <a:gd name="T45" fmla="*/ 103 h 158"/>
                <a:gd name="T46" fmla="*/ 102 w 222"/>
                <a:gd name="T47" fmla="*/ 100 h 158"/>
                <a:gd name="T48" fmla="*/ 110 w 222"/>
                <a:gd name="T49" fmla="*/ 93 h 158"/>
                <a:gd name="T50" fmla="*/ 60 w 222"/>
                <a:gd name="T51" fmla="*/ 90 h 158"/>
                <a:gd name="T52" fmla="*/ 47 w 222"/>
                <a:gd name="T53" fmla="*/ 88 h 158"/>
                <a:gd name="T54" fmla="*/ 35 w 222"/>
                <a:gd name="T55" fmla="*/ 88 h 158"/>
                <a:gd name="T56" fmla="*/ 29 w 222"/>
                <a:gd name="T57" fmla="*/ 83 h 158"/>
                <a:gd name="T58" fmla="*/ 24 w 222"/>
                <a:gd name="T59" fmla="*/ 83 h 158"/>
                <a:gd name="T60" fmla="*/ 17 w 222"/>
                <a:gd name="T61" fmla="*/ 89 h 158"/>
                <a:gd name="T62" fmla="*/ 14 w 222"/>
                <a:gd name="T63" fmla="*/ 86 h 158"/>
                <a:gd name="T64" fmla="*/ 0 w 222"/>
                <a:gd name="T65" fmla="*/ 67 h 158"/>
                <a:gd name="T66" fmla="*/ 5 w 222"/>
                <a:gd name="T67" fmla="*/ 61 h 158"/>
                <a:gd name="T68" fmla="*/ 2 w 222"/>
                <a:gd name="T69" fmla="*/ 53 h 158"/>
                <a:gd name="T70" fmla="*/ 5 w 222"/>
                <a:gd name="T71" fmla="*/ 48 h 158"/>
                <a:gd name="T72" fmla="*/ 17 w 222"/>
                <a:gd name="T73" fmla="*/ 42 h 158"/>
                <a:gd name="T74" fmla="*/ 28 w 222"/>
                <a:gd name="T75" fmla="*/ 50 h 158"/>
                <a:gd name="T76" fmla="*/ 33 w 222"/>
                <a:gd name="T77" fmla="*/ 41 h 158"/>
                <a:gd name="T78" fmla="*/ 38 w 222"/>
                <a:gd name="T79" fmla="*/ 33 h 158"/>
                <a:gd name="T80" fmla="*/ 51 w 222"/>
                <a:gd name="T81" fmla="*/ 30 h 158"/>
                <a:gd name="T82" fmla="*/ 60 w 222"/>
                <a:gd name="T83" fmla="*/ 24 h 158"/>
                <a:gd name="T84" fmla="*/ 71 w 222"/>
                <a:gd name="T85" fmla="*/ 17 h 158"/>
                <a:gd name="T86" fmla="*/ 91 w 222"/>
                <a:gd name="T87" fmla="*/ 6 h 158"/>
                <a:gd name="T88" fmla="*/ 98 w 222"/>
                <a:gd name="T89" fmla="*/ 2 h 158"/>
                <a:gd name="T90" fmla="*/ 116 w 222"/>
                <a:gd name="T91" fmla="*/ 0 h 158"/>
                <a:gd name="T92" fmla="*/ 146 w 222"/>
                <a:gd name="T93" fmla="*/ 4 h 158"/>
                <a:gd name="T94" fmla="*/ 164 w 222"/>
                <a:gd name="T95" fmla="*/ 8 h 158"/>
                <a:gd name="T96" fmla="*/ 178 w 222"/>
                <a:gd name="T97" fmla="*/ 8 h 158"/>
                <a:gd name="T98" fmla="*/ 193 w 222"/>
                <a:gd name="T99" fmla="*/ 19 h 158"/>
                <a:gd name="T100" fmla="*/ 203 w 222"/>
                <a:gd name="T101" fmla="*/ 31 h 158"/>
                <a:gd name="T102" fmla="*/ 198 w 222"/>
                <a:gd name="T103" fmla="*/ 35 h 158"/>
                <a:gd name="T104" fmla="*/ 208 w 222"/>
                <a:gd name="T105" fmla="*/ 37 h 158"/>
                <a:gd name="T106" fmla="*/ 214 w 222"/>
                <a:gd name="T107" fmla="*/ 52 h 158"/>
                <a:gd name="T108" fmla="*/ 208 w 222"/>
                <a:gd name="T109" fmla="*/ 68 h 158"/>
                <a:gd name="T110" fmla="*/ 214 w 222"/>
                <a:gd name="T111" fmla="*/ 81 h 158"/>
                <a:gd name="T112" fmla="*/ 20 w 222"/>
                <a:gd name="T113" fmla="*/ 158 h 158"/>
                <a:gd name="T114" fmla="*/ 18 w 222"/>
                <a:gd name="T115" fmla="*/ 156 h 158"/>
                <a:gd name="T116" fmla="*/ 11 w 222"/>
                <a:gd name="T117" fmla="*/ 141 h 158"/>
                <a:gd name="T118" fmla="*/ 14 w 222"/>
                <a:gd name="T119" fmla="*/ 133 h 158"/>
                <a:gd name="T120" fmla="*/ 22 w 222"/>
                <a:gd name="T121" fmla="*/ 129 h 158"/>
                <a:gd name="T122" fmla="*/ 32 w 222"/>
                <a:gd name="T123" fmla="*/ 136 h 158"/>
                <a:gd name="T124" fmla="*/ 36 w 222"/>
                <a:gd name="T125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" h="158">
                  <a:moveTo>
                    <a:pt x="215" y="81"/>
                  </a:moveTo>
                  <a:lnTo>
                    <a:pt x="222" y="94"/>
                  </a:lnTo>
                  <a:lnTo>
                    <a:pt x="216" y="97"/>
                  </a:lnTo>
                  <a:lnTo>
                    <a:pt x="211" y="99"/>
                  </a:lnTo>
                  <a:lnTo>
                    <a:pt x="207" y="99"/>
                  </a:lnTo>
                  <a:lnTo>
                    <a:pt x="203" y="99"/>
                  </a:lnTo>
                  <a:lnTo>
                    <a:pt x="200" y="99"/>
                  </a:lnTo>
                  <a:lnTo>
                    <a:pt x="197" y="97"/>
                  </a:lnTo>
                  <a:lnTo>
                    <a:pt x="194" y="96"/>
                  </a:lnTo>
                  <a:lnTo>
                    <a:pt x="193" y="96"/>
                  </a:lnTo>
                  <a:lnTo>
                    <a:pt x="187" y="94"/>
                  </a:lnTo>
                  <a:lnTo>
                    <a:pt x="183" y="94"/>
                  </a:lnTo>
                  <a:lnTo>
                    <a:pt x="183" y="96"/>
                  </a:lnTo>
                  <a:lnTo>
                    <a:pt x="183" y="97"/>
                  </a:lnTo>
                  <a:lnTo>
                    <a:pt x="185" y="100"/>
                  </a:lnTo>
                  <a:lnTo>
                    <a:pt x="186" y="103"/>
                  </a:lnTo>
                  <a:lnTo>
                    <a:pt x="187" y="104"/>
                  </a:lnTo>
                  <a:lnTo>
                    <a:pt x="189" y="104"/>
                  </a:lnTo>
                  <a:lnTo>
                    <a:pt x="190" y="107"/>
                  </a:lnTo>
                  <a:lnTo>
                    <a:pt x="190" y="107"/>
                  </a:lnTo>
                  <a:lnTo>
                    <a:pt x="190" y="108"/>
                  </a:lnTo>
                  <a:lnTo>
                    <a:pt x="189" y="108"/>
                  </a:lnTo>
                  <a:lnTo>
                    <a:pt x="186" y="108"/>
                  </a:lnTo>
                  <a:lnTo>
                    <a:pt x="185" y="108"/>
                  </a:lnTo>
                  <a:lnTo>
                    <a:pt x="183" y="108"/>
                  </a:lnTo>
                  <a:lnTo>
                    <a:pt x="182" y="108"/>
                  </a:lnTo>
                  <a:lnTo>
                    <a:pt x="181" y="110"/>
                  </a:lnTo>
                  <a:lnTo>
                    <a:pt x="181" y="110"/>
                  </a:lnTo>
                  <a:lnTo>
                    <a:pt x="179" y="111"/>
                  </a:lnTo>
                  <a:lnTo>
                    <a:pt x="179" y="112"/>
                  </a:lnTo>
                  <a:lnTo>
                    <a:pt x="179" y="112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79" y="114"/>
                  </a:lnTo>
                  <a:lnTo>
                    <a:pt x="193" y="114"/>
                  </a:lnTo>
                  <a:lnTo>
                    <a:pt x="196" y="115"/>
                  </a:lnTo>
                  <a:lnTo>
                    <a:pt x="197" y="116"/>
                  </a:lnTo>
                  <a:lnTo>
                    <a:pt x="197" y="116"/>
                  </a:lnTo>
                  <a:lnTo>
                    <a:pt x="197" y="118"/>
                  </a:lnTo>
                  <a:lnTo>
                    <a:pt x="196" y="119"/>
                  </a:lnTo>
                  <a:lnTo>
                    <a:pt x="194" y="119"/>
                  </a:lnTo>
                  <a:lnTo>
                    <a:pt x="194" y="121"/>
                  </a:lnTo>
                  <a:lnTo>
                    <a:pt x="193" y="121"/>
                  </a:lnTo>
                  <a:lnTo>
                    <a:pt x="192" y="121"/>
                  </a:lnTo>
                  <a:lnTo>
                    <a:pt x="190" y="122"/>
                  </a:lnTo>
                  <a:lnTo>
                    <a:pt x="189" y="123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9" y="126"/>
                  </a:lnTo>
                  <a:lnTo>
                    <a:pt x="190" y="127"/>
                  </a:lnTo>
                  <a:lnTo>
                    <a:pt x="190" y="127"/>
                  </a:lnTo>
                  <a:lnTo>
                    <a:pt x="205" y="126"/>
                  </a:lnTo>
                  <a:lnTo>
                    <a:pt x="207" y="129"/>
                  </a:lnTo>
                  <a:lnTo>
                    <a:pt x="207" y="132"/>
                  </a:lnTo>
                  <a:lnTo>
                    <a:pt x="207" y="133"/>
                  </a:lnTo>
                  <a:lnTo>
                    <a:pt x="204" y="134"/>
                  </a:lnTo>
                  <a:lnTo>
                    <a:pt x="203" y="134"/>
                  </a:lnTo>
                  <a:lnTo>
                    <a:pt x="200" y="136"/>
                  </a:lnTo>
                  <a:lnTo>
                    <a:pt x="198" y="136"/>
                  </a:lnTo>
                  <a:lnTo>
                    <a:pt x="198" y="136"/>
                  </a:lnTo>
                  <a:lnTo>
                    <a:pt x="190" y="137"/>
                  </a:lnTo>
                  <a:lnTo>
                    <a:pt x="183" y="138"/>
                  </a:lnTo>
                  <a:lnTo>
                    <a:pt x="178" y="141"/>
                  </a:lnTo>
                  <a:lnTo>
                    <a:pt x="174" y="144"/>
                  </a:lnTo>
                  <a:lnTo>
                    <a:pt x="171" y="147"/>
                  </a:lnTo>
                  <a:lnTo>
                    <a:pt x="170" y="149"/>
                  </a:lnTo>
                  <a:lnTo>
                    <a:pt x="168" y="151"/>
                  </a:lnTo>
                  <a:lnTo>
                    <a:pt x="167" y="152"/>
                  </a:lnTo>
                  <a:lnTo>
                    <a:pt x="167" y="152"/>
                  </a:lnTo>
                  <a:lnTo>
                    <a:pt x="165" y="154"/>
                  </a:lnTo>
                  <a:lnTo>
                    <a:pt x="165" y="155"/>
                  </a:lnTo>
                  <a:lnTo>
                    <a:pt x="164" y="155"/>
                  </a:lnTo>
                  <a:lnTo>
                    <a:pt x="163" y="156"/>
                  </a:lnTo>
                  <a:lnTo>
                    <a:pt x="163" y="156"/>
                  </a:lnTo>
                  <a:lnTo>
                    <a:pt x="161" y="158"/>
                  </a:lnTo>
                  <a:lnTo>
                    <a:pt x="161" y="158"/>
                  </a:lnTo>
                  <a:lnTo>
                    <a:pt x="46" y="158"/>
                  </a:lnTo>
                  <a:lnTo>
                    <a:pt x="46" y="155"/>
                  </a:lnTo>
                  <a:lnTo>
                    <a:pt x="46" y="151"/>
                  </a:lnTo>
                  <a:lnTo>
                    <a:pt x="46" y="147"/>
                  </a:lnTo>
                  <a:lnTo>
                    <a:pt x="44" y="144"/>
                  </a:lnTo>
                  <a:lnTo>
                    <a:pt x="46" y="143"/>
                  </a:lnTo>
                  <a:lnTo>
                    <a:pt x="46" y="140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47" y="137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50" y="130"/>
                  </a:lnTo>
                  <a:lnTo>
                    <a:pt x="50" y="129"/>
                  </a:lnTo>
                  <a:lnTo>
                    <a:pt x="50" y="127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1" y="123"/>
                  </a:lnTo>
                  <a:lnTo>
                    <a:pt x="51" y="122"/>
                  </a:lnTo>
                  <a:lnTo>
                    <a:pt x="53" y="119"/>
                  </a:lnTo>
                  <a:lnTo>
                    <a:pt x="53" y="118"/>
                  </a:lnTo>
                  <a:lnTo>
                    <a:pt x="53" y="116"/>
                  </a:lnTo>
                  <a:lnTo>
                    <a:pt x="53" y="115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73" y="112"/>
                  </a:lnTo>
                  <a:lnTo>
                    <a:pt x="77" y="114"/>
                  </a:lnTo>
                  <a:lnTo>
                    <a:pt x="80" y="115"/>
                  </a:lnTo>
                  <a:lnTo>
                    <a:pt x="83" y="115"/>
                  </a:lnTo>
                  <a:lnTo>
                    <a:pt x="86" y="114"/>
                  </a:lnTo>
                  <a:lnTo>
                    <a:pt x="87" y="114"/>
                  </a:lnTo>
                  <a:lnTo>
                    <a:pt x="88" y="112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1" y="108"/>
                  </a:lnTo>
                  <a:lnTo>
                    <a:pt x="93" y="107"/>
                  </a:lnTo>
                  <a:lnTo>
                    <a:pt x="95" y="104"/>
                  </a:lnTo>
                  <a:lnTo>
                    <a:pt x="98" y="103"/>
                  </a:lnTo>
                  <a:lnTo>
                    <a:pt x="101" y="103"/>
                  </a:lnTo>
                  <a:lnTo>
                    <a:pt x="102" y="101"/>
                  </a:lnTo>
                  <a:lnTo>
                    <a:pt x="104" y="101"/>
                  </a:lnTo>
                  <a:lnTo>
                    <a:pt x="105" y="101"/>
                  </a:lnTo>
                  <a:lnTo>
                    <a:pt x="102" y="101"/>
                  </a:lnTo>
                  <a:lnTo>
                    <a:pt x="102" y="100"/>
                  </a:lnTo>
                  <a:lnTo>
                    <a:pt x="104" y="99"/>
                  </a:lnTo>
                  <a:lnTo>
                    <a:pt x="105" y="97"/>
                  </a:lnTo>
                  <a:lnTo>
                    <a:pt x="106" y="96"/>
                  </a:lnTo>
                  <a:lnTo>
                    <a:pt x="109" y="94"/>
                  </a:lnTo>
                  <a:lnTo>
                    <a:pt x="110" y="93"/>
                  </a:lnTo>
                  <a:lnTo>
                    <a:pt x="110" y="93"/>
                  </a:lnTo>
                  <a:lnTo>
                    <a:pt x="104" y="92"/>
                  </a:lnTo>
                  <a:lnTo>
                    <a:pt x="64" y="94"/>
                  </a:lnTo>
                  <a:lnTo>
                    <a:pt x="61" y="92"/>
                  </a:lnTo>
                  <a:lnTo>
                    <a:pt x="60" y="90"/>
                  </a:lnTo>
                  <a:lnTo>
                    <a:pt x="57" y="89"/>
                  </a:lnTo>
                  <a:lnTo>
                    <a:pt x="54" y="89"/>
                  </a:lnTo>
                  <a:lnTo>
                    <a:pt x="51" y="88"/>
                  </a:lnTo>
                  <a:lnTo>
                    <a:pt x="49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3" y="89"/>
                  </a:lnTo>
                  <a:lnTo>
                    <a:pt x="40" y="89"/>
                  </a:lnTo>
                  <a:lnTo>
                    <a:pt x="38" y="89"/>
                  </a:lnTo>
                  <a:lnTo>
                    <a:pt x="35" y="88"/>
                  </a:lnTo>
                  <a:lnTo>
                    <a:pt x="33" y="88"/>
                  </a:lnTo>
                  <a:lnTo>
                    <a:pt x="32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29" y="83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1" y="88"/>
                  </a:lnTo>
                  <a:lnTo>
                    <a:pt x="18" y="88"/>
                  </a:lnTo>
                  <a:lnTo>
                    <a:pt x="17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0" y="71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3" y="63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3" y="55"/>
                  </a:lnTo>
                  <a:lnTo>
                    <a:pt x="3" y="53"/>
                  </a:lnTo>
                  <a:lnTo>
                    <a:pt x="2" y="53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9"/>
                  </a:lnTo>
                  <a:lnTo>
                    <a:pt x="5" y="48"/>
                  </a:lnTo>
                  <a:lnTo>
                    <a:pt x="6" y="45"/>
                  </a:lnTo>
                  <a:lnTo>
                    <a:pt x="9" y="44"/>
                  </a:lnTo>
                  <a:lnTo>
                    <a:pt x="11" y="42"/>
                  </a:lnTo>
                  <a:lnTo>
                    <a:pt x="14" y="42"/>
                  </a:lnTo>
                  <a:lnTo>
                    <a:pt x="17" y="42"/>
                  </a:lnTo>
                  <a:lnTo>
                    <a:pt x="20" y="45"/>
                  </a:lnTo>
                  <a:lnTo>
                    <a:pt x="21" y="46"/>
                  </a:lnTo>
                  <a:lnTo>
                    <a:pt x="24" y="48"/>
                  </a:lnTo>
                  <a:lnTo>
                    <a:pt x="27" y="49"/>
                  </a:lnTo>
                  <a:lnTo>
                    <a:pt x="28" y="50"/>
                  </a:lnTo>
                  <a:lnTo>
                    <a:pt x="29" y="50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5" y="37"/>
                  </a:lnTo>
                  <a:lnTo>
                    <a:pt x="36" y="34"/>
                  </a:lnTo>
                  <a:lnTo>
                    <a:pt x="38" y="33"/>
                  </a:lnTo>
                  <a:lnTo>
                    <a:pt x="40" y="33"/>
                  </a:lnTo>
                  <a:lnTo>
                    <a:pt x="43" y="31"/>
                  </a:lnTo>
                  <a:lnTo>
                    <a:pt x="46" y="31"/>
                  </a:lnTo>
                  <a:lnTo>
                    <a:pt x="49" y="31"/>
                  </a:lnTo>
                  <a:lnTo>
                    <a:pt x="51" y="30"/>
                  </a:lnTo>
                  <a:lnTo>
                    <a:pt x="54" y="28"/>
                  </a:lnTo>
                  <a:lnTo>
                    <a:pt x="57" y="27"/>
                  </a:lnTo>
                  <a:lnTo>
                    <a:pt x="58" y="26"/>
                  </a:lnTo>
                  <a:lnTo>
                    <a:pt x="60" y="26"/>
                  </a:lnTo>
                  <a:lnTo>
                    <a:pt x="60" y="24"/>
                  </a:lnTo>
                  <a:lnTo>
                    <a:pt x="65" y="3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9" y="19"/>
                  </a:lnTo>
                  <a:lnTo>
                    <a:pt x="71" y="17"/>
                  </a:lnTo>
                  <a:lnTo>
                    <a:pt x="73" y="16"/>
                  </a:lnTo>
                  <a:lnTo>
                    <a:pt x="76" y="13"/>
                  </a:lnTo>
                  <a:lnTo>
                    <a:pt x="80" y="11"/>
                  </a:lnTo>
                  <a:lnTo>
                    <a:pt x="84" y="9"/>
                  </a:lnTo>
                  <a:lnTo>
                    <a:pt x="91" y="6"/>
                  </a:lnTo>
                  <a:lnTo>
                    <a:pt x="93" y="17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1" y="1"/>
                  </a:lnTo>
                  <a:lnTo>
                    <a:pt x="105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1"/>
                  </a:lnTo>
                  <a:lnTo>
                    <a:pt x="126" y="1"/>
                  </a:lnTo>
                  <a:lnTo>
                    <a:pt x="132" y="2"/>
                  </a:lnTo>
                  <a:lnTo>
                    <a:pt x="139" y="4"/>
                  </a:lnTo>
                  <a:lnTo>
                    <a:pt x="146" y="4"/>
                  </a:lnTo>
                  <a:lnTo>
                    <a:pt x="153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15"/>
                  </a:lnTo>
                  <a:lnTo>
                    <a:pt x="164" y="8"/>
                  </a:lnTo>
                  <a:lnTo>
                    <a:pt x="164" y="8"/>
                  </a:lnTo>
                  <a:lnTo>
                    <a:pt x="167" y="8"/>
                  </a:lnTo>
                  <a:lnTo>
                    <a:pt x="170" y="8"/>
                  </a:lnTo>
                  <a:lnTo>
                    <a:pt x="174" y="8"/>
                  </a:lnTo>
                  <a:lnTo>
                    <a:pt x="178" y="8"/>
                  </a:lnTo>
                  <a:lnTo>
                    <a:pt x="181" y="9"/>
                  </a:lnTo>
                  <a:lnTo>
                    <a:pt x="185" y="11"/>
                  </a:lnTo>
                  <a:lnTo>
                    <a:pt x="187" y="13"/>
                  </a:lnTo>
                  <a:lnTo>
                    <a:pt x="190" y="16"/>
                  </a:lnTo>
                  <a:lnTo>
                    <a:pt x="193" y="19"/>
                  </a:lnTo>
                  <a:lnTo>
                    <a:pt x="196" y="22"/>
                  </a:lnTo>
                  <a:lnTo>
                    <a:pt x="197" y="26"/>
                  </a:lnTo>
                  <a:lnTo>
                    <a:pt x="200" y="27"/>
                  </a:lnTo>
                  <a:lnTo>
                    <a:pt x="201" y="30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197" y="37"/>
                  </a:lnTo>
                  <a:lnTo>
                    <a:pt x="197" y="37"/>
                  </a:lnTo>
                  <a:lnTo>
                    <a:pt x="197" y="35"/>
                  </a:lnTo>
                  <a:lnTo>
                    <a:pt x="198" y="35"/>
                  </a:lnTo>
                  <a:lnTo>
                    <a:pt x="200" y="34"/>
                  </a:lnTo>
                  <a:lnTo>
                    <a:pt x="201" y="34"/>
                  </a:lnTo>
                  <a:lnTo>
                    <a:pt x="203" y="34"/>
                  </a:lnTo>
                  <a:lnTo>
                    <a:pt x="205" y="35"/>
                  </a:lnTo>
                  <a:lnTo>
                    <a:pt x="208" y="37"/>
                  </a:lnTo>
                  <a:lnTo>
                    <a:pt x="209" y="39"/>
                  </a:lnTo>
                  <a:lnTo>
                    <a:pt x="212" y="42"/>
                  </a:lnTo>
                  <a:lnTo>
                    <a:pt x="212" y="45"/>
                  </a:lnTo>
                  <a:lnTo>
                    <a:pt x="214" y="48"/>
                  </a:lnTo>
                  <a:lnTo>
                    <a:pt x="214" y="52"/>
                  </a:lnTo>
                  <a:lnTo>
                    <a:pt x="212" y="55"/>
                  </a:lnTo>
                  <a:lnTo>
                    <a:pt x="211" y="59"/>
                  </a:lnTo>
                  <a:lnTo>
                    <a:pt x="209" y="61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2"/>
                  </a:lnTo>
                  <a:lnTo>
                    <a:pt x="209" y="75"/>
                  </a:lnTo>
                  <a:lnTo>
                    <a:pt x="211" y="77"/>
                  </a:lnTo>
                  <a:lnTo>
                    <a:pt x="214" y="79"/>
                  </a:lnTo>
                  <a:lnTo>
                    <a:pt x="214" y="81"/>
                  </a:lnTo>
                  <a:lnTo>
                    <a:pt x="215" y="81"/>
                  </a:lnTo>
                  <a:close/>
                  <a:moveTo>
                    <a:pt x="20" y="158"/>
                  </a:moveTo>
                  <a:lnTo>
                    <a:pt x="20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7" y="154"/>
                  </a:lnTo>
                  <a:lnTo>
                    <a:pt x="14" y="149"/>
                  </a:lnTo>
                  <a:lnTo>
                    <a:pt x="13" y="147"/>
                  </a:lnTo>
                  <a:lnTo>
                    <a:pt x="13" y="144"/>
                  </a:lnTo>
                  <a:lnTo>
                    <a:pt x="11" y="141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4"/>
                  </a:lnTo>
                  <a:lnTo>
                    <a:pt x="14" y="133"/>
                  </a:lnTo>
                  <a:lnTo>
                    <a:pt x="16" y="132"/>
                  </a:lnTo>
                  <a:lnTo>
                    <a:pt x="17" y="130"/>
                  </a:lnTo>
                  <a:lnTo>
                    <a:pt x="20" y="129"/>
                  </a:lnTo>
                  <a:lnTo>
                    <a:pt x="21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5" y="129"/>
                  </a:lnTo>
                  <a:lnTo>
                    <a:pt x="28" y="130"/>
                  </a:lnTo>
                  <a:lnTo>
                    <a:pt x="31" y="133"/>
                  </a:lnTo>
                  <a:lnTo>
                    <a:pt x="32" y="136"/>
                  </a:lnTo>
                  <a:lnTo>
                    <a:pt x="33" y="138"/>
                  </a:lnTo>
                  <a:lnTo>
                    <a:pt x="35" y="141"/>
                  </a:lnTo>
                  <a:lnTo>
                    <a:pt x="35" y="143"/>
                  </a:lnTo>
                  <a:lnTo>
                    <a:pt x="35" y="144"/>
                  </a:lnTo>
                  <a:lnTo>
                    <a:pt x="36" y="158"/>
                  </a:lnTo>
                  <a:lnTo>
                    <a:pt x="20" y="15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1" name="Freeform 277"/>
            <p:cNvSpPr>
              <a:spLocks/>
            </p:cNvSpPr>
            <p:nvPr/>
          </p:nvSpPr>
          <p:spPr bwMode="auto">
            <a:xfrm>
              <a:off x="1935" y="537"/>
              <a:ext cx="219" cy="257"/>
            </a:xfrm>
            <a:custGeom>
              <a:avLst/>
              <a:gdLst>
                <a:gd name="T0" fmla="*/ 246 w 271"/>
                <a:gd name="T1" fmla="*/ 97 h 317"/>
                <a:gd name="T2" fmla="*/ 235 w 271"/>
                <a:gd name="T3" fmla="*/ 103 h 317"/>
                <a:gd name="T4" fmla="*/ 232 w 271"/>
                <a:gd name="T5" fmla="*/ 108 h 317"/>
                <a:gd name="T6" fmla="*/ 246 w 271"/>
                <a:gd name="T7" fmla="*/ 116 h 317"/>
                <a:gd name="T8" fmla="*/ 238 w 271"/>
                <a:gd name="T9" fmla="*/ 123 h 317"/>
                <a:gd name="T10" fmla="*/ 253 w 271"/>
                <a:gd name="T11" fmla="*/ 134 h 317"/>
                <a:gd name="T12" fmla="*/ 220 w 271"/>
                <a:gd name="T13" fmla="*/ 147 h 317"/>
                <a:gd name="T14" fmla="*/ 197 w 271"/>
                <a:gd name="T15" fmla="*/ 163 h 317"/>
                <a:gd name="T16" fmla="*/ 183 w 271"/>
                <a:gd name="T17" fmla="*/ 180 h 317"/>
                <a:gd name="T18" fmla="*/ 176 w 271"/>
                <a:gd name="T19" fmla="*/ 193 h 317"/>
                <a:gd name="T20" fmla="*/ 146 w 271"/>
                <a:gd name="T21" fmla="*/ 202 h 317"/>
                <a:gd name="T22" fmla="*/ 135 w 271"/>
                <a:gd name="T23" fmla="*/ 214 h 317"/>
                <a:gd name="T24" fmla="*/ 125 w 271"/>
                <a:gd name="T25" fmla="*/ 221 h 317"/>
                <a:gd name="T26" fmla="*/ 140 w 271"/>
                <a:gd name="T27" fmla="*/ 225 h 317"/>
                <a:gd name="T28" fmla="*/ 129 w 271"/>
                <a:gd name="T29" fmla="*/ 239 h 317"/>
                <a:gd name="T30" fmla="*/ 117 w 271"/>
                <a:gd name="T31" fmla="*/ 258 h 317"/>
                <a:gd name="T32" fmla="*/ 96 w 271"/>
                <a:gd name="T33" fmla="*/ 266 h 317"/>
                <a:gd name="T34" fmla="*/ 91 w 271"/>
                <a:gd name="T35" fmla="*/ 285 h 317"/>
                <a:gd name="T36" fmla="*/ 88 w 271"/>
                <a:gd name="T37" fmla="*/ 309 h 317"/>
                <a:gd name="T38" fmla="*/ 62 w 271"/>
                <a:gd name="T39" fmla="*/ 317 h 317"/>
                <a:gd name="T40" fmla="*/ 48 w 271"/>
                <a:gd name="T41" fmla="*/ 302 h 317"/>
                <a:gd name="T42" fmla="*/ 27 w 271"/>
                <a:gd name="T43" fmla="*/ 303 h 317"/>
                <a:gd name="T44" fmla="*/ 3 w 271"/>
                <a:gd name="T45" fmla="*/ 285 h 317"/>
                <a:gd name="T46" fmla="*/ 14 w 271"/>
                <a:gd name="T47" fmla="*/ 265 h 317"/>
                <a:gd name="T48" fmla="*/ 23 w 271"/>
                <a:gd name="T49" fmla="*/ 254 h 317"/>
                <a:gd name="T50" fmla="*/ 30 w 271"/>
                <a:gd name="T51" fmla="*/ 246 h 317"/>
                <a:gd name="T52" fmla="*/ 48 w 271"/>
                <a:gd name="T53" fmla="*/ 259 h 317"/>
                <a:gd name="T54" fmla="*/ 44 w 271"/>
                <a:gd name="T55" fmla="*/ 243 h 317"/>
                <a:gd name="T56" fmla="*/ 47 w 271"/>
                <a:gd name="T57" fmla="*/ 231 h 317"/>
                <a:gd name="T58" fmla="*/ 29 w 271"/>
                <a:gd name="T59" fmla="*/ 233 h 317"/>
                <a:gd name="T60" fmla="*/ 41 w 271"/>
                <a:gd name="T61" fmla="*/ 210 h 317"/>
                <a:gd name="T62" fmla="*/ 63 w 271"/>
                <a:gd name="T63" fmla="*/ 207 h 317"/>
                <a:gd name="T64" fmla="*/ 80 w 271"/>
                <a:gd name="T65" fmla="*/ 193 h 317"/>
                <a:gd name="T66" fmla="*/ 62 w 271"/>
                <a:gd name="T67" fmla="*/ 195 h 317"/>
                <a:gd name="T68" fmla="*/ 69 w 271"/>
                <a:gd name="T69" fmla="*/ 158 h 317"/>
                <a:gd name="T70" fmla="*/ 60 w 271"/>
                <a:gd name="T71" fmla="*/ 138 h 317"/>
                <a:gd name="T72" fmla="*/ 74 w 271"/>
                <a:gd name="T73" fmla="*/ 129 h 317"/>
                <a:gd name="T74" fmla="*/ 87 w 271"/>
                <a:gd name="T75" fmla="*/ 166 h 317"/>
                <a:gd name="T76" fmla="*/ 96 w 271"/>
                <a:gd name="T77" fmla="*/ 160 h 317"/>
                <a:gd name="T78" fmla="*/ 96 w 271"/>
                <a:gd name="T79" fmla="*/ 137 h 317"/>
                <a:gd name="T80" fmla="*/ 100 w 271"/>
                <a:gd name="T81" fmla="*/ 122 h 317"/>
                <a:gd name="T82" fmla="*/ 129 w 271"/>
                <a:gd name="T83" fmla="*/ 115 h 317"/>
                <a:gd name="T84" fmla="*/ 144 w 271"/>
                <a:gd name="T85" fmla="*/ 104 h 317"/>
                <a:gd name="T86" fmla="*/ 153 w 271"/>
                <a:gd name="T87" fmla="*/ 99 h 317"/>
                <a:gd name="T88" fmla="*/ 109 w 271"/>
                <a:gd name="T89" fmla="*/ 90 h 317"/>
                <a:gd name="T90" fmla="*/ 87 w 271"/>
                <a:gd name="T91" fmla="*/ 89 h 317"/>
                <a:gd name="T92" fmla="*/ 73 w 271"/>
                <a:gd name="T93" fmla="*/ 83 h 317"/>
                <a:gd name="T94" fmla="*/ 52 w 271"/>
                <a:gd name="T95" fmla="*/ 75 h 317"/>
                <a:gd name="T96" fmla="*/ 52 w 271"/>
                <a:gd name="T97" fmla="*/ 63 h 317"/>
                <a:gd name="T98" fmla="*/ 49 w 271"/>
                <a:gd name="T99" fmla="*/ 52 h 317"/>
                <a:gd name="T100" fmla="*/ 66 w 271"/>
                <a:gd name="T101" fmla="*/ 42 h 317"/>
                <a:gd name="T102" fmla="*/ 82 w 271"/>
                <a:gd name="T103" fmla="*/ 41 h 317"/>
                <a:gd name="T104" fmla="*/ 95 w 271"/>
                <a:gd name="T105" fmla="*/ 31 h 317"/>
                <a:gd name="T106" fmla="*/ 114 w 271"/>
                <a:gd name="T107" fmla="*/ 30 h 317"/>
                <a:gd name="T108" fmla="*/ 140 w 271"/>
                <a:gd name="T109" fmla="*/ 6 h 317"/>
                <a:gd name="T110" fmla="*/ 161 w 271"/>
                <a:gd name="T111" fmla="*/ 0 h 317"/>
                <a:gd name="T112" fmla="*/ 205 w 271"/>
                <a:gd name="T113" fmla="*/ 5 h 317"/>
                <a:gd name="T114" fmla="*/ 230 w 271"/>
                <a:gd name="T115" fmla="*/ 9 h 317"/>
                <a:gd name="T116" fmla="*/ 250 w 271"/>
                <a:gd name="T117" fmla="*/ 30 h 317"/>
                <a:gd name="T118" fmla="*/ 254 w 271"/>
                <a:gd name="T119" fmla="*/ 35 h 317"/>
                <a:gd name="T120" fmla="*/ 260 w 271"/>
                <a:gd name="T121" fmla="*/ 59 h 317"/>
                <a:gd name="T122" fmla="*/ 263 w 271"/>
                <a:gd name="T123" fmla="*/ 81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1" h="317">
                  <a:moveTo>
                    <a:pt x="264" y="81"/>
                  </a:moveTo>
                  <a:lnTo>
                    <a:pt x="271" y="94"/>
                  </a:lnTo>
                  <a:lnTo>
                    <a:pt x="265" y="97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2" y="99"/>
                  </a:lnTo>
                  <a:lnTo>
                    <a:pt x="249" y="99"/>
                  </a:lnTo>
                  <a:lnTo>
                    <a:pt x="246" y="97"/>
                  </a:lnTo>
                  <a:lnTo>
                    <a:pt x="243" y="96"/>
                  </a:lnTo>
                  <a:lnTo>
                    <a:pt x="242" y="96"/>
                  </a:lnTo>
                  <a:lnTo>
                    <a:pt x="236" y="94"/>
                  </a:lnTo>
                  <a:lnTo>
                    <a:pt x="232" y="94"/>
                  </a:lnTo>
                  <a:lnTo>
                    <a:pt x="232" y="96"/>
                  </a:lnTo>
                  <a:lnTo>
                    <a:pt x="232" y="97"/>
                  </a:lnTo>
                  <a:lnTo>
                    <a:pt x="234" y="100"/>
                  </a:lnTo>
                  <a:lnTo>
                    <a:pt x="235" y="103"/>
                  </a:lnTo>
                  <a:lnTo>
                    <a:pt x="236" y="104"/>
                  </a:lnTo>
                  <a:lnTo>
                    <a:pt x="238" y="104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8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2" y="108"/>
                  </a:lnTo>
                  <a:lnTo>
                    <a:pt x="231" y="108"/>
                  </a:lnTo>
                  <a:lnTo>
                    <a:pt x="230" y="110"/>
                  </a:lnTo>
                  <a:lnTo>
                    <a:pt x="228" y="111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42" y="114"/>
                  </a:lnTo>
                  <a:lnTo>
                    <a:pt x="245" y="115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5" y="119"/>
                  </a:lnTo>
                  <a:lnTo>
                    <a:pt x="243" y="119"/>
                  </a:lnTo>
                  <a:lnTo>
                    <a:pt x="243" y="121"/>
                  </a:lnTo>
                  <a:lnTo>
                    <a:pt x="242" y="121"/>
                  </a:lnTo>
                  <a:lnTo>
                    <a:pt x="241" y="121"/>
                  </a:lnTo>
                  <a:lnTo>
                    <a:pt x="239" y="122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38" y="126"/>
                  </a:lnTo>
                  <a:lnTo>
                    <a:pt x="239" y="127"/>
                  </a:lnTo>
                  <a:lnTo>
                    <a:pt x="254" y="126"/>
                  </a:lnTo>
                  <a:lnTo>
                    <a:pt x="256" y="129"/>
                  </a:lnTo>
                  <a:lnTo>
                    <a:pt x="256" y="132"/>
                  </a:lnTo>
                  <a:lnTo>
                    <a:pt x="256" y="133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49" y="136"/>
                  </a:lnTo>
                  <a:lnTo>
                    <a:pt x="247" y="136"/>
                  </a:lnTo>
                  <a:lnTo>
                    <a:pt x="239" y="137"/>
                  </a:lnTo>
                  <a:lnTo>
                    <a:pt x="232" y="138"/>
                  </a:lnTo>
                  <a:lnTo>
                    <a:pt x="227" y="141"/>
                  </a:lnTo>
                  <a:lnTo>
                    <a:pt x="223" y="144"/>
                  </a:lnTo>
                  <a:lnTo>
                    <a:pt x="220" y="147"/>
                  </a:lnTo>
                  <a:lnTo>
                    <a:pt x="219" y="149"/>
                  </a:lnTo>
                  <a:lnTo>
                    <a:pt x="217" y="151"/>
                  </a:lnTo>
                  <a:lnTo>
                    <a:pt x="216" y="152"/>
                  </a:lnTo>
                  <a:lnTo>
                    <a:pt x="212" y="156"/>
                  </a:lnTo>
                  <a:lnTo>
                    <a:pt x="208" y="160"/>
                  </a:lnTo>
                  <a:lnTo>
                    <a:pt x="203" y="162"/>
                  </a:lnTo>
                  <a:lnTo>
                    <a:pt x="199" y="163"/>
                  </a:lnTo>
                  <a:lnTo>
                    <a:pt x="197" y="163"/>
                  </a:lnTo>
                  <a:lnTo>
                    <a:pt x="194" y="163"/>
                  </a:lnTo>
                  <a:lnTo>
                    <a:pt x="192" y="163"/>
                  </a:lnTo>
                  <a:lnTo>
                    <a:pt x="195" y="169"/>
                  </a:lnTo>
                  <a:lnTo>
                    <a:pt x="188" y="177"/>
                  </a:lnTo>
                  <a:lnTo>
                    <a:pt x="187" y="177"/>
                  </a:lnTo>
                  <a:lnTo>
                    <a:pt x="186" y="177"/>
                  </a:lnTo>
                  <a:lnTo>
                    <a:pt x="184" y="178"/>
                  </a:lnTo>
                  <a:lnTo>
                    <a:pt x="183" y="180"/>
                  </a:lnTo>
                  <a:lnTo>
                    <a:pt x="181" y="181"/>
                  </a:lnTo>
                  <a:lnTo>
                    <a:pt x="180" y="182"/>
                  </a:lnTo>
                  <a:lnTo>
                    <a:pt x="181" y="184"/>
                  </a:lnTo>
                  <a:lnTo>
                    <a:pt x="183" y="187"/>
                  </a:lnTo>
                  <a:lnTo>
                    <a:pt x="181" y="188"/>
                  </a:lnTo>
                  <a:lnTo>
                    <a:pt x="180" y="191"/>
                  </a:lnTo>
                  <a:lnTo>
                    <a:pt x="177" y="192"/>
                  </a:lnTo>
                  <a:lnTo>
                    <a:pt x="176" y="193"/>
                  </a:lnTo>
                  <a:lnTo>
                    <a:pt x="173" y="195"/>
                  </a:lnTo>
                  <a:lnTo>
                    <a:pt x="166" y="191"/>
                  </a:lnTo>
                  <a:lnTo>
                    <a:pt x="157" y="196"/>
                  </a:lnTo>
                  <a:lnTo>
                    <a:pt x="155" y="195"/>
                  </a:lnTo>
                  <a:lnTo>
                    <a:pt x="153" y="195"/>
                  </a:lnTo>
                  <a:lnTo>
                    <a:pt x="150" y="196"/>
                  </a:lnTo>
                  <a:lnTo>
                    <a:pt x="147" y="199"/>
                  </a:lnTo>
                  <a:lnTo>
                    <a:pt x="146" y="202"/>
                  </a:lnTo>
                  <a:lnTo>
                    <a:pt x="143" y="203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0" y="209"/>
                  </a:lnTo>
                  <a:lnTo>
                    <a:pt x="139" y="211"/>
                  </a:lnTo>
                  <a:lnTo>
                    <a:pt x="137" y="213"/>
                  </a:lnTo>
                  <a:lnTo>
                    <a:pt x="136" y="213"/>
                  </a:lnTo>
                  <a:lnTo>
                    <a:pt x="135" y="214"/>
                  </a:lnTo>
                  <a:lnTo>
                    <a:pt x="133" y="214"/>
                  </a:lnTo>
                  <a:lnTo>
                    <a:pt x="132" y="214"/>
                  </a:lnTo>
                  <a:lnTo>
                    <a:pt x="129" y="214"/>
                  </a:lnTo>
                  <a:lnTo>
                    <a:pt x="126" y="214"/>
                  </a:lnTo>
                  <a:lnTo>
                    <a:pt x="125" y="215"/>
                  </a:lnTo>
                  <a:lnTo>
                    <a:pt x="125" y="218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2"/>
                  </a:lnTo>
                  <a:lnTo>
                    <a:pt x="126" y="221"/>
                  </a:lnTo>
                  <a:lnTo>
                    <a:pt x="129" y="221"/>
                  </a:lnTo>
                  <a:lnTo>
                    <a:pt x="132" y="222"/>
                  </a:lnTo>
                  <a:lnTo>
                    <a:pt x="135" y="222"/>
                  </a:lnTo>
                  <a:lnTo>
                    <a:pt x="136" y="224"/>
                  </a:lnTo>
                  <a:lnTo>
                    <a:pt x="139" y="225"/>
                  </a:lnTo>
                  <a:lnTo>
                    <a:pt x="140" y="225"/>
                  </a:lnTo>
                  <a:lnTo>
                    <a:pt x="142" y="228"/>
                  </a:lnTo>
                  <a:lnTo>
                    <a:pt x="142" y="229"/>
                  </a:lnTo>
                  <a:lnTo>
                    <a:pt x="140" y="232"/>
                  </a:lnTo>
                  <a:lnTo>
                    <a:pt x="137" y="233"/>
                  </a:lnTo>
                  <a:lnTo>
                    <a:pt x="135" y="235"/>
                  </a:lnTo>
                  <a:lnTo>
                    <a:pt x="132" y="236"/>
                  </a:lnTo>
                  <a:lnTo>
                    <a:pt x="131" y="236"/>
                  </a:lnTo>
                  <a:lnTo>
                    <a:pt x="129" y="239"/>
                  </a:lnTo>
                  <a:lnTo>
                    <a:pt x="128" y="242"/>
                  </a:lnTo>
                  <a:lnTo>
                    <a:pt x="126" y="243"/>
                  </a:lnTo>
                  <a:lnTo>
                    <a:pt x="125" y="244"/>
                  </a:lnTo>
                  <a:lnTo>
                    <a:pt x="124" y="246"/>
                  </a:lnTo>
                  <a:lnTo>
                    <a:pt x="122" y="247"/>
                  </a:lnTo>
                  <a:lnTo>
                    <a:pt x="121" y="247"/>
                  </a:lnTo>
                  <a:lnTo>
                    <a:pt x="120" y="254"/>
                  </a:lnTo>
                  <a:lnTo>
                    <a:pt x="117" y="258"/>
                  </a:lnTo>
                  <a:lnTo>
                    <a:pt x="114" y="262"/>
                  </a:lnTo>
                  <a:lnTo>
                    <a:pt x="110" y="265"/>
                  </a:lnTo>
                  <a:lnTo>
                    <a:pt x="107" y="266"/>
                  </a:lnTo>
                  <a:lnTo>
                    <a:pt x="103" y="268"/>
                  </a:lnTo>
                  <a:lnTo>
                    <a:pt x="102" y="268"/>
                  </a:lnTo>
                  <a:lnTo>
                    <a:pt x="100" y="268"/>
                  </a:lnTo>
                  <a:lnTo>
                    <a:pt x="98" y="266"/>
                  </a:lnTo>
                  <a:lnTo>
                    <a:pt x="96" y="266"/>
                  </a:lnTo>
                  <a:lnTo>
                    <a:pt x="93" y="269"/>
                  </a:lnTo>
                  <a:lnTo>
                    <a:pt x="92" y="272"/>
                  </a:lnTo>
                  <a:lnTo>
                    <a:pt x="91" y="275"/>
                  </a:lnTo>
                  <a:lnTo>
                    <a:pt x="89" y="277"/>
                  </a:lnTo>
                  <a:lnTo>
                    <a:pt x="88" y="280"/>
                  </a:lnTo>
                  <a:lnTo>
                    <a:pt x="88" y="281"/>
                  </a:lnTo>
                  <a:lnTo>
                    <a:pt x="89" y="283"/>
                  </a:lnTo>
                  <a:lnTo>
                    <a:pt x="91" y="285"/>
                  </a:lnTo>
                  <a:lnTo>
                    <a:pt x="92" y="288"/>
                  </a:lnTo>
                  <a:lnTo>
                    <a:pt x="92" y="291"/>
                  </a:lnTo>
                  <a:lnTo>
                    <a:pt x="92" y="294"/>
                  </a:lnTo>
                  <a:lnTo>
                    <a:pt x="92" y="296"/>
                  </a:lnTo>
                  <a:lnTo>
                    <a:pt x="92" y="298"/>
                  </a:lnTo>
                  <a:lnTo>
                    <a:pt x="92" y="303"/>
                  </a:lnTo>
                  <a:lnTo>
                    <a:pt x="91" y="306"/>
                  </a:lnTo>
                  <a:lnTo>
                    <a:pt x="88" y="309"/>
                  </a:lnTo>
                  <a:lnTo>
                    <a:pt x="87" y="310"/>
                  </a:lnTo>
                  <a:lnTo>
                    <a:pt x="84" y="312"/>
                  </a:lnTo>
                  <a:lnTo>
                    <a:pt x="82" y="312"/>
                  </a:lnTo>
                  <a:lnTo>
                    <a:pt x="81" y="312"/>
                  </a:lnTo>
                  <a:lnTo>
                    <a:pt x="80" y="312"/>
                  </a:lnTo>
                  <a:lnTo>
                    <a:pt x="73" y="316"/>
                  </a:lnTo>
                  <a:lnTo>
                    <a:pt x="66" y="317"/>
                  </a:lnTo>
                  <a:lnTo>
                    <a:pt x="62" y="317"/>
                  </a:lnTo>
                  <a:lnTo>
                    <a:pt x="59" y="316"/>
                  </a:lnTo>
                  <a:lnTo>
                    <a:pt x="58" y="314"/>
                  </a:lnTo>
                  <a:lnTo>
                    <a:pt x="56" y="313"/>
                  </a:lnTo>
                  <a:lnTo>
                    <a:pt x="56" y="312"/>
                  </a:lnTo>
                  <a:lnTo>
                    <a:pt x="56" y="310"/>
                  </a:lnTo>
                  <a:lnTo>
                    <a:pt x="54" y="307"/>
                  </a:lnTo>
                  <a:lnTo>
                    <a:pt x="51" y="305"/>
                  </a:lnTo>
                  <a:lnTo>
                    <a:pt x="48" y="302"/>
                  </a:lnTo>
                  <a:lnTo>
                    <a:pt x="45" y="302"/>
                  </a:lnTo>
                  <a:lnTo>
                    <a:pt x="43" y="301"/>
                  </a:lnTo>
                  <a:lnTo>
                    <a:pt x="40" y="301"/>
                  </a:lnTo>
                  <a:lnTo>
                    <a:pt x="38" y="301"/>
                  </a:lnTo>
                  <a:lnTo>
                    <a:pt x="37" y="301"/>
                  </a:lnTo>
                  <a:lnTo>
                    <a:pt x="34" y="303"/>
                  </a:lnTo>
                  <a:lnTo>
                    <a:pt x="30" y="305"/>
                  </a:lnTo>
                  <a:lnTo>
                    <a:pt x="27" y="303"/>
                  </a:lnTo>
                  <a:lnTo>
                    <a:pt x="25" y="302"/>
                  </a:lnTo>
                  <a:lnTo>
                    <a:pt x="22" y="301"/>
                  </a:lnTo>
                  <a:lnTo>
                    <a:pt x="21" y="298"/>
                  </a:lnTo>
                  <a:lnTo>
                    <a:pt x="19" y="296"/>
                  </a:lnTo>
                  <a:lnTo>
                    <a:pt x="12" y="294"/>
                  </a:lnTo>
                  <a:lnTo>
                    <a:pt x="8" y="291"/>
                  </a:lnTo>
                  <a:lnTo>
                    <a:pt x="4" y="288"/>
                  </a:lnTo>
                  <a:lnTo>
                    <a:pt x="3" y="285"/>
                  </a:lnTo>
                  <a:lnTo>
                    <a:pt x="1" y="284"/>
                  </a:lnTo>
                  <a:lnTo>
                    <a:pt x="0" y="283"/>
                  </a:lnTo>
                  <a:lnTo>
                    <a:pt x="0" y="281"/>
                  </a:lnTo>
                  <a:lnTo>
                    <a:pt x="3" y="276"/>
                  </a:lnTo>
                  <a:lnTo>
                    <a:pt x="5" y="272"/>
                  </a:lnTo>
                  <a:lnTo>
                    <a:pt x="8" y="269"/>
                  </a:lnTo>
                  <a:lnTo>
                    <a:pt x="11" y="266"/>
                  </a:lnTo>
                  <a:lnTo>
                    <a:pt x="14" y="265"/>
                  </a:lnTo>
                  <a:lnTo>
                    <a:pt x="15" y="264"/>
                  </a:lnTo>
                  <a:lnTo>
                    <a:pt x="18" y="264"/>
                  </a:lnTo>
                  <a:lnTo>
                    <a:pt x="23" y="261"/>
                  </a:lnTo>
                  <a:lnTo>
                    <a:pt x="26" y="259"/>
                  </a:lnTo>
                  <a:lnTo>
                    <a:pt x="27" y="258"/>
                  </a:lnTo>
                  <a:lnTo>
                    <a:pt x="26" y="257"/>
                  </a:lnTo>
                  <a:lnTo>
                    <a:pt x="25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3"/>
                  </a:lnTo>
                  <a:lnTo>
                    <a:pt x="21" y="250"/>
                  </a:lnTo>
                  <a:lnTo>
                    <a:pt x="22" y="247"/>
                  </a:lnTo>
                  <a:lnTo>
                    <a:pt x="23" y="246"/>
                  </a:lnTo>
                  <a:lnTo>
                    <a:pt x="26" y="246"/>
                  </a:lnTo>
                  <a:lnTo>
                    <a:pt x="27" y="246"/>
                  </a:lnTo>
                  <a:lnTo>
                    <a:pt x="30" y="246"/>
                  </a:lnTo>
                  <a:lnTo>
                    <a:pt x="32" y="247"/>
                  </a:lnTo>
                  <a:lnTo>
                    <a:pt x="34" y="251"/>
                  </a:lnTo>
                  <a:lnTo>
                    <a:pt x="37" y="255"/>
                  </a:lnTo>
                  <a:lnTo>
                    <a:pt x="40" y="258"/>
                  </a:lnTo>
                  <a:lnTo>
                    <a:pt x="43" y="258"/>
                  </a:lnTo>
                  <a:lnTo>
                    <a:pt x="44" y="259"/>
                  </a:lnTo>
                  <a:lnTo>
                    <a:pt x="47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1" y="258"/>
                  </a:lnTo>
                  <a:lnTo>
                    <a:pt x="51" y="257"/>
                  </a:lnTo>
                  <a:lnTo>
                    <a:pt x="51" y="254"/>
                  </a:lnTo>
                  <a:lnTo>
                    <a:pt x="49" y="251"/>
                  </a:lnTo>
                  <a:lnTo>
                    <a:pt x="48" y="248"/>
                  </a:lnTo>
                  <a:lnTo>
                    <a:pt x="47" y="246"/>
                  </a:lnTo>
                  <a:lnTo>
                    <a:pt x="44" y="243"/>
                  </a:lnTo>
                  <a:lnTo>
                    <a:pt x="43" y="240"/>
                  </a:lnTo>
                  <a:lnTo>
                    <a:pt x="41" y="239"/>
                  </a:lnTo>
                  <a:lnTo>
                    <a:pt x="43" y="237"/>
                  </a:lnTo>
                  <a:lnTo>
                    <a:pt x="43" y="236"/>
                  </a:lnTo>
                  <a:lnTo>
                    <a:pt x="44" y="236"/>
                  </a:lnTo>
                  <a:lnTo>
                    <a:pt x="45" y="235"/>
                  </a:lnTo>
                  <a:lnTo>
                    <a:pt x="47" y="232"/>
                  </a:lnTo>
                  <a:lnTo>
                    <a:pt x="47" y="231"/>
                  </a:lnTo>
                  <a:lnTo>
                    <a:pt x="45" y="229"/>
                  </a:lnTo>
                  <a:lnTo>
                    <a:pt x="45" y="228"/>
                  </a:lnTo>
                  <a:lnTo>
                    <a:pt x="44" y="228"/>
                  </a:lnTo>
                  <a:lnTo>
                    <a:pt x="43" y="229"/>
                  </a:lnTo>
                  <a:lnTo>
                    <a:pt x="41" y="229"/>
                  </a:lnTo>
                  <a:lnTo>
                    <a:pt x="33" y="236"/>
                  </a:lnTo>
                  <a:lnTo>
                    <a:pt x="30" y="235"/>
                  </a:lnTo>
                  <a:lnTo>
                    <a:pt x="29" y="233"/>
                  </a:lnTo>
                  <a:lnTo>
                    <a:pt x="29" y="231"/>
                  </a:lnTo>
                  <a:lnTo>
                    <a:pt x="30" y="228"/>
                  </a:lnTo>
                  <a:lnTo>
                    <a:pt x="32" y="225"/>
                  </a:lnTo>
                  <a:lnTo>
                    <a:pt x="33" y="222"/>
                  </a:lnTo>
                  <a:lnTo>
                    <a:pt x="34" y="221"/>
                  </a:lnTo>
                  <a:lnTo>
                    <a:pt x="34" y="220"/>
                  </a:lnTo>
                  <a:lnTo>
                    <a:pt x="38" y="214"/>
                  </a:lnTo>
                  <a:lnTo>
                    <a:pt x="41" y="210"/>
                  </a:lnTo>
                  <a:lnTo>
                    <a:pt x="44" y="207"/>
                  </a:lnTo>
                  <a:lnTo>
                    <a:pt x="45" y="207"/>
                  </a:lnTo>
                  <a:lnTo>
                    <a:pt x="47" y="207"/>
                  </a:lnTo>
                  <a:lnTo>
                    <a:pt x="48" y="209"/>
                  </a:lnTo>
                  <a:lnTo>
                    <a:pt x="51" y="211"/>
                  </a:lnTo>
                  <a:lnTo>
                    <a:pt x="54" y="210"/>
                  </a:lnTo>
                  <a:lnTo>
                    <a:pt x="58" y="209"/>
                  </a:lnTo>
                  <a:lnTo>
                    <a:pt x="63" y="207"/>
                  </a:lnTo>
                  <a:lnTo>
                    <a:pt x="67" y="204"/>
                  </a:lnTo>
                  <a:lnTo>
                    <a:pt x="71" y="202"/>
                  </a:lnTo>
                  <a:lnTo>
                    <a:pt x="74" y="200"/>
                  </a:lnTo>
                  <a:lnTo>
                    <a:pt x="74" y="199"/>
                  </a:lnTo>
                  <a:lnTo>
                    <a:pt x="78" y="198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0" y="193"/>
                  </a:lnTo>
                  <a:lnTo>
                    <a:pt x="78" y="193"/>
                  </a:lnTo>
                  <a:lnTo>
                    <a:pt x="76" y="193"/>
                  </a:lnTo>
                  <a:lnTo>
                    <a:pt x="74" y="193"/>
                  </a:lnTo>
                  <a:lnTo>
                    <a:pt x="71" y="195"/>
                  </a:lnTo>
                  <a:lnTo>
                    <a:pt x="69" y="196"/>
                  </a:lnTo>
                  <a:lnTo>
                    <a:pt x="67" y="196"/>
                  </a:lnTo>
                  <a:lnTo>
                    <a:pt x="65" y="196"/>
                  </a:lnTo>
                  <a:lnTo>
                    <a:pt x="62" y="195"/>
                  </a:lnTo>
                  <a:lnTo>
                    <a:pt x="60" y="195"/>
                  </a:lnTo>
                  <a:lnTo>
                    <a:pt x="59" y="193"/>
                  </a:lnTo>
                  <a:lnTo>
                    <a:pt x="63" y="173"/>
                  </a:lnTo>
                  <a:lnTo>
                    <a:pt x="67" y="167"/>
                  </a:lnTo>
                  <a:lnTo>
                    <a:pt x="69" y="165"/>
                  </a:lnTo>
                  <a:lnTo>
                    <a:pt x="70" y="162"/>
                  </a:lnTo>
                  <a:lnTo>
                    <a:pt x="70" y="159"/>
                  </a:lnTo>
                  <a:lnTo>
                    <a:pt x="69" y="158"/>
                  </a:lnTo>
                  <a:lnTo>
                    <a:pt x="67" y="156"/>
                  </a:lnTo>
                  <a:lnTo>
                    <a:pt x="66" y="154"/>
                  </a:lnTo>
                  <a:lnTo>
                    <a:pt x="63" y="149"/>
                  </a:lnTo>
                  <a:lnTo>
                    <a:pt x="62" y="147"/>
                  </a:lnTo>
                  <a:lnTo>
                    <a:pt x="62" y="144"/>
                  </a:lnTo>
                  <a:lnTo>
                    <a:pt x="60" y="141"/>
                  </a:lnTo>
                  <a:lnTo>
                    <a:pt x="60" y="140"/>
                  </a:lnTo>
                  <a:lnTo>
                    <a:pt x="60" y="138"/>
                  </a:lnTo>
                  <a:lnTo>
                    <a:pt x="60" y="134"/>
                  </a:lnTo>
                  <a:lnTo>
                    <a:pt x="63" y="133"/>
                  </a:lnTo>
                  <a:lnTo>
                    <a:pt x="65" y="132"/>
                  </a:lnTo>
                  <a:lnTo>
                    <a:pt x="66" y="130"/>
                  </a:lnTo>
                  <a:lnTo>
                    <a:pt x="69" y="129"/>
                  </a:lnTo>
                  <a:lnTo>
                    <a:pt x="70" y="129"/>
                  </a:lnTo>
                  <a:lnTo>
                    <a:pt x="71" y="129"/>
                  </a:lnTo>
                  <a:lnTo>
                    <a:pt x="74" y="129"/>
                  </a:lnTo>
                  <a:lnTo>
                    <a:pt x="77" y="130"/>
                  </a:lnTo>
                  <a:lnTo>
                    <a:pt x="80" y="133"/>
                  </a:lnTo>
                  <a:lnTo>
                    <a:pt x="81" y="136"/>
                  </a:lnTo>
                  <a:lnTo>
                    <a:pt x="82" y="138"/>
                  </a:lnTo>
                  <a:lnTo>
                    <a:pt x="84" y="141"/>
                  </a:lnTo>
                  <a:lnTo>
                    <a:pt x="84" y="143"/>
                  </a:lnTo>
                  <a:lnTo>
                    <a:pt x="84" y="144"/>
                  </a:lnTo>
                  <a:lnTo>
                    <a:pt x="87" y="166"/>
                  </a:lnTo>
                  <a:lnTo>
                    <a:pt x="87" y="170"/>
                  </a:lnTo>
                  <a:lnTo>
                    <a:pt x="88" y="171"/>
                  </a:lnTo>
                  <a:lnTo>
                    <a:pt x="89" y="170"/>
                  </a:lnTo>
                  <a:lnTo>
                    <a:pt x="91" y="169"/>
                  </a:lnTo>
                  <a:lnTo>
                    <a:pt x="93" y="166"/>
                  </a:lnTo>
                  <a:lnTo>
                    <a:pt x="95" y="163"/>
                  </a:lnTo>
                  <a:lnTo>
                    <a:pt x="95" y="160"/>
                  </a:lnTo>
                  <a:lnTo>
                    <a:pt x="96" y="160"/>
                  </a:lnTo>
                  <a:lnTo>
                    <a:pt x="95" y="155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3" y="145"/>
                  </a:lnTo>
                  <a:lnTo>
                    <a:pt x="95" y="143"/>
                  </a:lnTo>
                  <a:lnTo>
                    <a:pt x="95" y="140"/>
                  </a:lnTo>
                  <a:lnTo>
                    <a:pt x="95" y="138"/>
                  </a:lnTo>
                  <a:lnTo>
                    <a:pt x="96" y="137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9" y="130"/>
                  </a:lnTo>
                  <a:lnTo>
                    <a:pt x="99" y="129"/>
                  </a:lnTo>
                  <a:lnTo>
                    <a:pt x="99" y="127"/>
                  </a:lnTo>
                  <a:lnTo>
                    <a:pt x="99" y="126"/>
                  </a:lnTo>
                  <a:lnTo>
                    <a:pt x="100" y="123"/>
                  </a:lnTo>
                  <a:lnTo>
                    <a:pt x="100" y="122"/>
                  </a:lnTo>
                  <a:lnTo>
                    <a:pt x="102" y="119"/>
                  </a:lnTo>
                  <a:lnTo>
                    <a:pt x="102" y="118"/>
                  </a:lnTo>
                  <a:lnTo>
                    <a:pt x="102" y="116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22" y="112"/>
                  </a:lnTo>
                  <a:lnTo>
                    <a:pt x="126" y="114"/>
                  </a:lnTo>
                  <a:lnTo>
                    <a:pt x="129" y="115"/>
                  </a:lnTo>
                  <a:lnTo>
                    <a:pt x="132" y="115"/>
                  </a:lnTo>
                  <a:lnTo>
                    <a:pt x="135" y="114"/>
                  </a:lnTo>
                  <a:lnTo>
                    <a:pt x="136" y="114"/>
                  </a:lnTo>
                  <a:lnTo>
                    <a:pt x="137" y="112"/>
                  </a:lnTo>
                  <a:lnTo>
                    <a:pt x="139" y="111"/>
                  </a:lnTo>
                  <a:lnTo>
                    <a:pt x="140" y="108"/>
                  </a:lnTo>
                  <a:lnTo>
                    <a:pt x="142" y="107"/>
                  </a:lnTo>
                  <a:lnTo>
                    <a:pt x="144" y="104"/>
                  </a:lnTo>
                  <a:lnTo>
                    <a:pt x="147" y="103"/>
                  </a:lnTo>
                  <a:lnTo>
                    <a:pt x="150" y="103"/>
                  </a:lnTo>
                  <a:lnTo>
                    <a:pt x="151" y="101"/>
                  </a:lnTo>
                  <a:lnTo>
                    <a:pt x="153" y="101"/>
                  </a:lnTo>
                  <a:lnTo>
                    <a:pt x="154" y="101"/>
                  </a:lnTo>
                  <a:lnTo>
                    <a:pt x="151" y="101"/>
                  </a:lnTo>
                  <a:lnTo>
                    <a:pt x="151" y="100"/>
                  </a:lnTo>
                  <a:lnTo>
                    <a:pt x="153" y="99"/>
                  </a:lnTo>
                  <a:lnTo>
                    <a:pt x="154" y="97"/>
                  </a:lnTo>
                  <a:lnTo>
                    <a:pt x="155" y="96"/>
                  </a:lnTo>
                  <a:lnTo>
                    <a:pt x="158" y="94"/>
                  </a:lnTo>
                  <a:lnTo>
                    <a:pt x="159" y="93"/>
                  </a:lnTo>
                  <a:lnTo>
                    <a:pt x="153" y="92"/>
                  </a:lnTo>
                  <a:lnTo>
                    <a:pt x="113" y="94"/>
                  </a:lnTo>
                  <a:lnTo>
                    <a:pt x="110" y="92"/>
                  </a:lnTo>
                  <a:lnTo>
                    <a:pt x="109" y="90"/>
                  </a:lnTo>
                  <a:lnTo>
                    <a:pt x="106" y="89"/>
                  </a:lnTo>
                  <a:lnTo>
                    <a:pt x="103" y="89"/>
                  </a:lnTo>
                  <a:lnTo>
                    <a:pt x="100" y="88"/>
                  </a:lnTo>
                  <a:lnTo>
                    <a:pt x="98" y="88"/>
                  </a:lnTo>
                  <a:lnTo>
                    <a:pt x="96" y="88"/>
                  </a:lnTo>
                  <a:lnTo>
                    <a:pt x="92" y="89"/>
                  </a:lnTo>
                  <a:lnTo>
                    <a:pt x="89" y="89"/>
                  </a:lnTo>
                  <a:lnTo>
                    <a:pt x="87" y="89"/>
                  </a:lnTo>
                  <a:lnTo>
                    <a:pt x="84" y="88"/>
                  </a:lnTo>
                  <a:lnTo>
                    <a:pt x="82" y="88"/>
                  </a:lnTo>
                  <a:lnTo>
                    <a:pt x="81" y="86"/>
                  </a:lnTo>
                  <a:lnTo>
                    <a:pt x="80" y="85"/>
                  </a:lnTo>
                  <a:lnTo>
                    <a:pt x="78" y="83"/>
                  </a:lnTo>
                  <a:lnTo>
                    <a:pt x="76" y="82"/>
                  </a:lnTo>
                  <a:lnTo>
                    <a:pt x="74" y="82"/>
                  </a:lnTo>
                  <a:lnTo>
                    <a:pt x="73" y="83"/>
                  </a:lnTo>
                  <a:lnTo>
                    <a:pt x="71" y="85"/>
                  </a:lnTo>
                  <a:lnTo>
                    <a:pt x="70" y="88"/>
                  </a:lnTo>
                  <a:lnTo>
                    <a:pt x="67" y="88"/>
                  </a:lnTo>
                  <a:lnTo>
                    <a:pt x="66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3" y="86"/>
                  </a:lnTo>
                  <a:lnTo>
                    <a:pt x="52" y="75"/>
                  </a:lnTo>
                  <a:lnTo>
                    <a:pt x="51" y="74"/>
                  </a:lnTo>
                  <a:lnTo>
                    <a:pt x="49" y="71"/>
                  </a:lnTo>
                  <a:lnTo>
                    <a:pt x="49" y="70"/>
                  </a:lnTo>
                  <a:lnTo>
                    <a:pt x="49" y="67"/>
                  </a:lnTo>
                  <a:lnTo>
                    <a:pt x="51" y="66"/>
                  </a:lnTo>
                  <a:lnTo>
                    <a:pt x="51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4" y="57"/>
                  </a:lnTo>
                  <a:lnTo>
                    <a:pt x="52" y="55"/>
                  </a:lnTo>
                  <a:lnTo>
                    <a:pt x="52" y="53"/>
                  </a:lnTo>
                  <a:lnTo>
                    <a:pt x="51" y="53"/>
                  </a:lnTo>
                  <a:lnTo>
                    <a:pt x="51" y="52"/>
                  </a:lnTo>
                  <a:lnTo>
                    <a:pt x="49" y="52"/>
                  </a:lnTo>
                  <a:lnTo>
                    <a:pt x="51" y="50"/>
                  </a:lnTo>
                  <a:lnTo>
                    <a:pt x="51" y="49"/>
                  </a:lnTo>
                  <a:lnTo>
                    <a:pt x="54" y="48"/>
                  </a:lnTo>
                  <a:lnTo>
                    <a:pt x="55" y="45"/>
                  </a:lnTo>
                  <a:lnTo>
                    <a:pt x="58" y="44"/>
                  </a:lnTo>
                  <a:lnTo>
                    <a:pt x="60" y="42"/>
                  </a:lnTo>
                  <a:lnTo>
                    <a:pt x="63" y="42"/>
                  </a:lnTo>
                  <a:lnTo>
                    <a:pt x="66" y="42"/>
                  </a:lnTo>
                  <a:lnTo>
                    <a:pt x="69" y="45"/>
                  </a:lnTo>
                  <a:lnTo>
                    <a:pt x="70" y="46"/>
                  </a:lnTo>
                  <a:lnTo>
                    <a:pt x="73" y="48"/>
                  </a:lnTo>
                  <a:lnTo>
                    <a:pt x="76" y="49"/>
                  </a:lnTo>
                  <a:lnTo>
                    <a:pt x="77" y="50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2" y="41"/>
                  </a:lnTo>
                  <a:lnTo>
                    <a:pt x="82" y="39"/>
                  </a:lnTo>
                  <a:lnTo>
                    <a:pt x="82" y="38"/>
                  </a:lnTo>
                  <a:lnTo>
                    <a:pt x="84" y="37"/>
                  </a:lnTo>
                  <a:lnTo>
                    <a:pt x="85" y="34"/>
                  </a:lnTo>
                  <a:lnTo>
                    <a:pt x="87" y="33"/>
                  </a:lnTo>
                  <a:lnTo>
                    <a:pt x="89" y="33"/>
                  </a:lnTo>
                  <a:lnTo>
                    <a:pt x="92" y="31"/>
                  </a:lnTo>
                  <a:lnTo>
                    <a:pt x="95" y="31"/>
                  </a:lnTo>
                  <a:lnTo>
                    <a:pt x="98" y="31"/>
                  </a:lnTo>
                  <a:lnTo>
                    <a:pt x="100" y="30"/>
                  </a:lnTo>
                  <a:lnTo>
                    <a:pt x="103" y="28"/>
                  </a:lnTo>
                  <a:lnTo>
                    <a:pt x="106" y="27"/>
                  </a:lnTo>
                  <a:lnTo>
                    <a:pt x="107" y="26"/>
                  </a:lnTo>
                  <a:lnTo>
                    <a:pt x="109" y="26"/>
                  </a:lnTo>
                  <a:lnTo>
                    <a:pt x="109" y="24"/>
                  </a:lnTo>
                  <a:lnTo>
                    <a:pt x="114" y="30"/>
                  </a:lnTo>
                  <a:lnTo>
                    <a:pt x="117" y="20"/>
                  </a:lnTo>
                  <a:lnTo>
                    <a:pt x="118" y="19"/>
                  </a:lnTo>
                  <a:lnTo>
                    <a:pt x="120" y="17"/>
                  </a:lnTo>
                  <a:lnTo>
                    <a:pt x="122" y="16"/>
                  </a:lnTo>
                  <a:lnTo>
                    <a:pt x="125" y="13"/>
                  </a:lnTo>
                  <a:lnTo>
                    <a:pt x="129" y="11"/>
                  </a:lnTo>
                  <a:lnTo>
                    <a:pt x="133" y="9"/>
                  </a:lnTo>
                  <a:lnTo>
                    <a:pt x="140" y="6"/>
                  </a:lnTo>
                  <a:lnTo>
                    <a:pt x="142" y="17"/>
                  </a:lnTo>
                  <a:lnTo>
                    <a:pt x="144" y="4"/>
                  </a:lnTo>
                  <a:lnTo>
                    <a:pt x="146" y="2"/>
                  </a:lnTo>
                  <a:lnTo>
                    <a:pt x="147" y="2"/>
                  </a:lnTo>
                  <a:lnTo>
                    <a:pt x="150" y="1"/>
                  </a:lnTo>
                  <a:lnTo>
                    <a:pt x="154" y="0"/>
                  </a:lnTo>
                  <a:lnTo>
                    <a:pt x="157" y="0"/>
                  </a:lnTo>
                  <a:lnTo>
                    <a:pt x="161" y="0"/>
                  </a:lnTo>
                  <a:lnTo>
                    <a:pt x="165" y="0"/>
                  </a:lnTo>
                  <a:lnTo>
                    <a:pt x="169" y="1"/>
                  </a:lnTo>
                  <a:lnTo>
                    <a:pt x="175" y="1"/>
                  </a:lnTo>
                  <a:lnTo>
                    <a:pt x="181" y="2"/>
                  </a:lnTo>
                  <a:lnTo>
                    <a:pt x="188" y="4"/>
                  </a:lnTo>
                  <a:lnTo>
                    <a:pt x="195" y="4"/>
                  </a:lnTo>
                  <a:lnTo>
                    <a:pt x="202" y="5"/>
                  </a:lnTo>
                  <a:lnTo>
                    <a:pt x="205" y="5"/>
                  </a:lnTo>
                  <a:lnTo>
                    <a:pt x="206" y="5"/>
                  </a:lnTo>
                  <a:lnTo>
                    <a:pt x="206" y="15"/>
                  </a:lnTo>
                  <a:lnTo>
                    <a:pt x="213" y="8"/>
                  </a:lnTo>
                  <a:lnTo>
                    <a:pt x="216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7" y="8"/>
                  </a:lnTo>
                  <a:lnTo>
                    <a:pt x="230" y="9"/>
                  </a:lnTo>
                  <a:lnTo>
                    <a:pt x="234" y="11"/>
                  </a:lnTo>
                  <a:lnTo>
                    <a:pt x="236" y="13"/>
                  </a:lnTo>
                  <a:lnTo>
                    <a:pt x="239" y="16"/>
                  </a:lnTo>
                  <a:lnTo>
                    <a:pt x="242" y="19"/>
                  </a:lnTo>
                  <a:lnTo>
                    <a:pt x="245" y="22"/>
                  </a:lnTo>
                  <a:lnTo>
                    <a:pt x="246" y="26"/>
                  </a:lnTo>
                  <a:lnTo>
                    <a:pt x="249" y="27"/>
                  </a:lnTo>
                  <a:lnTo>
                    <a:pt x="250" y="30"/>
                  </a:lnTo>
                  <a:lnTo>
                    <a:pt x="252" y="31"/>
                  </a:lnTo>
                  <a:lnTo>
                    <a:pt x="246" y="37"/>
                  </a:lnTo>
                  <a:lnTo>
                    <a:pt x="246" y="35"/>
                  </a:lnTo>
                  <a:lnTo>
                    <a:pt x="247" y="35"/>
                  </a:lnTo>
                  <a:lnTo>
                    <a:pt x="249" y="34"/>
                  </a:lnTo>
                  <a:lnTo>
                    <a:pt x="250" y="34"/>
                  </a:lnTo>
                  <a:lnTo>
                    <a:pt x="252" y="34"/>
                  </a:lnTo>
                  <a:lnTo>
                    <a:pt x="254" y="35"/>
                  </a:lnTo>
                  <a:lnTo>
                    <a:pt x="257" y="37"/>
                  </a:lnTo>
                  <a:lnTo>
                    <a:pt x="258" y="39"/>
                  </a:lnTo>
                  <a:lnTo>
                    <a:pt x="261" y="42"/>
                  </a:lnTo>
                  <a:lnTo>
                    <a:pt x="261" y="45"/>
                  </a:lnTo>
                  <a:lnTo>
                    <a:pt x="263" y="48"/>
                  </a:lnTo>
                  <a:lnTo>
                    <a:pt x="263" y="52"/>
                  </a:lnTo>
                  <a:lnTo>
                    <a:pt x="261" y="55"/>
                  </a:lnTo>
                  <a:lnTo>
                    <a:pt x="260" y="59"/>
                  </a:lnTo>
                  <a:lnTo>
                    <a:pt x="258" y="61"/>
                  </a:lnTo>
                  <a:lnTo>
                    <a:pt x="257" y="66"/>
                  </a:lnTo>
                  <a:lnTo>
                    <a:pt x="257" y="68"/>
                  </a:lnTo>
                  <a:lnTo>
                    <a:pt x="257" y="72"/>
                  </a:lnTo>
                  <a:lnTo>
                    <a:pt x="258" y="75"/>
                  </a:lnTo>
                  <a:lnTo>
                    <a:pt x="260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4" y="8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2" name="Freeform 278"/>
            <p:cNvSpPr>
              <a:spLocks/>
            </p:cNvSpPr>
            <p:nvPr/>
          </p:nvSpPr>
          <p:spPr bwMode="auto">
            <a:xfrm>
              <a:off x="1227" y="1313"/>
              <a:ext cx="9" cy="15"/>
            </a:xfrm>
            <a:custGeom>
              <a:avLst/>
              <a:gdLst>
                <a:gd name="T0" fmla="*/ 10 w 12"/>
                <a:gd name="T1" fmla="*/ 1 h 19"/>
                <a:gd name="T2" fmla="*/ 8 w 12"/>
                <a:gd name="T3" fmla="*/ 1 h 19"/>
                <a:gd name="T4" fmla="*/ 7 w 12"/>
                <a:gd name="T5" fmla="*/ 1 h 19"/>
                <a:gd name="T6" fmla="*/ 5 w 12"/>
                <a:gd name="T7" fmla="*/ 0 h 19"/>
                <a:gd name="T8" fmla="*/ 3 w 12"/>
                <a:gd name="T9" fmla="*/ 1 h 19"/>
                <a:gd name="T10" fmla="*/ 1 w 12"/>
                <a:gd name="T11" fmla="*/ 3 h 19"/>
                <a:gd name="T12" fmla="*/ 0 w 12"/>
                <a:gd name="T13" fmla="*/ 5 h 19"/>
                <a:gd name="T14" fmla="*/ 0 w 12"/>
                <a:gd name="T15" fmla="*/ 10 h 19"/>
                <a:gd name="T16" fmla="*/ 3 w 12"/>
                <a:gd name="T17" fmla="*/ 16 h 19"/>
                <a:gd name="T18" fmla="*/ 3 w 12"/>
                <a:gd name="T19" fmla="*/ 16 h 19"/>
                <a:gd name="T20" fmla="*/ 5 w 12"/>
                <a:gd name="T21" fmla="*/ 18 h 19"/>
                <a:gd name="T22" fmla="*/ 7 w 12"/>
                <a:gd name="T23" fmla="*/ 19 h 19"/>
                <a:gd name="T24" fmla="*/ 10 w 12"/>
                <a:gd name="T25" fmla="*/ 19 h 19"/>
                <a:gd name="T26" fmla="*/ 12 w 12"/>
                <a:gd name="T27" fmla="*/ 18 h 19"/>
                <a:gd name="T28" fmla="*/ 12 w 12"/>
                <a:gd name="T29" fmla="*/ 15 h 19"/>
                <a:gd name="T30" fmla="*/ 12 w 12"/>
                <a:gd name="T31" fmla="*/ 10 h 19"/>
                <a:gd name="T32" fmla="*/ 10 w 12"/>
                <a:gd name="T3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9">
                  <a:moveTo>
                    <a:pt x="10" y="1"/>
                  </a:move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0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3" name="Freeform 279"/>
            <p:cNvSpPr>
              <a:spLocks/>
            </p:cNvSpPr>
            <p:nvPr/>
          </p:nvSpPr>
          <p:spPr bwMode="auto">
            <a:xfrm>
              <a:off x="1227" y="1313"/>
              <a:ext cx="9" cy="15"/>
            </a:xfrm>
            <a:custGeom>
              <a:avLst/>
              <a:gdLst>
                <a:gd name="T0" fmla="*/ 10 w 12"/>
                <a:gd name="T1" fmla="*/ 1 h 19"/>
                <a:gd name="T2" fmla="*/ 8 w 12"/>
                <a:gd name="T3" fmla="*/ 1 h 19"/>
                <a:gd name="T4" fmla="*/ 7 w 12"/>
                <a:gd name="T5" fmla="*/ 1 h 19"/>
                <a:gd name="T6" fmla="*/ 5 w 12"/>
                <a:gd name="T7" fmla="*/ 0 h 19"/>
                <a:gd name="T8" fmla="*/ 3 w 12"/>
                <a:gd name="T9" fmla="*/ 1 h 19"/>
                <a:gd name="T10" fmla="*/ 1 w 12"/>
                <a:gd name="T11" fmla="*/ 3 h 19"/>
                <a:gd name="T12" fmla="*/ 0 w 12"/>
                <a:gd name="T13" fmla="*/ 5 h 19"/>
                <a:gd name="T14" fmla="*/ 0 w 12"/>
                <a:gd name="T15" fmla="*/ 10 h 19"/>
                <a:gd name="T16" fmla="*/ 3 w 12"/>
                <a:gd name="T17" fmla="*/ 16 h 19"/>
                <a:gd name="T18" fmla="*/ 5 w 12"/>
                <a:gd name="T19" fmla="*/ 18 h 19"/>
                <a:gd name="T20" fmla="*/ 7 w 12"/>
                <a:gd name="T21" fmla="*/ 19 h 19"/>
                <a:gd name="T22" fmla="*/ 10 w 12"/>
                <a:gd name="T23" fmla="*/ 19 h 19"/>
                <a:gd name="T24" fmla="*/ 12 w 12"/>
                <a:gd name="T25" fmla="*/ 18 h 19"/>
                <a:gd name="T26" fmla="*/ 12 w 12"/>
                <a:gd name="T27" fmla="*/ 15 h 19"/>
                <a:gd name="T28" fmla="*/ 12 w 12"/>
                <a:gd name="T29" fmla="*/ 10 h 19"/>
                <a:gd name="T30" fmla="*/ 10 w 12"/>
                <a:gd name="T3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9">
                  <a:moveTo>
                    <a:pt x="10" y="1"/>
                  </a:move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lnTo>
                    <a:pt x="5" y="18"/>
                  </a:lnTo>
                  <a:lnTo>
                    <a:pt x="7" y="19"/>
                  </a:lnTo>
                  <a:lnTo>
                    <a:pt x="10" y="19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0"/>
                  </a:lnTo>
                  <a:lnTo>
                    <a:pt x="10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4" name="Freeform 280"/>
            <p:cNvSpPr>
              <a:spLocks/>
            </p:cNvSpPr>
            <p:nvPr/>
          </p:nvSpPr>
          <p:spPr bwMode="auto">
            <a:xfrm>
              <a:off x="2176" y="2628"/>
              <a:ext cx="76" cy="86"/>
            </a:xfrm>
            <a:custGeom>
              <a:avLst/>
              <a:gdLst>
                <a:gd name="T0" fmla="*/ 72 w 94"/>
                <a:gd name="T1" fmla="*/ 37 h 107"/>
                <a:gd name="T2" fmla="*/ 72 w 94"/>
                <a:gd name="T3" fmla="*/ 36 h 107"/>
                <a:gd name="T4" fmla="*/ 69 w 94"/>
                <a:gd name="T5" fmla="*/ 33 h 107"/>
                <a:gd name="T6" fmla="*/ 64 w 94"/>
                <a:gd name="T7" fmla="*/ 29 h 107"/>
                <a:gd name="T8" fmla="*/ 53 w 94"/>
                <a:gd name="T9" fmla="*/ 23 h 107"/>
                <a:gd name="T10" fmla="*/ 43 w 94"/>
                <a:gd name="T11" fmla="*/ 19 h 107"/>
                <a:gd name="T12" fmla="*/ 38 w 94"/>
                <a:gd name="T13" fmla="*/ 15 h 107"/>
                <a:gd name="T14" fmla="*/ 35 w 94"/>
                <a:gd name="T15" fmla="*/ 12 h 107"/>
                <a:gd name="T16" fmla="*/ 35 w 94"/>
                <a:gd name="T17" fmla="*/ 11 h 107"/>
                <a:gd name="T18" fmla="*/ 33 w 94"/>
                <a:gd name="T19" fmla="*/ 8 h 107"/>
                <a:gd name="T20" fmla="*/ 29 w 94"/>
                <a:gd name="T21" fmla="*/ 3 h 107"/>
                <a:gd name="T22" fmla="*/ 22 w 94"/>
                <a:gd name="T23" fmla="*/ 0 h 107"/>
                <a:gd name="T24" fmla="*/ 16 w 94"/>
                <a:gd name="T25" fmla="*/ 1 h 107"/>
                <a:gd name="T26" fmla="*/ 14 w 94"/>
                <a:gd name="T27" fmla="*/ 4 h 107"/>
                <a:gd name="T28" fmla="*/ 11 w 94"/>
                <a:gd name="T29" fmla="*/ 8 h 107"/>
                <a:gd name="T30" fmla="*/ 7 w 94"/>
                <a:gd name="T31" fmla="*/ 15 h 107"/>
                <a:gd name="T32" fmla="*/ 3 w 94"/>
                <a:gd name="T33" fmla="*/ 23 h 107"/>
                <a:gd name="T34" fmla="*/ 0 w 94"/>
                <a:gd name="T35" fmla="*/ 33 h 107"/>
                <a:gd name="T36" fmla="*/ 0 w 94"/>
                <a:gd name="T37" fmla="*/ 45 h 107"/>
                <a:gd name="T38" fmla="*/ 0 w 94"/>
                <a:gd name="T39" fmla="*/ 55 h 107"/>
                <a:gd name="T40" fmla="*/ 2 w 94"/>
                <a:gd name="T41" fmla="*/ 62 h 107"/>
                <a:gd name="T42" fmla="*/ 2 w 94"/>
                <a:gd name="T43" fmla="*/ 66 h 107"/>
                <a:gd name="T44" fmla="*/ 2 w 94"/>
                <a:gd name="T45" fmla="*/ 70 h 107"/>
                <a:gd name="T46" fmla="*/ 2 w 94"/>
                <a:gd name="T47" fmla="*/ 76 h 107"/>
                <a:gd name="T48" fmla="*/ 3 w 94"/>
                <a:gd name="T49" fmla="*/ 85 h 107"/>
                <a:gd name="T50" fmla="*/ 7 w 94"/>
                <a:gd name="T51" fmla="*/ 95 h 107"/>
                <a:gd name="T52" fmla="*/ 11 w 94"/>
                <a:gd name="T53" fmla="*/ 102 h 107"/>
                <a:gd name="T54" fmla="*/ 17 w 94"/>
                <a:gd name="T55" fmla="*/ 106 h 107"/>
                <a:gd name="T56" fmla="*/ 20 w 94"/>
                <a:gd name="T57" fmla="*/ 107 h 107"/>
                <a:gd name="T58" fmla="*/ 24 w 94"/>
                <a:gd name="T59" fmla="*/ 106 h 107"/>
                <a:gd name="T60" fmla="*/ 36 w 94"/>
                <a:gd name="T61" fmla="*/ 106 h 107"/>
                <a:gd name="T62" fmla="*/ 50 w 94"/>
                <a:gd name="T63" fmla="*/ 106 h 107"/>
                <a:gd name="T64" fmla="*/ 60 w 94"/>
                <a:gd name="T65" fmla="*/ 104 h 107"/>
                <a:gd name="T66" fmla="*/ 66 w 94"/>
                <a:gd name="T67" fmla="*/ 100 h 107"/>
                <a:gd name="T68" fmla="*/ 75 w 94"/>
                <a:gd name="T69" fmla="*/ 95 h 107"/>
                <a:gd name="T70" fmla="*/ 82 w 94"/>
                <a:gd name="T71" fmla="*/ 91 h 107"/>
                <a:gd name="T72" fmla="*/ 84 w 94"/>
                <a:gd name="T73" fmla="*/ 8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4" h="107">
                  <a:moveTo>
                    <a:pt x="94" y="59"/>
                  </a:moveTo>
                  <a:lnTo>
                    <a:pt x="72" y="37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34"/>
                  </a:lnTo>
                  <a:lnTo>
                    <a:pt x="69" y="33"/>
                  </a:lnTo>
                  <a:lnTo>
                    <a:pt x="66" y="30"/>
                  </a:lnTo>
                  <a:lnTo>
                    <a:pt x="64" y="29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7" y="21"/>
                  </a:lnTo>
                  <a:lnTo>
                    <a:pt x="43" y="19"/>
                  </a:lnTo>
                  <a:lnTo>
                    <a:pt x="39" y="16"/>
                  </a:lnTo>
                  <a:lnTo>
                    <a:pt x="38" y="15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3" y="23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70"/>
                  </a:lnTo>
                  <a:lnTo>
                    <a:pt x="2" y="71"/>
                  </a:lnTo>
                  <a:lnTo>
                    <a:pt x="2" y="76"/>
                  </a:lnTo>
                  <a:lnTo>
                    <a:pt x="3" y="80"/>
                  </a:lnTo>
                  <a:lnTo>
                    <a:pt x="3" y="85"/>
                  </a:lnTo>
                  <a:lnTo>
                    <a:pt x="5" y="91"/>
                  </a:lnTo>
                  <a:lnTo>
                    <a:pt x="7" y="95"/>
                  </a:lnTo>
                  <a:lnTo>
                    <a:pt x="9" y="99"/>
                  </a:lnTo>
                  <a:lnTo>
                    <a:pt x="11" y="102"/>
                  </a:lnTo>
                  <a:lnTo>
                    <a:pt x="14" y="104"/>
                  </a:lnTo>
                  <a:lnTo>
                    <a:pt x="17" y="106"/>
                  </a:lnTo>
                  <a:lnTo>
                    <a:pt x="18" y="106"/>
                  </a:lnTo>
                  <a:lnTo>
                    <a:pt x="20" y="107"/>
                  </a:lnTo>
                  <a:lnTo>
                    <a:pt x="21" y="107"/>
                  </a:lnTo>
                  <a:lnTo>
                    <a:pt x="24" y="106"/>
                  </a:lnTo>
                  <a:lnTo>
                    <a:pt x="29" y="106"/>
                  </a:lnTo>
                  <a:lnTo>
                    <a:pt x="36" y="106"/>
                  </a:lnTo>
                  <a:lnTo>
                    <a:pt x="43" y="106"/>
                  </a:lnTo>
                  <a:lnTo>
                    <a:pt x="50" y="106"/>
                  </a:lnTo>
                  <a:lnTo>
                    <a:pt x="55" y="104"/>
                  </a:lnTo>
                  <a:lnTo>
                    <a:pt x="60" y="104"/>
                  </a:lnTo>
                  <a:lnTo>
                    <a:pt x="62" y="103"/>
                  </a:lnTo>
                  <a:lnTo>
                    <a:pt x="66" y="100"/>
                  </a:lnTo>
                  <a:lnTo>
                    <a:pt x="71" y="98"/>
                  </a:lnTo>
                  <a:lnTo>
                    <a:pt x="75" y="95"/>
                  </a:lnTo>
                  <a:lnTo>
                    <a:pt x="79" y="93"/>
                  </a:lnTo>
                  <a:lnTo>
                    <a:pt x="82" y="91"/>
                  </a:lnTo>
                  <a:lnTo>
                    <a:pt x="83" y="89"/>
                  </a:lnTo>
                  <a:lnTo>
                    <a:pt x="84" y="89"/>
                  </a:lnTo>
                  <a:lnTo>
                    <a:pt x="94" y="5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5" name="Freeform 281"/>
            <p:cNvSpPr>
              <a:spLocks/>
            </p:cNvSpPr>
            <p:nvPr/>
          </p:nvSpPr>
          <p:spPr bwMode="auto">
            <a:xfrm>
              <a:off x="2176" y="2628"/>
              <a:ext cx="76" cy="86"/>
            </a:xfrm>
            <a:custGeom>
              <a:avLst/>
              <a:gdLst>
                <a:gd name="T0" fmla="*/ 72 w 94"/>
                <a:gd name="T1" fmla="*/ 37 h 107"/>
                <a:gd name="T2" fmla="*/ 71 w 94"/>
                <a:gd name="T3" fmla="*/ 34 h 107"/>
                <a:gd name="T4" fmla="*/ 66 w 94"/>
                <a:gd name="T5" fmla="*/ 30 h 107"/>
                <a:gd name="T6" fmla="*/ 58 w 94"/>
                <a:gd name="T7" fmla="*/ 26 h 107"/>
                <a:gd name="T8" fmla="*/ 47 w 94"/>
                <a:gd name="T9" fmla="*/ 21 h 107"/>
                <a:gd name="T10" fmla="*/ 39 w 94"/>
                <a:gd name="T11" fmla="*/ 16 h 107"/>
                <a:gd name="T12" fmla="*/ 36 w 94"/>
                <a:gd name="T13" fmla="*/ 12 h 107"/>
                <a:gd name="T14" fmla="*/ 35 w 94"/>
                <a:gd name="T15" fmla="*/ 11 h 107"/>
                <a:gd name="T16" fmla="*/ 33 w 94"/>
                <a:gd name="T17" fmla="*/ 8 h 107"/>
                <a:gd name="T18" fmla="*/ 29 w 94"/>
                <a:gd name="T19" fmla="*/ 3 h 107"/>
                <a:gd name="T20" fmla="*/ 22 w 94"/>
                <a:gd name="T21" fmla="*/ 0 h 107"/>
                <a:gd name="T22" fmla="*/ 16 w 94"/>
                <a:gd name="T23" fmla="*/ 1 h 107"/>
                <a:gd name="T24" fmla="*/ 14 w 94"/>
                <a:gd name="T25" fmla="*/ 4 h 107"/>
                <a:gd name="T26" fmla="*/ 11 w 94"/>
                <a:gd name="T27" fmla="*/ 8 h 107"/>
                <a:gd name="T28" fmla="*/ 7 w 94"/>
                <a:gd name="T29" fmla="*/ 15 h 107"/>
                <a:gd name="T30" fmla="*/ 3 w 94"/>
                <a:gd name="T31" fmla="*/ 23 h 107"/>
                <a:gd name="T32" fmla="*/ 0 w 94"/>
                <a:gd name="T33" fmla="*/ 33 h 107"/>
                <a:gd name="T34" fmla="*/ 0 w 94"/>
                <a:gd name="T35" fmla="*/ 45 h 107"/>
                <a:gd name="T36" fmla="*/ 0 w 94"/>
                <a:gd name="T37" fmla="*/ 55 h 107"/>
                <a:gd name="T38" fmla="*/ 2 w 94"/>
                <a:gd name="T39" fmla="*/ 62 h 107"/>
                <a:gd name="T40" fmla="*/ 2 w 94"/>
                <a:gd name="T41" fmla="*/ 66 h 107"/>
                <a:gd name="T42" fmla="*/ 2 w 94"/>
                <a:gd name="T43" fmla="*/ 70 h 107"/>
                <a:gd name="T44" fmla="*/ 2 w 94"/>
                <a:gd name="T45" fmla="*/ 76 h 107"/>
                <a:gd name="T46" fmla="*/ 3 w 94"/>
                <a:gd name="T47" fmla="*/ 85 h 107"/>
                <a:gd name="T48" fmla="*/ 7 w 94"/>
                <a:gd name="T49" fmla="*/ 95 h 107"/>
                <a:gd name="T50" fmla="*/ 11 w 94"/>
                <a:gd name="T51" fmla="*/ 102 h 107"/>
                <a:gd name="T52" fmla="*/ 17 w 94"/>
                <a:gd name="T53" fmla="*/ 106 h 107"/>
                <a:gd name="T54" fmla="*/ 20 w 94"/>
                <a:gd name="T55" fmla="*/ 107 h 107"/>
                <a:gd name="T56" fmla="*/ 24 w 94"/>
                <a:gd name="T57" fmla="*/ 106 h 107"/>
                <a:gd name="T58" fmla="*/ 36 w 94"/>
                <a:gd name="T59" fmla="*/ 106 h 107"/>
                <a:gd name="T60" fmla="*/ 50 w 94"/>
                <a:gd name="T61" fmla="*/ 106 h 107"/>
                <a:gd name="T62" fmla="*/ 60 w 94"/>
                <a:gd name="T63" fmla="*/ 104 h 107"/>
                <a:gd name="T64" fmla="*/ 66 w 94"/>
                <a:gd name="T65" fmla="*/ 100 h 107"/>
                <a:gd name="T66" fmla="*/ 75 w 94"/>
                <a:gd name="T67" fmla="*/ 95 h 107"/>
                <a:gd name="T68" fmla="*/ 82 w 94"/>
                <a:gd name="T69" fmla="*/ 91 h 107"/>
                <a:gd name="T70" fmla="*/ 84 w 94"/>
                <a:gd name="T71" fmla="*/ 89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4" h="107">
                  <a:moveTo>
                    <a:pt x="94" y="59"/>
                  </a:moveTo>
                  <a:lnTo>
                    <a:pt x="72" y="37"/>
                  </a:lnTo>
                  <a:lnTo>
                    <a:pt x="72" y="36"/>
                  </a:lnTo>
                  <a:lnTo>
                    <a:pt x="71" y="34"/>
                  </a:lnTo>
                  <a:lnTo>
                    <a:pt x="69" y="33"/>
                  </a:lnTo>
                  <a:lnTo>
                    <a:pt x="66" y="30"/>
                  </a:lnTo>
                  <a:lnTo>
                    <a:pt x="64" y="29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7" y="21"/>
                  </a:lnTo>
                  <a:lnTo>
                    <a:pt x="43" y="19"/>
                  </a:lnTo>
                  <a:lnTo>
                    <a:pt x="39" y="16"/>
                  </a:lnTo>
                  <a:lnTo>
                    <a:pt x="38" y="15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1" y="5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6" y="1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3" y="23"/>
                  </a:lnTo>
                  <a:lnTo>
                    <a:pt x="0" y="27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0" y="45"/>
                  </a:lnTo>
                  <a:lnTo>
                    <a:pt x="0" y="51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2" y="62"/>
                  </a:lnTo>
                  <a:lnTo>
                    <a:pt x="2" y="65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70"/>
                  </a:lnTo>
                  <a:lnTo>
                    <a:pt x="2" y="71"/>
                  </a:lnTo>
                  <a:lnTo>
                    <a:pt x="2" y="76"/>
                  </a:lnTo>
                  <a:lnTo>
                    <a:pt x="3" y="80"/>
                  </a:lnTo>
                  <a:lnTo>
                    <a:pt x="3" y="85"/>
                  </a:lnTo>
                  <a:lnTo>
                    <a:pt x="5" y="91"/>
                  </a:lnTo>
                  <a:lnTo>
                    <a:pt x="7" y="95"/>
                  </a:lnTo>
                  <a:lnTo>
                    <a:pt x="9" y="99"/>
                  </a:lnTo>
                  <a:lnTo>
                    <a:pt x="11" y="102"/>
                  </a:lnTo>
                  <a:lnTo>
                    <a:pt x="14" y="104"/>
                  </a:lnTo>
                  <a:lnTo>
                    <a:pt x="17" y="106"/>
                  </a:lnTo>
                  <a:lnTo>
                    <a:pt x="18" y="106"/>
                  </a:lnTo>
                  <a:lnTo>
                    <a:pt x="20" y="107"/>
                  </a:lnTo>
                  <a:lnTo>
                    <a:pt x="21" y="107"/>
                  </a:lnTo>
                  <a:lnTo>
                    <a:pt x="24" y="106"/>
                  </a:lnTo>
                  <a:lnTo>
                    <a:pt x="29" y="106"/>
                  </a:lnTo>
                  <a:lnTo>
                    <a:pt x="36" y="106"/>
                  </a:lnTo>
                  <a:lnTo>
                    <a:pt x="43" y="106"/>
                  </a:lnTo>
                  <a:lnTo>
                    <a:pt x="50" y="106"/>
                  </a:lnTo>
                  <a:lnTo>
                    <a:pt x="55" y="104"/>
                  </a:lnTo>
                  <a:lnTo>
                    <a:pt x="60" y="104"/>
                  </a:lnTo>
                  <a:lnTo>
                    <a:pt x="62" y="103"/>
                  </a:lnTo>
                  <a:lnTo>
                    <a:pt x="66" y="100"/>
                  </a:lnTo>
                  <a:lnTo>
                    <a:pt x="71" y="98"/>
                  </a:lnTo>
                  <a:lnTo>
                    <a:pt x="75" y="95"/>
                  </a:lnTo>
                  <a:lnTo>
                    <a:pt x="79" y="93"/>
                  </a:lnTo>
                  <a:lnTo>
                    <a:pt x="82" y="91"/>
                  </a:lnTo>
                  <a:lnTo>
                    <a:pt x="83" y="89"/>
                  </a:lnTo>
                  <a:lnTo>
                    <a:pt x="84" y="89"/>
                  </a:lnTo>
                  <a:lnTo>
                    <a:pt x="94" y="5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6" name="Freeform 282"/>
            <p:cNvSpPr>
              <a:spLocks/>
            </p:cNvSpPr>
            <p:nvPr/>
          </p:nvSpPr>
          <p:spPr bwMode="auto">
            <a:xfrm>
              <a:off x="1313" y="1435"/>
              <a:ext cx="889" cy="180"/>
            </a:xfrm>
            <a:custGeom>
              <a:avLst/>
              <a:gdLst>
                <a:gd name="T0" fmla="*/ 877 w 1099"/>
                <a:gd name="T1" fmla="*/ 140 h 223"/>
                <a:gd name="T2" fmla="*/ 911 w 1099"/>
                <a:gd name="T3" fmla="*/ 113 h 223"/>
                <a:gd name="T4" fmla="*/ 926 w 1099"/>
                <a:gd name="T5" fmla="*/ 121 h 223"/>
                <a:gd name="T6" fmla="*/ 918 w 1099"/>
                <a:gd name="T7" fmla="*/ 160 h 223"/>
                <a:gd name="T8" fmla="*/ 955 w 1099"/>
                <a:gd name="T9" fmla="*/ 158 h 223"/>
                <a:gd name="T10" fmla="*/ 963 w 1099"/>
                <a:gd name="T11" fmla="*/ 165 h 223"/>
                <a:gd name="T12" fmla="*/ 943 w 1099"/>
                <a:gd name="T13" fmla="*/ 184 h 223"/>
                <a:gd name="T14" fmla="*/ 965 w 1099"/>
                <a:gd name="T15" fmla="*/ 190 h 223"/>
                <a:gd name="T16" fmla="*/ 1004 w 1099"/>
                <a:gd name="T17" fmla="*/ 172 h 223"/>
                <a:gd name="T18" fmla="*/ 991 w 1099"/>
                <a:gd name="T19" fmla="*/ 160 h 223"/>
                <a:gd name="T20" fmla="*/ 962 w 1099"/>
                <a:gd name="T21" fmla="*/ 132 h 223"/>
                <a:gd name="T22" fmla="*/ 960 w 1099"/>
                <a:gd name="T23" fmla="*/ 112 h 223"/>
                <a:gd name="T24" fmla="*/ 949 w 1099"/>
                <a:gd name="T25" fmla="*/ 102 h 223"/>
                <a:gd name="T26" fmla="*/ 963 w 1099"/>
                <a:gd name="T27" fmla="*/ 90 h 223"/>
                <a:gd name="T28" fmla="*/ 960 w 1099"/>
                <a:gd name="T29" fmla="*/ 72 h 223"/>
                <a:gd name="T30" fmla="*/ 929 w 1099"/>
                <a:gd name="T31" fmla="*/ 80 h 223"/>
                <a:gd name="T32" fmla="*/ 900 w 1099"/>
                <a:gd name="T33" fmla="*/ 102 h 223"/>
                <a:gd name="T34" fmla="*/ 863 w 1099"/>
                <a:gd name="T35" fmla="*/ 128 h 223"/>
                <a:gd name="T36" fmla="*/ 907 w 1099"/>
                <a:gd name="T37" fmla="*/ 73 h 223"/>
                <a:gd name="T38" fmla="*/ 956 w 1099"/>
                <a:gd name="T39" fmla="*/ 46 h 223"/>
                <a:gd name="T40" fmla="*/ 1020 w 1099"/>
                <a:gd name="T41" fmla="*/ 47 h 223"/>
                <a:gd name="T42" fmla="*/ 1060 w 1099"/>
                <a:gd name="T43" fmla="*/ 33 h 223"/>
                <a:gd name="T44" fmla="*/ 1075 w 1099"/>
                <a:gd name="T45" fmla="*/ 10 h 223"/>
                <a:gd name="T46" fmla="*/ 1093 w 1099"/>
                <a:gd name="T47" fmla="*/ 8 h 223"/>
                <a:gd name="T48" fmla="*/ 753 w 1099"/>
                <a:gd name="T49" fmla="*/ 0 h 223"/>
                <a:gd name="T50" fmla="*/ 740 w 1099"/>
                <a:gd name="T51" fmla="*/ 21 h 223"/>
                <a:gd name="T52" fmla="*/ 718 w 1099"/>
                <a:gd name="T53" fmla="*/ 21 h 223"/>
                <a:gd name="T54" fmla="*/ 711 w 1099"/>
                <a:gd name="T55" fmla="*/ 4 h 223"/>
                <a:gd name="T56" fmla="*/ 3 w 1099"/>
                <a:gd name="T57" fmla="*/ 7 h 223"/>
                <a:gd name="T58" fmla="*/ 24 w 1099"/>
                <a:gd name="T59" fmla="*/ 29 h 223"/>
                <a:gd name="T60" fmla="*/ 62 w 1099"/>
                <a:gd name="T61" fmla="*/ 52 h 223"/>
                <a:gd name="T62" fmla="*/ 76 w 1099"/>
                <a:gd name="T63" fmla="*/ 79 h 223"/>
                <a:gd name="T64" fmla="*/ 560 w 1099"/>
                <a:gd name="T65" fmla="*/ 102 h 223"/>
                <a:gd name="T66" fmla="*/ 586 w 1099"/>
                <a:gd name="T67" fmla="*/ 98 h 223"/>
                <a:gd name="T68" fmla="*/ 607 w 1099"/>
                <a:gd name="T69" fmla="*/ 85 h 223"/>
                <a:gd name="T70" fmla="*/ 643 w 1099"/>
                <a:gd name="T71" fmla="*/ 102 h 223"/>
                <a:gd name="T72" fmla="*/ 663 w 1099"/>
                <a:gd name="T73" fmla="*/ 117 h 223"/>
                <a:gd name="T74" fmla="*/ 666 w 1099"/>
                <a:gd name="T75" fmla="*/ 131 h 223"/>
                <a:gd name="T76" fmla="*/ 676 w 1099"/>
                <a:gd name="T77" fmla="*/ 136 h 223"/>
                <a:gd name="T78" fmla="*/ 699 w 1099"/>
                <a:gd name="T79" fmla="*/ 134 h 223"/>
                <a:gd name="T80" fmla="*/ 721 w 1099"/>
                <a:gd name="T81" fmla="*/ 139 h 223"/>
                <a:gd name="T82" fmla="*/ 740 w 1099"/>
                <a:gd name="T83" fmla="*/ 156 h 223"/>
                <a:gd name="T84" fmla="*/ 739 w 1099"/>
                <a:gd name="T85" fmla="*/ 160 h 223"/>
                <a:gd name="T86" fmla="*/ 733 w 1099"/>
                <a:gd name="T87" fmla="*/ 172 h 223"/>
                <a:gd name="T88" fmla="*/ 720 w 1099"/>
                <a:gd name="T89" fmla="*/ 169 h 223"/>
                <a:gd name="T90" fmla="*/ 711 w 1099"/>
                <a:gd name="T91" fmla="*/ 164 h 223"/>
                <a:gd name="T92" fmla="*/ 713 w 1099"/>
                <a:gd name="T93" fmla="*/ 179 h 223"/>
                <a:gd name="T94" fmla="*/ 707 w 1099"/>
                <a:gd name="T95" fmla="*/ 188 h 223"/>
                <a:gd name="T96" fmla="*/ 694 w 1099"/>
                <a:gd name="T97" fmla="*/ 195 h 223"/>
                <a:gd name="T98" fmla="*/ 696 w 1099"/>
                <a:gd name="T99" fmla="*/ 204 h 223"/>
                <a:gd name="T100" fmla="*/ 699 w 1099"/>
                <a:gd name="T101" fmla="*/ 202 h 223"/>
                <a:gd name="T102" fmla="*/ 700 w 1099"/>
                <a:gd name="T103" fmla="*/ 212 h 223"/>
                <a:gd name="T104" fmla="*/ 696 w 1099"/>
                <a:gd name="T105" fmla="*/ 215 h 223"/>
                <a:gd name="T106" fmla="*/ 692 w 1099"/>
                <a:gd name="T107" fmla="*/ 220 h 223"/>
                <a:gd name="T108" fmla="*/ 700 w 1099"/>
                <a:gd name="T109" fmla="*/ 221 h 223"/>
                <a:gd name="T110" fmla="*/ 717 w 1099"/>
                <a:gd name="T111" fmla="*/ 205 h 223"/>
                <a:gd name="T112" fmla="*/ 731 w 1099"/>
                <a:gd name="T113" fmla="*/ 193 h 223"/>
                <a:gd name="T114" fmla="*/ 754 w 1099"/>
                <a:gd name="T115" fmla="*/ 194 h 223"/>
                <a:gd name="T116" fmla="*/ 750 w 1099"/>
                <a:gd name="T117" fmla="*/ 187 h 223"/>
                <a:gd name="T118" fmla="*/ 764 w 1099"/>
                <a:gd name="T119" fmla="*/ 168 h 223"/>
                <a:gd name="T120" fmla="*/ 791 w 1099"/>
                <a:gd name="T121" fmla="*/ 162 h 223"/>
                <a:gd name="T122" fmla="*/ 805 w 1099"/>
                <a:gd name="T123" fmla="*/ 166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99" h="223">
                  <a:moveTo>
                    <a:pt x="812" y="168"/>
                  </a:moveTo>
                  <a:lnTo>
                    <a:pt x="822" y="160"/>
                  </a:lnTo>
                  <a:lnTo>
                    <a:pt x="833" y="153"/>
                  </a:lnTo>
                  <a:lnTo>
                    <a:pt x="845" y="147"/>
                  </a:lnTo>
                  <a:lnTo>
                    <a:pt x="857" y="145"/>
                  </a:lnTo>
                  <a:lnTo>
                    <a:pt x="867" y="142"/>
                  </a:lnTo>
                  <a:lnTo>
                    <a:pt x="877" y="140"/>
                  </a:lnTo>
                  <a:lnTo>
                    <a:pt x="882" y="140"/>
                  </a:lnTo>
                  <a:lnTo>
                    <a:pt x="885" y="140"/>
                  </a:lnTo>
                  <a:lnTo>
                    <a:pt x="892" y="128"/>
                  </a:lnTo>
                  <a:lnTo>
                    <a:pt x="897" y="120"/>
                  </a:lnTo>
                  <a:lnTo>
                    <a:pt x="903" y="116"/>
                  </a:lnTo>
                  <a:lnTo>
                    <a:pt x="907" y="113"/>
                  </a:lnTo>
                  <a:lnTo>
                    <a:pt x="911" y="113"/>
                  </a:lnTo>
                  <a:lnTo>
                    <a:pt x="914" y="113"/>
                  </a:lnTo>
                  <a:lnTo>
                    <a:pt x="915" y="114"/>
                  </a:lnTo>
                  <a:lnTo>
                    <a:pt x="916" y="114"/>
                  </a:lnTo>
                  <a:lnTo>
                    <a:pt x="921" y="116"/>
                  </a:lnTo>
                  <a:lnTo>
                    <a:pt x="923" y="117"/>
                  </a:lnTo>
                  <a:lnTo>
                    <a:pt x="925" y="118"/>
                  </a:lnTo>
                  <a:lnTo>
                    <a:pt x="926" y="121"/>
                  </a:lnTo>
                  <a:lnTo>
                    <a:pt x="926" y="128"/>
                  </a:lnTo>
                  <a:lnTo>
                    <a:pt x="925" y="135"/>
                  </a:lnTo>
                  <a:lnTo>
                    <a:pt x="921" y="142"/>
                  </a:lnTo>
                  <a:lnTo>
                    <a:pt x="918" y="149"/>
                  </a:lnTo>
                  <a:lnTo>
                    <a:pt x="915" y="153"/>
                  </a:lnTo>
                  <a:lnTo>
                    <a:pt x="914" y="156"/>
                  </a:lnTo>
                  <a:lnTo>
                    <a:pt x="918" y="160"/>
                  </a:lnTo>
                  <a:lnTo>
                    <a:pt x="922" y="162"/>
                  </a:lnTo>
                  <a:lnTo>
                    <a:pt x="926" y="165"/>
                  </a:lnTo>
                  <a:lnTo>
                    <a:pt x="930" y="166"/>
                  </a:lnTo>
                  <a:lnTo>
                    <a:pt x="937" y="166"/>
                  </a:lnTo>
                  <a:lnTo>
                    <a:pt x="944" y="165"/>
                  </a:lnTo>
                  <a:lnTo>
                    <a:pt x="949" y="162"/>
                  </a:lnTo>
                  <a:lnTo>
                    <a:pt x="955" y="158"/>
                  </a:lnTo>
                  <a:lnTo>
                    <a:pt x="958" y="156"/>
                  </a:lnTo>
                  <a:lnTo>
                    <a:pt x="958" y="156"/>
                  </a:lnTo>
                  <a:lnTo>
                    <a:pt x="966" y="156"/>
                  </a:lnTo>
                  <a:lnTo>
                    <a:pt x="969" y="157"/>
                  </a:lnTo>
                  <a:lnTo>
                    <a:pt x="969" y="160"/>
                  </a:lnTo>
                  <a:lnTo>
                    <a:pt x="967" y="162"/>
                  </a:lnTo>
                  <a:lnTo>
                    <a:pt x="963" y="165"/>
                  </a:lnTo>
                  <a:lnTo>
                    <a:pt x="960" y="168"/>
                  </a:lnTo>
                  <a:lnTo>
                    <a:pt x="958" y="169"/>
                  </a:lnTo>
                  <a:lnTo>
                    <a:pt x="956" y="171"/>
                  </a:lnTo>
                  <a:lnTo>
                    <a:pt x="949" y="173"/>
                  </a:lnTo>
                  <a:lnTo>
                    <a:pt x="945" y="176"/>
                  </a:lnTo>
                  <a:lnTo>
                    <a:pt x="943" y="180"/>
                  </a:lnTo>
                  <a:lnTo>
                    <a:pt x="943" y="184"/>
                  </a:lnTo>
                  <a:lnTo>
                    <a:pt x="943" y="187"/>
                  </a:lnTo>
                  <a:lnTo>
                    <a:pt x="944" y="191"/>
                  </a:lnTo>
                  <a:lnTo>
                    <a:pt x="945" y="193"/>
                  </a:lnTo>
                  <a:lnTo>
                    <a:pt x="945" y="194"/>
                  </a:lnTo>
                  <a:lnTo>
                    <a:pt x="949" y="194"/>
                  </a:lnTo>
                  <a:lnTo>
                    <a:pt x="956" y="193"/>
                  </a:lnTo>
                  <a:lnTo>
                    <a:pt x="965" y="190"/>
                  </a:lnTo>
                  <a:lnTo>
                    <a:pt x="974" y="187"/>
                  </a:lnTo>
                  <a:lnTo>
                    <a:pt x="982" y="183"/>
                  </a:lnTo>
                  <a:lnTo>
                    <a:pt x="991" y="180"/>
                  </a:lnTo>
                  <a:lnTo>
                    <a:pt x="996" y="177"/>
                  </a:lnTo>
                  <a:lnTo>
                    <a:pt x="998" y="176"/>
                  </a:lnTo>
                  <a:lnTo>
                    <a:pt x="1003" y="173"/>
                  </a:lnTo>
                  <a:lnTo>
                    <a:pt x="1004" y="172"/>
                  </a:lnTo>
                  <a:lnTo>
                    <a:pt x="1004" y="169"/>
                  </a:lnTo>
                  <a:lnTo>
                    <a:pt x="1003" y="166"/>
                  </a:lnTo>
                  <a:lnTo>
                    <a:pt x="1002" y="164"/>
                  </a:lnTo>
                  <a:lnTo>
                    <a:pt x="999" y="162"/>
                  </a:lnTo>
                  <a:lnTo>
                    <a:pt x="996" y="161"/>
                  </a:lnTo>
                  <a:lnTo>
                    <a:pt x="996" y="161"/>
                  </a:lnTo>
                  <a:lnTo>
                    <a:pt x="991" y="160"/>
                  </a:lnTo>
                  <a:lnTo>
                    <a:pt x="985" y="156"/>
                  </a:lnTo>
                  <a:lnTo>
                    <a:pt x="980" y="151"/>
                  </a:lnTo>
                  <a:lnTo>
                    <a:pt x="974" y="146"/>
                  </a:lnTo>
                  <a:lnTo>
                    <a:pt x="969" y="140"/>
                  </a:lnTo>
                  <a:lnTo>
                    <a:pt x="966" y="136"/>
                  </a:lnTo>
                  <a:lnTo>
                    <a:pt x="963" y="134"/>
                  </a:lnTo>
                  <a:lnTo>
                    <a:pt x="962" y="132"/>
                  </a:lnTo>
                  <a:lnTo>
                    <a:pt x="959" y="128"/>
                  </a:lnTo>
                  <a:lnTo>
                    <a:pt x="956" y="124"/>
                  </a:lnTo>
                  <a:lnTo>
                    <a:pt x="956" y="121"/>
                  </a:lnTo>
                  <a:lnTo>
                    <a:pt x="956" y="117"/>
                  </a:lnTo>
                  <a:lnTo>
                    <a:pt x="958" y="114"/>
                  </a:lnTo>
                  <a:lnTo>
                    <a:pt x="959" y="113"/>
                  </a:lnTo>
                  <a:lnTo>
                    <a:pt x="960" y="112"/>
                  </a:lnTo>
                  <a:lnTo>
                    <a:pt x="960" y="110"/>
                  </a:lnTo>
                  <a:lnTo>
                    <a:pt x="960" y="106"/>
                  </a:lnTo>
                  <a:lnTo>
                    <a:pt x="958" y="103"/>
                  </a:lnTo>
                  <a:lnTo>
                    <a:pt x="956" y="102"/>
                  </a:lnTo>
                  <a:lnTo>
                    <a:pt x="954" y="101"/>
                  </a:lnTo>
                  <a:lnTo>
                    <a:pt x="952" y="101"/>
                  </a:lnTo>
                  <a:lnTo>
                    <a:pt x="949" y="102"/>
                  </a:lnTo>
                  <a:lnTo>
                    <a:pt x="948" y="102"/>
                  </a:lnTo>
                  <a:lnTo>
                    <a:pt x="948" y="102"/>
                  </a:lnTo>
                  <a:lnTo>
                    <a:pt x="948" y="96"/>
                  </a:lnTo>
                  <a:lnTo>
                    <a:pt x="952" y="96"/>
                  </a:lnTo>
                  <a:lnTo>
                    <a:pt x="958" y="95"/>
                  </a:lnTo>
                  <a:lnTo>
                    <a:pt x="960" y="92"/>
                  </a:lnTo>
                  <a:lnTo>
                    <a:pt x="963" y="90"/>
                  </a:lnTo>
                  <a:lnTo>
                    <a:pt x="966" y="87"/>
                  </a:lnTo>
                  <a:lnTo>
                    <a:pt x="967" y="84"/>
                  </a:lnTo>
                  <a:lnTo>
                    <a:pt x="969" y="81"/>
                  </a:lnTo>
                  <a:lnTo>
                    <a:pt x="969" y="81"/>
                  </a:lnTo>
                  <a:lnTo>
                    <a:pt x="967" y="76"/>
                  </a:lnTo>
                  <a:lnTo>
                    <a:pt x="965" y="73"/>
                  </a:lnTo>
                  <a:lnTo>
                    <a:pt x="960" y="72"/>
                  </a:lnTo>
                  <a:lnTo>
                    <a:pt x="958" y="72"/>
                  </a:lnTo>
                  <a:lnTo>
                    <a:pt x="954" y="73"/>
                  </a:lnTo>
                  <a:lnTo>
                    <a:pt x="951" y="73"/>
                  </a:lnTo>
                  <a:lnTo>
                    <a:pt x="948" y="74"/>
                  </a:lnTo>
                  <a:lnTo>
                    <a:pt x="948" y="74"/>
                  </a:lnTo>
                  <a:lnTo>
                    <a:pt x="937" y="77"/>
                  </a:lnTo>
                  <a:lnTo>
                    <a:pt x="929" y="80"/>
                  </a:lnTo>
                  <a:lnTo>
                    <a:pt x="921" y="84"/>
                  </a:lnTo>
                  <a:lnTo>
                    <a:pt x="915" y="87"/>
                  </a:lnTo>
                  <a:lnTo>
                    <a:pt x="911" y="91"/>
                  </a:lnTo>
                  <a:lnTo>
                    <a:pt x="907" y="94"/>
                  </a:lnTo>
                  <a:lnTo>
                    <a:pt x="905" y="95"/>
                  </a:lnTo>
                  <a:lnTo>
                    <a:pt x="905" y="96"/>
                  </a:lnTo>
                  <a:lnTo>
                    <a:pt x="900" y="102"/>
                  </a:lnTo>
                  <a:lnTo>
                    <a:pt x="894" y="109"/>
                  </a:lnTo>
                  <a:lnTo>
                    <a:pt x="888" y="113"/>
                  </a:lnTo>
                  <a:lnTo>
                    <a:pt x="881" y="118"/>
                  </a:lnTo>
                  <a:lnTo>
                    <a:pt x="874" y="123"/>
                  </a:lnTo>
                  <a:lnTo>
                    <a:pt x="868" y="125"/>
                  </a:lnTo>
                  <a:lnTo>
                    <a:pt x="864" y="127"/>
                  </a:lnTo>
                  <a:lnTo>
                    <a:pt x="863" y="128"/>
                  </a:lnTo>
                  <a:lnTo>
                    <a:pt x="870" y="120"/>
                  </a:lnTo>
                  <a:lnTo>
                    <a:pt x="877" y="110"/>
                  </a:lnTo>
                  <a:lnTo>
                    <a:pt x="885" y="102"/>
                  </a:lnTo>
                  <a:lnTo>
                    <a:pt x="892" y="92"/>
                  </a:lnTo>
                  <a:lnTo>
                    <a:pt x="899" y="84"/>
                  </a:lnTo>
                  <a:lnTo>
                    <a:pt x="903" y="77"/>
                  </a:lnTo>
                  <a:lnTo>
                    <a:pt x="907" y="73"/>
                  </a:lnTo>
                  <a:lnTo>
                    <a:pt x="908" y="70"/>
                  </a:lnTo>
                  <a:lnTo>
                    <a:pt x="918" y="63"/>
                  </a:lnTo>
                  <a:lnTo>
                    <a:pt x="929" y="57"/>
                  </a:lnTo>
                  <a:lnTo>
                    <a:pt x="937" y="52"/>
                  </a:lnTo>
                  <a:lnTo>
                    <a:pt x="945" y="50"/>
                  </a:lnTo>
                  <a:lnTo>
                    <a:pt x="951" y="47"/>
                  </a:lnTo>
                  <a:lnTo>
                    <a:pt x="956" y="46"/>
                  </a:lnTo>
                  <a:lnTo>
                    <a:pt x="959" y="46"/>
                  </a:lnTo>
                  <a:lnTo>
                    <a:pt x="960" y="46"/>
                  </a:lnTo>
                  <a:lnTo>
                    <a:pt x="971" y="47"/>
                  </a:lnTo>
                  <a:lnTo>
                    <a:pt x="982" y="48"/>
                  </a:lnTo>
                  <a:lnTo>
                    <a:pt x="996" y="48"/>
                  </a:lnTo>
                  <a:lnTo>
                    <a:pt x="1009" y="47"/>
                  </a:lnTo>
                  <a:lnTo>
                    <a:pt x="1020" y="47"/>
                  </a:lnTo>
                  <a:lnTo>
                    <a:pt x="1028" y="46"/>
                  </a:lnTo>
                  <a:lnTo>
                    <a:pt x="1035" y="46"/>
                  </a:lnTo>
                  <a:lnTo>
                    <a:pt x="1036" y="46"/>
                  </a:lnTo>
                  <a:lnTo>
                    <a:pt x="1046" y="43"/>
                  </a:lnTo>
                  <a:lnTo>
                    <a:pt x="1053" y="40"/>
                  </a:lnTo>
                  <a:lnTo>
                    <a:pt x="1057" y="36"/>
                  </a:lnTo>
                  <a:lnTo>
                    <a:pt x="1060" y="33"/>
                  </a:lnTo>
                  <a:lnTo>
                    <a:pt x="1061" y="30"/>
                  </a:lnTo>
                  <a:lnTo>
                    <a:pt x="1062" y="26"/>
                  </a:lnTo>
                  <a:lnTo>
                    <a:pt x="1062" y="25"/>
                  </a:lnTo>
                  <a:lnTo>
                    <a:pt x="1062" y="25"/>
                  </a:lnTo>
                  <a:lnTo>
                    <a:pt x="1066" y="18"/>
                  </a:lnTo>
                  <a:lnTo>
                    <a:pt x="1071" y="13"/>
                  </a:lnTo>
                  <a:lnTo>
                    <a:pt x="1075" y="10"/>
                  </a:lnTo>
                  <a:lnTo>
                    <a:pt x="1079" y="8"/>
                  </a:lnTo>
                  <a:lnTo>
                    <a:pt x="1083" y="8"/>
                  </a:lnTo>
                  <a:lnTo>
                    <a:pt x="1087" y="8"/>
                  </a:lnTo>
                  <a:lnTo>
                    <a:pt x="1088" y="8"/>
                  </a:lnTo>
                  <a:lnTo>
                    <a:pt x="1090" y="10"/>
                  </a:lnTo>
                  <a:lnTo>
                    <a:pt x="1091" y="8"/>
                  </a:lnTo>
                  <a:lnTo>
                    <a:pt x="1093" y="8"/>
                  </a:lnTo>
                  <a:lnTo>
                    <a:pt x="1094" y="7"/>
                  </a:lnTo>
                  <a:lnTo>
                    <a:pt x="1095" y="6"/>
                  </a:lnTo>
                  <a:lnTo>
                    <a:pt x="1095" y="4"/>
                  </a:lnTo>
                  <a:lnTo>
                    <a:pt x="1097" y="3"/>
                  </a:lnTo>
                  <a:lnTo>
                    <a:pt x="1098" y="2"/>
                  </a:lnTo>
                  <a:lnTo>
                    <a:pt x="1099" y="0"/>
                  </a:lnTo>
                  <a:lnTo>
                    <a:pt x="753" y="0"/>
                  </a:lnTo>
                  <a:lnTo>
                    <a:pt x="751" y="6"/>
                  </a:lnTo>
                  <a:lnTo>
                    <a:pt x="750" y="10"/>
                  </a:lnTo>
                  <a:lnTo>
                    <a:pt x="747" y="13"/>
                  </a:lnTo>
                  <a:lnTo>
                    <a:pt x="746" y="15"/>
                  </a:lnTo>
                  <a:lnTo>
                    <a:pt x="743" y="18"/>
                  </a:lnTo>
                  <a:lnTo>
                    <a:pt x="742" y="21"/>
                  </a:lnTo>
                  <a:lnTo>
                    <a:pt x="740" y="21"/>
                  </a:lnTo>
                  <a:lnTo>
                    <a:pt x="740" y="22"/>
                  </a:lnTo>
                  <a:lnTo>
                    <a:pt x="736" y="28"/>
                  </a:lnTo>
                  <a:lnTo>
                    <a:pt x="731" y="30"/>
                  </a:lnTo>
                  <a:lnTo>
                    <a:pt x="728" y="29"/>
                  </a:lnTo>
                  <a:lnTo>
                    <a:pt x="724" y="28"/>
                  </a:lnTo>
                  <a:lnTo>
                    <a:pt x="721" y="25"/>
                  </a:lnTo>
                  <a:lnTo>
                    <a:pt x="718" y="21"/>
                  </a:lnTo>
                  <a:lnTo>
                    <a:pt x="717" y="18"/>
                  </a:lnTo>
                  <a:lnTo>
                    <a:pt x="717" y="18"/>
                  </a:lnTo>
                  <a:lnTo>
                    <a:pt x="717" y="14"/>
                  </a:lnTo>
                  <a:lnTo>
                    <a:pt x="716" y="11"/>
                  </a:lnTo>
                  <a:lnTo>
                    <a:pt x="714" y="10"/>
                  </a:lnTo>
                  <a:lnTo>
                    <a:pt x="713" y="7"/>
                  </a:lnTo>
                  <a:lnTo>
                    <a:pt x="711" y="4"/>
                  </a:lnTo>
                  <a:lnTo>
                    <a:pt x="711" y="3"/>
                  </a:lnTo>
                  <a:lnTo>
                    <a:pt x="710" y="2"/>
                  </a:lnTo>
                  <a:lnTo>
                    <a:pt x="709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3" y="6"/>
                  </a:lnTo>
                  <a:lnTo>
                    <a:pt x="3" y="7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15" y="22"/>
                  </a:lnTo>
                  <a:lnTo>
                    <a:pt x="24" y="29"/>
                  </a:lnTo>
                  <a:lnTo>
                    <a:pt x="32" y="36"/>
                  </a:lnTo>
                  <a:lnTo>
                    <a:pt x="40" y="40"/>
                  </a:lnTo>
                  <a:lnTo>
                    <a:pt x="47" y="43"/>
                  </a:lnTo>
                  <a:lnTo>
                    <a:pt x="53" y="46"/>
                  </a:lnTo>
                  <a:lnTo>
                    <a:pt x="55" y="47"/>
                  </a:lnTo>
                  <a:lnTo>
                    <a:pt x="57" y="48"/>
                  </a:lnTo>
                  <a:lnTo>
                    <a:pt x="62" y="52"/>
                  </a:lnTo>
                  <a:lnTo>
                    <a:pt x="66" y="59"/>
                  </a:lnTo>
                  <a:lnTo>
                    <a:pt x="69" y="63"/>
                  </a:lnTo>
                  <a:lnTo>
                    <a:pt x="72" y="69"/>
                  </a:lnTo>
                  <a:lnTo>
                    <a:pt x="73" y="73"/>
                  </a:lnTo>
                  <a:lnTo>
                    <a:pt x="75" y="76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505" y="79"/>
                  </a:lnTo>
                  <a:lnTo>
                    <a:pt x="520" y="91"/>
                  </a:lnTo>
                  <a:lnTo>
                    <a:pt x="548" y="94"/>
                  </a:lnTo>
                  <a:lnTo>
                    <a:pt x="551" y="96"/>
                  </a:lnTo>
                  <a:lnTo>
                    <a:pt x="553" y="99"/>
                  </a:lnTo>
                  <a:lnTo>
                    <a:pt x="556" y="101"/>
                  </a:lnTo>
                  <a:lnTo>
                    <a:pt x="560" y="102"/>
                  </a:lnTo>
                  <a:lnTo>
                    <a:pt x="563" y="102"/>
                  </a:lnTo>
                  <a:lnTo>
                    <a:pt x="566" y="102"/>
                  </a:lnTo>
                  <a:lnTo>
                    <a:pt x="568" y="102"/>
                  </a:lnTo>
                  <a:lnTo>
                    <a:pt x="568" y="102"/>
                  </a:lnTo>
                  <a:lnTo>
                    <a:pt x="575" y="102"/>
                  </a:lnTo>
                  <a:lnTo>
                    <a:pt x="581" y="99"/>
                  </a:lnTo>
                  <a:lnTo>
                    <a:pt x="586" y="98"/>
                  </a:lnTo>
                  <a:lnTo>
                    <a:pt x="589" y="95"/>
                  </a:lnTo>
                  <a:lnTo>
                    <a:pt x="593" y="92"/>
                  </a:lnTo>
                  <a:lnTo>
                    <a:pt x="595" y="91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601" y="87"/>
                  </a:lnTo>
                  <a:lnTo>
                    <a:pt x="607" y="85"/>
                  </a:lnTo>
                  <a:lnTo>
                    <a:pt x="612" y="85"/>
                  </a:lnTo>
                  <a:lnTo>
                    <a:pt x="617" y="85"/>
                  </a:lnTo>
                  <a:lnTo>
                    <a:pt x="625" y="87"/>
                  </a:lnTo>
                  <a:lnTo>
                    <a:pt x="630" y="91"/>
                  </a:lnTo>
                  <a:lnTo>
                    <a:pt x="636" y="95"/>
                  </a:lnTo>
                  <a:lnTo>
                    <a:pt x="640" y="98"/>
                  </a:lnTo>
                  <a:lnTo>
                    <a:pt x="643" y="102"/>
                  </a:lnTo>
                  <a:lnTo>
                    <a:pt x="643" y="102"/>
                  </a:lnTo>
                  <a:lnTo>
                    <a:pt x="652" y="103"/>
                  </a:lnTo>
                  <a:lnTo>
                    <a:pt x="659" y="105"/>
                  </a:lnTo>
                  <a:lnTo>
                    <a:pt x="663" y="107"/>
                  </a:lnTo>
                  <a:lnTo>
                    <a:pt x="665" y="112"/>
                  </a:lnTo>
                  <a:lnTo>
                    <a:pt x="665" y="114"/>
                  </a:lnTo>
                  <a:lnTo>
                    <a:pt x="663" y="117"/>
                  </a:lnTo>
                  <a:lnTo>
                    <a:pt x="662" y="118"/>
                  </a:lnTo>
                  <a:lnTo>
                    <a:pt x="662" y="120"/>
                  </a:lnTo>
                  <a:lnTo>
                    <a:pt x="662" y="121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5" y="128"/>
                  </a:lnTo>
                  <a:lnTo>
                    <a:pt x="666" y="131"/>
                  </a:lnTo>
                  <a:lnTo>
                    <a:pt x="666" y="132"/>
                  </a:lnTo>
                  <a:lnTo>
                    <a:pt x="667" y="134"/>
                  </a:lnTo>
                  <a:lnTo>
                    <a:pt x="667" y="135"/>
                  </a:lnTo>
                  <a:lnTo>
                    <a:pt x="669" y="135"/>
                  </a:lnTo>
                  <a:lnTo>
                    <a:pt x="670" y="135"/>
                  </a:lnTo>
                  <a:lnTo>
                    <a:pt x="673" y="136"/>
                  </a:lnTo>
                  <a:lnTo>
                    <a:pt x="676" y="136"/>
                  </a:lnTo>
                  <a:lnTo>
                    <a:pt x="680" y="136"/>
                  </a:lnTo>
                  <a:lnTo>
                    <a:pt x="684" y="136"/>
                  </a:lnTo>
                  <a:lnTo>
                    <a:pt x="687" y="136"/>
                  </a:lnTo>
                  <a:lnTo>
                    <a:pt x="691" y="135"/>
                  </a:lnTo>
                  <a:lnTo>
                    <a:pt x="694" y="135"/>
                  </a:lnTo>
                  <a:lnTo>
                    <a:pt x="696" y="134"/>
                  </a:lnTo>
                  <a:lnTo>
                    <a:pt x="699" y="134"/>
                  </a:lnTo>
                  <a:lnTo>
                    <a:pt x="702" y="134"/>
                  </a:lnTo>
                  <a:lnTo>
                    <a:pt x="705" y="134"/>
                  </a:lnTo>
                  <a:lnTo>
                    <a:pt x="707" y="134"/>
                  </a:lnTo>
                  <a:lnTo>
                    <a:pt x="710" y="134"/>
                  </a:lnTo>
                  <a:lnTo>
                    <a:pt x="714" y="135"/>
                  </a:lnTo>
                  <a:lnTo>
                    <a:pt x="717" y="138"/>
                  </a:lnTo>
                  <a:lnTo>
                    <a:pt x="721" y="139"/>
                  </a:lnTo>
                  <a:lnTo>
                    <a:pt x="727" y="142"/>
                  </a:lnTo>
                  <a:lnTo>
                    <a:pt x="731" y="145"/>
                  </a:lnTo>
                  <a:lnTo>
                    <a:pt x="733" y="149"/>
                  </a:lnTo>
                  <a:lnTo>
                    <a:pt x="736" y="150"/>
                  </a:lnTo>
                  <a:lnTo>
                    <a:pt x="739" y="153"/>
                  </a:lnTo>
                  <a:lnTo>
                    <a:pt x="740" y="154"/>
                  </a:lnTo>
                  <a:lnTo>
                    <a:pt x="740" y="156"/>
                  </a:lnTo>
                  <a:lnTo>
                    <a:pt x="740" y="157"/>
                  </a:lnTo>
                  <a:lnTo>
                    <a:pt x="740" y="158"/>
                  </a:lnTo>
                  <a:lnTo>
                    <a:pt x="740" y="158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2" y="164"/>
                  </a:lnTo>
                  <a:lnTo>
                    <a:pt x="742" y="164"/>
                  </a:lnTo>
                  <a:lnTo>
                    <a:pt x="740" y="165"/>
                  </a:lnTo>
                  <a:lnTo>
                    <a:pt x="739" y="166"/>
                  </a:lnTo>
                  <a:lnTo>
                    <a:pt x="738" y="168"/>
                  </a:lnTo>
                  <a:lnTo>
                    <a:pt x="735" y="171"/>
                  </a:lnTo>
                  <a:lnTo>
                    <a:pt x="733" y="172"/>
                  </a:lnTo>
                  <a:lnTo>
                    <a:pt x="731" y="172"/>
                  </a:lnTo>
                  <a:lnTo>
                    <a:pt x="729" y="172"/>
                  </a:lnTo>
                  <a:lnTo>
                    <a:pt x="728" y="171"/>
                  </a:lnTo>
                  <a:lnTo>
                    <a:pt x="725" y="171"/>
                  </a:lnTo>
                  <a:lnTo>
                    <a:pt x="724" y="169"/>
                  </a:lnTo>
                  <a:lnTo>
                    <a:pt x="722" y="169"/>
                  </a:lnTo>
                  <a:lnTo>
                    <a:pt x="720" y="169"/>
                  </a:lnTo>
                  <a:lnTo>
                    <a:pt x="718" y="168"/>
                  </a:lnTo>
                  <a:lnTo>
                    <a:pt x="718" y="168"/>
                  </a:lnTo>
                  <a:lnTo>
                    <a:pt x="718" y="168"/>
                  </a:lnTo>
                  <a:lnTo>
                    <a:pt x="710" y="162"/>
                  </a:lnTo>
                  <a:lnTo>
                    <a:pt x="710" y="162"/>
                  </a:lnTo>
                  <a:lnTo>
                    <a:pt x="710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3" y="168"/>
                  </a:lnTo>
                  <a:lnTo>
                    <a:pt x="713" y="169"/>
                  </a:lnTo>
                  <a:lnTo>
                    <a:pt x="714" y="172"/>
                  </a:lnTo>
                  <a:lnTo>
                    <a:pt x="714" y="175"/>
                  </a:lnTo>
                  <a:lnTo>
                    <a:pt x="714" y="176"/>
                  </a:lnTo>
                  <a:lnTo>
                    <a:pt x="713" y="179"/>
                  </a:lnTo>
                  <a:lnTo>
                    <a:pt x="713" y="180"/>
                  </a:lnTo>
                  <a:lnTo>
                    <a:pt x="713" y="183"/>
                  </a:lnTo>
                  <a:lnTo>
                    <a:pt x="711" y="184"/>
                  </a:lnTo>
                  <a:lnTo>
                    <a:pt x="710" y="186"/>
                  </a:lnTo>
                  <a:lnTo>
                    <a:pt x="710" y="187"/>
                  </a:lnTo>
                  <a:lnTo>
                    <a:pt x="709" y="188"/>
                  </a:lnTo>
                  <a:lnTo>
                    <a:pt x="707" y="188"/>
                  </a:lnTo>
                  <a:lnTo>
                    <a:pt x="705" y="188"/>
                  </a:lnTo>
                  <a:lnTo>
                    <a:pt x="702" y="190"/>
                  </a:lnTo>
                  <a:lnTo>
                    <a:pt x="700" y="191"/>
                  </a:lnTo>
                  <a:lnTo>
                    <a:pt x="698" y="191"/>
                  </a:lnTo>
                  <a:lnTo>
                    <a:pt x="696" y="193"/>
                  </a:lnTo>
                  <a:lnTo>
                    <a:pt x="695" y="194"/>
                  </a:lnTo>
                  <a:lnTo>
                    <a:pt x="694" y="195"/>
                  </a:lnTo>
                  <a:lnTo>
                    <a:pt x="694" y="197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201"/>
                  </a:lnTo>
                  <a:lnTo>
                    <a:pt x="695" y="202"/>
                  </a:lnTo>
                  <a:lnTo>
                    <a:pt x="695" y="202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4"/>
                  </a:lnTo>
                  <a:lnTo>
                    <a:pt x="696" y="202"/>
                  </a:lnTo>
                  <a:lnTo>
                    <a:pt x="698" y="202"/>
                  </a:lnTo>
                  <a:lnTo>
                    <a:pt x="698" y="202"/>
                  </a:lnTo>
                  <a:lnTo>
                    <a:pt x="699" y="202"/>
                  </a:lnTo>
                  <a:lnTo>
                    <a:pt x="700" y="202"/>
                  </a:lnTo>
                  <a:lnTo>
                    <a:pt x="700" y="204"/>
                  </a:lnTo>
                  <a:lnTo>
                    <a:pt x="702" y="205"/>
                  </a:lnTo>
                  <a:lnTo>
                    <a:pt x="702" y="208"/>
                  </a:lnTo>
                  <a:lnTo>
                    <a:pt x="702" y="209"/>
                  </a:lnTo>
                  <a:lnTo>
                    <a:pt x="702" y="210"/>
                  </a:lnTo>
                  <a:lnTo>
                    <a:pt x="700" y="212"/>
                  </a:lnTo>
                  <a:lnTo>
                    <a:pt x="700" y="213"/>
                  </a:lnTo>
                  <a:lnTo>
                    <a:pt x="700" y="213"/>
                  </a:lnTo>
                  <a:lnTo>
                    <a:pt x="699" y="215"/>
                  </a:lnTo>
                  <a:lnTo>
                    <a:pt x="699" y="215"/>
                  </a:lnTo>
                  <a:lnTo>
                    <a:pt x="698" y="215"/>
                  </a:lnTo>
                  <a:lnTo>
                    <a:pt x="698" y="215"/>
                  </a:lnTo>
                  <a:lnTo>
                    <a:pt x="696" y="215"/>
                  </a:lnTo>
                  <a:lnTo>
                    <a:pt x="696" y="216"/>
                  </a:lnTo>
                  <a:lnTo>
                    <a:pt x="695" y="216"/>
                  </a:lnTo>
                  <a:lnTo>
                    <a:pt x="695" y="216"/>
                  </a:lnTo>
                  <a:lnTo>
                    <a:pt x="695" y="217"/>
                  </a:lnTo>
                  <a:lnTo>
                    <a:pt x="694" y="219"/>
                  </a:lnTo>
                  <a:lnTo>
                    <a:pt x="694" y="220"/>
                  </a:lnTo>
                  <a:lnTo>
                    <a:pt x="692" y="220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2" y="221"/>
                  </a:lnTo>
                  <a:lnTo>
                    <a:pt x="695" y="223"/>
                  </a:lnTo>
                  <a:lnTo>
                    <a:pt x="698" y="221"/>
                  </a:lnTo>
                  <a:lnTo>
                    <a:pt x="700" y="221"/>
                  </a:lnTo>
                  <a:lnTo>
                    <a:pt x="703" y="219"/>
                  </a:lnTo>
                  <a:lnTo>
                    <a:pt x="707" y="217"/>
                  </a:lnTo>
                  <a:lnTo>
                    <a:pt x="710" y="215"/>
                  </a:lnTo>
                  <a:lnTo>
                    <a:pt x="713" y="212"/>
                  </a:lnTo>
                  <a:lnTo>
                    <a:pt x="716" y="209"/>
                  </a:lnTo>
                  <a:lnTo>
                    <a:pt x="717" y="206"/>
                  </a:lnTo>
                  <a:lnTo>
                    <a:pt x="717" y="205"/>
                  </a:lnTo>
                  <a:lnTo>
                    <a:pt x="718" y="202"/>
                  </a:lnTo>
                  <a:lnTo>
                    <a:pt x="718" y="199"/>
                  </a:lnTo>
                  <a:lnTo>
                    <a:pt x="720" y="198"/>
                  </a:lnTo>
                  <a:lnTo>
                    <a:pt x="721" y="195"/>
                  </a:lnTo>
                  <a:lnTo>
                    <a:pt x="724" y="194"/>
                  </a:lnTo>
                  <a:lnTo>
                    <a:pt x="727" y="193"/>
                  </a:lnTo>
                  <a:lnTo>
                    <a:pt x="731" y="193"/>
                  </a:lnTo>
                  <a:lnTo>
                    <a:pt x="735" y="193"/>
                  </a:lnTo>
                  <a:lnTo>
                    <a:pt x="739" y="193"/>
                  </a:lnTo>
                  <a:lnTo>
                    <a:pt x="742" y="194"/>
                  </a:lnTo>
                  <a:lnTo>
                    <a:pt x="746" y="194"/>
                  </a:lnTo>
                  <a:lnTo>
                    <a:pt x="749" y="194"/>
                  </a:lnTo>
                  <a:lnTo>
                    <a:pt x="751" y="194"/>
                  </a:lnTo>
                  <a:lnTo>
                    <a:pt x="754" y="194"/>
                  </a:lnTo>
                  <a:lnTo>
                    <a:pt x="755" y="194"/>
                  </a:lnTo>
                  <a:lnTo>
                    <a:pt x="754" y="193"/>
                  </a:lnTo>
                  <a:lnTo>
                    <a:pt x="754" y="193"/>
                  </a:lnTo>
                  <a:lnTo>
                    <a:pt x="753" y="191"/>
                  </a:lnTo>
                  <a:lnTo>
                    <a:pt x="751" y="191"/>
                  </a:lnTo>
                  <a:lnTo>
                    <a:pt x="750" y="190"/>
                  </a:lnTo>
                  <a:lnTo>
                    <a:pt x="750" y="187"/>
                  </a:lnTo>
                  <a:lnTo>
                    <a:pt x="750" y="186"/>
                  </a:lnTo>
                  <a:lnTo>
                    <a:pt x="751" y="184"/>
                  </a:lnTo>
                  <a:lnTo>
                    <a:pt x="753" y="182"/>
                  </a:lnTo>
                  <a:lnTo>
                    <a:pt x="755" y="177"/>
                  </a:lnTo>
                  <a:lnTo>
                    <a:pt x="758" y="175"/>
                  </a:lnTo>
                  <a:lnTo>
                    <a:pt x="761" y="171"/>
                  </a:lnTo>
                  <a:lnTo>
                    <a:pt x="764" y="168"/>
                  </a:lnTo>
                  <a:lnTo>
                    <a:pt x="768" y="165"/>
                  </a:lnTo>
                  <a:lnTo>
                    <a:pt x="771" y="162"/>
                  </a:lnTo>
                  <a:lnTo>
                    <a:pt x="775" y="162"/>
                  </a:lnTo>
                  <a:lnTo>
                    <a:pt x="780" y="162"/>
                  </a:lnTo>
                  <a:lnTo>
                    <a:pt x="784" y="162"/>
                  </a:lnTo>
                  <a:lnTo>
                    <a:pt x="789" y="162"/>
                  </a:lnTo>
                  <a:lnTo>
                    <a:pt x="791" y="162"/>
                  </a:lnTo>
                  <a:lnTo>
                    <a:pt x="795" y="162"/>
                  </a:lnTo>
                  <a:lnTo>
                    <a:pt x="797" y="164"/>
                  </a:lnTo>
                  <a:lnTo>
                    <a:pt x="800" y="164"/>
                  </a:lnTo>
                  <a:lnTo>
                    <a:pt x="800" y="164"/>
                  </a:lnTo>
                  <a:lnTo>
                    <a:pt x="801" y="165"/>
                  </a:lnTo>
                  <a:lnTo>
                    <a:pt x="802" y="165"/>
                  </a:lnTo>
                  <a:lnTo>
                    <a:pt x="805" y="166"/>
                  </a:lnTo>
                  <a:lnTo>
                    <a:pt x="806" y="166"/>
                  </a:lnTo>
                  <a:lnTo>
                    <a:pt x="809" y="168"/>
                  </a:lnTo>
                  <a:lnTo>
                    <a:pt x="811" y="168"/>
                  </a:lnTo>
                  <a:lnTo>
                    <a:pt x="812" y="168"/>
                  </a:lnTo>
                  <a:lnTo>
                    <a:pt x="812" y="168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7" name="Freeform 283"/>
            <p:cNvSpPr>
              <a:spLocks noEditPoints="1"/>
            </p:cNvSpPr>
            <p:nvPr/>
          </p:nvSpPr>
          <p:spPr bwMode="auto">
            <a:xfrm>
              <a:off x="1177" y="1256"/>
              <a:ext cx="1029" cy="179"/>
            </a:xfrm>
            <a:custGeom>
              <a:avLst/>
              <a:gdLst>
                <a:gd name="T0" fmla="*/ 1273 w 1273"/>
                <a:gd name="T1" fmla="*/ 204 h 222"/>
                <a:gd name="T2" fmla="*/ 1267 w 1273"/>
                <a:gd name="T3" fmla="*/ 182 h 222"/>
                <a:gd name="T4" fmla="*/ 1253 w 1273"/>
                <a:gd name="T5" fmla="*/ 171 h 222"/>
                <a:gd name="T6" fmla="*/ 1248 w 1273"/>
                <a:gd name="T7" fmla="*/ 155 h 222"/>
                <a:gd name="T8" fmla="*/ 1244 w 1273"/>
                <a:gd name="T9" fmla="*/ 151 h 222"/>
                <a:gd name="T10" fmla="*/ 1211 w 1273"/>
                <a:gd name="T11" fmla="*/ 155 h 222"/>
                <a:gd name="T12" fmla="*/ 1204 w 1273"/>
                <a:gd name="T13" fmla="*/ 141 h 222"/>
                <a:gd name="T14" fmla="*/ 1190 w 1273"/>
                <a:gd name="T15" fmla="*/ 98 h 222"/>
                <a:gd name="T16" fmla="*/ 1189 w 1273"/>
                <a:gd name="T17" fmla="*/ 98 h 222"/>
                <a:gd name="T18" fmla="*/ 1189 w 1273"/>
                <a:gd name="T19" fmla="*/ 100 h 222"/>
                <a:gd name="T20" fmla="*/ 1164 w 1273"/>
                <a:gd name="T21" fmla="*/ 45 h 222"/>
                <a:gd name="T22" fmla="*/ 1150 w 1273"/>
                <a:gd name="T23" fmla="*/ 15 h 222"/>
                <a:gd name="T24" fmla="*/ 1143 w 1273"/>
                <a:gd name="T25" fmla="*/ 2 h 222"/>
                <a:gd name="T26" fmla="*/ 1124 w 1273"/>
                <a:gd name="T27" fmla="*/ 26 h 222"/>
                <a:gd name="T28" fmla="*/ 1106 w 1273"/>
                <a:gd name="T29" fmla="*/ 37 h 222"/>
                <a:gd name="T30" fmla="*/ 1072 w 1273"/>
                <a:gd name="T31" fmla="*/ 37 h 222"/>
                <a:gd name="T32" fmla="*/ 1065 w 1273"/>
                <a:gd name="T33" fmla="*/ 23 h 222"/>
                <a:gd name="T34" fmla="*/ 1063 w 1273"/>
                <a:gd name="T35" fmla="*/ 4 h 222"/>
                <a:gd name="T36" fmla="*/ 929 w 1273"/>
                <a:gd name="T37" fmla="*/ 24 h 222"/>
                <a:gd name="T38" fmla="*/ 924 w 1273"/>
                <a:gd name="T39" fmla="*/ 41 h 222"/>
                <a:gd name="T40" fmla="*/ 940 w 1273"/>
                <a:gd name="T41" fmla="*/ 89 h 222"/>
                <a:gd name="T42" fmla="*/ 941 w 1273"/>
                <a:gd name="T43" fmla="*/ 119 h 222"/>
                <a:gd name="T44" fmla="*/ 930 w 1273"/>
                <a:gd name="T45" fmla="*/ 131 h 222"/>
                <a:gd name="T46" fmla="*/ 916 w 1273"/>
                <a:gd name="T47" fmla="*/ 151 h 222"/>
                <a:gd name="T48" fmla="*/ 909 w 1273"/>
                <a:gd name="T49" fmla="*/ 158 h 222"/>
                <a:gd name="T50" fmla="*/ 909 w 1273"/>
                <a:gd name="T51" fmla="*/ 185 h 222"/>
                <a:gd name="T52" fmla="*/ 913 w 1273"/>
                <a:gd name="T53" fmla="*/ 206 h 222"/>
                <a:gd name="T54" fmla="*/ 922 w 1273"/>
                <a:gd name="T55" fmla="*/ 217 h 222"/>
                <a:gd name="T56" fmla="*/ 922 w 1273"/>
                <a:gd name="T57" fmla="*/ 219 h 222"/>
                <a:gd name="T58" fmla="*/ 878 w 1273"/>
                <a:gd name="T59" fmla="*/ 222 h 222"/>
                <a:gd name="T60" fmla="*/ 878 w 1273"/>
                <a:gd name="T61" fmla="*/ 221 h 222"/>
                <a:gd name="T62" fmla="*/ 868 w 1273"/>
                <a:gd name="T63" fmla="*/ 215 h 222"/>
                <a:gd name="T64" fmla="*/ 865 w 1273"/>
                <a:gd name="T65" fmla="*/ 203 h 222"/>
                <a:gd name="T66" fmla="*/ 858 w 1273"/>
                <a:gd name="T67" fmla="*/ 185 h 222"/>
                <a:gd name="T68" fmla="*/ 854 w 1273"/>
                <a:gd name="T69" fmla="*/ 163 h 222"/>
                <a:gd name="T70" fmla="*/ 836 w 1273"/>
                <a:gd name="T71" fmla="*/ 142 h 222"/>
                <a:gd name="T72" fmla="*/ 813 w 1273"/>
                <a:gd name="T73" fmla="*/ 138 h 222"/>
                <a:gd name="T74" fmla="*/ 786 w 1273"/>
                <a:gd name="T75" fmla="*/ 142 h 222"/>
                <a:gd name="T76" fmla="*/ 755 w 1273"/>
                <a:gd name="T77" fmla="*/ 126 h 222"/>
                <a:gd name="T78" fmla="*/ 743 w 1273"/>
                <a:gd name="T79" fmla="*/ 97 h 222"/>
                <a:gd name="T80" fmla="*/ 718 w 1273"/>
                <a:gd name="T81" fmla="*/ 68 h 222"/>
                <a:gd name="T82" fmla="*/ 710 w 1273"/>
                <a:gd name="T83" fmla="*/ 54 h 222"/>
                <a:gd name="T84" fmla="*/ 704 w 1273"/>
                <a:gd name="T85" fmla="*/ 45 h 222"/>
                <a:gd name="T86" fmla="*/ 677 w 1273"/>
                <a:gd name="T87" fmla="*/ 35 h 222"/>
                <a:gd name="T88" fmla="*/ 673 w 1273"/>
                <a:gd name="T89" fmla="*/ 13 h 222"/>
                <a:gd name="T90" fmla="*/ 673 w 1273"/>
                <a:gd name="T91" fmla="*/ 5 h 222"/>
                <a:gd name="T92" fmla="*/ 7 w 1273"/>
                <a:gd name="T93" fmla="*/ 5 h 222"/>
                <a:gd name="T94" fmla="*/ 37 w 1273"/>
                <a:gd name="T95" fmla="*/ 30 h 222"/>
                <a:gd name="T96" fmla="*/ 54 w 1273"/>
                <a:gd name="T97" fmla="*/ 27 h 222"/>
                <a:gd name="T98" fmla="*/ 66 w 1273"/>
                <a:gd name="T99" fmla="*/ 17 h 222"/>
                <a:gd name="T100" fmla="*/ 112 w 1273"/>
                <a:gd name="T101" fmla="*/ 71 h 222"/>
                <a:gd name="T102" fmla="*/ 135 w 1273"/>
                <a:gd name="T103" fmla="*/ 108 h 222"/>
                <a:gd name="T104" fmla="*/ 153 w 1273"/>
                <a:gd name="T105" fmla="*/ 126 h 222"/>
                <a:gd name="T106" fmla="*/ 150 w 1273"/>
                <a:gd name="T107" fmla="*/ 153 h 222"/>
                <a:gd name="T108" fmla="*/ 143 w 1273"/>
                <a:gd name="T109" fmla="*/ 180 h 222"/>
                <a:gd name="T110" fmla="*/ 149 w 1273"/>
                <a:gd name="T111" fmla="*/ 196 h 222"/>
                <a:gd name="T112" fmla="*/ 158 w 1273"/>
                <a:gd name="T113" fmla="*/ 206 h 222"/>
                <a:gd name="T114" fmla="*/ 169 w 1273"/>
                <a:gd name="T115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22">
                  <a:moveTo>
                    <a:pt x="1268" y="222"/>
                  </a:moveTo>
                  <a:lnTo>
                    <a:pt x="1270" y="218"/>
                  </a:lnTo>
                  <a:lnTo>
                    <a:pt x="1271" y="214"/>
                  </a:lnTo>
                  <a:lnTo>
                    <a:pt x="1271" y="210"/>
                  </a:lnTo>
                  <a:lnTo>
                    <a:pt x="1273" y="204"/>
                  </a:lnTo>
                  <a:lnTo>
                    <a:pt x="1273" y="200"/>
                  </a:lnTo>
                  <a:lnTo>
                    <a:pt x="1271" y="195"/>
                  </a:lnTo>
                  <a:lnTo>
                    <a:pt x="1271" y="191"/>
                  </a:lnTo>
                  <a:lnTo>
                    <a:pt x="1270" y="186"/>
                  </a:lnTo>
                  <a:lnTo>
                    <a:pt x="1267" y="182"/>
                  </a:lnTo>
                  <a:lnTo>
                    <a:pt x="1264" y="178"/>
                  </a:lnTo>
                  <a:lnTo>
                    <a:pt x="1260" y="175"/>
                  </a:lnTo>
                  <a:lnTo>
                    <a:pt x="1259" y="174"/>
                  </a:lnTo>
                  <a:lnTo>
                    <a:pt x="1256" y="173"/>
                  </a:lnTo>
                  <a:lnTo>
                    <a:pt x="1253" y="171"/>
                  </a:lnTo>
                  <a:lnTo>
                    <a:pt x="1252" y="171"/>
                  </a:lnTo>
                  <a:lnTo>
                    <a:pt x="1252" y="171"/>
                  </a:lnTo>
                  <a:lnTo>
                    <a:pt x="1251" y="164"/>
                  </a:lnTo>
                  <a:lnTo>
                    <a:pt x="1249" y="159"/>
                  </a:lnTo>
                  <a:lnTo>
                    <a:pt x="1248" y="155"/>
                  </a:lnTo>
                  <a:lnTo>
                    <a:pt x="1246" y="153"/>
                  </a:lnTo>
                  <a:lnTo>
                    <a:pt x="1245" y="152"/>
                  </a:lnTo>
                  <a:lnTo>
                    <a:pt x="1245" y="151"/>
                  </a:lnTo>
                  <a:lnTo>
                    <a:pt x="1244" y="151"/>
                  </a:lnTo>
                  <a:lnTo>
                    <a:pt x="1244" y="151"/>
                  </a:lnTo>
                  <a:lnTo>
                    <a:pt x="1223" y="151"/>
                  </a:lnTo>
                  <a:lnTo>
                    <a:pt x="1219" y="153"/>
                  </a:lnTo>
                  <a:lnTo>
                    <a:pt x="1216" y="155"/>
                  </a:lnTo>
                  <a:lnTo>
                    <a:pt x="1213" y="155"/>
                  </a:lnTo>
                  <a:lnTo>
                    <a:pt x="1211" y="155"/>
                  </a:lnTo>
                  <a:lnTo>
                    <a:pt x="1209" y="153"/>
                  </a:lnTo>
                  <a:lnTo>
                    <a:pt x="1208" y="152"/>
                  </a:lnTo>
                  <a:lnTo>
                    <a:pt x="1208" y="152"/>
                  </a:lnTo>
                  <a:lnTo>
                    <a:pt x="1208" y="151"/>
                  </a:lnTo>
                  <a:lnTo>
                    <a:pt x="1204" y="141"/>
                  </a:lnTo>
                  <a:lnTo>
                    <a:pt x="1201" y="131"/>
                  </a:lnTo>
                  <a:lnTo>
                    <a:pt x="1198" y="122"/>
                  </a:lnTo>
                  <a:lnTo>
                    <a:pt x="1195" y="112"/>
                  </a:lnTo>
                  <a:lnTo>
                    <a:pt x="1193" y="105"/>
                  </a:lnTo>
                  <a:lnTo>
                    <a:pt x="1190" y="98"/>
                  </a:lnTo>
                  <a:lnTo>
                    <a:pt x="1189" y="96"/>
                  </a:lnTo>
                  <a:lnTo>
                    <a:pt x="1189" y="93"/>
                  </a:lnTo>
                  <a:lnTo>
                    <a:pt x="1189" y="94"/>
                  </a:lnTo>
                  <a:lnTo>
                    <a:pt x="1189" y="96"/>
                  </a:lnTo>
                  <a:lnTo>
                    <a:pt x="1189" y="98"/>
                  </a:lnTo>
                  <a:lnTo>
                    <a:pt x="1189" y="101"/>
                  </a:lnTo>
                  <a:lnTo>
                    <a:pt x="1189" y="104"/>
                  </a:lnTo>
                  <a:lnTo>
                    <a:pt x="1189" y="104"/>
                  </a:lnTo>
                  <a:lnTo>
                    <a:pt x="1189" y="103"/>
                  </a:lnTo>
                  <a:lnTo>
                    <a:pt x="1189" y="100"/>
                  </a:lnTo>
                  <a:lnTo>
                    <a:pt x="1187" y="93"/>
                  </a:lnTo>
                  <a:lnTo>
                    <a:pt x="1183" y="83"/>
                  </a:lnTo>
                  <a:lnTo>
                    <a:pt x="1178" y="71"/>
                  </a:lnTo>
                  <a:lnTo>
                    <a:pt x="1171" y="57"/>
                  </a:lnTo>
                  <a:lnTo>
                    <a:pt x="1164" y="45"/>
                  </a:lnTo>
                  <a:lnTo>
                    <a:pt x="1158" y="34"/>
                  </a:lnTo>
                  <a:lnTo>
                    <a:pt x="1154" y="27"/>
                  </a:lnTo>
                  <a:lnTo>
                    <a:pt x="1153" y="24"/>
                  </a:lnTo>
                  <a:lnTo>
                    <a:pt x="1151" y="19"/>
                  </a:lnTo>
                  <a:lnTo>
                    <a:pt x="1150" y="15"/>
                  </a:lnTo>
                  <a:lnTo>
                    <a:pt x="1149" y="12"/>
                  </a:lnTo>
                  <a:lnTo>
                    <a:pt x="1147" y="9"/>
                  </a:lnTo>
                  <a:lnTo>
                    <a:pt x="1146" y="6"/>
                  </a:lnTo>
                  <a:lnTo>
                    <a:pt x="1145" y="4"/>
                  </a:lnTo>
                  <a:lnTo>
                    <a:pt x="1143" y="2"/>
                  </a:lnTo>
                  <a:lnTo>
                    <a:pt x="1142" y="0"/>
                  </a:lnTo>
                  <a:lnTo>
                    <a:pt x="1128" y="0"/>
                  </a:lnTo>
                  <a:lnTo>
                    <a:pt x="1129" y="11"/>
                  </a:lnTo>
                  <a:lnTo>
                    <a:pt x="1127" y="19"/>
                  </a:lnTo>
                  <a:lnTo>
                    <a:pt x="1124" y="26"/>
                  </a:lnTo>
                  <a:lnTo>
                    <a:pt x="1120" y="30"/>
                  </a:lnTo>
                  <a:lnTo>
                    <a:pt x="1114" y="34"/>
                  </a:lnTo>
                  <a:lnTo>
                    <a:pt x="1110" y="35"/>
                  </a:lnTo>
                  <a:lnTo>
                    <a:pt x="1107" y="37"/>
                  </a:lnTo>
                  <a:lnTo>
                    <a:pt x="1106" y="37"/>
                  </a:lnTo>
                  <a:lnTo>
                    <a:pt x="1095" y="41"/>
                  </a:lnTo>
                  <a:lnTo>
                    <a:pt x="1087" y="44"/>
                  </a:lnTo>
                  <a:lnTo>
                    <a:pt x="1080" y="42"/>
                  </a:lnTo>
                  <a:lnTo>
                    <a:pt x="1074" y="41"/>
                  </a:lnTo>
                  <a:lnTo>
                    <a:pt x="1072" y="37"/>
                  </a:lnTo>
                  <a:lnTo>
                    <a:pt x="1069" y="34"/>
                  </a:lnTo>
                  <a:lnTo>
                    <a:pt x="1068" y="31"/>
                  </a:lnTo>
                  <a:lnTo>
                    <a:pt x="1068" y="31"/>
                  </a:lnTo>
                  <a:lnTo>
                    <a:pt x="1066" y="27"/>
                  </a:lnTo>
                  <a:lnTo>
                    <a:pt x="1065" y="23"/>
                  </a:lnTo>
                  <a:lnTo>
                    <a:pt x="1063" y="19"/>
                  </a:lnTo>
                  <a:lnTo>
                    <a:pt x="1062" y="15"/>
                  </a:lnTo>
                  <a:lnTo>
                    <a:pt x="1062" y="11"/>
                  </a:lnTo>
                  <a:lnTo>
                    <a:pt x="1063" y="6"/>
                  </a:lnTo>
                  <a:lnTo>
                    <a:pt x="1063" y="4"/>
                  </a:lnTo>
                  <a:lnTo>
                    <a:pt x="1063" y="0"/>
                  </a:lnTo>
                  <a:lnTo>
                    <a:pt x="937" y="0"/>
                  </a:lnTo>
                  <a:lnTo>
                    <a:pt x="933" y="9"/>
                  </a:lnTo>
                  <a:lnTo>
                    <a:pt x="931" y="17"/>
                  </a:lnTo>
                  <a:lnTo>
                    <a:pt x="929" y="24"/>
                  </a:lnTo>
                  <a:lnTo>
                    <a:pt x="927" y="30"/>
                  </a:lnTo>
                  <a:lnTo>
                    <a:pt x="926" y="35"/>
                  </a:lnTo>
                  <a:lnTo>
                    <a:pt x="924" y="38"/>
                  </a:lnTo>
                  <a:lnTo>
                    <a:pt x="924" y="41"/>
                  </a:lnTo>
                  <a:lnTo>
                    <a:pt x="924" y="41"/>
                  </a:lnTo>
                  <a:lnTo>
                    <a:pt x="927" y="46"/>
                  </a:lnTo>
                  <a:lnTo>
                    <a:pt x="930" y="56"/>
                  </a:lnTo>
                  <a:lnTo>
                    <a:pt x="934" y="67"/>
                  </a:lnTo>
                  <a:lnTo>
                    <a:pt x="937" y="78"/>
                  </a:lnTo>
                  <a:lnTo>
                    <a:pt x="940" y="89"/>
                  </a:lnTo>
                  <a:lnTo>
                    <a:pt x="941" y="98"/>
                  </a:lnTo>
                  <a:lnTo>
                    <a:pt x="942" y="104"/>
                  </a:lnTo>
                  <a:lnTo>
                    <a:pt x="942" y="107"/>
                  </a:lnTo>
                  <a:lnTo>
                    <a:pt x="942" y="114"/>
                  </a:lnTo>
                  <a:lnTo>
                    <a:pt x="941" y="119"/>
                  </a:lnTo>
                  <a:lnTo>
                    <a:pt x="938" y="125"/>
                  </a:lnTo>
                  <a:lnTo>
                    <a:pt x="937" y="127"/>
                  </a:lnTo>
                  <a:lnTo>
                    <a:pt x="934" y="130"/>
                  </a:lnTo>
                  <a:lnTo>
                    <a:pt x="931" y="131"/>
                  </a:lnTo>
                  <a:lnTo>
                    <a:pt x="930" y="131"/>
                  </a:lnTo>
                  <a:lnTo>
                    <a:pt x="930" y="131"/>
                  </a:lnTo>
                  <a:lnTo>
                    <a:pt x="927" y="138"/>
                  </a:lnTo>
                  <a:lnTo>
                    <a:pt x="924" y="142"/>
                  </a:lnTo>
                  <a:lnTo>
                    <a:pt x="920" y="147"/>
                  </a:lnTo>
                  <a:lnTo>
                    <a:pt x="916" y="151"/>
                  </a:lnTo>
                  <a:lnTo>
                    <a:pt x="913" y="152"/>
                  </a:lnTo>
                  <a:lnTo>
                    <a:pt x="909" y="153"/>
                  </a:lnTo>
                  <a:lnTo>
                    <a:pt x="908" y="155"/>
                  </a:lnTo>
                  <a:lnTo>
                    <a:pt x="907" y="155"/>
                  </a:lnTo>
                  <a:lnTo>
                    <a:pt x="909" y="158"/>
                  </a:lnTo>
                  <a:lnTo>
                    <a:pt x="909" y="162"/>
                  </a:lnTo>
                  <a:lnTo>
                    <a:pt x="911" y="167"/>
                  </a:lnTo>
                  <a:lnTo>
                    <a:pt x="911" y="174"/>
                  </a:lnTo>
                  <a:lnTo>
                    <a:pt x="911" y="180"/>
                  </a:lnTo>
                  <a:lnTo>
                    <a:pt x="909" y="185"/>
                  </a:lnTo>
                  <a:lnTo>
                    <a:pt x="909" y="189"/>
                  </a:lnTo>
                  <a:lnTo>
                    <a:pt x="909" y="191"/>
                  </a:lnTo>
                  <a:lnTo>
                    <a:pt x="909" y="196"/>
                  </a:lnTo>
                  <a:lnTo>
                    <a:pt x="911" y="202"/>
                  </a:lnTo>
                  <a:lnTo>
                    <a:pt x="913" y="206"/>
                  </a:lnTo>
                  <a:lnTo>
                    <a:pt x="916" y="210"/>
                  </a:lnTo>
                  <a:lnTo>
                    <a:pt x="918" y="213"/>
                  </a:lnTo>
                  <a:lnTo>
                    <a:pt x="920" y="214"/>
                  </a:lnTo>
                  <a:lnTo>
                    <a:pt x="922" y="215"/>
                  </a:lnTo>
                  <a:lnTo>
                    <a:pt x="922" y="217"/>
                  </a:lnTo>
                  <a:lnTo>
                    <a:pt x="922" y="217"/>
                  </a:lnTo>
                  <a:lnTo>
                    <a:pt x="922" y="218"/>
                  </a:lnTo>
                  <a:lnTo>
                    <a:pt x="922" y="218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21"/>
                  </a:lnTo>
                  <a:lnTo>
                    <a:pt x="922" y="221"/>
                  </a:lnTo>
                  <a:lnTo>
                    <a:pt x="922" y="222"/>
                  </a:lnTo>
                  <a:lnTo>
                    <a:pt x="1268" y="222"/>
                  </a:lnTo>
                  <a:close/>
                  <a:moveTo>
                    <a:pt x="878" y="222"/>
                  </a:moveTo>
                  <a:lnTo>
                    <a:pt x="878" y="222"/>
                  </a:lnTo>
                  <a:lnTo>
                    <a:pt x="878" y="222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8" y="221"/>
                  </a:lnTo>
                  <a:lnTo>
                    <a:pt x="872" y="219"/>
                  </a:lnTo>
                  <a:lnTo>
                    <a:pt x="868" y="215"/>
                  </a:lnTo>
                  <a:lnTo>
                    <a:pt x="867" y="213"/>
                  </a:lnTo>
                  <a:lnTo>
                    <a:pt x="865" y="210"/>
                  </a:lnTo>
                  <a:lnTo>
                    <a:pt x="864" y="207"/>
                  </a:lnTo>
                  <a:lnTo>
                    <a:pt x="864" y="204"/>
                  </a:lnTo>
                  <a:lnTo>
                    <a:pt x="865" y="203"/>
                  </a:lnTo>
                  <a:lnTo>
                    <a:pt x="865" y="202"/>
                  </a:lnTo>
                  <a:lnTo>
                    <a:pt x="863" y="199"/>
                  </a:lnTo>
                  <a:lnTo>
                    <a:pt x="861" y="195"/>
                  </a:lnTo>
                  <a:lnTo>
                    <a:pt x="858" y="191"/>
                  </a:lnTo>
                  <a:lnTo>
                    <a:pt x="858" y="185"/>
                  </a:lnTo>
                  <a:lnTo>
                    <a:pt x="857" y="181"/>
                  </a:lnTo>
                  <a:lnTo>
                    <a:pt x="857" y="178"/>
                  </a:lnTo>
                  <a:lnTo>
                    <a:pt x="856" y="175"/>
                  </a:lnTo>
                  <a:lnTo>
                    <a:pt x="856" y="174"/>
                  </a:lnTo>
                  <a:lnTo>
                    <a:pt x="854" y="163"/>
                  </a:lnTo>
                  <a:lnTo>
                    <a:pt x="852" y="153"/>
                  </a:lnTo>
                  <a:lnTo>
                    <a:pt x="847" y="148"/>
                  </a:lnTo>
                  <a:lnTo>
                    <a:pt x="843" y="145"/>
                  </a:lnTo>
                  <a:lnTo>
                    <a:pt x="839" y="142"/>
                  </a:lnTo>
                  <a:lnTo>
                    <a:pt x="836" y="142"/>
                  </a:lnTo>
                  <a:lnTo>
                    <a:pt x="834" y="142"/>
                  </a:lnTo>
                  <a:lnTo>
                    <a:pt x="832" y="142"/>
                  </a:lnTo>
                  <a:lnTo>
                    <a:pt x="827" y="140"/>
                  </a:lnTo>
                  <a:lnTo>
                    <a:pt x="820" y="138"/>
                  </a:lnTo>
                  <a:lnTo>
                    <a:pt x="813" y="138"/>
                  </a:lnTo>
                  <a:lnTo>
                    <a:pt x="805" y="140"/>
                  </a:lnTo>
                  <a:lnTo>
                    <a:pt x="798" y="140"/>
                  </a:lnTo>
                  <a:lnTo>
                    <a:pt x="791" y="141"/>
                  </a:lnTo>
                  <a:lnTo>
                    <a:pt x="787" y="142"/>
                  </a:lnTo>
                  <a:lnTo>
                    <a:pt x="786" y="142"/>
                  </a:lnTo>
                  <a:lnTo>
                    <a:pt x="780" y="141"/>
                  </a:lnTo>
                  <a:lnTo>
                    <a:pt x="773" y="140"/>
                  </a:lnTo>
                  <a:lnTo>
                    <a:pt x="768" y="137"/>
                  </a:lnTo>
                  <a:lnTo>
                    <a:pt x="764" y="134"/>
                  </a:lnTo>
                  <a:lnTo>
                    <a:pt x="755" y="126"/>
                  </a:lnTo>
                  <a:lnTo>
                    <a:pt x="750" y="119"/>
                  </a:lnTo>
                  <a:lnTo>
                    <a:pt x="746" y="111"/>
                  </a:lnTo>
                  <a:lnTo>
                    <a:pt x="744" y="104"/>
                  </a:lnTo>
                  <a:lnTo>
                    <a:pt x="743" y="100"/>
                  </a:lnTo>
                  <a:lnTo>
                    <a:pt x="743" y="97"/>
                  </a:lnTo>
                  <a:lnTo>
                    <a:pt x="737" y="89"/>
                  </a:lnTo>
                  <a:lnTo>
                    <a:pt x="733" y="81"/>
                  </a:lnTo>
                  <a:lnTo>
                    <a:pt x="728" y="75"/>
                  </a:lnTo>
                  <a:lnTo>
                    <a:pt x="724" y="71"/>
                  </a:lnTo>
                  <a:lnTo>
                    <a:pt x="718" y="68"/>
                  </a:lnTo>
                  <a:lnTo>
                    <a:pt x="715" y="65"/>
                  </a:lnTo>
                  <a:lnTo>
                    <a:pt x="713" y="64"/>
                  </a:lnTo>
                  <a:lnTo>
                    <a:pt x="713" y="64"/>
                  </a:lnTo>
                  <a:lnTo>
                    <a:pt x="711" y="59"/>
                  </a:lnTo>
                  <a:lnTo>
                    <a:pt x="710" y="54"/>
                  </a:lnTo>
                  <a:lnTo>
                    <a:pt x="709" y="52"/>
                  </a:lnTo>
                  <a:lnTo>
                    <a:pt x="707" y="49"/>
                  </a:lnTo>
                  <a:lnTo>
                    <a:pt x="706" y="48"/>
                  </a:lnTo>
                  <a:lnTo>
                    <a:pt x="704" y="46"/>
                  </a:lnTo>
                  <a:lnTo>
                    <a:pt x="704" y="45"/>
                  </a:lnTo>
                  <a:lnTo>
                    <a:pt x="704" y="45"/>
                  </a:lnTo>
                  <a:lnTo>
                    <a:pt x="693" y="48"/>
                  </a:lnTo>
                  <a:lnTo>
                    <a:pt x="687" y="45"/>
                  </a:lnTo>
                  <a:lnTo>
                    <a:pt x="681" y="41"/>
                  </a:lnTo>
                  <a:lnTo>
                    <a:pt x="677" y="35"/>
                  </a:lnTo>
                  <a:lnTo>
                    <a:pt x="676" y="30"/>
                  </a:lnTo>
                  <a:lnTo>
                    <a:pt x="674" y="24"/>
                  </a:lnTo>
                  <a:lnTo>
                    <a:pt x="673" y="19"/>
                  </a:lnTo>
                  <a:lnTo>
                    <a:pt x="673" y="15"/>
                  </a:lnTo>
                  <a:lnTo>
                    <a:pt x="673" y="13"/>
                  </a:lnTo>
                  <a:lnTo>
                    <a:pt x="673" y="12"/>
                  </a:lnTo>
                  <a:lnTo>
                    <a:pt x="673" y="11"/>
                  </a:lnTo>
                  <a:lnTo>
                    <a:pt x="673" y="9"/>
                  </a:lnTo>
                  <a:lnTo>
                    <a:pt x="673" y="8"/>
                  </a:lnTo>
                  <a:lnTo>
                    <a:pt x="673" y="5"/>
                  </a:lnTo>
                  <a:lnTo>
                    <a:pt x="673" y="4"/>
                  </a:lnTo>
                  <a:lnTo>
                    <a:pt x="673" y="2"/>
                  </a:lnTo>
                  <a:lnTo>
                    <a:pt x="674" y="0"/>
                  </a:lnTo>
                  <a:lnTo>
                    <a:pt x="0" y="0"/>
                  </a:lnTo>
                  <a:lnTo>
                    <a:pt x="7" y="5"/>
                  </a:lnTo>
                  <a:lnTo>
                    <a:pt x="14" y="11"/>
                  </a:lnTo>
                  <a:lnTo>
                    <a:pt x="21" y="16"/>
                  </a:lnTo>
                  <a:lnTo>
                    <a:pt x="28" y="22"/>
                  </a:lnTo>
                  <a:lnTo>
                    <a:pt x="33" y="26"/>
                  </a:lnTo>
                  <a:lnTo>
                    <a:pt x="37" y="30"/>
                  </a:lnTo>
                  <a:lnTo>
                    <a:pt x="40" y="31"/>
                  </a:lnTo>
                  <a:lnTo>
                    <a:pt x="41" y="33"/>
                  </a:lnTo>
                  <a:lnTo>
                    <a:pt x="45" y="31"/>
                  </a:lnTo>
                  <a:lnTo>
                    <a:pt x="50" y="30"/>
                  </a:lnTo>
                  <a:lnTo>
                    <a:pt x="54" y="27"/>
                  </a:lnTo>
                  <a:lnTo>
                    <a:pt x="58" y="24"/>
                  </a:lnTo>
                  <a:lnTo>
                    <a:pt x="62" y="22"/>
                  </a:lnTo>
                  <a:lnTo>
                    <a:pt x="65" y="19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73" y="22"/>
                  </a:lnTo>
                  <a:lnTo>
                    <a:pt x="83" y="31"/>
                  </a:lnTo>
                  <a:lnTo>
                    <a:pt x="92" y="44"/>
                  </a:lnTo>
                  <a:lnTo>
                    <a:pt x="102" y="57"/>
                  </a:lnTo>
                  <a:lnTo>
                    <a:pt x="112" y="71"/>
                  </a:lnTo>
                  <a:lnTo>
                    <a:pt x="118" y="82"/>
                  </a:lnTo>
                  <a:lnTo>
                    <a:pt x="124" y="90"/>
                  </a:lnTo>
                  <a:lnTo>
                    <a:pt x="127" y="93"/>
                  </a:lnTo>
                  <a:lnTo>
                    <a:pt x="131" y="101"/>
                  </a:lnTo>
                  <a:lnTo>
                    <a:pt x="135" y="108"/>
                  </a:lnTo>
                  <a:lnTo>
                    <a:pt x="139" y="114"/>
                  </a:lnTo>
                  <a:lnTo>
                    <a:pt x="143" y="118"/>
                  </a:lnTo>
                  <a:lnTo>
                    <a:pt x="147" y="122"/>
                  </a:lnTo>
                  <a:lnTo>
                    <a:pt x="150" y="123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4" y="130"/>
                  </a:lnTo>
                  <a:lnTo>
                    <a:pt x="153" y="137"/>
                  </a:lnTo>
                  <a:lnTo>
                    <a:pt x="151" y="145"/>
                  </a:lnTo>
                  <a:lnTo>
                    <a:pt x="150" y="153"/>
                  </a:lnTo>
                  <a:lnTo>
                    <a:pt x="147" y="162"/>
                  </a:lnTo>
                  <a:lnTo>
                    <a:pt x="146" y="169"/>
                  </a:lnTo>
                  <a:lnTo>
                    <a:pt x="145" y="173"/>
                  </a:lnTo>
                  <a:lnTo>
                    <a:pt x="145" y="175"/>
                  </a:lnTo>
                  <a:lnTo>
                    <a:pt x="143" y="180"/>
                  </a:lnTo>
                  <a:lnTo>
                    <a:pt x="143" y="185"/>
                  </a:lnTo>
                  <a:lnTo>
                    <a:pt x="145" y="188"/>
                  </a:lnTo>
                  <a:lnTo>
                    <a:pt x="146" y="192"/>
                  </a:lnTo>
                  <a:lnTo>
                    <a:pt x="147" y="195"/>
                  </a:lnTo>
                  <a:lnTo>
                    <a:pt x="149" y="196"/>
                  </a:lnTo>
                  <a:lnTo>
                    <a:pt x="149" y="197"/>
                  </a:lnTo>
                  <a:lnTo>
                    <a:pt x="150" y="197"/>
                  </a:lnTo>
                  <a:lnTo>
                    <a:pt x="153" y="200"/>
                  </a:lnTo>
                  <a:lnTo>
                    <a:pt x="156" y="202"/>
                  </a:lnTo>
                  <a:lnTo>
                    <a:pt x="158" y="206"/>
                  </a:lnTo>
                  <a:lnTo>
                    <a:pt x="161" y="208"/>
                  </a:lnTo>
                  <a:lnTo>
                    <a:pt x="164" y="211"/>
                  </a:lnTo>
                  <a:lnTo>
                    <a:pt x="165" y="215"/>
                  </a:lnTo>
                  <a:lnTo>
                    <a:pt x="168" y="219"/>
                  </a:lnTo>
                  <a:lnTo>
                    <a:pt x="169" y="222"/>
                  </a:lnTo>
                  <a:lnTo>
                    <a:pt x="878" y="22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8" name="Freeform 284"/>
            <p:cNvSpPr>
              <a:spLocks/>
            </p:cNvSpPr>
            <p:nvPr/>
          </p:nvSpPr>
          <p:spPr bwMode="auto">
            <a:xfrm>
              <a:off x="2088" y="1254"/>
              <a:ext cx="13" cy="2"/>
            </a:xfrm>
            <a:custGeom>
              <a:avLst/>
              <a:gdLst>
                <a:gd name="T0" fmla="*/ 15 w 15"/>
                <a:gd name="T1" fmla="*/ 3 h 3"/>
                <a:gd name="T2" fmla="*/ 12 w 15"/>
                <a:gd name="T3" fmla="*/ 1 h 3"/>
                <a:gd name="T4" fmla="*/ 9 w 15"/>
                <a:gd name="T5" fmla="*/ 0 h 3"/>
                <a:gd name="T6" fmla="*/ 7 w 15"/>
                <a:gd name="T7" fmla="*/ 0 h 3"/>
                <a:gd name="T8" fmla="*/ 5 w 15"/>
                <a:gd name="T9" fmla="*/ 0 h 3"/>
                <a:gd name="T10" fmla="*/ 2 w 15"/>
                <a:gd name="T11" fmla="*/ 0 h 3"/>
                <a:gd name="T12" fmla="*/ 1 w 15"/>
                <a:gd name="T13" fmla="*/ 1 h 3"/>
                <a:gd name="T14" fmla="*/ 1 w 15"/>
                <a:gd name="T15" fmla="*/ 1 h 3"/>
                <a:gd name="T16" fmla="*/ 0 w 15"/>
                <a:gd name="T17" fmla="*/ 1 h 3"/>
                <a:gd name="T18" fmla="*/ 1 w 15"/>
                <a:gd name="T19" fmla="*/ 1 h 3"/>
                <a:gd name="T20" fmla="*/ 1 w 15"/>
                <a:gd name="T21" fmla="*/ 3 h 3"/>
                <a:gd name="T22" fmla="*/ 1 w 15"/>
                <a:gd name="T23" fmla="*/ 3 h 3"/>
                <a:gd name="T24" fmla="*/ 1 w 15"/>
                <a:gd name="T25" fmla="*/ 3 h 3"/>
                <a:gd name="T26" fmla="*/ 1 w 15"/>
                <a:gd name="T27" fmla="*/ 3 h 3"/>
                <a:gd name="T28" fmla="*/ 1 w 15"/>
                <a:gd name="T29" fmla="*/ 3 h 3"/>
                <a:gd name="T30" fmla="*/ 1 w 15"/>
                <a:gd name="T31" fmla="*/ 3 h 3"/>
                <a:gd name="T32" fmla="*/ 1 w 15"/>
                <a:gd name="T33" fmla="*/ 3 h 3"/>
                <a:gd name="T34" fmla="*/ 15 w 15"/>
                <a:gd name="T3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3">
                  <a:moveTo>
                    <a:pt x="15" y="3"/>
                  </a:moveTo>
                  <a:lnTo>
                    <a:pt x="12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5" y="3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09" name="Freeform 285"/>
            <p:cNvSpPr>
              <a:spLocks/>
            </p:cNvSpPr>
            <p:nvPr/>
          </p:nvSpPr>
          <p:spPr bwMode="auto">
            <a:xfrm>
              <a:off x="1929" y="1192"/>
              <a:ext cx="111" cy="64"/>
            </a:xfrm>
            <a:custGeom>
              <a:avLst/>
              <a:gdLst>
                <a:gd name="T0" fmla="*/ 134 w 137"/>
                <a:gd name="T1" fmla="*/ 77 h 79"/>
                <a:gd name="T2" fmla="*/ 136 w 137"/>
                <a:gd name="T3" fmla="*/ 74 h 79"/>
                <a:gd name="T4" fmla="*/ 136 w 137"/>
                <a:gd name="T5" fmla="*/ 73 h 79"/>
                <a:gd name="T6" fmla="*/ 137 w 137"/>
                <a:gd name="T7" fmla="*/ 72 h 79"/>
                <a:gd name="T8" fmla="*/ 130 w 137"/>
                <a:gd name="T9" fmla="*/ 57 h 79"/>
                <a:gd name="T10" fmla="*/ 134 w 137"/>
                <a:gd name="T11" fmla="*/ 51 h 79"/>
                <a:gd name="T12" fmla="*/ 133 w 137"/>
                <a:gd name="T13" fmla="*/ 47 h 79"/>
                <a:gd name="T14" fmla="*/ 132 w 137"/>
                <a:gd name="T15" fmla="*/ 43 h 79"/>
                <a:gd name="T16" fmla="*/ 130 w 137"/>
                <a:gd name="T17" fmla="*/ 41 h 79"/>
                <a:gd name="T18" fmla="*/ 123 w 137"/>
                <a:gd name="T19" fmla="*/ 37 h 79"/>
                <a:gd name="T20" fmla="*/ 115 w 137"/>
                <a:gd name="T21" fmla="*/ 32 h 79"/>
                <a:gd name="T22" fmla="*/ 108 w 137"/>
                <a:gd name="T23" fmla="*/ 25 h 79"/>
                <a:gd name="T24" fmla="*/ 106 w 137"/>
                <a:gd name="T25" fmla="*/ 22 h 79"/>
                <a:gd name="T26" fmla="*/ 97 w 137"/>
                <a:gd name="T27" fmla="*/ 13 h 79"/>
                <a:gd name="T28" fmla="*/ 88 w 137"/>
                <a:gd name="T29" fmla="*/ 7 h 79"/>
                <a:gd name="T30" fmla="*/ 79 w 137"/>
                <a:gd name="T31" fmla="*/ 6 h 79"/>
                <a:gd name="T32" fmla="*/ 75 w 137"/>
                <a:gd name="T33" fmla="*/ 6 h 79"/>
                <a:gd name="T34" fmla="*/ 22 w 137"/>
                <a:gd name="T35" fmla="*/ 0 h 79"/>
                <a:gd name="T36" fmla="*/ 12 w 137"/>
                <a:gd name="T37" fmla="*/ 3 h 79"/>
                <a:gd name="T38" fmla="*/ 6 w 137"/>
                <a:gd name="T39" fmla="*/ 13 h 79"/>
                <a:gd name="T40" fmla="*/ 4 w 137"/>
                <a:gd name="T41" fmla="*/ 19 h 79"/>
                <a:gd name="T42" fmla="*/ 1 w 137"/>
                <a:gd name="T43" fmla="*/ 22 h 79"/>
                <a:gd name="T44" fmla="*/ 0 w 137"/>
                <a:gd name="T45" fmla="*/ 29 h 79"/>
                <a:gd name="T46" fmla="*/ 0 w 137"/>
                <a:gd name="T47" fmla="*/ 37 h 79"/>
                <a:gd name="T48" fmla="*/ 1 w 137"/>
                <a:gd name="T49" fmla="*/ 43 h 79"/>
                <a:gd name="T50" fmla="*/ 4 w 137"/>
                <a:gd name="T51" fmla="*/ 47 h 79"/>
                <a:gd name="T52" fmla="*/ 8 w 137"/>
                <a:gd name="T53" fmla="*/ 55 h 79"/>
                <a:gd name="T54" fmla="*/ 9 w 137"/>
                <a:gd name="T55" fmla="*/ 62 h 79"/>
                <a:gd name="T56" fmla="*/ 11 w 137"/>
                <a:gd name="T57" fmla="*/ 69 h 79"/>
                <a:gd name="T58" fmla="*/ 9 w 137"/>
                <a:gd name="T59" fmla="*/ 72 h 79"/>
                <a:gd name="T60" fmla="*/ 9 w 137"/>
                <a:gd name="T61" fmla="*/ 74 h 79"/>
                <a:gd name="T62" fmla="*/ 8 w 137"/>
                <a:gd name="T63" fmla="*/ 76 h 79"/>
                <a:gd name="T64" fmla="*/ 8 w 137"/>
                <a:gd name="T65" fmla="*/ 79 h 79"/>
                <a:gd name="T66" fmla="*/ 134 w 137"/>
                <a:gd name="T6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7" h="79">
                  <a:moveTo>
                    <a:pt x="134" y="79"/>
                  </a:moveTo>
                  <a:lnTo>
                    <a:pt x="134" y="77"/>
                  </a:lnTo>
                  <a:lnTo>
                    <a:pt x="136" y="76"/>
                  </a:lnTo>
                  <a:lnTo>
                    <a:pt x="136" y="74"/>
                  </a:lnTo>
                  <a:lnTo>
                    <a:pt x="136" y="73"/>
                  </a:lnTo>
                  <a:lnTo>
                    <a:pt x="136" y="73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0" y="57"/>
                  </a:lnTo>
                  <a:lnTo>
                    <a:pt x="133" y="54"/>
                  </a:lnTo>
                  <a:lnTo>
                    <a:pt x="134" y="51"/>
                  </a:lnTo>
                  <a:lnTo>
                    <a:pt x="134" y="48"/>
                  </a:lnTo>
                  <a:lnTo>
                    <a:pt x="133" y="47"/>
                  </a:lnTo>
                  <a:lnTo>
                    <a:pt x="133" y="44"/>
                  </a:lnTo>
                  <a:lnTo>
                    <a:pt x="132" y="43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28" y="40"/>
                  </a:lnTo>
                  <a:lnTo>
                    <a:pt x="123" y="37"/>
                  </a:lnTo>
                  <a:lnTo>
                    <a:pt x="118" y="35"/>
                  </a:lnTo>
                  <a:lnTo>
                    <a:pt x="115" y="32"/>
                  </a:lnTo>
                  <a:lnTo>
                    <a:pt x="111" y="28"/>
                  </a:lnTo>
                  <a:lnTo>
                    <a:pt x="108" y="25"/>
                  </a:lnTo>
                  <a:lnTo>
                    <a:pt x="106" y="24"/>
                  </a:lnTo>
                  <a:lnTo>
                    <a:pt x="106" y="22"/>
                  </a:lnTo>
                  <a:lnTo>
                    <a:pt x="101" y="17"/>
                  </a:lnTo>
                  <a:lnTo>
                    <a:pt x="97" y="13"/>
                  </a:lnTo>
                  <a:lnTo>
                    <a:pt x="92" y="8"/>
                  </a:lnTo>
                  <a:lnTo>
                    <a:pt x="88" y="7"/>
                  </a:lnTo>
                  <a:lnTo>
                    <a:pt x="82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5" y="6"/>
                  </a:lnTo>
                  <a:lnTo>
                    <a:pt x="29" y="3"/>
                  </a:lnTo>
                  <a:lnTo>
                    <a:pt x="22" y="0"/>
                  </a:lnTo>
                  <a:lnTo>
                    <a:pt x="16" y="2"/>
                  </a:lnTo>
                  <a:lnTo>
                    <a:pt x="12" y="3"/>
                  </a:lnTo>
                  <a:lnTo>
                    <a:pt x="8" y="7"/>
                  </a:lnTo>
                  <a:lnTo>
                    <a:pt x="6" y="13"/>
                  </a:lnTo>
                  <a:lnTo>
                    <a:pt x="5" y="17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1" y="22"/>
                  </a:lnTo>
                  <a:lnTo>
                    <a:pt x="1" y="25"/>
                  </a:lnTo>
                  <a:lnTo>
                    <a:pt x="0" y="29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1" y="40"/>
                  </a:lnTo>
                  <a:lnTo>
                    <a:pt x="1" y="43"/>
                  </a:lnTo>
                  <a:lnTo>
                    <a:pt x="1" y="44"/>
                  </a:lnTo>
                  <a:lnTo>
                    <a:pt x="4" y="47"/>
                  </a:lnTo>
                  <a:lnTo>
                    <a:pt x="5" y="51"/>
                  </a:lnTo>
                  <a:lnTo>
                    <a:pt x="8" y="55"/>
                  </a:lnTo>
                  <a:lnTo>
                    <a:pt x="9" y="58"/>
                  </a:lnTo>
                  <a:lnTo>
                    <a:pt x="9" y="62"/>
                  </a:lnTo>
                  <a:lnTo>
                    <a:pt x="11" y="66"/>
                  </a:lnTo>
                  <a:lnTo>
                    <a:pt x="11" y="69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3"/>
                  </a:lnTo>
                  <a:lnTo>
                    <a:pt x="9" y="74"/>
                  </a:lnTo>
                  <a:lnTo>
                    <a:pt x="9" y="76"/>
                  </a:lnTo>
                  <a:lnTo>
                    <a:pt x="8" y="76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134" y="7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0" name="Freeform 286"/>
            <p:cNvSpPr>
              <a:spLocks/>
            </p:cNvSpPr>
            <p:nvPr/>
          </p:nvSpPr>
          <p:spPr bwMode="auto">
            <a:xfrm>
              <a:off x="1152" y="896"/>
              <a:ext cx="746" cy="360"/>
            </a:xfrm>
            <a:custGeom>
              <a:avLst/>
              <a:gdLst>
                <a:gd name="T0" fmla="*/ 747 w 921"/>
                <a:gd name="T1" fmla="*/ 378 h 444"/>
                <a:gd name="T2" fmla="*/ 766 w 921"/>
                <a:gd name="T3" fmla="*/ 357 h 444"/>
                <a:gd name="T4" fmla="*/ 780 w 921"/>
                <a:gd name="T5" fmla="*/ 346 h 444"/>
                <a:gd name="T6" fmla="*/ 810 w 921"/>
                <a:gd name="T7" fmla="*/ 342 h 444"/>
                <a:gd name="T8" fmla="*/ 822 w 921"/>
                <a:gd name="T9" fmla="*/ 283 h 444"/>
                <a:gd name="T10" fmla="*/ 835 w 921"/>
                <a:gd name="T11" fmla="*/ 255 h 444"/>
                <a:gd name="T12" fmla="*/ 803 w 921"/>
                <a:gd name="T13" fmla="*/ 232 h 444"/>
                <a:gd name="T14" fmla="*/ 849 w 921"/>
                <a:gd name="T15" fmla="*/ 236 h 444"/>
                <a:gd name="T16" fmla="*/ 890 w 921"/>
                <a:gd name="T17" fmla="*/ 230 h 444"/>
                <a:gd name="T18" fmla="*/ 906 w 921"/>
                <a:gd name="T19" fmla="*/ 210 h 444"/>
                <a:gd name="T20" fmla="*/ 920 w 921"/>
                <a:gd name="T21" fmla="*/ 180 h 444"/>
                <a:gd name="T22" fmla="*/ 899 w 921"/>
                <a:gd name="T23" fmla="*/ 144 h 444"/>
                <a:gd name="T24" fmla="*/ 921 w 921"/>
                <a:gd name="T25" fmla="*/ 130 h 444"/>
                <a:gd name="T26" fmla="*/ 906 w 921"/>
                <a:gd name="T27" fmla="*/ 114 h 444"/>
                <a:gd name="T28" fmla="*/ 871 w 921"/>
                <a:gd name="T29" fmla="*/ 83 h 444"/>
                <a:gd name="T30" fmla="*/ 858 w 921"/>
                <a:gd name="T31" fmla="*/ 147 h 444"/>
                <a:gd name="T32" fmla="*/ 833 w 921"/>
                <a:gd name="T33" fmla="*/ 156 h 444"/>
                <a:gd name="T34" fmla="*/ 818 w 921"/>
                <a:gd name="T35" fmla="*/ 122 h 444"/>
                <a:gd name="T36" fmla="*/ 798 w 921"/>
                <a:gd name="T37" fmla="*/ 119 h 444"/>
                <a:gd name="T38" fmla="*/ 777 w 921"/>
                <a:gd name="T39" fmla="*/ 118 h 444"/>
                <a:gd name="T40" fmla="*/ 772 w 921"/>
                <a:gd name="T41" fmla="*/ 94 h 444"/>
                <a:gd name="T42" fmla="*/ 766 w 921"/>
                <a:gd name="T43" fmla="*/ 59 h 444"/>
                <a:gd name="T44" fmla="*/ 751 w 921"/>
                <a:gd name="T45" fmla="*/ 19 h 444"/>
                <a:gd name="T46" fmla="*/ 728 w 921"/>
                <a:gd name="T47" fmla="*/ 4 h 444"/>
                <a:gd name="T48" fmla="*/ 715 w 921"/>
                <a:gd name="T49" fmla="*/ 27 h 444"/>
                <a:gd name="T50" fmla="*/ 700 w 921"/>
                <a:gd name="T51" fmla="*/ 61 h 444"/>
                <a:gd name="T52" fmla="*/ 730 w 921"/>
                <a:gd name="T53" fmla="*/ 104 h 444"/>
                <a:gd name="T54" fmla="*/ 737 w 921"/>
                <a:gd name="T55" fmla="*/ 136 h 444"/>
                <a:gd name="T56" fmla="*/ 747 w 921"/>
                <a:gd name="T57" fmla="*/ 154 h 444"/>
                <a:gd name="T58" fmla="*/ 707 w 921"/>
                <a:gd name="T59" fmla="*/ 180 h 444"/>
                <a:gd name="T60" fmla="*/ 696 w 921"/>
                <a:gd name="T61" fmla="*/ 148 h 444"/>
                <a:gd name="T62" fmla="*/ 657 w 921"/>
                <a:gd name="T63" fmla="*/ 152 h 444"/>
                <a:gd name="T64" fmla="*/ 639 w 921"/>
                <a:gd name="T65" fmla="*/ 174 h 444"/>
                <a:gd name="T66" fmla="*/ 608 w 921"/>
                <a:gd name="T67" fmla="*/ 184 h 444"/>
                <a:gd name="T68" fmla="*/ 584 w 921"/>
                <a:gd name="T69" fmla="*/ 160 h 444"/>
                <a:gd name="T70" fmla="*/ 553 w 921"/>
                <a:gd name="T71" fmla="*/ 149 h 444"/>
                <a:gd name="T72" fmla="*/ 539 w 921"/>
                <a:gd name="T73" fmla="*/ 129 h 444"/>
                <a:gd name="T74" fmla="*/ 506 w 921"/>
                <a:gd name="T75" fmla="*/ 140 h 444"/>
                <a:gd name="T76" fmla="*/ 510 w 921"/>
                <a:gd name="T77" fmla="*/ 171 h 444"/>
                <a:gd name="T78" fmla="*/ 501 w 921"/>
                <a:gd name="T79" fmla="*/ 222 h 444"/>
                <a:gd name="T80" fmla="*/ 484 w 921"/>
                <a:gd name="T81" fmla="*/ 188 h 444"/>
                <a:gd name="T82" fmla="*/ 459 w 921"/>
                <a:gd name="T83" fmla="*/ 173 h 444"/>
                <a:gd name="T84" fmla="*/ 429 w 921"/>
                <a:gd name="T85" fmla="*/ 177 h 444"/>
                <a:gd name="T86" fmla="*/ 407 w 921"/>
                <a:gd name="T87" fmla="*/ 165 h 444"/>
                <a:gd name="T88" fmla="*/ 404 w 921"/>
                <a:gd name="T89" fmla="*/ 127 h 444"/>
                <a:gd name="T90" fmla="*/ 389 w 921"/>
                <a:gd name="T91" fmla="*/ 132 h 444"/>
                <a:gd name="T92" fmla="*/ 356 w 921"/>
                <a:gd name="T93" fmla="*/ 112 h 444"/>
                <a:gd name="T94" fmla="*/ 286 w 921"/>
                <a:gd name="T95" fmla="*/ 85 h 444"/>
                <a:gd name="T96" fmla="*/ 263 w 921"/>
                <a:gd name="T97" fmla="*/ 79 h 444"/>
                <a:gd name="T98" fmla="*/ 254 w 921"/>
                <a:gd name="T99" fmla="*/ 99 h 444"/>
                <a:gd name="T100" fmla="*/ 230 w 921"/>
                <a:gd name="T101" fmla="*/ 61 h 444"/>
                <a:gd name="T102" fmla="*/ 217 w 921"/>
                <a:gd name="T103" fmla="*/ 66 h 444"/>
                <a:gd name="T104" fmla="*/ 197 w 921"/>
                <a:gd name="T105" fmla="*/ 72 h 444"/>
                <a:gd name="T106" fmla="*/ 176 w 921"/>
                <a:gd name="T107" fmla="*/ 78 h 444"/>
                <a:gd name="T108" fmla="*/ 144 w 921"/>
                <a:gd name="T109" fmla="*/ 96 h 444"/>
                <a:gd name="T110" fmla="*/ 95 w 921"/>
                <a:gd name="T111" fmla="*/ 129 h 444"/>
                <a:gd name="T112" fmla="*/ 55 w 921"/>
                <a:gd name="T113" fmla="*/ 110 h 444"/>
                <a:gd name="T114" fmla="*/ 8 w 921"/>
                <a:gd name="T115" fmla="*/ 89 h 444"/>
                <a:gd name="T116" fmla="*/ 22 w 921"/>
                <a:gd name="T117" fmla="*/ 438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21" h="444">
                  <a:moveTo>
                    <a:pt x="704" y="444"/>
                  </a:moveTo>
                  <a:lnTo>
                    <a:pt x="708" y="434"/>
                  </a:lnTo>
                  <a:lnTo>
                    <a:pt x="714" y="422"/>
                  </a:lnTo>
                  <a:lnTo>
                    <a:pt x="721" y="411"/>
                  </a:lnTo>
                  <a:lnTo>
                    <a:pt x="729" y="401"/>
                  </a:lnTo>
                  <a:lnTo>
                    <a:pt x="736" y="391"/>
                  </a:lnTo>
                  <a:lnTo>
                    <a:pt x="741" y="384"/>
                  </a:lnTo>
                  <a:lnTo>
                    <a:pt x="745" y="379"/>
                  </a:lnTo>
                  <a:lnTo>
                    <a:pt x="747" y="378"/>
                  </a:lnTo>
                  <a:lnTo>
                    <a:pt x="752" y="376"/>
                  </a:lnTo>
                  <a:lnTo>
                    <a:pt x="756" y="373"/>
                  </a:lnTo>
                  <a:lnTo>
                    <a:pt x="761" y="371"/>
                  </a:lnTo>
                  <a:lnTo>
                    <a:pt x="763" y="368"/>
                  </a:lnTo>
                  <a:lnTo>
                    <a:pt x="765" y="365"/>
                  </a:lnTo>
                  <a:lnTo>
                    <a:pt x="766" y="362"/>
                  </a:lnTo>
                  <a:lnTo>
                    <a:pt x="767" y="361"/>
                  </a:lnTo>
                  <a:lnTo>
                    <a:pt x="767" y="360"/>
                  </a:lnTo>
                  <a:lnTo>
                    <a:pt x="766" y="357"/>
                  </a:lnTo>
                  <a:lnTo>
                    <a:pt x="766" y="354"/>
                  </a:lnTo>
                  <a:lnTo>
                    <a:pt x="766" y="351"/>
                  </a:lnTo>
                  <a:lnTo>
                    <a:pt x="767" y="350"/>
                  </a:lnTo>
                  <a:lnTo>
                    <a:pt x="769" y="349"/>
                  </a:lnTo>
                  <a:lnTo>
                    <a:pt x="770" y="347"/>
                  </a:lnTo>
                  <a:lnTo>
                    <a:pt x="772" y="347"/>
                  </a:lnTo>
                  <a:lnTo>
                    <a:pt x="773" y="347"/>
                  </a:lnTo>
                  <a:lnTo>
                    <a:pt x="776" y="346"/>
                  </a:lnTo>
                  <a:lnTo>
                    <a:pt x="780" y="346"/>
                  </a:lnTo>
                  <a:lnTo>
                    <a:pt x="784" y="347"/>
                  </a:lnTo>
                  <a:lnTo>
                    <a:pt x="789" y="349"/>
                  </a:lnTo>
                  <a:lnTo>
                    <a:pt x="794" y="351"/>
                  </a:lnTo>
                  <a:lnTo>
                    <a:pt x="798" y="353"/>
                  </a:lnTo>
                  <a:lnTo>
                    <a:pt x="800" y="354"/>
                  </a:lnTo>
                  <a:lnTo>
                    <a:pt x="802" y="354"/>
                  </a:lnTo>
                  <a:lnTo>
                    <a:pt x="805" y="353"/>
                  </a:lnTo>
                  <a:lnTo>
                    <a:pt x="807" y="349"/>
                  </a:lnTo>
                  <a:lnTo>
                    <a:pt x="810" y="342"/>
                  </a:lnTo>
                  <a:lnTo>
                    <a:pt x="810" y="335"/>
                  </a:lnTo>
                  <a:lnTo>
                    <a:pt x="811" y="328"/>
                  </a:lnTo>
                  <a:lnTo>
                    <a:pt x="811" y="321"/>
                  </a:lnTo>
                  <a:lnTo>
                    <a:pt x="811" y="317"/>
                  </a:lnTo>
                  <a:lnTo>
                    <a:pt x="811" y="316"/>
                  </a:lnTo>
                  <a:lnTo>
                    <a:pt x="813" y="306"/>
                  </a:lnTo>
                  <a:lnTo>
                    <a:pt x="814" y="298"/>
                  </a:lnTo>
                  <a:lnTo>
                    <a:pt x="818" y="290"/>
                  </a:lnTo>
                  <a:lnTo>
                    <a:pt x="822" y="283"/>
                  </a:lnTo>
                  <a:lnTo>
                    <a:pt x="827" y="277"/>
                  </a:lnTo>
                  <a:lnTo>
                    <a:pt x="829" y="273"/>
                  </a:lnTo>
                  <a:lnTo>
                    <a:pt x="832" y="270"/>
                  </a:lnTo>
                  <a:lnTo>
                    <a:pt x="833" y="269"/>
                  </a:lnTo>
                  <a:lnTo>
                    <a:pt x="836" y="263"/>
                  </a:lnTo>
                  <a:lnTo>
                    <a:pt x="836" y="259"/>
                  </a:lnTo>
                  <a:lnTo>
                    <a:pt x="836" y="257"/>
                  </a:lnTo>
                  <a:lnTo>
                    <a:pt x="836" y="255"/>
                  </a:lnTo>
                  <a:lnTo>
                    <a:pt x="835" y="255"/>
                  </a:lnTo>
                  <a:lnTo>
                    <a:pt x="833" y="255"/>
                  </a:lnTo>
                  <a:lnTo>
                    <a:pt x="832" y="257"/>
                  </a:lnTo>
                  <a:lnTo>
                    <a:pt x="831" y="257"/>
                  </a:lnTo>
                  <a:lnTo>
                    <a:pt x="795" y="237"/>
                  </a:lnTo>
                  <a:lnTo>
                    <a:pt x="795" y="236"/>
                  </a:lnTo>
                  <a:lnTo>
                    <a:pt x="795" y="233"/>
                  </a:lnTo>
                  <a:lnTo>
                    <a:pt x="796" y="233"/>
                  </a:lnTo>
                  <a:lnTo>
                    <a:pt x="799" y="232"/>
                  </a:lnTo>
                  <a:lnTo>
                    <a:pt x="803" y="232"/>
                  </a:lnTo>
                  <a:lnTo>
                    <a:pt x="810" y="232"/>
                  </a:lnTo>
                  <a:lnTo>
                    <a:pt x="816" y="233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7" y="236"/>
                  </a:lnTo>
                  <a:lnTo>
                    <a:pt x="831" y="235"/>
                  </a:lnTo>
                  <a:lnTo>
                    <a:pt x="836" y="235"/>
                  </a:lnTo>
                  <a:lnTo>
                    <a:pt x="842" y="235"/>
                  </a:lnTo>
                  <a:lnTo>
                    <a:pt x="849" y="236"/>
                  </a:lnTo>
                  <a:lnTo>
                    <a:pt x="854" y="237"/>
                  </a:lnTo>
                  <a:lnTo>
                    <a:pt x="858" y="239"/>
                  </a:lnTo>
                  <a:lnTo>
                    <a:pt x="861" y="239"/>
                  </a:lnTo>
                  <a:lnTo>
                    <a:pt x="862" y="240"/>
                  </a:lnTo>
                  <a:lnTo>
                    <a:pt x="872" y="226"/>
                  </a:lnTo>
                  <a:lnTo>
                    <a:pt x="876" y="230"/>
                  </a:lnTo>
                  <a:lnTo>
                    <a:pt x="882" y="232"/>
                  </a:lnTo>
                  <a:lnTo>
                    <a:pt x="886" y="232"/>
                  </a:lnTo>
                  <a:lnTo>
                    <a:pt x="890" y="230"/>
                  </a:lnTo>
                  <a:lnTo>
                    <a:pt x="894" y="229"/>
                  </a:lnTo>
                  <a:lnTo>
                    <a:pt x="897" y="228"/>
                  </a:lnTo>
                  <a:lnTo>
                    <a:pt x="898" y="228"/>
                  </a:lnTo>
                  <a:lnTo>
                    <a:pt x="899" y="226"/>
                  </a:lnTo>
                  <a:lnTo>
                    <a:pt x="899" y="225"/>
                  </a:lnTo>
                  <a:lnTo>
                    <a:pt x="901" y="222"/>
                  </a:lnTo>
                  <a:lnTo>
                    <a:pt x="902" y="218"/>
                  </a:lnTo>
                  <a:lnTo>
                    <a:pt x="904" y="214"/>
                  </a:lnTo>
                  <a:lnTo>
                    <a:pt x="906" y="210"/>
                  </a:lnTo>
                  <a:lnTo>
                    <a:pt x="909" y="206"/>
                  </a:lnTo>
                  <a:lnTo>
                    <a:pt x="913" y="203"/>
                  </a:lnTo>
                  <a:lnTo>
                    <a:pt x="916" y="202"/>
                  </a:lnTo>
                  <a:lnTo>
                    <a:pt x="916" y="200"/>
                  </a:lnTo>
                  <a:lnTo>
                    <a:pt x="917" y="197"/>
                  </a:lnTo>
                  <a:lnTo>
                    <a:pt x="919" y="195"/>
                  </a:lnTo>
                  <a:lnTo>
                    <a:pt x="920" y="191"/>
                  </a:lnTo>
                  <a:lnTo>
                    <a:pt x="920" y="185"/>
                  </a:lnTo>
                  <a:lnTo>
                    <a:pt x="920" y="180"/>
                  </a:lnTo>
                  <a:lnTo>
                    <a:pt x="919" y="173"/>
                  </a:lnTo>
                  <a:lnTo>
                    <a:pt x="916" y="167"/>
                  </a:lnTo>
                  <a:lnTo>
                    <a:pt x="915" y="167"/>
                  </a:lnTo>
                  <a:lnTo>
                    <a:pt x="912" y="165"/>
                  </a:lnTo>
                  <a:lnTo>
                    <a:pt x="906" y="162"/>
                  </a:lnTo>
                  <a:lnTo>
                    <a:pt x="902" y="156"/>
                  </a:lnTo>
                  <a:lnTo>
                    <a:pt x="899" y="152"/>
                  </a:lnTo>
                  <a:lnTo>
                    <a:pt x="899" y="147"/>
                  </a:lnTo>
                  <a:lnTo>
                    <a:pt x="899" y="144"/>
                  </a:lnTo>
                  <a:lnTo>
                    <a:pt x="902" y="141"/>
                  </a:lnTo>
                  <a:lnTo>
                    <a:pt x="905" y="138"/>
                  </a:lnTo>
                  <a:lnTo>
                    <a:pt x="909" y="136"/>
                  </a:lnTo>
                  <a:lnTo>
                    <a:pt x="910" y="136"/>
                  </a:lnTo>
                  <a:lnTo>
                    <a:pt x="912" y="136"/>
                  </a:lnTo>
                  <a:lnTo>
                    <a:pt x="915" y="136"/>
                  </a:lnTo>
                  <a:lnTo>
                    <a:pt x="917" y="134"/>
                  </a:lnTo>
                  <a:lnTo>
                    <a:pt x="920" y="133"/>
                  </a:lnTo>
                  <a:lnTo>
                    <a:pt x="921" y="130"/>
                  </a:lnTo>
                  <a:lnTo>
                    <a:pt x="921" y="127"/>
                  </a:lnTo>
                  <a:lnTo>
                    <a:pt x="920" y="122"/>
                  </a:lnTo>
                  <a:lnTo>
                    <a:pt x="920" y="121"/>
                  </a:lnTo>
                  <a:lnTo>
                    <a:pt x="919" y="119"/>
                  </a:lnTo>
                  <a:lnTo>
                    <a:pt x="916" y="118"/>
                  </a:lnTo>
                  <a:lnTo>
                    <a:pt x="913" y="115"/>
                  </a:lnTo>
                  <a:lnTo>
                    <a:pt x="910" y="114"/>
                  </a:lnTo>
                  <a:lnTo>
                    <a:pt x="909" y="114"/>
                  </a:lnTo>
                  <a:lnTo>
                    <a:pt x="906" y="114"/>
                  </a:lnTo>
                  <a:lnTo>
                    <a:pt x="905" y="115"/>
                  </a:lnTo>
                  <a:lnTo>
                    <a:pt x="901" y="88"/>
                  </a:lnTo>
                  <a:lnTo>
                    <a:pt x="898" y="89"/>
                  </a:lnTo>
                  <a:lnTo>
                    <a:pt x="894" y="89"/>
                  </a:lnTo>
                  <a:lnTo>
                    <a:pt x="888" y="88"/>
                  </a:lnTo>
                  <a:lnTo>
                    <a:pt x="883" y="86"/>
                  </a:lnTo>
                  <a:lnTo>
                    <a:pt x="877" y="86"/>
                  </a:lnTo>
                  <a:lnTo>
                    <a:pt x="873" y="85"/>
                  </a:lnTo>
                  <a:lnTo>
                    <a:pt x="871" y="83"/>
                  </a:lnTo>
                  <a:lnTo>
                    <a:pt x="869" y="83"/>
                  </a:lnTo>
                  <a:lnTo>
                    <a:pt x="873" y="119"/>
                  </a:lnTo>
                  <a:lnTo>
                    <a:pt x="873" y="119"/>
                  </a:lnTo>
                  <a:lnTo>
                    <a:pt x="872" y="121"/>
                  </a:lnTo>
                  <a:lnTo>
                    <a:pt x="869" y="123"/>
                  </a:lnTo>
                  <a:lnTo>
                    <a:pt x="868" y="127"/>
                  </a:lnTo>
                  <a:lnTo>
                    <a:pt x="864" y="132"/>
                  </a:lnTo>
                  <a:lnTo>
                    <a:pt x="861" y="138"/>
                  </a:lnTo>
                  <a:lnTo>
                    <a:pt x="858" y="147"/>
                  </a:lnTo>
                  <a:lnTo>
                    <a:pt x="854" y="156"/>
                  </a:lnTo>
                  <a:lnTo>
                    <a:pt x="854" y="158"/>
                  </a:lnTo>
                  <a:lnTo>
                    <a:pt x="853" y="160"/>
                  </a:lnTo>
                  <a:lnTo>
                    <a:pt x="851" y="163"/>
                  </a:lnTo>
                  <a:lnTo>
                    <a:pt x="850" y="165"/>
                  </a:lnTo>
                  <a:lnTo>
                    <a:pt x="847" y="166"/>
                  </a:lnTo>
                  <a:lnTo>
                    <a:pt x="843" y="166"/>
                  </a:lnTo>
                  <a:lnTo>
                    <a:pt x="839" y="163"/>
                  </a:lnTo>
                  <a:lnTo>
                    <a:pt x="833" y="156"/>
                  </a:lnTo>
                  <a:lnTo>
                    <a:pt x="827" y="118"/>
                  </a:lnTo>
                  <a:lnTo>
                    <a:pt x="827" y="116"/>
                  </a:lnTo>
                  <a:lnTo>
                    <a:pt x="827" y="115"/>
                  </a:lnTo>
                  <a:lnTo>
                    <a:pt x="827" y="112"/>
                  </a:lnTo>
                  <a:lnTo>
                    <a:pt x="825" y="111"/>
                  </a:lnTo>
                  <a:lnTo>
                    <a:pt x="824" y="111"/>
                  </a:lnTo>
                  <a:lnTo>
                    <a:pt x="822" y="112"/>
                  </a:lnTo>
                  <a:lnTo>
                    <a:pt x="821" y="115"/>
                  </a:lnTo>
                  <a:lnTo>
                    <a:pt x="818" y="122"/>
                  </a:lnTo>
                  <a:lnTo>
                    <a:pt x="818" y="123"/>
                  </a:lnTo>
                  <a:lnTo>
                    <a:pt x="816" y="126"/>
                  </a:lnTo>
                  <a:lnTo>
                    <a:pt x="813" y="132"/>
                  </a:lnTo>
                  <a:lnTo>
                    <a:pt x="809" y="136"/>
                  </a:lnTo>
                  <a:lnTo>
                    <a:pt x="805" y="138"/>
                  </a:lnTo>
                  <a:lnTo>
                    <a:pt x="800" y="138"/>
                  </a:lnTo>
                  <a:lnTo>
                    <a:pt x="799" y="134"/>
                  </a:lnTo>
                  <a:lnTo>
                    <a:pt x="798" y="126"/>
                  </a:lnTo>
                  <a:lnTo>
                    <a:pt x="798" y="119"/>
                  </a:lnTo>
                  <a:lnTo>
                    <a:pt x="796" y="116"/>
                  </a:lnTo>
                  <a:lnTo>
                    <a:pt x="795" y="115"/>
                  </a:lnTo>
                  <a:lnTo>
                    <a:pt x="792" y="115"/>
                  </a:lnTo>
                  <a:lnTo>
                    <a:pt x="789" y="116"/>
                  </a:lnTo>
                  <a:lnTo>
                    <a:pt x="788" y="118"/>
                  </a:lnTo>
                  <a:lnTo>
                    <a:pt x="785" y="119"/>
                  </a:lnTo>
                  <a:lnTo>
                    <a:pt x="783" y="119"/>
                  </a:lnTo>
                  <a:lnTo>
                    <a:pt x="780" y="119"/>
                  </a:lnTo>
                  <a:lnTo>
                    <a:pt x="777" y="118"/>
                  </a:lnTo>
                  <a:lnTo>
                    <a:pt x="774" y="116"/>
                  </a:lnTo>
                  <a:lnTo>
                    <a:pt x="772" y="114"/>
                  </a:lnTo>
                  <a:lnTo>
                    <a:pt x="769" y="112"/>
                  </a:lnTo>
                  <a:lnTo>
                    <a:pt x="767" y="110"/>
                  </a:lnTo>
                  <a:lnTo>
                    <a:pt x="766" y="108"/>
                  </a:lnTo>
                  <a:lnTo>
                    <a:pt x="766" y="108"/>
                  </a:lnTo>
                  <a:lnTo>
                    <a:pt x="769" y="105"/>
                  </a:lnTo>
                  <a:lnTo>
                    <a:pt x="770" y="101"/>
                  </a:lnTo>
                  <a:lnTo>
                    <a:pt x="772" y="94"/>
                  </a:lnTo>
                  <a:lnTo>
                    <a:pt x="773" y="88"/>
                  </a:lnTo>
                  <a:lnTo>
                    <a:pt x="774" y="82"/>
                  </a:lnTo>
                  <a:lnTo>
                    <a:pt x="774" y="77"/>
                  </a:lnTo>
                  <a:lnTo>
                    <a:pt x="774" y="72"/>
                  </a:lnTo>
                  <a:lnTo>
                    <a:pt x="774" y="71"/>
                  </a:lnTo>
                  <a:lnTo>
                    <a:pt x="772" y="68"/>
                  </a:lnTo>
                  <a:lnTo>
                    <a:pt x="769" y="66"/>
                  </a:lnTo>
                  <a:lnTo>
                    <a:pt x="767" y="61"/>
                  </a:lnTo>
                  <a:lnTo>
                    <a:pt x="766" y="59"/>
                  </a:lnTo>
                  <a:lnTo>
                    <a:pt x="766" y="55"/>
                  </a:lnTo>
                  <a:lnTo>
                    <a:pt x="766" y="52"/>
                  </a:lnTo>
                  <a:lnTo>
                    <a:pt x="766" y="50"/>
                  </a:lnTo>
                  <a:lnTo>
                    <a:pt x="766" y="49"/>
                  </a:lnTo>
                  <a:lnTo>
                    <a:pt x="766" y="45"/>
                  </a:lnTo>
                  <a:lnTo>
                    <a:pt x="763" y="38"/>
                  </a:lnTo>
                  <a:lnTo>
                    <a:pt x="761" y="31"/>
                  </a:lnTo>
                  <a:lnTo>
                    <a:pt x="755" y="26"/>
                  </a:lnTo>
                  <a:lnTo>
                    <a:pt x="751" y="19"/>
                  </a:lnTo>
                  <a:lnTo>
                    <a:pt x="747" y="13"/>
                  </a:lnTo>
                  <a:lnTo>
                    <a:pt x="743" y="11"/>
                  </a:lnTo>
                  <a:lnTo>
                    <a:pt x="743" y="9"/>
                  </a:lnTo>
                  <a:lnTo>
                    <a:pt x="741" y="4"/>
                  </a:lnTo>
                  <a:lnTo>
                    <a:pt x="739" y="1"/>
                  </a:lnTo>
                  <a:lnTo>
                    <a:pt x="736" y="0"/>
                  </a:lnTo>
                  <a:lnTo>
                    <a:pt x="733" y="1"/>
                  </a:lnTo>
                  <a:lnTo>
                    <a:pt x="730" y="2"/>
                  </a:lnTo>
                  <a:lnTo>
                    <a:pt x="728" y="4"/>
                  </a:lnTo>
                  <a:lnTo>
                    <a:pt x="726" y="4"/>
                  </a:lnTo>
                  <a:lnTo>
                    <a:pt x="726" y="5"/>
                  </a:lnTo>
                  <a:lnTo>
                    <a:pt x="722" y="5"/>
                  </a:lnTo>
                  <a:lnTo>
                    <a:pt x="721" y="8"/>
                  </a:lnTo>
                  <a:lnTo>
                    <a:pt x="718" y="12"/>
                  </a:lnTo>
                  <a:lnTo>
                    <a:pt x="717" y="16"/>
                  </a:lnTo>
                  <a:lnTo>
                    <a:pt x="715" y="20"/>
                  </a:lnTo>
                  <a:lnTo>
                    <a:pt x="715" y="24"/>
                  </a:lnTo>
                  <a:lnTo>
                    <a:pt x="715" y="27"/>
                  </a:lnTo>
                  <a:lnTo>
                    <a:pt x="715" y="28"/>
                  </a:lnTo>
                  <a:lnTo>
                    <a:pt x="708" y="34"/>
                  </a:lnTo>
                  <a:lnTo>
                    <a:pt x="704" y="39"/>
                  </a:lnTo>
                  <a:lnTo>
                    <a:pt x="701" y="45"/>
                  </a:lnTo>
                  <a:lnTo>
                    <a:pt x="700" y="50"/>
                  </a:lnTo>
                  <a:lnTo>
                    <a:pt x="699" y="55"/>
                  </a:lnTo>
                  <a:lnTo>
                    <a:pt x="700" y="59"/>
                  </a:lnTo>
                  <a:lnTo>
                    <a:pt x="700" y="61"/>
                  </a:lnTo>
                  <a:lnTo>
                    <a:pt x="700" y="61"/>
                  </a:lnTo>
                  <a:lnTo>
                    <a:pt x="700" y="68"/>
                  </a:lnTo>
                  <a:lnTo>
                    <a:pt x="701" y="75"/>
                  </a:lnTo>
                  <a:lnTo>
                    <a:pt x="703" y="81"/>
                  </a:lnTo>
                  <a:lnTo>
                    <a:pt x="704" y="85"/>
                  </a:lnTo>
                  <a:lnTo>
                    <a:pt x="710" y="93"/>
                  </a:lnTo>
                  <a:lnTo>
                    <a:pt x="715" y="99"/>
                  </a:lnTo>
                  <a:lnTo>
                    <a:pt x="721" y="101"/>
                  </a:lnTo>
                  <a:lnTo>
                    <a:pt x="726" y="103"/>
                  </a:lnTo>
                  <a:lnTo>
                    <a:pt x="730" y="104"/>
                  </a:lnTo>
                  <a:lnTo>
                    <a:pt x="732" y="104"/>
                  </a:lnTo>
                  <a:lnTo>
                    <a:pt x="728" y="108"/>
                  </a:lnTo>
                  <a:lnTo>
                    <a:pt x="726" y="112"/>
                  </a:lnTo>
                  <a:lnTo>
                    <a:pt x="725" y="116"/>
                  </a:lnTo>
                  <a:lnTo>
                    <a:pt x="723" y="119"/>
                  </a:lnTo>
                  <a:lnTo>
                    <a:pt x="725" y="125"/>
                  </a:lnTo>
                  <a:lnTo>
                    <a:pt x="729" y="130"/>
                  </a:lnTo>
                  <a:lnTo>
                    <a:pt x="733" y="134"/>
                  </a:lnTo>
                  <a:lnTo>
                    <a:pt x="737" y="136"/>
                  </a:lnTo>
                  <a:lnTo>
                    <a:pt x="741" y="138"/>
                  </a:lnTo>
                  <a:lnTo>
                    <a:pt x="743" y="138"/>
                  </a:lnTo>
                  <a:lnTo>
                    <a:pt x="747" y="140"/>
                  </a:lnTo>
                  <a:lnTo>
                    <a:pt x="750" y="141"/>
                  </a:lnTo>
                  <a:lnTo>
                    <a:pt x="751" y="144"/>
                  </a:lnTo>
                  <a:lnTo>
                    <a:pt x="750" y="148"/>
                  </a:lnTo>
                  <a:lnTo>
                    <a:pt x="750" y="151"/>
                  </a:lnTo>
                  <a:lnTo>
                    <a:pt x="748" y="152"/>
                  </a:lnTo>
                  <a:lnTo>
                    <a:pt x="747" y="154"/>
                  </a:lnTo>
                  <a:lnTo>
                    <a:pt x="747" y="155"/>
                  </a:lnTo>
                  <a:lnTo>
                    <a:pt x="744" y="158"/>
                  </a:lnTo>
                  <a:lnTo>
                    <a:pt x="740" y="162"/>
                  </a:lnTo>
                  <a:lnTo>
                    <a:pt x="733" y="166"/>
                  </a:lnTo>
                  <a:lnTo>
                    <a:pt x="726" y="170"/>
                  </a:lnTo>
                  <a:lnTo>
                    <a:pt x="718" y="174"/>
                  </a:lnTo>
                  <a:lnTo>
                    <a:pt x="712" y="177"/>
                  </a:lnTo>
                  <a:lnTo>
                    <a:pt x="708" y="180"/>
                  </a:lnTo>
                  <a:lnTo>
                    <a:pt x="707" y="180"/>
                  </a:lnTo>
                  <a:lnTo>
                    <a:pt x="701" y="180"/>
                  </a:lnTo>
                  <a:lnTo>
                    <a:pt x="697" y="180"/>
                  </a:lnTo>
                  <a:lnTo>
                    <a:pt x="695" y="178"/>
                  </a:lnTo>
                  <a:lnTo>
                    <a:pt x="693" y="178"/>
                  </a:lnTo>
                  <a:lnTo>
                    <a:pt x="693" y="177"/>
                  </a:lnTo>
                  <a:lnTo>
                    <a:pt x="693" y="177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6" y="148"/>
                  </a:lnTo>
                  <a:lnTo>
                    <a:pt x="675" y="148"/>
                  </a:lnTo>
                  <a:lnTo>
                    <a:pt x="670" y="148"/>
                  </a:lnTo>
                  <a:lnTo>
                    <a:pt x="666" y="148"/>
                  </a:lnTo>
                  <a:lnTo>
                    <a:pt x="661" y="148"/>
                  </a:lnTo>
                  <a:lnTo>
                    <a:pt x="660" y="149"/>
                  </a:lnTo>
                  <a:lnTo>
                    <a:pt x="659" y="151"/>
                  </a:lnTo>
                  <a:lnTo>
                    <a:pt x="659" y="152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9" y="167"/>
                  </a:lnTo>
                  <a:lnTo>
                    <a:pt x="657" y="175"/>
                  </a:lnTo>
                  <a:lnTo>
                    <a:pt x="656" y="181"/>
                  </a:lnTo>
                  <a:lnTo>
                    <a:pt x="653" y="182"/>
                  </a:lnTo>
                  <a:lnTo>
                    <a:pt x="650" y="182"/>
                  </a:lnTo>
                  <a:lnTo>
                    <a:pt x="648" y="181"/>
                  </a:lnTo>
                  <a:lnTo>
                    <a:pt x="645" y="178"/>
                  </a:lnTo>
                  <a:lnTo>
                    <a:pt x="645" y="178"/>
                  </a:lnTo>
                  <a:lnTo>
                    <a:pt x="639" y="174"/>
                  </a:lnTo>
                  <a:lnTo>
                    <a:pt x="634" y="171"/>
                  </a:lnTo>
                  <a:lnTo>
                    <a:pt x="630" y="171"/>
                  </a:lnTo>
                  <a:lnTo>
                    <a:pt x="627" y="171"/>
                  </a:lnTo>
                  <a:lnTo>
                    <a:pt x="624" y="173"/>
                  </a:lnTo>
                  <a:lnTo>
                    <a:pt x="623" y="174"/>
                  </a:lnTo>
                  <a:lnTo>
                    <a:pt x="622" y="175"/>
                  </a:lnTo>
                  <a:lnTo>
                    <a:pt x="622" y="175"/>
                  </a:lnTo>
                  <a:lnTo>
                    <a:pt x="615" y="181"/>
                  </a:lnTo>
                  <a:lnTo>
                    <a:pt x="608" y="184"/>
                  </a:lnTo>
                  <a:lnTo>
                    <a:pt x="604" y="184"/>
                  </a:lnTo>
                  <a:lnTo>
                    <a:pt x="600" y="182"/>
                  </a:lnTo>
                  <a:lnTo>
                    <a:pt x="597" y="180"/>
                  </a:lnTo>
                  <a:lnTo>
                    <a:pt x="595" y="177"/>
                  </a:lnTo>
                  <a:lnTo>
                    <a:pt x="594" y="175"/>
                  </a:lnTo>
                  <a:lnTo>
                    <a:pt x="594" y="174"/>
                  </a:lnTo>
                  <a:lnTo>
                    <a:pt x="591" y="167"/>
                  </a:lnTo>
                  <a:lnTo>
                    <a:pt x="589" y="162"/>
                  </a:lnTo>
                  <a:lnTo>
                    <a:pt x="584" y="160"/>
                  </a:lnTo>
                  <a:lnTo>
                    <a:pt x="582" y="159"/>
                  </a:lnTo>
                  <a:lnTo>
                    <a:pt x="578" y="159"/>
                  </a:lnTo>
                  <a:lnTo>
                    <a:pt x="575" y="160"/>
                  </a:lnTo>
                  <a:lnTo>
                    <a:pt x="573" y="162"/>
                  </a:lnTo>
                  <a:lnTo>
                    <a:pt x="573" y="162"/>
                  </a:lnTo>
                  <a:lnTo>
                    <a:pt x="565" y="159"/>
                  </a:lnTo>
                  <a:lnTo>
                    <a:pt x="558" y="156"/>
                  </a:lnTo>
                  <a:lnTo>
                    <a:pt x="556" y="152"/>
                  </a:lnTo>
                  <a:lnTo>
                    <a:pt x="553" y="149"/>
                  </a:lnTo>
                  <a:lnTo>
                    <a:pt x="551" y="147"/>
                  </a:lnTo>
                  <a:lnTo>
                    <a:pt x="551" y="144"/>
                  </a:lnTo>
                  <a:lnTo>
                    <a:pt x="551" y="143"/>
                  </a:lnTo>
                  <a:lnTo>
                    <a:pt x="551" y="143"/>
                  </a:lnTo>
                  <a:lnTo>
                    <a:pt x="550" y="136"/>
                  </a:lnTo>
                  <a:lnTo>
                    <a:pt x="547" y="132"/>
                  </a:lnTo>
                  <a:lnTo>
                    <a:pt x="545" y="130"/>
                  </a:lnTo>
                  <a:lnTo>
                    <a:pt x="542" y="129"/>
                  </a:lnTo>
                  <a:lnTo>
                    <a:pt x="539" y="129"/>
                  </a:lnTo>
                  <a:lnTo>
                    <a:pt x="536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7" y="132"/>
                  </a:lnTo>
                  <a:lnTo>
                    <a:pt x="520" y="132"/>
                  </a:lnTo>
                  <a:lnTo>
                    <a:pt x="516" y="133"/>
                  </a:lnTo>
                  <a:lnTo>
                    <a:pt x="512" y="134"/>
                  </a:lnTo>
                  <a:lnTo>
                    <a:pt x="509" y="137"/>
                  </a:lnTo>
                  <a:lnTo>
                    <a:pt x="506" y="140"/>
                  </a:lnTo>
                  <a:lnTo>
                    <a:pt x="505" y="143"/>
                  </a:lnTo>
                  <a:lnTo>
                    <a:pt x="503" y="145"/>
                  </a:lnTo>
                  <a:lnTo>
                    <a:pt x="503" y="151"/>
                  </a:lnTo>
                  <a:lnTo>
                    <a:pt x="503" y="156"/>
                  </a:lnTo>
                  <a:lnTo>
                    <a:pt x="505" y="160"/>
                  </a:lnTo>
                  <a:lnTo>
                    <a:pt x="505" y="162"/>
                  </a:lnTo>
                  <a:lnTo>
                    <a:pt x="509" y="165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10" y="174"/>
                  </a:lnTo>
                  <a:lnTo>
                    <a:pt x="509" y="177"/>
                  </a:lnTo>
                  <a:lnTo>
                    <a:pt x="507" y="180"/>
                  </a:lnTo>
                  <a:lnTo>
                    <a:pt x="506" y="181"/>
                  </a:lnTo>
                  <a:lnTo>
                    <a:pt x="505" y="182"/>
                  </a:lnTo>
                  <a:lnTo>
                    <a:pt x="505" y="213"/>
                  </a:lnTo>
                  <a:lnTo>
                    <a:pt x="503" y="217"/>
                  </a:lnTo>
                  <a:lnTo>
                    <a:pt x="502" y="221"/>
                  </a:lnTo>
                  <a:lnTo>
                    <a:pt x="501" y="222"/>
                  </a:lnTo>
                  <a:lnTo>
                    <a:pt x="499" y="222"/>
                  </a:lnTo>
                  <a:lnTo>
                    <a:pt x="499" y="222"/>
                  </a:lnTo>
                  <a:lnTo>
                    <a:pt x="499" y="222"/>
                  </a:lnTo>
                  <a:lnTo>
                    <a:pt x="499" y="221"/>
                  </a:lnTo>
                  <a:lnTo>
                    <a:pt x="499" y="221"/>
                  </a:lnTo>
                  <a:lnTo>
                    <a:pt x="496" y="213"/>
                  </a:lnTo>
                  <a:lnTo>
                    <a:pt x="492" y="204"/>
                  </a:lnTo>
                  <a:lnTo>
                    <a:pt x="488" y="196"/>
                  </a:lnTo>
                  <a:lnTo>
                    <a:pt x="484" y="188"/>
                  </a:lnTo>
                  <a:lnTo>
                    <a:pt x="479" y="180"/>
                  </a:lnTo>
                  <a:lnTo>
                    <a:pt x="474" y="173"/>
                  </a:lnTo>
                  <a:lnTo>
                    <a:pt x="472" y="167"/>
                  </a:lnTo>
                  <a:lnTo>
                    <a:pt x="469" y="163"/>
                  </a:lnTo>
                  <a:lnTo>
                    <a:pt x="468" y="163"/>
                  </a:lnTo>
                  <a:lnTo>
                    <a:pt x="466" y="163"/>
                  </a:lnTo>
                  <a:lnTo>
                    <a:pt x="463" y="166"/>
                  </a:lnTo>
                  <a:lnTo>
                    <a:pt x="461" y="170"/>
                  </a:lnTo>
                  <a:lnTo>
                    <a:pt x="459" y="173"/>
                  </a:lnTo>
                  <a:lnTo>
                    <a:pt x="458" y="177"/>
                  </a:lnTo>
                  <a:lnTo>
                    <a:pt x="457" y="180"/>
                  </a:lnTo>
                  <a:lnTo>
                    <a:pt x="457" y="180"/>
                  </a:lnTo>
                  <a:lnTo>
                    <a:pt x="452" y="178"/>
                  </a:lnTo>
                  <a:lnTo>
                    <a:pt x="448" y="177"/>
                  </a:lnTo>
                  <a:lnTo>
                    <a:pt x="443" y="175"/>
                  </a:lnTo>
                  <a:lnTo>
                    <a:pt x="437" y="175"/>
                  </a:lnTo>
                  <a:lnTo>
                    <a:pt x="433" y="177"/>
                  </a:lnTo>
                  <a:lnTo>
                    <a:pt x="429" y="177"/>
                  </a:lnTo>
                  <a:lnTo>
                    <a:pt x="426" y="178"/>
                  </a:lnTo>
                  <a:lnTo>
                    <a:pt x="425" y="178"/>
                  </a:lnTo>
                  <a:lnTo>
                    <a:pt x="413" y="177"/>
                  </a:lnTo>
                  <a:lnTo>
                    <a:pt x="404" y="175"/>
                  </a:lnTo>
                  <a:lnTo>
                    <a:pt x="400" y="174"/>
                  </a:lnTo>
                  <a:lnTo>
                    <a:pt x="400" y="171"/>
                  </a:lnTo>
                  <a:lnTo>
                    <a:pt x="402" y="169"/>
                  </a:lnTo>
                  <a:lnTo>
                    <a:pt x="404" y="166"/>
                  </a:lnTo>
                  <a:lnTo>
                    <a:pt x="407" y="165"/>
                  </a:lnTo>
                  <a:lnTo>
                    <a:pt x="408" y="163"/>
                  </a:lnTo>
                  <a:lnTo>
                    <a:pt x="414" y="154"/>
                  </a:lnTo>
                  <a:lnTo>
                    <a:pt x="417" y="145"/>
                  </a:lnTo>
                  <a:lnTo>
                    <a:pt x="415" y="138"/>
                  </a:lnTo>
                  <a:lnTo>
                    <a:pt x="414" y="134"/>
                  </a:lnTo>
                  <a:lnTo>
                    <a:pt x="411" y="132"/>
                  </a:lnTo>
                  <a:lnTo>
                    <a:pt x="407" y="129"/>
                  </a:lnTo>
                  <a:lnTo>
                    <a:pt x="404" y="127"/>
                  </a:lnTo>
                  <a:lnTo>
                    <a:pt x="404" y="127"/>
                  </a:lnTo>
                  <a:lnTo>
                    <a:pt x="397" y="122"/>
                  </a:lnTo>
                  <a:lnTo>
                    <a:pt x="393" y="118"/>
                  </a:lnTo>
                  <a:lnTo>
                    <a:pt x="390" y="118"/>
                  </a:lnTo>
                  <a:lnTo>
                    <a:pt x="389" y="118"/>
                  </a:lnTo>
                  <a:lnTo>
                    <a:pt x="389" y="121"/>
                  </a:lnTo>
                  <a:lnTo>
                    <a:pt x="389" y="123"/>
                  </a:lnTo>
                  <a:lnTo>
                    <a:pt x="389" y="125"/>
                  </a:lnTo>
                  <a:lnTo>
                    <a:pt x="389" y="126"/>
                  </a:lnTo>
                  <a:lnTo>
                    <a:pt x="389" y="132"/>
                  </a:lnTo>
                  <a:lnTo>
                    <a:pt x="388" y="134"/>
                  </a:lnTo>
                  <a:lnTo>
                    <a:pt x="386" y="136"/>
                  </a:lnTo>
                  <a:lnTo>
                    <a:pt x="384" y="134"/>
                  </a:lnTo>
                  <a:lnTo>
                    <a:pt x="381" y="133"/>
                  </a:lnTo>
                  <a:lnTo>
                    <a:pt x="378" y="132"/>
                  </a:lnTo>
                  <a:lnTo>
                    <a:pt x="377" y="130"/>
                  </a:lnTo>
                  <a:lnTo>
                    <a:pt x="377" y="130"/>
                  </a:lnTo>
                  <a:lnTo>
                    <a:pt x="366" y="121"/>
                  </a:lnTo>
                  <a:lnTo>
                    <a:pt x="356" y="112"/>
                  </a:lnTo>
                  <a:lnTo>
                    <a:pt x="345" y="105"/>
                  </a:lnTo>
                  <a:lnTo>
                    <a:pt x="335" y="100"/>
                  </a:lnTo>
                  <a:lnTo>
                    <a:pt x="326" y="96"/>
                  </a:lnTo>
                  <a:lnTo>
                    <a:pt x="319" y="92"/>
                  </a:lnTo>
                  <a:lnTo>
                    <a:pt x="315" y="90"/>
                  </a:lnTo>
                  <a:lnTo>
                    <a:pt x="312" y="90"/>
                  </a:lnTo>
                  <a:lnTo>
                    <a:pt x="301" y="88"/>
                  </a:lnTo>
                  <a:lnTo>
                    <a:pt x="293" y="86"/>
                  </a:lnTo>
                  <a:lnTo>
                    <a:pt x="286" y="85"/>
                  </a:lnTo>
                  <a:lnTo>
                    <a:pt x="282" y="82"/>
                  </a:lnTo>
                  <a:lnTo>
                    <a:pt x="279" y="81"/>
                  </a:lnTo>
                  <a:lnTo>
                    <a:pt x="278" y="79"/>
                  </a:lnTo>
                  <a:lnTo>
                    <a:pt x="276" y="79"/>
                  </a:lnTo>
                  <a:lnTo>
                    <a:pt x="276" y="79"/>
                  </a:lnTo>
                  <a:lnTo>
                    <a:pt x="271" y="74"/>
                  </a:lnTo>
                  <a:lnTo>
                    <a:pt x="265" y="74"/>
                  </a:lnTo>
                  <a:lnTo>
                    <a:pt x="264" y="75"/>
                  </a:lnTo>
                  <a:lnTo>
                    <a:pt x="263" y="79"/>
                  </a:lnTo>
                  <a:lnTo>
                    <a:pt x="263" y="83"/>
                  </a:lnTo>
                  <a:lnTo>
                    <a:pt x="263" y="88"/>
                  </a:lnTo>
                  <a:lnTo>
                    <a:pt x="264" y="90"/>
                  </a:lnTo>
                  <a:lnTo>
                    <a:pt x="264" y="92"/>
                  </a:lnTo>
                  <a:lnTo>
                    <a:pt x="263" y="96"/>
                  </a:lnTo>
                  <a:lnTo>
                    <a:pt x="260" y="99"/>
                  </a:lnTo>
                  <a:lnTo>
                    <a:pt x="258" y="100"/>
                  </a:lnTo>
                  <a:lnTo>
                    <a:pt x="256" y="100"/>
                  </a:lnTo>
                  <a:lnTo>
                    <a:pt x="254" y="99"/>
                  </a:lnTo>
                  <a:lnTo>
                    <a:pt x="253" y="97"/>
                  </a:lnTo>
                  <a:lnTo>
                    <a:pt x="252" y="96"/>
                  </a:lnTo>
                  <a:lnTo>
                    <a:pt x="252" y="96"/>
                  </a:lnTo>
                  <a:lnTo>
                    <a:pt x="250" y="92"/>
                  </a:lnTo>
                  <a:lnTo>
                    <a:pt x="246" y="85"/>
                  </a:lnTo>
                  <a:lnTo>
                    <a:pt x="242" y="79"/>
                  </a:lnTo>
                  <a:lnTo>
                    <a:pt x="238" y="72"/>
                  </a:lnTo>
                  <a:lnTo>
                    <a:pt x="234" y="67"/>
                  </a:lnTo>
                  <a:lnTo>
                    <a:pt x="230" y="61"/>
                  </a:lnTo>
                  <a:lnTo>
                    <a:pt x="227" y="59"/>
                  </a:lnTo>
                  <a:lnTo>
                    <a:pt x="227" y="57"/>
                  </a:lnTo>
                  <a:lnTo>
                    <a:pt x="219" y="53"/>
                  </a:lnTo>
                  <a:lnTo>
                    <a:pt x="214" y="52"/>
                  </a:lnTo>
                  <a:lnTo>
                    <a:pt x="213" y="53"/>
                  </a:lnTo>
                  <a:lnTo>
                    <a:pt x="213" y="56"/>
                  </a:lnTo>
                  <a:lnTo>
                    <a:pt x="214" y="59"/>
                  </a:lnTo>
                  <a:lnTo>
                    <a:pt x="216" y="63"/>
                  </a:lnTo>
                  <a:lnTo>
                    <a:pt x="217" y="66"/>
                  </a:lnTo>
                  <a:lnTo>
                    <a:pt x="217" y="67"/>
                  </a:lnTo>
                  <a:lnTo>
                    <a:pt x="214" y="75"/>
                  </a:lnTo>
                  <a:lnTo>
                    <a:pt x="212" y="79"/>
                  </a:lnTo>
                  <a:lnTo>
                    <a:pt x="208" y="81"/>
                  </a:lnTo>
                  <a:lnTo>
                    <a:pt x="205" y="79"/>
                  </a:lnTo>
                  <a:lnTo>
                    <a:pt x="202" y="78"/>
                  </a:lnTo>
                  <a:lnTo>
                    <a:pt x="199" y="75"/>
                  </a:lnTo>
                  <a:lnTo>
                    <a:pt x="198" y="74"/>
                  </a:lnTo>
                  <a:lnTo>
                    <a:pt x="197" y="72"/>
                  </a:lnTo>
                  <a:lnTo>
                    <a:pt x="192" y="70"/>
                  </a:lnTo>
                  <a:lnTo>
                    <a:pt x="190" y="68"/>
                  </a:lnTo>
                  <a:lnTo>
                    <a:pt x="186" y="70"/>
                  </a:lnTo>
                  <a:lnTo>
                    <a:pt x="183" y="71"/>
                  </a:lnTo>
                  <a:lnTo>
                    <a:pt x="180" y="72"/>
                  </a:lnTo>
                  <a:lnTo>
                    <a:pt x="179" y="75"/>
                  </a:lnTo>
                  <a:lnTo>
                    <a:pt x="177" y="77"/>
                  </a:lnTo>
                  <a:lnTo>
                    <a:pt x="177" y="77"/>
                  </a:lnTo>
                  <a:lnTo>
                    <a:pt x="176" y="78"/>
                  </a:lnTo>
                  <a:lnTo>
                    <a:pt x="175" y="81"/>
                  </a:lnTo>
                  <a:lnTo>
                    <a:pt x="172" y="83"/>
                  </a:lnTo>
                  <a:lnTo>
                    <a:pt x="168" y="86"/>
                  </a:lnTo>
                  <a:lnTo>
                    <a:pt x="165" y="88"/>
                  </a:lnTo>
                  <a:lnTo>
                    <a:pt x="162" y="90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53" y="93"/>
                  </a:lnTo>
                  <a:lnTo>
                    <a:pt x="144" y="96"/>
                  </a:lnTo>
                  <a:lnTo>
                    <a:pt x="136" y="100"/>
                  </a:lnTo>
                  <a:lnTo>
                    <a:pt x="128" y="105"/>
                  </a:lnTo>
                  <a:lnTo>
                    <a:pt x="121" y="110"/>
                  </a:lnTo>
                  <a:lnTo>
                    <a:pt x="115" y="115"/>
                  </a:lnTo>
                  <a:lnTo>
                    <a:pt x="111" y="118"/>
                  </a:lnTo>
                  <a:lnTo>
                    <a:pt x="110" y="119"/>
                  </a:lnTo>
                  <a:lnTo>
                    <a:pt x="104" y="123"/>
                  </a:lnTo>
                  <a:lnTo>
                    <a:pt x="99" y="127"/>
                  </a:lnTo>
                  <a:lnTo>
                    <a:pt x="95" y="129"/>
                  </a:lnTo>
                  <a:lnTo>
                    <a:pt x="91" y="130"/>
                  </a:lnTo>
                  <a:lnTo>
                    <a:pt x="86" y="130"/>
                  </a:lnTo>
                  <a:lnTo>
                    <a:pt x="84" y="129"/>
                  </a:lnTo>
                  <a:lnTo>
                    <a:pt x="81" y="127"/>
                  </a:lnTo>
                  <a:lnTo>
                    <a:pt x="78" y="126"/>
                  </a:lnTo>
                  <a:lnTo>
                    <a:pt x="74" y="122"/>
                  </a:lnTo>
                  <a:lnTo>
                    <a:pt x="69" y="119"/>
                  </a:lnTo>
                  <a:lnTo>
                    <a:pt x="62" y="114"/>
                  </a:lnTo>
                  <a:lnTo>
                    <a:pt x="55" y="110"/>
                  </a:lnTo>
                  <a:lnTo>
                    <a:pt x="49" y="105"/>
                  </a:lnTo>
                  <a:lnTo>
                    <a:pt x="42" y="101"/>
                  </a:lnTo>
                  <a:lnTo>
                    <a:pt x="40" y="99"/>
                  </a:lnTo>
                  <a:lnTo>
                    <a:pt x="38" y="99"/>
                  </a:lnTo>
                  <a:lnTo>
                    <a:pt x="33" y="97"/>
                  </a:lnTo>
                  <a:lnTo>
                    <a:pt x="26" y="94"/>
                  </a:lnTo>
                  <a:lnTo>
                    <a:pt x="20" y="93"/>
                  </a:lnTo>
                  <a:lnTo>
                    <a:pt x="14" y="90"/>
                  </a:lnTo>
                  <a:lnTo>
                    <a:pt x="8" y="89"/>
                  </a:lnTo>
                  <a:lnTo>
                    <a:pt x="4" y="8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433"/>
                  </a:lnTo>
                  <a:lnTo>
                    <a:pt x="15" y="434"/>
                  </a:lnTo>
                  <a:lnTo>
                    <a:pt x="16" y="435"/>
                  </a:lnTo>
                  <a:lnTo>
                    <a:pt x="18" y="435"/>
                  </a:lnTo>
                  <a:lnTo>
                    <a:pt x="19" y="437"/>
                  </a:lnTo>
                  <a:lnTo>
                    <a:pt x="22" y="438"/>
                  </a:lnTo>
                  <a:lnTo>
                    <a:pt x="23" y="439"/>
                  </a:lnTo>
                  <a:lnTo>
                    <a:pt x="26" y="441"/>
                  </a:lnTo>
                  <a:lnTo>
                    <a:pt x="27" y="442"/>
                  </a:lnTo>
                  <a:lnTo>
                    <a:pt x="30" y="444"/>
                  </a:lnTo>
                  <a:lnTo>
                    <a:pt x="704" y="444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1" name="Freeform 287"/>
            <p:cNvSpPr>
              <a:spLocks/>
            </p:cNvSpPr>
            <p:nvPr/>
          </p:nvSpPr>
          <p:spPr bwMode="auto">
            <a:xfrm>
              <a:off x="827" y="918"/>
              <a:ext cx="474" cy="478"/>
            </a:xfrm>
            <a:custGeom>
              <a:avLst/>
              <a:gdLst>
                <a:gd name="T0" fmla="*/ 371 w 586"/>
                <a:gd name="T1" fmla="*/ 57 h 593"/>
                <a:gd name="T2" fmla="*/ 337 w 586"/>
                <a:gd name="T3" fmla="*/ 49 h 593"/>
                <a:gd name="T4" fmla="*/ 311 w 586"/>
                <a:gd name="T5" fmla="*/ 37 h 593"/>
                <a:gd name="T6" fmla="*/ 287 w 586"/>
                <a:gd name="T7" fmla="*/ 29 h 593"/>
                <a:gd name="T8" fmla="*/ 275 w 586"/>
                <a:gd name="T9" fmla="*/ 40 h 593"/>
                <a:gd name="T10" fmla="*/ 257 w 586"/>
                <a:gd name="T11" fmla="*/ 34 h 593"/>
                <a:gd name="T12" fmla="*/ 214 w 586"/>
                <a:gd name="T13" fmla="*/ 8 h 593"/>
                <a:gd name="T14" fmla="*/ 172 w 586"/>
                <a:gd name="T15" fmla="*/ 2 h 593"/>
                <a:gd name="T16" fmla="*/ 125 w 586"/>
                <a:gd name="T17" fmla="*/ 15 h 593"/>
                <a:gd name="T18" fmla="*/ 99 w 586"/>
                <a:gd name="T19" fmla="*/ 40 h 593"/>
                <a:gd name="T20" fmla="*/ 60 w 586"/>
                <a:gd name="T21" fmla="*/ 89 h 593"/>
                <a:gd name="T22" fmla="*/ 22 w 586"/>
                <a:gd name="T23" fmla="*/ 115 h 593"/>
                <a:gd name="T24" fmla="*/ 62 w 586"/>
                <a:gd name="T25" fmla="*/ 160 h 593"/>
                <a:gd name="T26" fmla="*/ 82 w 586"/>
                <a:gd name="T27" fmla="*/ 215 h 593"/>
                <a:gd name="T28" fmla="*/ 45 w 586"/>
                <a:gd name="T29" fmla="*/ 199 h 593"/>
                <a:gd name="T30" fmla="*/ 1 w 586"/>
                <a:gd name="T31" fmla="*/ 233 h 593"/>
                <a:gd name="T32" fmla="*/ 42 w 586"/>
                <a:gd name="T33" fmla="*/ 273 h 593"/>
                <a:gd name="T34" fmla="*/ 95 w 586"/>
                <a:gd name="T35" fmla="*/ 264 h 593"/>
                <a:gd name="T36" fmla="*/ 102 w 586"/>
                <a:gd name="T37" fmla="*/ 276 h 593"/>
                <a:gd name="T38" fmla="*/ 108 w 586"/>
                <a:gd name="T39" fmla="*/ 302 h 593"/>
                <a:gd name="T40" fmla="*/ 64 w 586"/>
                <a:gd name="T41" fmla="*/ 332 h 593"/>
                <a:gd name="T42" fmla="*/ 52 w 586"/>
                <a:gd name="T43" fmla="*/ 346 h 593"/>
                <a:gd name="T44" fmla="*/ 26 w 586"/>
                <a:gd name="T45" fmla="*/ 387 h 593"/>
                <a:gd name="T46" fmla="*/ 47 w 586"/>
                <a:gd name="T47" fmla="*/ 397 h 593"/>
                <a:gd name="T48" fmla="*/ 60 w 586"/>
                <a:gd name="T49" fmla="*/ 431 h 593"/>
                <a:gd name="T50" fmla="*/ 84 w 586"/>
                <a:gd name="T51" fmla="*/ 437 h 593"/>
                <a:gd name="T52" fmla="*/ 95 w 586"/>
                <a:gd name="T53" fmla="*/ 463 h 593"/>
                <a:gd name="T54" fmla="*/ 115 w 586"/>
                <a:gd name="T55" fmla="*/ 455 h 593"/>
                <a:gd name="T56" fmla="*/ 132 w 586"/>
                <a:gd name="T57" fmla="*/ 474 h 593"/>
                <a:gd name="T58" fmla="*/ 163 w 586"/>
                <a:gd name="T59" fmla="*/ 452 h 593"/>
                <a:gd name="T60" fmla="*/ 158 w 586"/>
                <a:gd name="T61" fmla="*/ 485 h 593"/>
                <a:gd name="T62" fmla="*/ 108 w 586"/>
                <a:gd name="T63" fmla="*/ 534 h 593"/>
                <a:gd name="T64" fmla="*/ 75 w 586"/>
                <a:gd name="T65" fmla="*/ 565 h 593"/>
                <a:gd name="T66" fmla="*/ 121 w 586"/>
                <a:gd name="T67" fmla="*/ 549 h 593"/>
                <a:gd name="T68" fmla="*/ 198 w 586"/>
                <a:gd name="T69" fmla="*/ 486 h 593"/>
                <a:gd name="T70" fmla="*/ 216 w 586"/>
                <a:gd name="T71" fmla="*/ 455 h 593"/>
                <a:gd name="T72" fmla="*/ 220 w 586"/>
                <a:gd name="T73" fmla="*/ 437 h 593"/>
                <a:gd name="T74" fmla="*/ 250 w 586"/>
                <a:gd name="T75" fmla="*/ 387 h 593"/>
                <a:gd name="T76" fmla="*/ 297 w 586"/>
                <a:gd name="T77" fmla="*/ 383 h 593"/>
                <a:gd name="T78" fmla="*/ 271 w 586"/>
                <a:gd name="T79" fmla="*/ 397 h 593"/>
                <a:gd name="T80" fmla="*/ 250 w 586"/>
                <a:gd name="T81" fmla="*/ 426 h 593"/>
                <a:gd name="T82" fmla="*/ 256 w 586"/>
                <a:gd name="T83" fmla="*/ 449 h 593"/>
                <a:gd name="T84" fmla="*/ 298 w 586"/>
                <a:gd name="T85" fmla="*/ 416 h 593"/>
                <a:gd name="T86" fmla="*/ 319 w 586"/>
                <a:gd name="T87" fmla="*/ 400 h 593"/>
                <a:gd name="T88" fmla="*/ 353 w 586"/>
                <a:gd name="T89" fmla="*/ 416 h 593"/>
                <a:gd name="T90" fmla="*/ 395 w 586"/>
                <a:gd name="T91" fmla="*/ 426 h 593"/>
                <a:gd name="T92" fmla="*/ 418 w 586"/>
                <a:gd name="T93" fmla="*/ 437 h 593"/>
                <a:gd name="T94" fmla="*/ 455 w 586"/>
                <a:gd name="T95" fmla="*/ 457 h 593"/>
                <a:gd name="T96" fmla="*/ 511 w 586"/>
                <a:gd name="T97" fmla="*/ 467 h 593"/>
                <a:gd name="T98" fmla="*/ 535 w 586"/>
                <a:gd name="T99" fmla="*/ 504 h 593"/>
                <a:gd name="T100" fmla="*/ 547 w 586"/>
                <a:gd name="T101" fmla="*/ 533 h 593"/>
                <a:gd name="T102" fmla="*/ 560 w 586"/>
                <a:gd name="T103" fmla="*/ 551 h 593"/>
                <a:gd name="T104" fmla="*/ 571 w 586"/>
                <a:gd name="T105" fmla="*/ 558 h 593"/>
                <a:gd name="T106" fmla="*/ 578 w 586"/>
                <a:gd name="T107" fmla="*/ 593 h 593"/>
                <a:gd name="T108" fmla="*/ 584 w 586"/>
                <a:gd name="T109" fmla="*/ 544 h 593"/>
                <a:gd name="T110" fmla="*/ 551 w 586"/>
                <a:gd name="T111" fmla="*/ 500 h 593"/>
                <a:gd name="T112" fmla="*/ 495 w 586"/>
                <a:gd name="T113" fmla="*/ 440 h 593"/>
                <a:gd name="T114" fmla="*/ 451 w 586"/>
                <a:gd name="T115" fmla="*/ 431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6" h="593">
                  <a:moveTo>
                    <a:pt x="403" y="59"/>
                  </a:moveTo>
                  <a:lnTo>
                    <a:pt x="401" y="59"/>
                  </a:lnTo>
                  <a:lnTo>
                    <a:pt x="400" y="57"/>
                  </a:lnTo>
                  <a:lnTo>
                    <a:pt x="397" y="55"/>
                  </a:lnTo>
                  <a:lnTo>
                    <a:pt x="393" y="53"/>
                  </a:lnTo>
                  <a:lnTo>
                    <a:pt x="389" y="52"/>
                  </a:lnTo>
                  <a:lnTo>
                    <a:pt x="384" y="52"/>
                  </a:lnTo>
                  <a:lnTo>
                    <a:pt x="378" y="53"/>
                  </a:lnTo>
                  <a:lnTo>
                    <a:pt x="371" y="57"/>
                  </a:lnTo>
                  <a:lnTo>
                    <a:pt x="370" y="57"/>
                  </a:lnTo>
                  <a:lnTo>
                    <a:pt x="367" y="57"/>
                  </a:lnTo>
                  <a:lnTo>
                    <a:pt x="363" y="57"/>
                  </a:lnTo>
                  <a:lnTo>
                    <a:pt x="359" y="56"/>
                  </a:lnTo>
                  <a:lnTo>
                    <a:pt x="353" y="56"/>
                  </a:lnTo>
                  <a:lnTo>
                    <a:pt x="348" y="55"/>
                  </a:lnTo>
                  <a:lnTo>
                    <a:pt x="342" y="52"/>
                  </a:lnTo>
                  <a:lnTo>
                    <a:pt x="337" y="49"/>
                  </a:lnTo>
                  <a:lnTo>
                    <a:pt x="337" y="49"/>
                  </a:lnTo>
                  <a:lnTo>
                    <a:pt x="334" y="49"/>
                  </a:lnTo>
                  <a:lnTo>
                    <a:pt x="330" y="49"/>
                  </a:lnTo>
                  <a:lnTo>
                    <a:pt x="326" y="48"/>
                  </a:lnTo>
                  <a:lnTo>
                    <a:pt x="322" y="46"/>
                  </a:lnTo>
                  <a:lnTo>
                    <a:pt x="318" y="45"/>
                  </a:lnTo>
                  <a:lnTo>
                    <a:pt x="315" y="42"/>
                  </a:lnTo>
                  <a:lnTo>
                    <a:pt x="312" y="38"/>
                  </a:lnTo>
                  <a:lnTo>
                    <a:pt x="312" y="37"/>
                  </a:lnTo>
                  <a:lnTo>
                    <a:pt x="311" y="37"/>
                  </a:lnTo>
                  <a:lnTo>
                    <a:pt x="308" y="35"/>
                  </a:lnTo>
                  <a:lnTo>
                    <a:pt x="305" y="34"/>
                  </a:lnTo>
                  <a:lnTo>
                    <a:pt x="302" y="34"/>
                  </a:lnTo>
                  <a:lnTo>
                    <a:pt x="300" y="33"/>
                  </a:lnTo>
                  <a:lnTo>
                    <a:pt x="296" y="31"/>
                  </a:lnTo>
                  <a:lnTo>
                    <a:pt x="293" y="31"/>
                  </a:lnTo>
                  <a:lnTo>
                    <a:pt x="291" y="31"/>
                  </a:lnTo>
                  <a:lnTo>
                    <a:pt x="290" y="30"/>
                  </a:lnTo>
                  <a:lnTo>
                    <a:pt x="287" y="29"/>
                  </a:lnTo>
                  <a:lnTo>
                    <a:pt x="285" y="27"/>
                  </a:lnTo>
                  <a:lnTo>
                    <a:pt x="280" y="26"/>
                  </a:lnTo>
                  <a:lnTo>
                    <a:pt x="278" y="26"/>
                  </a:lnTo>
                  <a:lnTo>
                    <a:pt x="275" y="26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4" y="33"/>
                  </a:lnTo>
                  <a:lnTo>
                    <a:pt x="274" y="37"/>
                  </a:lnTo>
                  <a:lnTo>
                    <a:pt x="275" y="40"/>
                  </a:lnTo>
                  <a:lnTo>
                    <a:pt x="275" y="42"/>
                  </a:lnTo>
                  <a:lnTo>
                    <a:pt x="275" y="44"/>
                  </a:lnTo>
                  <a:lnTo>
                    <a:pt x="274" y="45"/>
                  </a:lnTo>
                  <a:lnTo>
                    <a:pt x="271" y="45"/>
                  </a:lnTo>
                  <a:lnTo>
                    <a:pt x="268" y="44"/>
                  </a:lnTo>
                  <a:lnTo>
                    <a:pt x="265" y="41"/>
                  </a:lnTo>
                  <a:lnTo>
                    <a:pt x="263" y="40"/>
                  </a:lnTo>
                  <a:lnTo>
                    <a:pt x="260" y="37"/>
                  </a:lnTo>
                  <a:lnTo>
                    <a:pt x="257" y="34"/>
                  </a:lnTo>
                  <a:lnTo>
                    <a:pt x="254" y="31"/>
                  </a:lnTo>
                  <a:lnTo>
                    <a:pt x="252" y="29"/>
                  </a:lnTo>
                  <a:lnTo>
                    <a:pt x="249" y="26"/>
                  </a:lnTo>
                  <a:lnTo>
                    <a:pt x="243" y="23"/>
                  </a:lnTo>
                  <a:lnTo>
                    <a:pt x="238" y="20"/>
                  </a:lnTo>
                  <a:lnTo>
                    <a:pt x="231" y="16"/>
                  </a:lnTo>
                  <a:lnTo>
                    <a:pt x="225" y="13"/>
                  </a:lnTo>
                  <a:lnTo>
                    <a:pt x="218" y="11"/>
                  </a:lnTo>
                  <a:lnTo>
                    <a:pt x="214" y="8"/>
                  </a:lnTo>
                  <a:lnTo>
                    <a:pt x="212" y="7"/>
                  </a:lnTo>
                  <a:lnTo>
                    <a:pt x="210" y="7"/>
                  </a:lnTo>
                  <a:lnTo>
                    <a:pt x="209" y="5"/>
                  </a:lnTo>
                  <a:lnTo>
                    <a:pt x="206" y="4"/>
                  </a:lnTo>
                  <a:lnTo>
                    <a:pt x="202" y="2"/>
                  </a:lnTo>
                  <a:lnTo>
                    <a:pt x="195" y="1"/>
                  </a:lnTo>
                  <a:lnTo>
                    <a:pt x="188" y="0"/>
                  </a:lnTo>
                  <a:lnTo>
                    <a:pt x="180" y="0"/>
                  </a:lnTo>
                  <a:lnTo>
                    <a:pt x="172" y="2"/>
                  </a:lnTo>
                  <a:lnTo>
                    <a:pt x="161" y="7"/>
                  </a:lnTo>
                  <a:lnTo>
                    <a:pt x="152" y="11"/>
                  </a:lnTo>
                  <a:lnTo>
                    <a:pt x="146" y="13"/>
                  </a:lnTo>
                  <a:lnTo>
                    <a:pt x="140" y="15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132" y="15"/>
                  </a:lnTo>
                  <a:lnTo>
                    <a:pt x="129" y="15"/>
                  </a:lnTo>
                  <a:lnTo>
                    <a:pt x="125" y="15"/>
                  </a:lnTo>
                  <a:lnTo>
                    <a:pt x="121" y="16"/>
                  </a:lnTo>
                  <a:lnTo>
                    <a:pt x="117" y="18"/>
                  </a:lnTo>
                  <a:lnTo>
                    <a:pt x="113" y="19"/>
                  </a:lnTo>
                  <a:lnTo>
                    <a:pt x="110" y="22"/>
                  </a:lnTo>
                  <a:lnTo>
                    <a:pt x="106" y="24"/>
                  </a:lnTo>
                  <a:lnTo>
                    <a:pt x="103" y="27"/>
                  </a:lnTo>
                  <a:lnTo>
                    <a:pt x="102" y="30"/>
                  </a:lnTo>
                  <a:lnTo>
                    <a:pt x="100" y="34"/>
                  </a:lnTo>
                  <a:lnTo>
                    <a:pt x="99" y="40"/>
                  </a:lnTo>
                  <a:lnTo>
                    <a:pt x="95" y="46"/>
                  </a:lnTo>
                  <a:lnTo>
                    <a:pt x="91" y="56"/>
                  </a:lnTo>
                  <a:lnTo>
                    <a:pt x="85" y="66"/>
                  </a:lnTo>
                  <a:lnTo>
                    <a:pt x="80" y="74"/>
                  </a:lnTo>
                  <a:lnTo>
                    <a:pt x="73" y="82"/>
                  </a:lnTo>
                  <a:lnTo>
                    <a:pt x="70" y="85"/>
                  </a:lnTo>
                  <a:lnTo>
                    <a:pt x="66" y="88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3" y="89"/>
                  </a:lnTo>
                  <a:lnTo>
                    <a:pt x="47" y="90"/>
                  </a:lnTo>
                  <a:lnTo>
                    <a:pt x="40" y="92"/>
                  </a:lnTo>
                  <a:lnTo>
                    <a:pt x="34" y="95"/>
                  </a:lnTo>
                  <a:lnTo>
                    <a:pt x="29" y="97"/>
                  </a:lnTo>
                  <a:lnTo>
                    <a:pt x="25" y="100"/>
                  </a:lnTo>
                  <a:lnTo>
                    <a:pt x="22" y="104"/>
                  </a:lnTo>
                  <a:lnTo>
                    <a:pt x="22" y="110"/>
                  </a:lnTo>
                  <a:lnTo>
                    <a:pt x="22" y="115"/>
                  </a:lnTo>
                  <a:lnTo>
                    <a:pt x="23" y="119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31" y="129"/>
                  </a:lnTo>
                  <a:lnTo>
                    <a:pt x="36" y="133"/>
                  </a:lnTo>
                  <a:lnTo>
                    <a:pt x="41" y="139"/>
                  </a:lnTo>
                  <a:lnTo>
                    <a:pt x="47" y="144"/>
                  </a:lnTo>
                  <a:lnTo>
                    <a:pt x="53" y="151"/>
                  </a:lnTo>
                  <a:lnTo>
                    <a:pt x="62" y="160"/>
                  </a:lnTo>
                  <a:lnTo>
                    <a:pt x="71" y="169"/>
                  </a:lnTo>
                  <a:lnTo>
                    <a:pt x="80" y="180"/>
                  </a:lnTo>
                  <a:lnTo>
                    <a:pt x="85" y="189"/>
                  </a:lnTo>
                  <a:lnTo>
                    <a:pt x="89" y="198"/>
                  </a:lnTo>
                  <a:lnTo>
                    <a:pt x="91" y="202"/>
                  </a:lnTo>
                  <a:lnTo>
                    <a:pt x="91" y="206"/>
                  </a:lnTo>
                  <a:lnTo>
                    <a:pt x="89" y="209"/>
                  </a:lnTo>
                  <a:lnTo>
                    <a:pt x="86" y="211"/>
                  </a:lnTo>
                  <a:lnTo>
                    <a:pt x="82" y="215"/>
                  </a:lnTo>
                  <a:lnTo>
                    <a:pt x="78" y="215"/>
                  </a:lnTo>
                  <a:lnTo>
                    <a:pt x="74" y="214"/>
                  </a:lnTo>
                  <a:lnTo>
                    <a:pt x="70" y="213"/>
                  </a:lnTo>
                  <a:lnTo>
                    <a:pt x="66" y="209"/>
                  </a:lnTo>
                  <a:lnTo>
                    <a:pt x="63" y="206"/>
                  </a:lnTo>
                  <a:lnTo>
                    <a:pt x="59" y="203"/>
                  </a:lnTo>
                  <a:lnTo>
                    <a:pt x="56" y="200"/>
                  </a:lnTo>
                  <a:lnTo>
                    <a:pt x="51" y="199"/>
                  </a:lnTo>
                  <a:lnTo>
                    <a:pt x="45" y="199"/>
                  </a:lnTo>
                  <a:lnTo>
                    <a:pt x="40" y="200"/>
                  </a:lnTo>
                  <a:lnTo>
                    <a:pt x="33" y="202"/>
                  </a:lnTo>
                  <a:lnTo>
                    <a:pt x="27" y="204"/>
                  </a:lnTo>
                  <a:lnTo>
                    <a:pt x="20" y="209"/>
                  </a:lnTo>
                  <a:lnTo>
                    <a:pt x="15" y="213"/>
                  </a:lnTo>
                  <a:lnTo>
                    <a:pt x="11" y="218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1" y="233"/>
                  </a:lnTo>
                  <a:lnTo>
                    <a:pt x="0" y="239"/>
                  </a:lnTo>
                  <a:lnTo>
                    <a:pt x="0" y="244"/>
                  </a:lnTo>
                  <a:lnTo>
                    <a:pt x="1" y="248"/>
                  </a:lnTo>
                  <a:lnTo>
                    <a:pt x="5" y="254"/>
                  </a:lnTo>
                  <a:lnTo>
                    <a:pt x="11" y="258"/>
                  </a:lnTo>
                  <a:lnTo>
                    <a:pt x="19" y="262"/>
                  </a:lnTo>
                  <a:lnTo>
                    <a:pt x="26" y="266"/>
                  </a:lnTo>
                  <a:lnTo>
                    <a:pt x="34" y="270"/>
                  </a:lnTo>
                  <a:lnTo>
                    <a:pt x="42" y="273"/>
                  </a:lnTo>
                  <a:lnTo>
                    <a:pt x="51" y="275"/>
                  </a:lnTo>
                  <a:lnTo>
                    <a:pt x="59" y="276"/>
                  </a:lnTo>
                  <a:lnTo>
                    <a:pt x="67" y="275"/>
                  </a:lnTo>
                  <a:lnTo>
                    <a:pt x="75" y="273"/>
                  </a:lnTo>
                  <a:lnTo>
                    <a:pt x="75" y="272"/>
                  </a:lnTo>
                  <a:lnTo>
                    <a:pt x="80" y="270"/>
                  </a:lnTo>
                  <a:lnTo>
                    <a:pt x="84" y="268"/>
                  </a:lnTo>
                  <a:lnTo>
                    <a:pt x="89" y="265"/>
                  </a:lnTo>
                  <a:lnTo>
                    <a:pt x="95" y="264"/>
                  </a:lnTo>
                  <a:lnTo>
                    <a:pt x="100" y="262"/>
                  </a:lnTo>
                  <a:lnTo>
                    <a:pt x="104" y="262"/>
                  </a:lnTo>
                  <a:lnTo>
                    <a:pt x="106" y="265"/>
                  </a:lnTo>
                  <a:lnTo>
                    <a:pt x="107" y="268"/>
                  </a:lnTo>
                  <a:lnTo>
                    <a:pt x="107" y="269"/>
                  </a:lnTo>
                  <a:lnTo>
                    <a:pt x="106" y="270"/>
                  </a:lnTo>
                  <a:lnTo>
                    <a:pt x="104" y="273"/>
                  </a:lnTo>
                  <a:lnTo>
                    <a:pt x="103" y="275"/>
                  </a:lnTo>
                  <a:lnTo>
                    <a:pt x="102" y="276"/>
                  </a:lnTo>
                  <a:lnTo>
                    <a:pt x="102" y="279"/>
                  </a:lnTo>
                  <a:lnTo>
                    <a:pt x="102" y="281"/>
                  </a:lnTo>
                  <a:lnTo>
                    <a:pt x="104" y="284"/>
                  </a:lnTo>
                  <a:lnTo>
                    <a:pt x="106" y="287"/>
                  </a:lnTo>
                  <a:lnTo>
                    <a:pt x="108" y="290"/>
                  </a:lnTo>
                  <a:lnTo>
                    <a:pt x="110" y="292"/>
                  </a:lnTo>
                  <a:lnTo>
                    <a:pt x="110" y="295"/>
                  </a:lnTo>
                  <a:lnTo>
                    <a:pt x="110" y="298"/>
                  </a:lnTo>
                  <a:lnTo>
                    <a:pt x="108" y="302"/>
                  </a:lnTo>
                  <a:lnTo>
                    <a:pt x="104" y="305"/>
                  </a:lnTo>
                  <a:lnTo>
                    <a:pt x="99" y="308"/>
                  </a:lnTo>
                  <a:lnTo>
                    <a:pt x="92" y="310"/>
                  </a:lnTo>
                  <a:lnTo>
                    <a:pt x="85" y="314"/>
                  </a:lnTo>
                  <a:lnTo>
                    <a:pt x="78" y="317"/>
                  </a:lnTo>
                  <a:lnTo>
                    <a:pt x="71" y="321"/>
                  </a:lnTo>
                  <a:lnTo>
                    <a:pt x="67" y="327"/>
                  </a:lnTo>
                  <a:lnTo>
                    <a:pt x="64" y="328"/>
                  </a:lnTo>
                  <a:lnTo>
                    <a:pt x="64" y="332"/>
                  </a:lnTo>
                  <a:lnTo>
                    <a:pt x="63" y="335"/>
                  </a:lnTo>
                  <a:lnTo>
                    <a:pt x="64" y="338"/>
                  </a:lnTo>
                  <a:lnTo>
                    <a:pt x="64" y="338"/>
                  </a:lnTo>
                  <a:lnTo>
                    <a:pt x="64" y="338"/>
                  </a:lnTo>
                  <a:lnTo>
                    <a:pt x="64" y="339"/>
                  </a:lnTo>
                  <a:lnTo>
                    <a:pt x="63" y="339"/>
                  </a:lnTo>
                  <a:lnTo>
                    <a:pt x="62" y="341"/>
                  </a:lnTo>
                  <a:lnTo>
                    <a:pt x="59" y="343"/>
                  </a:lnTo>
                  <a:lnTo>
                    <a:pt x="52" y="346"/>
                  </a:lnTo>
                  <a:lnTo>
                    <a:pt x="45" y="352"/>
                  </a:lnTo>
                  <a:lnTo>
                    <a:pt x="36" y="357"/>
                  </a:lnTo>
                  <a:lnTo>
                    <a:pt x="29" y="361"/>
                  </a:lnTo>
                  <a:lnTo>
                    <a:pt x="23" y="365"/>
                  </a:lnTo>
                  <a:lnTo>
                    <a:pt x="20" y="369"/>
                  </a:lnTo>
                  <a:lnTo>
                    <a:pt x="19" y="374"/>
                  </a:lnTo>
                  <a:lnTo>
                    <a:pt x="19" y="378"/>
                  </a:lnTo>
                  <a:lnTo>
                    <a:pt x="22" y="382"/>
                  </a:lnTo>
                  <a:lnTo>
                    <a:pt x="26" y="387"/>
                  </a:lnTo>
                  <a:lnTo>
                    <a:pt x="26" y="387"/>
                  </a:lnTo>
                  <a:lnTo>
                    <a:pt x="27" y="389"/>
                  </a:lnTo>
                  <a:lnTo>
                    <a:pt x="30" y="389"/>
                  </a:lnTo>
                  <a:lnTo>
                    <a:pt x="33" y="390"/>
                  </a:lnTo>
                  <a:lnTo>
                    <a:pt x="36" y="391"/>
                  </a:lnTo>
                  <a:lnTo>
                    <a:pt x="40" y="393"/>
                  </a:lnTo>
                  <a:lnTo>
                    <a:pt x="42" y="394"/>
                  </a:lnTo>
                  <a:lnTo>
                    <a:pt x="47" y="396"/>
                  </a:lnTo>
                  <a:lnTo>
                    <a:pt x="47" y="397"/>
                  </a:lnTo>
                  <a:lnTo>
                    <a:pt x="45" y="400"/>
                  </a:lnTo>
                  <a:lnTo>
                    <a:pt x="45" y="404"/>
                  </a:lnTo>
                  <a:lnTo>
                    <a:pt x="45" y="408"/>
                  </a:lnTo>
                  <a:lnTo>
                    <a:pt x="45" y="415"/>
                  </a:lnTo>
                  <a:lnTo>
                    <a:pt x="48" y="420"/>
                  </a:lnTo>
                  <a:lnTo>
                    <a:pt x="52" y="426"/>
                  </a:lnTo>
                  <a:lnTo>
                    <a:pt x="58" y="431"/>
                  </a:lnTo>
                  <a:lnTo>
                    <a:pt x="59" y="431"/>
                  </a:lnTo>
                  <a:lnTo>
                    <a:pt x="60" y="431"/>
                  </a:lnTo>
                  <a:lnTo>
                    <a:pt x="63" y="431"/>
                  </a:lnTo>
                  <a:lnTo>
                    <a:pt x="67" y="431"/>
                  </a:lnTo>
                  <a:lnTo>
                    <a:pt x="71" y="431"/>
                  </a:lnTo>
                  <a:lnTo>
                    <a:pt x="74" y="431"/>
                  </a:lnTo>
                  <a:lnTo>
                    <a:pt x="78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2" y="434"/>
                  </a:lnTo>
                  <a:lnTo>
                    <a:pt x="84" y="437"/>
                  </a:lnTo>
                  <a:lnTo>
                    <a:pt x="85" y="440"/>
                  </a:lnTo>
                  <a:lnTo>
                    <a:pt x="86" y="444"/>
                  </a:lnTo>
                  <a:lnTo>
                    <a:pt x="88" y="448"/>
                  </a:lnTo>
                  <a:lnTo>
                    <a:pt x="89" y="453"/>
                  </a:lnTo>
                  <a:lnTo>
                    <a:pt x="89" y="459"/>
                  </a:lnTo>
                  <a:lnTo>
                    <a:pt x="89" y="459"/>
                  </a:lnTo>
                  <a:lnTo>
                    <a:pt x="91" y="460"/>
                  </a:lnTo>
                  <a:lnTo>
                    <a:pt x="92" y="462"/>
                  </a:lnTo>
                  <a:lnTo>
                    <a:pt x="95" y="463"/>
                  </a:lnTo>
                  <a:lnTo>
                    <a:pt x="97" y="463"/>
                  </a:lnTo>
                  <a:lnTo>
                    <a:pt x="102" y="462"/>
                  </a:lnTo>
                  <a:lnTo>
                    <a:pt x="104" y="459"/>
                  </a:lnTo>
                  <a:lnTo>
                    <a:pt x="108" y="455"/>
                  </a:lnTo>
                  <a:lnTo>
                    <a:pt x="108" y="455"/>
                  </a:lnTo>
                  <a:lnTo>
                    <a:pt x="110" y="455"/>
                  </a:lnTo>
                  <a:lnTo>
                    <a:pt x="111" y="455"/>
                  </a:lnTo>
                  <a:lnTo>
                    <a:pt x="114" y="455"/>
                  </a:lnTo>
                  <a:lnTo>
                    <a:pt x="115" y="455"/>
                  </a:lnTo>
                  <a:lnTo>
                    <a:pt x="117" y="456"/>
                  </a:lnTo>
                  <a:lnTo>
                    <a:pt x="118" y="459"/>
                  </a:lnTo>
                  <a:lnTo>
                    <a:pt x="118" y="463"/>
                  </a:lnTo>
                  <a:lnTo>
                    <a:pt x="119" y="464"/>
                  </a:lnTo>
                  <a:lnTo>
                    <a:pt x="119" y="466"/>
                  </a:lnTo>
                  <a:lnTo>
                    <a:pt x="122" y="468"/>
                  </a:lnTo>
                  <a:lnTo>
                    <a:pt x="125" y="471"/>
                  </a:lnTo>
                  <a:lnTo>
                    <a:pt x="128" y="474"/>
                  </a:lnTo>
                  <a:lnTo>
                    <a:pt x="132" y="474"/>
                  </a:lnTo>
                  <a:lnTo>
                    <a:pt x="139" y="472"/>
                  </a:lnTo>
                  <a:lnTo>
                    <a:pt x="144" y="467"/>
                  </a:lnTo>
                  <a:lnTo>
                    <a:pt x="146" y="466"/>
                  </a:lnTo>
                  <a:lnTo>
                    <a:pt x="148" y="463"/>
                  </a:lnTo>
                  <a:lnTo>
                    <a:pt x="151" y="460"/>
                  </a:lnTo>
                  <a:lnTo>
                    <a:pt x="155" y="456"/>
                  </a:lnTo>
                  <a:lnTo>
                    <a:pt x="159" y="453"/>
                  </a:lnTo>
                  <a:lnTo>
                    <a:pt x="162" y="452"/>
                  </a:lnTo>
                  <a:lnTo>
                    <a:pt x="163" y="452"/>
                  </a:lnTo>
                  <a:lnTo>
                    <a:pt x="165" y="453"/>
                  </a:lnTo>
                  <a:lnTo>
                    <a:pt x="165" y="455"/>
                  </a:lnTo>
                  <a:lnTo>
                    <a:pt x="165" y="457"/>
                  </a:lnTo>
                  <a:lnTo>
                    <a:pt x="165" y="457"/>
                  </a:lnTo>
                  <a:lnTo>
                    <a:pt x="165" y="462"/>
                  </a:lnTo>
                  <a:lnTo>
                    <a:pt x="163" y="466"/>
                  </a:lnTo>
                  <a:lnTo>
                    <a:pt x="162" y="472"/>
                  </a:lnTo>
                  <a:lnTo>
                    <a:pt x="159" y="479"/>
                  </a:lnTo>
                  <a:lnTo>
                    <a:pt x="158" y="485"/>
                  </a:lnTo>
                  <a:lnTo>
                    <a:pt x="154" y="492"/>
                  </a:lnTo>
                  <a:lnTo>
                    <a:pt x="151" y="497"/>
                  </a:lnTo>
                  <a:lnTo>
                    <a:pt x="150" y="499"/>
                  </a:lnTo>
                  <a:lnTo>
                    <a:pt x="146" y="501"/>
                  </a:lnTo>
                  <a:lnTo>
                    <a:pt x="139" y="507"/>
                  </a:lnTo>
                  <a:lnTo>
                    <a:pt x="130" y="512"/>
                  </a:lnTo>
                  <a:lnTo>
                    <a:pt x="124" y="519"/>
                  </a:lnTo>
                  <a:lnTo>
                    <a:pt x="115" y="526"/>
                  </a:lnTo>
                  <a:lnTo>
                    <a:pt x="108" y="534"/>
                  </a:lnTo>
                  <a:lnTo>
                    <a:pt x="102" y="541"/>
                  </a:lnTo>
                  <a:lnTo>
                    <a:pt x="102" y="541"/>
                  </a:lnTo>
                  <a:lnTo>
                    <a:pt x="99" y="543"/>
                  </a:lnTo>
                  <a:lnTo>
                    <a:pt x="95" y="544"/>
                  </a:lnTo>
                  <a:lnTo>
                    <a:pt x="91" y="547"/>
                  </a:lnTo>
                  <a:lnTo>
                    <a:pt x="86" y="551"/>
                  </a:lnTo>
                  <a:lnTo>
                    <a:pt x="82" y="555"/>
                  </a:lnTo>
                  <a:lnTo>
                    <a:pt x="78" y="559"/>
                  </a:lnTo>
                  <a:lnTo>
                    <a:pt x="75" y="565"/>
                  </a:lnTo>
                  <a:lnTo>
                    <a:pt x="75" y="565"/>
                  </a:lnTo>
                  <a:lnTo>
                    <a:pt x="78" y="563"/>
                  </a:lnTo>
                  <a:lnTo>
                    <a:pt x="82" y="562"/>
                  </a:lnTo>
                  <a:lnTo>
                    <a:pt x="86" y="559"/>
                  </a:lnTo>
                  <a:lnTo>
                    <a:pt x="92" y="558"/>
                  </a:lnTo>
                  <a:lnTo>
                    <a:pt x="99" y="556"/>
                  </a:lnTo>
                  <a:lnTo>
                    <a:pt x="106" y="554"/>
                  </a:lnTo>
                  <a:lnTo>
                    <a:pt x="113" y="552"/>
                  </a:lnTo>
                  <a:lnTo>
                    <a:pt x="121" y="549"/>
                  </a:lnTo>
                  <a:lnTo>
                    <a:pt x="130" y="544"/>
                  </a:lnTo>
                  <a:lnTo>
                    <a:pt x="141" y="536"/>
                  </a:lnTo>
                  <a:lnTo>
                    <a:pt x="152" y="527"/>
                  </a:lnTo>
                  <a:lnTo>
                    <a:pt x="163" y="518"/>
                  </a:lnTo>
                  <a:lnTo>
                    <a:pt x="174" y="508"/>
                  </a:lnTo>
                  <a:lnTo>
                    <a:pt x="183" y="499"/>
                  </a:lnTo>
                  <a:lnTo>
                    <a:pt x="191" y="490"/>
                  </a:lnTo>
                  <a:lnTo>
                    <a:pt x="192" y="489"/>
                  </a:lnTo>
                  <a:lnTo>
                    <a:pt x="198" y="486"/>
                  </a:lnTo>
                  <a:lnTo>
                    <a:pt x="203" y="483"/>
                  </a:lnTo>
                  <a:lnTo>
                    <a:pt x="210" y="478"/>
                  </a:lnTo>
                  <a:lnTo>
                    <a:pt x="217" y="472"/>
                  </a:lnTo>
                  <a:lnTo>
                    <a:pt x="220" y="467"/>
                  </a:lnTo>
                  <a:lnTo>
                    <a:pt x="221" y="463"/>
                  </a:lnTo>
                  <a:lnTo>
                    <a:pt x="221" y="460"/>
                  </a:lnTo>
                  <a:lnTo>
                    <a:pt x="220" y="457"/>
                  </a:lnTo>
                  <a:lnTo>
                    <a:pt x="217" y="455"/>
                  </a:lnTo>
                  <a:lnTo>
                    <a:pt x="216" y="455"/>
                  </a:lnTo>
                  <a:lnTo>
                    <a:pt x="214" y="453"/>
                  </a:lnTo>
                  <a:lnTo>
                    <a:pt x="213" y="452"/>
                  </a:lnTo>
                  <a:lnTo>
                    <a:pt x="212" y="451"/>
                  </a:lnTo>
                  <a:lnTo>
                    <a:pt x="210" y="449"/>
                  </a:lnTo>
                  <a:lnTo>
                    <a:pt x="212" y="446"/>
                  </a:lnTo>
                  <a:lnTo>
                    <a:pt x="213" y="444"/>
                  </a:lnTo>
                  <a:lnTo>
                    <a:pt x="217" y="442"/>
                  </a:lnTo>
                  <a:lnTo>
                    <a:pt x="217" y="441"/>
                  </a:lnTo>
                  <a:lnTo>
                    <a:pt x="220" y="437"/>
                  </a:lnTo>
                  <a:lnTo>
                    <a:pt x="224" y="431"/>
                  </a:lnTo>
                  <a:lnTo>
                    <a:pt x="228" y="423"/>
                  </a:lnTo>
                  <a:lnTo>
                    <a:pt x="234" y="416"/>
                  </a:lnTo>
                  <a:lnTo>
                    <a:pt x="238" y="407"/>
                  </a:lnTo>
                  <a:lnTo>
                    <a:pt x="242" y="398"/>
                  </a:lnTo>
                  <a:lnTo>
                    <a:pt x="245" y="391"/>
                  </a:lnTo>
                  <a:lnTo>
                    <a:pt x="245" y="390"/>
                  </a:lnTo>
                  <a:lnTo>
                    <a:pt x="247" y="389"/>
                  </a:lnTo>
                  <a:lnTo>
                    <a:pt x="250" y="387"/>
                  </a:lnTo>
                  <a:lnTo>
                    <a:pt x="256" y="385"/>
                  </a:lnTo>
                  <a:lnTo>
                    <a:pt x="263" y="382"/>
                  </a:lnTo>
                  <a:lnTo>
                    <a:pt x="271" y="380"/>
                  </a:lnTo>
                  <a:lnTo>
                    <a:pt x="280" y="379"/>
                  </a:lnTo>
                  <a:lnTo>
                    <a:pt x="290" y="379"/>
                  </a:lnTo>
                  <a:lnTo>
                    <a:pt x="291" y="379"/>
                  </a:lnTo>
                  <a:lnTo>
                    <a:pt x="293" y="380"/>
                  </a:lnTo>
                  <a:lnTo>
                    <a:pt x="296" y="382"/>
                  </a:lnTo>
                  <a:lnTo>
                    <a:pt x="297" y="383"/>
                  </a:lnTo>
                  <a:lnTo>
                    <a:pt x="300" y="386"/>
                  </a:lnTo>
                  <a:lnTo>
                    <a:pt x="300" y="387"/>
                  </a:lnTo>
                  <a:lnTo>
                    <a:pt x="300" y="390"/>
                  </a:lnTo>
                  <a:lnTo>
                    <a:pt x="297" y="391"/>
                  </a:lnTo>
                  <a:lnTo>
                    <a:pt x="296" y="391"/>
                  </a:lnTo>
                  <a:lnTo>
                    <a:pt x="291" y="391"/>
                  </a:lnTo>
                  <a:lnTo>
                    <a:pt x="285" y="393"/>
                  </a:lnTo>
                  <a:lnTo>
                    <a:pt x="278" y="394"/>
                  </a:lnTo>
                  <a:lnTo>
                    <a:pt x="271" y="397"/>
                  </a:lnTo>
                  <a:lnTo>
                    <a:pt x="264" y="401"/>
                  </a:lnTo>
                  <a:lnTo>
                    <a:pt x="258" y="407"/>
                  </a:lnTo>
                  <a:lnTo>
                    <a:pt x="254" y="412"/>
                  </a:lnTo>
                  <a:lnTo>
                    <a:pt x="254" y="413"/>
                  </a:lnTo>
                  <a:lnTo>
                    <a:pt x="254" y="415"/>
                  </a:lnTo>
                  <a:lnTo>
                    <a:pt x="253" y="418"/>
                  </a:lnTo>
                  <a:lnTo>
                    <a:pt x="253" y="420"/>
                  </a:lnTo>
                  <a:lnTo>
                    <a:pt x="252" y="423"/>
                  </a:lnTo>
                  <a:lnTo>
                    <a:pt x="250" y="426"/>
                  </a:lnTo>
                  <a:lnTo>
                    <a:pt x="249" y="429"/>
                  </a:lnTo>
                  <a:lnTo>
                    <a:pt x="246" y="430"/>
                  </a:lnTo>
                  <a:lnTo>
                    <a:pt x="246" y="431"/>
                  </a:lnTo>
                  <a:lnTo>
                    <a:pt x="246" y="434"/>
                  </a:lnTo>
                  <a:lnTo>
                    <a:pt x="246" y="438"/>
                  </a:lnTo>
                  <a:lnTo>
                    <a:pt x="246" y="442"/>
                  </a:lnTo>
                  <a:lnTo>
                    <a:pt x="249" y="445"/>
                  </a:lnTo>
                  <a:lnTo>
                    <a:pt x="252" y="448"/>
                  </a:lnTo>
                  <a:lnTo>
                    <a:pt x="256" y="449"/>
                  </a:lnTo>
                  <a:lnTo>
                    <a:pt x="263" y="446"/>
                  </a:lnTo>
                  <a:lnTo>
                    <a:pt x="264" y="446"/>
                  </a:lnTo>
                  <a:lnTo>
                    <a:pt x="268" y="444"/>
                  </a:lnTo>
                  <a:lnTo>
                    <a:pt x="274" y="440"/>
                  </a:lnTo>
                  <a:lnTo>
                    <a:pt x="280" y="435"/>
                  </a:lnTo>
                  <a:lnTo>
                    <a:pt x="286" y="431"/>
                  </a:lnTo>
                  <a:lnTo>
                    <a:pt x="293" y="426"/>
                  </a:lnTo>
                  <a:lnTo>
                    <a:pt x="297" y="420"/>
                  </a:lnTo>
                  <a:lnTo>
                    <a:pt x="298" y="416"/>
                  </a:lnTo>
                  <a:lnTo>
                    <a:pt x="300" y="415"/>
                  </a:lnTo>
                  <a:lnTo>
                    <a:pt x="300" y="412"/>
                  </a:lnTo>
                  <a:lnTo>
                    <a:pt x="301" y="407"/>
                  </a:lnTo>
                  <a:lnTo>
                    <a:pt x="302" y="402"/>
                  </a:lnTo>
                  <a:lnTo>
                    <a:pt x="305" y="398"/>
                  </a:lnTo>
                  <a:lnTo>
                    <a:pt x="309" y="396"/>
                  </a:lnTo>
                  <a:lnTo>
                    <a:pt x="312" y="397"/>
                  </a:lnTo>
                  <a:lnTo>
                    <a:pt x="315" y="397"/>
                  </a:lnTo>
                  <a:lnTo>
                    <a:pt x="319" y="400"/>
                  </a:lnTo>
                  <a:lnTo>
                    <a:pt x="322" y="402"/>
                  </a:lnTo>
                  <a:lnTo>
                    <a:pt x="323" y="402"/>
                  </a:lnTo>
                  <a:lnTo>
                    <a:pt x="327" y="402"/>
                  </a:lnTo>
                  <a:lnTo>
                    <a:pt x="331" y="402"/>
                  </a:lnTo>
                  <a:lnTo>
                    <a:pt x="337" y="404"/>
                  </a:lnTo>
                  <a:lnTo>
                    <a:pt x="342" y="405"/>
                  </a:lnTo>
                  <a:lnTo>
                    <a:pt x="346" y="408"/>
                  </a:lnTo>
                  <a:lnTo>
                    <a:pt x="351" y="412"/>
                  </a:lnTo>
                  <a:lnTo>
                    <a:pt x="353" y="416"/>
                  </a:lnTo>
                  <a:lnTo>
                    <a:pt x="355" y="416"/>
                  </a:lnTo>
                  <a:lnTo>
                    <a:pt x="356" y="418"/>
                  </a:lnTo>
                  <a:lnTo>
                    <a:pt x="360" y="419"/>
                  </a:lnTo>
                  <a:lnTo>
                    <a:pt x="364" y="420"/>
                  </a:lnTo>
                  <a:lnTo>
                    <a:pt x="370" y="422"/>
                  </a:lnTo>
                  <a:lnTo>
                    <a:pt x="377" y="423"/>
                  </a:lnTo>
                  <a:lnTo>
                    <a:pt x="385" y="424"/>
                  </a:lnTo>
                  <a:lnTo>
                    <a:pt x="395" y="426"/>
                  </a:lnTo>
                  <a:lnTo>
                    <a:pt x="395" y="426"/>
                  </a:lnTo>
                  <a:lnTo>
                    <a:pt x="396" y="426"/>
                  </a:lnTo>
                  <a:lnTo>
                    <a:pt x="399" y="427"/>
                  </a:lnTo>
                  <a:lnTo>
                    <a:pt x="403" y="429"/>
                  </a:lnTo>
                  <a:lnTo>
                    <a:pt x="406" y="431"/>
                  </a:lnTo>
                  <a:lnTo>
                    <a:pt x="410" y="433"/>
                  </a:lnTo>
                  <a:lnTo>
                    <a:pt x="412" y="437"/>
                  </a:lnTo>
                  <a:lnTo>
                    <a:pt x="415" y="440"/>
                  </a:lnTo>
                  <a:lnTo>
                    <a:pt x="417" y="440"/>
                  </a:lnTo>
                  <a:lnTo>
                    <a:pt x="418" y="437"/>
                  </a:lnTo>
                  <a:lnTo>
                    <a:pt x="421" y="435"/>
                  </a:lnTo>
                  <a:lnTo>
                    <a:pt x="423" y="433"/>
                  </a:lnTo>
                  <a:lnTo>
                    <a:pt x="426" y="431"/>
                  </a:lnTo>
                  <a:lnTo>
                    <a:pt x="430" y="431"/>
                  </a:lnTo>
                  <a:lnTo>
                    <a:pt x="433" y="433"/>
                  </a:lnTo>
                  <a:lnTo>
                    <a:pt x="437" y="435"/>
                  </a:lnTo>
                  <a:lnTo>
                    <a:pt x="440" y="442"/>
                  </a:lnTo>
                  <a:lnTo>
                    <a:pt x="447" y="449"/>
                  </a:lnTo>
                  <a:lnTo>
                    <a:pt x="455" y="457"/>
                  </a:lnTo>
                  <a:lnTo>
                    <a:pt x="465" y="467"/>
                  </a:lnTo>
                  <a:lnTo>
                    <a:pt x="473" y="475"/>
                  </a:lnTo>
                  <a:lnTo>
                    <a:pt x="480" y="482"/>
                  </a:lnTo>
                  <a:lnTo>
                    <a:pt x="485" y="486"/>
                  </a:lnTo>
                  <a:lnTo>
                    <a:pt x="487" y="489"/>
                  </a:lnTo>
                  <a:lnTo>
                    <a:pt x="505" y="459"/>
                  </a:lnTo>
                  <a:lnTo>
                    <a:pt x="505" y="460"/>
                  </a:lnTo>
                  <a:lnTo>
                    <a:pt x="507" y="463"/>
                  </a:lnTo>
                  <a:lnTo>
                    <a:pt x="511" y="467"/>
                  </a:lnTo>
                  <a:lnTo>
                    <a:pt x="516" y="472"/>
                  </a:lnTo>
                  <a:lnTo>
                    <a:pt x="520" y="479"/>
                  </a:lnTo>
                  <a:lnTo>
                    <a:pt x="523" y="486"/>
                  </a:lnTo>
                  <a:lnTo>
                    <a:pt x="525" y="492"/>
                  </a:lnTo>
                  <a:lnTo>
                    <a:pt x="528" y="497"/>
                  </a:lnTo>
                  <a:lnTo>
                    <a:pt x="528" y="497"/>
                  </a:lnTo>
                  <a:lnTo>
                    <a:pt x="529" y="499"/>
                  </a:lnTo>
                  <a:lnTo>
                    <a:pt x="532" y="501"/>
                  </a:lnTo>
                  <a:lnTo>
                    <a:pt x="535" y="504"/>
                  </a:lnTo>
                  <a:lnTo>
                    <a:pt x="538" y="508"/>
                  </a:lnTo>
                  <a:lnTo>
                    <a:pt x="540" y="511"/>
                  </a:lnTo>
                  <a:lnTo>
                    <a:pt x="543" y="515"/>
                  </a:lnTo>
                  <a:lnTo>
                    <a:pt x="546" y="518"/>
                  </a:lnTo>
                  <a:lnTo>
                    <a:pt x="546" y="519"/>
                  </a:lnTo>
                  <a:lnTo>
                    <a:pt x="546" y="522"/>
                  </a:lnTo>
                  <a:lnTo>
                    <a:pt x="546" y="525"/>
                  </a:lnTo>
                  <a:lnTo>
                    <a:pt x="546" y="529"/>
                  </a:lnTo>
                  <a:lnTo>
                    <a:pt x="547" y="533"/>
                  </a:lnTo>
                  <a:lnTo>
                    <a:pt x="549" y="538"/>
                  </a:lnTo>
                  <a:lnTo>
                    <a:pt x="551" y="543"/>
                  </a:lnTo>
                  <a:lnTo>
                    <a:pt x="556" y="545"/>
                  </a:lnTo>
                  <a:lnTo>
                    <a:pt x="556" y="547"/>
                  </a:lnTo>
                  <a:lnTo>
                    <a:pt x="556" y="547"/>
                  </a:lnTo>
                  <a:lnTo>
                    <a:pt x="556" y="548"/>
                  </a:lnTo>
                  <a:lnTo>
                    <a:pt x="557" y="549"/>
                  </a:lnTo>
                  <a:lnTo>
                    <a:pt x="558" y="551"/>
                  </a:lnTo>
                  <a:lnTo>
                    <a:pt x="560" y="551"/>
                  </a:lnTo>
                  <a:lnTo>
                    <a:pt x="564" y="549"/>
                  </a:lnTo>
                  <a:lnTo>
                    <a:pt x="568" y="545"/>
                  </a:lnTo>
                  <a:lnTo>
                    <a:pt x="568" y="545"/>
                  </a:lnTo>
                  <a:lnTo>
                    <a:pt x="568" y="547"/>
                  </a:lnTo>
                  <a:lnTo>
                    <a:pt x="568" y="547"/>
                  </a:lnTo>
                  <a:lnTo>
                    <a:pt x="569" y="548"/>
                  </a:lnTo>
                  <a:lnTo>
                    <a:pt x="569" y="551"/>
                  </a:lnTo>
                  <a:lnTo>
                    <a:pt x="571" y="554"/>
                  </a:lnTo>
                  <a:lnTo>
                    <a:pt x="571" y="558"/>
                  </a:lnTo>
                  <a:lnTo>
                    <a:pt x="571" y="563"/>
                  </a:lnTo>
                  <a:lnTo>
                    <a:pt x="571" y="565"/>
                  </a:lnTo>
                  <a:lnTo>
                    <a:pt x="569" y="567"/>
                  </a:lnTo>
                  <a:lnTo>
                    <a:pt x="568" y="571"/>
                  </a:lnTo>
                  <a:lnTo>
                    <a:pt x="568" y="577"/>
                  </a:lnTo>
                  <a:lnTo>
                    <a:pt x="568" y="582"/>
                  </a:lnTo>
                  <a:lnTo>
                    <a:pt x="568" y="587"/>
                  </a:lnTo>
                  <a:lnTo>
                    <a:pt x="572" y="591"/>
                  </a:lnTo>
                  <a:lnTo>
                    <a:pt x="578" y="593"/>
                  </a:lnTo>
                  <a:lnTo>
                    <a:pt x="578" y="591"/>
                  </a:lnTo>
                  <a:lnTo>
                    <a:pt x="579" y="587"/>
                  </a:lnTo>
                  <a:lnTo>
                    <a:pt x="580" y="580"/>
                  </a:lnTo>
                  <a:lnTo>
                    <a:pt x="583" y="571"/>
                  </a:lnTo>
                  <a:lnTo>
                    <a:pt x="584" y="563"/>
                  </a:lnTo>
                  <a:lnTo>
                    <a:pt x="586" y="555"/>
                  </a:lnTo>
                  <a:lnTo>
                    <a:pt x="586" y="548"/>
                  </a:lnTo>
                  <a:lnTo>
                    <a:pt x="586" y="544"/>
                  </a:lnTo>
                  <a:lnTo>
                    <a:pt x="584" y="544"/>
                  </a:lnTo>
                  <a:lnTo>
                    <a:pt x="583" y="541"/>
                  </a:lnTo>
                  <a:lnTo>
                    <a:pt x="579" y="540"/>
                  </a:lnTo>
                  <a:lnTo>
                    <a:pt x="576" y="536"/>
                  </a:lnTo>
                  <a:lnTo>
                    <a:pt x="572" y="532"/>
                  </a:lnTo>
                  <a:lnTo>
                    <a:pt x="568" y="526"/>
                  </a:lnTo>
                  <a:lnTo>
                    <a:pt x="564" y="519"/>
                  </a:lnTo>
                  <a:lnTo>
                    <a:pt x="560" y="511"/>
                  </a:lnTo>
                  <a:lnTo>
                    <a:pt x="557" y="508"/>
                  </a:lnTo>
                  <a:lnTo>
                    <a:pt x="551" y="500"/>
                  </a:lnTo>
                  <a:lnTo>
                    <a:pt x="545" y="489"/>
                  </a:lnTo>
                  <a:lnTo>
                    <a:pt x="535" y="475"/>
                  </a:lnTo>
                  <a:lnTo>
                    <a:pt x="524" y="462"/>
                  </a:lnTo>
                  <a:lnTo>
                    <a:pt x="514" y="449"/>
                  </a:lnTo>
                  <a:lnTo>
                    <a:pt x="506" y="440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7"/>
                  </a:lnTo>
                  <a:lnTo>
                    <a:pt x="495" y="440"/>
                  </a:lnTo>
                  <a:lnTo>
                    <a:pt x="491" y="442"/>
                  </a:lnTo>
                  <a:lnTo>
                    <a:pt x="487" y="445"/>
                  </a:lnTo>
                  <a:lnTo>
                    <a:pt x="483" y="448"/>
                  </a:lnTo>
                  <a:lnTo>
                    <a:pt x="478" y="449"/>
                  </a:lnTo>
                  <a:lnTo>
                    <a:pt x="474" y="451"/>
                  </a:lnTo>
                  <a:lnTo>
                    <a:pt x="473" y="449"/>
                  </a:lnTo>
                  <a:lnTo>
                    <a:pt x="467" y="445"/>
                  </a:lnTo>
                  <a:lnTo>
                    <a:pt x="459" y="440"/>
                  </a:lnTo>
                  <a:lnTo>
                    <a:pt x="451" y="431"/>
                  </a:lnTo>
                  <a:lnTo>
                    <a:pt x="441" y="424"/>
                  </a:lnTo>
                  <a:lnTo>
                    <a:pt x="432" y="418"/>
                  </a:lnTo>
                  <a:lnTo>
                    <a:pt x="423" y="412"/>
                  </a:lnTo>
                  <a:lnTo>
                    <a:pt x="418" y="408"/>
                  </a:lnTo>
                  <a:lnTo>
                    <a:pt x="403" y="407"/>
                  </a:lnTo>
                  <a:lnTo>
                    <a:pt x="403" y="5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2" name="Freeform 288"/>
            <p:cNvSpPr>
              <a:spLocks/>
            </p:cNvSpPr>
            <p:nvPr/>
          </p:nvSpPr>
          <p:spPr bwMode="auto">
            <a:xfrm>
              <a:off x="827" y="918"/>
              <a:ext cx="474" cy="478"/>
            </a:xfrm>
            <a:custGeom>
              <a:avLst/>
              <a:gdLst>
                <a:gd name="T0" fmla="*/ 371 w 586"/>
                <a:gd name="T1" fmla="*/ 57 h 593"/>
                <a:gd name="T2" fmla="*/ 334 w 586"/>
                <a:gd name="T3" fmla="*/ 49 h 593"/>
                <a:gd name="T4" fmla="*/ 308 w 586"/>
                <a:gd name="T5" fmla="*/ 35 h 593"/>
                <a:gd name="T6" fmla="*/ 285 w 586"/>
                <a:gd name="T7" fmla="*/ 27 h 593"/>
                <a:gd name="T8" fmla="*/ 275 w 586"/>
                <a:gd name="T9" fmla="*/ 42 h 593"/>
                <a:gd name="T10" fmla="*/ 254 w 586"/>
                <a:gd name="T11" fmla="*/ 31 h 593"/>
                <a:gd name="T12" fmla="*/ 212 w 586"/>
                <a:gd name="T13" fmla="*/ 7 h 593"/>
                <a:gd name="T14" fmla="*/ 161 w 586"/>
                <a:gd name="T15" fmla="*/ 7 h 593"/>
                <a:gd name="T16" fmla="*/ 121 w 586"/>
                <a:gd name="T17" fmla="*/ 16 h 593"/>
                <a:gd name="T18" fmla="*/ 95 w 586"/>
                <a:gd name="T19" fmla="*/ 46 h 593"/>
                <a:gd name="T20" fmla="*/ 53 w 586"/>
                <a:gd name="T21" fmla="*/ 89 h 593"/>
                <a:gd name="T22" fmla="*/ 23 w 586"/>
                <a:gd name="T23" fmla="*/ 119 h 593"/>
                <a:gd name="T24" fmla="*/ 71 w 586"/>
                <a:gd name="T25" fmla="*/ 169 h 593"/>
                <a:gd name="T26" fmla="*/ 78 w 586"/>
                <a:gd name="T27" fmla="*/ 215 h 593"/>
                <a:gd name="T28" fmla="*/ 40 w 586"/>
                <a:gd name="T29" fmla="*/ 200 h 593"/>
                <a:gd name="T30" fmla="*/ 0 w 586"/>
                <a:gd name="T31" fmla="*/ 239 h 593"/>
                <a:gd name="T32" fmla="*/ 51 w 586"/>
                <a:gd name="T33" fmla="*/ 275 h 593"/>
                <a:gd name="T34" fmla="*/ 100 w 586"/>
                <a:gd name="T35" fmla="*/ 262 h 593"/>
                <a:gd name="T36" fmla="*/ 102 w 586"/>
                <a:gd name="T37" fmla="*/ 279 h 593"/>
                <a:gd name="T38" fmla="*/ 104 w 586"/>
                <a:gd name="T39" fmla="*/ 305 h 593"/>
                <a:gd name="T40" fmla="*/ 63 w 586"/>
                <a:gd name="T41" fmla="*/ 335 h 593"/>
                <a:gd name="T42" fmla="*/ 29 w 586"/>
                <a:gd name="T43" fmla="*/ 361 h 593"/>
                <a:gd name="T44" fmla="*/ 33 w 586"/>
                <a:gd name="T45" fmla="*/ 390 h 593"/>
                <a:gd name="T46" fmla="*/ 45 w 586"/>
                <a:gd name="T47" fmla="*/ 415 h 593"/>
                <a:gd name="T48" fmla="*/ 74 w 586"/>
                <a:gd name="T49" fmla="*/ 431 h 593"/>
                <a:gd name="T50" fmla="*/ 89 w 586"/>
                <a:gd name="T51" fmla="*/ 453 h 593"/>
                <a:gd name="T52" fmla="*/ 110 w 586"/>
                <a:gd name="T53" fmla="*/ 455 h 593"/>
                <a:gd name="T54" fmla="*/ 122 w 586"/>
                <a:gd name="T55" fmla="*/ 468 h 593"/>
                <a:gd name="T56" fmla="*/ 155 w 586"/>
                <a:gd name="T57" fmla="*/ 456 h 593"/>
                <a:gd name="T58" fmla="*/ 162 w 586"/>
                <a:gd name="T59" fmla="*/ 472 h 593"/>
                <a:gd name="T60" fmla="*/ 124 w 586"/>
                <a:gd name="T61" fmla="*/ 519 h 593"/>
                <a:gd name="T62" fmla="*/ 78 w 586"/>
                <a:gd name="T63" fmla="*/ 559 h 593"/>
                <a:gd name="T64" fmla="*/ 121 w 586"/>
                <a:gd name="T65" fmla="*/ 549 h 593"/>
                <a:gd name="T66" fmla="*/ 198 w 586"/>
                <a:gd name="T67" fmla="*/ 486 h 593"/>
                <a:gd name="T68" fmla="*/ 216 w 586"/>
                <a:gd name="T69" fmla="*/ 455 h 593"/>
                <a:gd name="T70" fmla="*/ 220 w 586"/>
                <a:gd name="T71" fmla="*/ 437 h 593"/>
                <a:gd name="T72" fmla="*/ 250 w 586"/>
                <a:gd name="T73" fmla="*/ 387 h 593"/>
                <a:gd name="T74" fmla="*/ 297 w 586"/>
                <a:gd name="T75" fmla="*/ 383 h 593"/>
                <a:gd name="T76" fmla="*/ 271 w 586"/>
                <a:gd name="T77" fmla="*/ 397 h 593"/>
                <a:gd name="T78" fmla="*/ 250 w 586"/>
                <a:gd name="T79" fmla="*/ 426 h 593"/>
                <a:gd name="T80" fmla="*/ 256 w 586"/>
                <a:gd name="T81" fmla="*/ 449 h 593"/>
                <a:gd name="T82" fmla="*/ 298 w 586"/>
                <a:gd name="T83" fmla="*/ 416 h 593"/>
                <a:gd name="T84" fmla="*/ 319 w 586"/>
                <a:gd name="T85" fmla="*/ 400 h 593"/>
                <a:gd name="T86" fmla="*/ 353 w 586"/>
                <a:gd name="T87" fmla="*/ 416 h 593"/>
                <a:gd name="T88" fmla="*/ 396 w 586"/>
                <a:gd name="T89" fmla="*/ 426 h 593"/>
                <a:gd name="T90" fmla="*/ 421 w 586"/>
                <a:gd name="T91" fmla="*/ 435 h 593"/>
                <a:gd name="T92" fmla="*/ 465 w 586"/>
                <a:gd name="T93" fmla="*/ 467 h 593"/>
                <a:gd name="T94" fmla="*/ 516 w 586"/>
                <a:gd name="T95" fmla="*/ 472 h 593"/>
                <a:gd name="T96" fmla="*/ 540 w 586"/>
                <a:gd name="T97" fmla="*/ 511 h 593"/>
                <a:gd name="T98" fmla="*/ 551 w 586"/>
                <a:gd name="T99" fmla="*/ 543 h 593"/>
                <a:gd name="T100" fmla="*/ 568 w 586"/>
                <a:gd name="T101" fmla="*/ 547 h 593"/>
                <a:gd name="T102" fmla="*/ 568 w 586"/>
                <a:gd name="T103" fmla="*/ 577 h 593"/>
                <a:gd name="T104" fmla="*/ 584 w 586"/>
                <a:gd name="T105" fmla="*/ 563 h 593"/>
                <a:gd name="T106" fmla="*/ 568 w 586"/>
                <a:gd name="T107" fmla="*/ 526 h 593"/>
                <a:gd name="T108" fmla="*/ 506 w 586"/>
                <a:gd name="T109" fmla="*/ 440 h 593"/>
                <a:gd name="T110" fmla="*/ 473 w 586"/>
                <a:gd name="T111" fmla="*/ 449 h 593"/>
                <a:gd name="T112" fmla="*/ 403 w 586"/>
                <a:gd name="T113" fmla="*/ 59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86" h="593">
                  <a:moveTo>
                    <a:pt x="403" y="59"/>
                  </a:moveTo>
                  <a:lnTo>
                    <a:pt x="401" y="59"/>
                  </a:lnTo>
                  <a:lnTo>
                    <a:pt x="400" y="57"/>
                  </a:lnTo>
                  <a:lnTo>
                    <a:pt x="397" y="55"/>
                  </a:lnTo>
                  <a:lnTo>
                    <a:pt x="393" y="53"/>
                  </a:lnTo>
                  <a:lnTo>
                    <a:pt x="389" y="52"/>
                  </a:lnTo>
                  <a:lnTo>
                    <a:pt x="384" y="52"/>
                  </a:lnTo>
                  <a:lnTo>
                    <a:pt x="378" y="53"/>
                  </a:lnTo>
                  <a:lnTo>
                    <a:pt x="371" y="57"/>
                  </a:lnTo>
                  <a:lnTo>
                    <a:pt x="370" y="57"/>
                  </a:lnTo>
                  <a:lnTo>
                    <a:pt x="367" y="57"/>
                  </a:lnTo>
                  <a:lnTo>
                    <a:pt x="363" y="57"/>
                  </a:lnTo>
                  <a:lnTo>
                    <a:pt x="359" y="56"/>
                  </a:lnTo>
                  <a:lnTo>
                    <a:pt x="353" y="56"/>
                  </a:lnTo>
                  <a:lnTo>
                    <a:pt x="348" y="55"/>
                  </a:lnTo>
                  <a:lnTo>
                    <a:pt x="342" y="52"/>
                  </a:lnTo>
                  <a:lnTo>
                    <a:pt x="337" y="49"/>
                  </a:lnTo>
                  <a:lnTo>
                    <a:pt x="334" y="49"/>
                  </a:lnTo>
                  <a:lnTo>
                    <a:pt x="330" y="49"/>
                  </a:lnTo>
                  <a:lnTo>
                    <a:pt x="326" y="48"/>
                  </a:lnTo>
                  <a:lnTo>
                    <a:pt x="322" y="46"/>
                  </a:lnTo>
                  <a:lnTo>
                    <a:pt x="318" y="45"/>
                  </a:lnTo>
                  <a:lnTo>
                    <a:pt x="315" y="42"/>
                  </a:lnTo>
                  <a:lnTo>
                    <a:pt x="312" y="38"/>
                  </a:lnTo>
                  <a:lnTo>
                    <a:pt x="312" y="37"/>
                  </a:lnTo>
                  <a:lnTo>
                    <a:pt x="311" y="37"/>
                  </a:lnTo>
                  <a:lnTo>
                    <a:pt x="308" y="35"/>
                  </a:lnTo>
                  <a:lnTo>
                    <a:pt x="305" y="34"/>
                  </a:lnTo>
                  <a:lnTo>
                    <a:pt x="302" y="34"/>
                  </a:lnTo>
                  <a:lnTo>
                    <a:pt x="300" y="33"/>
                  </a:lnTo>
                  <a:lnTo>
                    <a:pt x="296" y="31"/>
                  </a:lnTo>
                  <a:lnTo>
                    <a:pt x="293" y="31"/>
                  </a:lnTo>
                  <a:lnTo>
                    <a:pt x="291" y="31"/>
                  </a:lnTo>
                  <a:lnTo>
                    <a:pt x="290" y="30"/>
                  </a:lnTo>
                  <a:lnTo>
                    <a:pt x="287" y="29"/>
                  </a:lnTo>
                  <a:lnTo>
                    <a:pt x="285" y="27"/>
                  </a:lnTo>
                  <a:lnTo>
                    <a:pt x="280" y="26"/>
                  </a:lnTo>
                  <a:lnTo>
                    <a:pt x="278" y="26"/>
                  </a:lnTo>
                  <a:lnTo>
                    <a:pt x="275" y="26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4" y="33"/>
                  </a:lnTo>
                  <a:lnTo>
                    <a:pt x="274" y="37"/>
                  </a:lnTo>
                  <a:lnTo>
                    <a:pt x="275" y="40"/>
                  </a:lnTo>
                  <a:lnTo>
                    <a:pt x="275" y="42"/>
                  </a:lnTo>
                  <a:lnTo>
                    <a:pt x="275" y="44"/>
                  </a:lnTo>
                  <a:lnTo>
                    <a:pt x="274" y="45"/>
                  </a:lnTo>
                  <a:lnTo>
                    <a:pt x="271" y="45"/>
                  </a:lnTo>
                  <a:lnTo>
                    <a:pt x="268" y="44"/>
                  </a:lnTo>
                  <a:lnTo>
                    <a:pt x="265" y="41"/>
                  </a:lnTo>
                  <a:lnTo>
                    <a:pt x="263" y="40"/>
                  </a:lnTo>
                  <a:lnTo>
                    <a:pt x="260" y="37"/>
                  </a:lnTo>
                  <a:lnTo>
                    <a:pt x="257" y="34"/>
                  </a:lnTo>
                  <a:lnTo>
                    <a:pt x="254" y="31"/>
                  </a:lnTo>
                  <a:lnTo>
                    <a:pt x="252" y="29"/>
                  </a:lnTo>
                  <a:lnTo>
                    <a:pt x="249" y="26"/>
                  </a:lnTo>
                  <a:lnTo>
                    <a:pt x="243" y="23"/>
                  </a:lnTo>
                  <a:lnTo>
                    <a:pt x="238" y="20"/>
                  </a:lnTo>
                  <a:lnTo>
                    <a:pt x="231" y="16"/>
                  </a:lnTo>
                  <a:lnTo>
                    <a:pt x="225" y="13"/>
                  </a:lnTo>
                  <a:lnTo>
                    <a:pt x="218" y="11"/>
                  </a:lnTo>
                  <a:lnTo>
                    <a:pt x="214" y="8"/>
                  </a:lnTo>
                  <a:lnTo>
                    <a:pt x="212" y="7"/>
                  </a:lnTo>
                  <a:lnTo>
                    <a:pt x="210" y="7"/>
                  </a:lnTo>
                  <a:lnTo>
                    <a:pt x="209" y="5"/>
                  </a:lnTo>
                  <a:lnTo>
                    <a:pt x="206" y="4"/>
                  </a:lnTo>
                  <a:lnTo>
                    <a:pt x="202" y="2"/>
                  </a:lnTo>
                  <a:lnTo>
                    <a:pt x="195" y="1"/>
                  </a:lnTo>
                  <a:lnTo>
                    <a:pt x="188" y="0"/>
                  </a:lnTo>
                  <a:lnTo>
                    <a:pt x="180" y="0"/>
                  </a:lnTo>
                  <a:lnTo>
                    <a:pt x="172" y="2"/>
                  </a:lnTo>
                  <a:lnTo>
                    <a:pt x="161" y="7"/>
                  </a:lnTo>
                  <a:lnTo>
                    <a:pt x="152" y="11"/>
                  </a:lnTo>
                  <a:lnTo>
                    <a:pt x="146" y="13"/>
                  </a:lnTo>
                  <a:lnTo>
                    <a:pt x="140" y="15"/>
                  </a:lnTo>
                  <a:lnTo>
                    <a:pt x="137" y="15"/>
                  </a:lnTo>
                  <a:lnTo>
                    <a:pt x="135" y="15"/>
                  </a:lnTo>
                  <a:lnTo>
                    <a:pt x="132" y="15"/>
                  </a:lnTo>
                  <a:lnTo>
                    <a:pt x="129" y="15"/>
                  </a:lnTo>
                  <a:lnTo>
                    <a:pt x="125" y="15"/>
                  </a:lnTo>
                  <a:lnTo>
                    <a:pt x="121" y="16"/>
                  </a:lnTo>
                  <a:lnTo>
                    <a:pt x="117" y="18"/>
                  </a:lnTo>
                  <a:lnTo>
                    <a:pt x="113" y="19"/>
                  </a:lnTo>
                  <a:lnTo>
                    <a:pt x="110" y="22"/>
                  </a:lnTo>
                  <a:lnTo>
                    <a:pt x="106" y="24"/>
                  </a:lnTo>
                  <a:lnTo>
                    <a:pt x="103" y="27"/>
                  </a:lnTo>
                  <a:lnTo>
                    <a:pt x="102" y="30"/>
                  </a:lnTo>
                  <a:lnTo>
                    <a:pt x="100" y="34"/>
                  </a:lnTo>
                  <a:lnTo>
                    <a:pt x="99" y="40"/>
                  </a:lnTo>
                  <a:lnTo>
                    <a:pt x="95" y="46"/>
                  </a:lnTo>
                  <a:lnTo>
                    <a:pt x="91" y="56"/>
                  </a:lnTo>
                  <a:lnTo>
                    <a:pt x="85" y="66"/>
                  </a:lnTo>
                  <a:lnTo>
                    <a:pt x="80" y="74"/>
                  </a:lnTo>
                  <a:lnTo>
                    <a:pt x="73" y="82"/>
                  </a:lnTo>
                  <a:lnTo>
                    <a:pt x="70" y="85"/>
                  </a:lnTo>
                  <a:lnTo>
                    <a:pt x="66" y="88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3" y="89"/>
                  </a:lnTo>
                  <a:lnTo>
                    <a:pt x="47" y="90"/>
                  </a:lnTo>
                  <a:lnTo>
                    <a:pt x="40" y="92"/>
                  </a:lnTo>
                  <a:lnTo>
                    <a:pt x="34" y="95"/>
                  </a:lnTo>
                  <a:lnTo>
                    <a:pt x="29" y="97"/>
                  </a:lnTo>
                  <a:lnTo>
                    <a:pt x="25" y="100"/>
                  </a:lnTo>
                  <a:lnTo>
                    <a:pt x="22" y="104"/>
                  </a:lnTo>
                  <a:lnTo>
                    <a:pt x="22" y="110"/>
                  </a:lnTo>
                  <a:lnTo>
                    <a:pt x="22" y="115"/>
                  </a:lnTo>
                  <a:lnTo>
                    <a:pt x="23" y="119"/>
                  </a:lnTo>
                  <a:lnTo>
                    <a:pt x="25" y="122"/>
                  </a:lnTo>
                  <a:lnTo>
                    <a:pt x="27" y="126"/>
                  </a:lnTo>
                  <a:lnTo>
                    <a:pt x="31" y="129"/>
                  </a:lnTo>
                  <a:lnTo>
                    <a:pt x="36" y="133"/>
                  </a:lnTo>
                  <a:lnTo>
                    <a:pt x="41" y="139"/>
                  </a:lnTo>
                  <a:lnTo>
                    <a:pt x="47" y="144"/>
                  </a:lnTo>
                  <a:lnTo>
                    <a:pt x="53" y="151"/>
                  </a:lnTo>
                  <a:lnTo>
                    <a:pt x="62" y="160"/>
                  </a:lnTo>
                  <a:lnTo>
                    <a:pt x="71" y="169"/>
                  </a:lnTo>
                  <a:lnTo>
                    <a:pt x="80" y="180"/>
                  </a:lnTo>
                  <a:lnTo>
                    <a:pt x="85" y="189"/>
                  </a:lnTo>
                  <a:lnTo>
                    <a:pt x="89" y="198"/>
                  </a:lnTo>
                  <a:lnTo>
                    <a:pt x="91" y="202"/>
                  </a:lnTo>
                  <a:lnTo>
                    <a:pt x="91" y="206"/>
                  </a:lnTo>
                  <a:lnTo>
                    <a:pt x="89" y="209"/>
                  </a:lnTo>
                  <a:lnTo>
                    <a:pt x="86" y="211"/>
                  </a:lnTo>
                  <a:lnTo>
                    <a:pt x="82" y="215"/>
                  </a:lnTo>
                  <a:lnTo>
                    <a:pt x="78" y="215"/>
                  </a:lnTo>
                  <a:lnTo>
                    <a:pt x="74" y="214"/>
                  </a:lnTo>
                  <a:lnTo>
                    <a:pt x="70" y="213"/>
                  </a:lnTo>
                  <a:lnTo>
                    <a:pt x="66" y="209"/>
                  </a:lnTo>
                  <a:lnTo>
                    <a:pt x="63" y="206"/>
                  </a:lnTo>
                  <a:lnTo>
                    <a:pt x="59" y="203"/>
                  </a:lnTo>
                  <a:lnTo>
                    <a:pt x="56" y="200"/>
                  </a:lnTo>
                  <a:lnTo>
                    <a:pt x="51" y="199"/>
                  </a:lnTo>
                  <a:lnTo>
                    <a:pt x="45" y="199"/>
                  </a:lnTo>
                  <a:lnTo>
                    <a:pt x="40" y="200"/>
                  </a:lnTo>
                  <a:lnTo>
                    <a:pt x="33" y="202"/>
                  </a:lnTo>
                  <a:lnTo>
                    <a:pt x="27" y="204"/>
                  </a:lnTo>
                  <a:lnTo>
                    <a:pt x="20" y="209"/>
                  </a:lnTo>
                  <a:lnTo>
                    <a:pt x="15" y="213"/>
                  </a:lnTo>
                  <a:lnTo>
                    <a:pt x="11" y="218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1" y="233"/>
                  </a:lnTo>
                  <a:lnTo>
                    <a:pt x="0" y="239"/>
                  </a:lnTo>
                  <a:lnTo>
                    <a:pt x="0" y="244"/>
                  </a:lnTo>
                  <a:lnTo>
                    <a:pt x="1" y="248"/>
                  </a:lnTo>
                  <a:lnTo>
                    <a:pt x="5" y="254"/>
                  </a:lnTo>
                  <a:lnTo>
                    <a:pt x="11" y="258"/>
                  </a:lnTo>
                  <a:lnTo>
                    <a:pt x="19" y="262"/>
                  </a:lnTo>
                  <a:lnTo>
                    <a:pt x="26" y="266"/>
                  </a:lnTo>
                  <a:lnTo>
                    <a:pt x="34" y="270"/>
                  </a:lnTo>
                  <a:lnTo>
                    <a:pt x="42" y="273"/>
                  </a:lnTo>
                  <a:lnTo>
                    <a:pt x="51" y="275"/>
                  </a:lnTo>
                  <a:lnTo>
                    <a:pt x="59" y="276"/>
                  </a:lnTo>
                  <a:lnTo>
                    <a:pt x="67" y="275"/>
                  </a:lnTo>
                  <a:lnTo>
                    <a:pt x="75" y="273"/>
                  </a:lnTo>
                  <a:lnTo>
                    <a:pt x="75" y="272"/>
                  </a:lnTo>
                  <a:lnTo>
                    <a:pt x="80" y="270"/>
                  </a:lnTo>
                  <a:lnTo>
                    <a:pt x="84" y="268"/>
                  </a:lnTo>
                  <a:lnTo>
                    <a:pt x="89" y="265"/>
                  </a:lnTo>
                  <a:lnTo>
                    <a:pt x="95" y="264"/>
                  </a:lnTo>
                  <a:lnTo>
                    <a:pt x="100" y="262"/>
                  </a:lnTo>
                  <a:lnTo>
                    <a:pt x="104" y="262"/>
                  </a:lnTo>
                  <a:lnTo>
                    <a:pt x="106" y="265"/>
                  </a:lnTo>
                  <a:lnTo>
                    <a:pt x="107" y="268"/>
                  </a:lnTo>
                  <a:lnTo>
                    <a:pt x="107" y="269"/>
                  </a:lnTo>
                  <a:lnTo>
                    <a:pt x="106" y="270"/>
                  </a:lnTo>
                  <a:lnTo>
                    <a:pt x="104" y="273"/>
                  </a:lnTo>
                  <a:lnTo>
                    <a:pt x="103" y="275"/>
                  </a:lnTo>
                  <a:lnTo>
                    <a:pt x="102" y="276"/>
                  </a:lnTo>
                  <a:lnTo>
                    <a:pt x="102" y="279"/>
                  </a:lnTo>
                  <a:lnTo>
                    <a:pt x="102" y="281"/>
                  </a:lnTo>
                  <a:lnTo>
                    <a:pt x="104" y="284"/>
                  </a:lnTo>
                  <a:lnTo>
                    <a:pt x="106" y="287"/>
                  </a:lnTo>
                  <a:lnTo>
                    <a:pt x="108" y="290"/>
                  </a:lnTo>
                  <a:lnTo>
                    <a:pt x="110" y="292"/>
                  </a:lnTo>
                  <a:lnTo>
                    <a:pt x="110" y="295"/>
                  </a:lnTo>
                  <a:lnTo>
                    <a:pt x="110" y="298"/>
                  </a:lnTo>
                  <a:lnTo>
                    <a:pt x="108" y="302"/>
                  </a:lnTo>
                  <a:lnTo>
                    <a:pt x="104" y="305"/>
                  </a:lnTo>
                  <a:lnTo>
                    <a:pt x="99" y="308"/>
                  </a:lnTo>
                  <a:lnTo>
                    <a:pt x="92" y="310"/>
                  </a:lnTo>
                  <a:lnTo>
                    <a:pt x="85" y="314"/>
                  </a:lnTo>
                  <a:lnTo>
                    <a:pt x="78" y="317"/>
                  </a:lnTo>
                  <a:lnTo>
                    <a:pt x="71" y="321"/>
                  </a:lnTo>
                  <a:lnTo>
                    <a:pt x="67" y="327"/>
                  </a:lnTo>
                  <a:lnTo>
                    <a:pt x="64" y="328"/>
                  </a:lnTo>
                  <a:lnTo>
                    <a:pt x="64" y="332"/>
                  </a:lnTo>
                  <a:lnTo>
                    <a:pt x="63" y="335"/>
                  </a:lnTo>
                  <a:lnTo>
                    <a:pt x="64" y="338"/>
                  </a:lnTo>
                  <a:lnTo>
                    <a:pt x="64" y="339"/>
                  </a:lnTo>
                  <a:lnTo>
                    <a:pt x="63" y="339"/>
                  </a:lnTo>
                  <a:lnTo>
                    <a:pt x="62" y="341"/>
                  </a:lnTo>
                  <a:lnTo>
                    <a:pt x="59" y="343"/>
                  </a:lnTo>
                  <a:lnTo>
                    <a:pt x="52" y="346"/>
                  </a:lnTo>
                  <a:lnTo>
                    <a:pt x="45" y="352"/>
                  </a:lnTo>
                  <a:lnTo>
                    <a:pt x="36" y="357"/>
                  </a:lnTo>
                  <a:lnTo>
                    <a:pt x="29" y="361"/>
                  </a:lnTo>
                  <a:lnTo>
                    <a:pt x="23" y="365"/>
                  </a:lnTo>
                  <a:lnTo>
                    <a:pt x="20" y="369"/>
                  </a:lnTo>
                  <a:lnTo>
                    <a:pt x="19" y="374"/>
                  </a:lnTo>
                  <a:lnTo>
                    <a:pt x="19" y="378"/>
                  </a:lnTo>
                  <a:lnTo>
                    <a:pt x="22" y="382"/>
                  </a:lnTo>
                  <a:lnTo>
                    <a:pt x="26" y="387"/>
                  </a:lnTo>
                  <a:lnTo>
                    <a:pt x="27" y="389"/>
                  </a:lnTo>
                  <a:lnTo>
                    <a:pt x="30" y="389"/>
                  </a:lnTo>
                  <a:lnTo>
                    <a:pt x="33" y="390"/>
                  </a:lnTo>
                  <a:lnTo>
                    <a:pt x="36" y="391"/>
                  </a:lnTo>
                  <a:lnTo>
                    <a:pt x="40" y="393"/>
                  </a:lnTo>
                  <a:lnTo>
                    <a:pt x="42" y="394"/>
                  </a:lnTo>
                  <a:lnTo>
                    <a:pt x="47" y="396"/>
                  </a:lnTo>
                  <a:lnTo>
                    <a:pt x="47" y="397"/>
                  </a:lnTo>
                  <a:lnTo>
                    <a:pt x="45" y="400"/>
                  </a:lnTo>
                  <a:lnTo>
                    <a:pt x="45" y="404"/>
                  </a:lnTo>
                  <a:lnTo>
                    <a:pt x="45" y="408"/>
                  </a:lnTo>
                  <a:lnTo>
                    <a:pt x="45" y="415"/>
                  </a:lnTo>
                  <a:lnTo>
                    <a:pt x="48" y="420"/>
                  </a:lnTo>
                  <a:lnTo>
                    <a:pt x="52" y="426"/>
                  </a:lnTo>
                  <a:lnTo>
                    <a:pt x="58" y="431"/>
                  </a:lnTo>
                  <a:lnTo>
                    <a:pt x="59" y="431"/>
                  </a:lnTo>
                  <a:lnTo>
                    <a:pt x="60" y="431"/>
                  </a:lnTo>
                  <a:lnTo>
                    <a:pt x="63" y="431"/>
                  </a:lnTo>
                  <a:lnTo>
                    <a:pt x="67" y="431"/>
                  </a:lnTo>
                  <a:lnTo>
                    <a:pt x="71" y="431"/>
                  </a:lnTo>
                  <a:lnTo>
                    <a:pt x="74" y="431"/>
                  </a:lnTo>
                  <a:lnTo>
                    <a:pt x="78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2" y="434"/>
                  </a:lnTo>
                  <a:lnTo>
                    <a:pt x="84" y="437"/>
                  </a:lnTo>
                  <a:lnTo>
                    <a:pt x="85" y="440"/>
                  </a:lnTo>
                  <a:lnTo>
                    <a:pt x="86" y="444"/>
                  </a:lnTo>
                  <a:lnTo>
                    <a:pt x="88" y="448"/>
                  </a:lnTo>
                  <a:lnTo>
                    <a:pt x="89" y="453"/>
                  </a:lnTo>
                  <a:lnTo>
                    <a:pt x="89" y="459"/>
                  </a:lnTo>
                  <a:lnTo>
                    <a:pt x="91" y="460"/>
                  </a:lnTo>
                  <a:lnTo>
                    <a:pt x="92" y="462"/>
                  </a:lnTo>
                  <a:lnTo>
                    <a:pt x="95" y="463"/>
                  </a:lnTo>
                  <a:lnTo>
                    <a:pt x="97" y="463"/>
                  </a:lnTo>
                  <a:lnTo>
                    <a:pt x="102" y="462"/>
                  </a:lnTo>
                  <a:lnTo>
                    <a:pt x="104" y="459"/>
                  </a:lnTo>
                  <a:lnTo>
                    <a:pt x="108" y="455"/>
                  </a:lnTo>
                  <a:lnTo>
                    <a:pt x="110" y="455"/>
                  </a:lnTo>
                  <a:lnTo>
                    <a:pt x="111" y="455"/>
                  </a:lnTo>
                  <a:lnTo>
                    <a:pt x="114" y="455"/>
                  </a:lnTo>
                  <a:lnTo>
                    <a:pt x="115" y="455"/>
                  </a:lnTo>
                  <a:lnTo>
                    <a:pt x="117" y="456"/>
                  </a:lnTo>
                  <a:lnTo>
                    <a:pt x="118" y="459"/>
                  </a:lnTo>
                  <a:lnTo>
                    <a:pt x="118" y="463"/>
                  </a:lnTo>
                  <a:lnTo>
                    <a:pt x="119" y="464"/>
                  </a:lnTo>
                  <a:lnTo>
                    <a:pt x="119" y="466"/>
                  </a:lnTo>
                  <a:lnTo>
                    <a:pt x="122" y="468"/>
                  </a:lnTo>
                  <a:lnTo>
                    <a:pt x="125" y="471"/>
                  </a:lnTo>
                  <a:lnTo>
                    <a:pt x="128" y="474"/>
                  </a:lnTo>
                  <a:lnTo>
                    <a:pt x="132" y="474"/>
                  </a:lnTo>
                  <a:lnTo>
                    <a:pt x="139" y="472"/>
                  </a:lnTo>
                  <a:lnTo>
                    <a:pt x="144" y="467"/>
                  </a:lnTo>
                  <a:lnTo>
                    <a:pt x="146" y="466"/>
                  </a:lnTo>
                  <a:lnTo>
                    <a:pt x="148" y="463"/>
                  </a:lnTo>
                  <a:lnTo>
                    <a:pt x="151" y="460"/>
                  </a:lnTo>
                  <a:lnTo>
                    <a:pt x="155" y="456"/>
                  </a:lnTo>
                  <a:lnTo>
                    <a:pt x="159" y="453"/>
                  </a:lnTo>
                  <a:lnTo>
                    <a:pt x="162" y="452"/>
                  </a:lnTo>
                  <a:lnTo>
                    <a:pt x="163" y="452"/>
                  </a:lnTo>
                  <a:lnTo>
                    <a:pt x="165" y="453"/>
                  </a:lnTo>
                  <a:lnTo>
                    <a:pt x="165" y="455"/>
                  </a:lnTo>
                  <a:lnTo>
                    <a:pt x="165" y="457"/>
                  </a:lnTo>
                  <a:lnTo>
                    <a:pt x="165" y="462"/>
                  </a:lnTo>
                  <a:lnTo>
                    <a:pt x="163" y="466"/>
                  </a:lnTo>
                  <a:lnTo>
                    <a:pt x="162" y="472"/>
                  </a:lnTo>
                  <a:lnTo>
                    <a:pt x="159" y="479"/>
                  </a:lnTo>
                  <a:lnTo>
                    <a:pt x="158" y="485"/>
                  </a:lnTo>
                  <a:lnTo>
                    <a:pt x="154" y="492"/>
                  </a:lnTo>
                  <a:lnTo>
                    <a:pt x="151" y="497"/>
                  </a:lnTo>
                  <a:lnTo>
                    <a:pt x="150" y="499"/>
                  </a:lnTo>
                  <a:lnTo>
                    <a:pt x="146" y="501"/>
                  </a:lnTo>
                  <a:lnTo>
                    <a:pt x="139" y="507"/>
                  </a:lnTo>
                  <a:lnTo>
                    <a:pt x="130" y="512"/>
                  </a:lnTo>
                  <a:lnTo>
                    <a:pt x="124" y="519"/>
                  </a:lnTo>
                  <a:lnTo>
                    <a:pt x="115" y="526"/>
                  </a:lnTo>
                  <a:lnTo>
                    <a:pt x="108" y="534"/>
                  </a:lnTo>
                  <a:lnTo>
                    <a:pt x="102" y="541"/>
                  </a:lnTo>
                  <a:lnTo>
                    <a:pt x="99" y="543"/>
                  </a:lnTo>
                  <a:lnTo>
                    <a:pt x="95" y="544"/>
                  </a:lnTo>
                  <a:lnTo>
                    <a:pt x="91" y="547"/>
                  </a:lnTo>
                  <a:lnTo>
                    <a:pt x="86" y="551"/>
                  </a:lnTo>
                  <a:lnTo>
                    <a:pt x="82" y="555"/>
                  </a:lnTo>
                  <a:lnTo>
                    <a:pt x="78" y="559"/>
                  </a:lnTo>
                  <a:lnTo>
                    <a:pt x="75" y="565"/>
                  </a:lnTo>
                  <a:lnTo>
                    <a:pt x="78" y="563"/>
                  </a:lnTo>
                  <a:lnTo>
                    <a:pt x="82" y="562"/>
                  </a:lnTo>
                  <a:lnTo>
                    <a:pt x="86" y="559"/>
                  </a:lnTo>
                  <a:lnTo>
                    <a:pt x="92" y="558"/>
                  </a:lnTo>
                  <a:lnTo>
                    <a:pt x="99" y="556"/>
                  </a:lnTo>
                  <a:lnTo>
                    <a:pt x="106" y="554"/>
                  </a:lnTo>
                  <a:lnTo>
                    <a:pt x="113" y="552"/>
                  </a:lnTo>
                  <a:lnTo>
                    <a:pt x="121" y="549"/>
                  </a:lnTo>
                  <a:lnTo>
                    <a:pt x="130" y="544"/>
                  </a:lnTo>
                  <a:lnTo>
                    <a:pt x="141" y="536"/>
                  </a:lnTo>
                  <a:lnTo>
                    <a:pt x="152" y="527"/>
                  </a:lnTo>
                  <a:lnTo>
                    <a:pt x="163" y="518"/>
                  </a:lnTo>
                  <a:lnTo>
                    <a:pt x="174" y="508"/>
                  </a:lnTo>
                  <a:lnTo>
                    <a:pt x="183" y="499"/>
                  </a:lnTo>
                  <a:lnTo>
                    <a:pt x="191" y="490"/>
                  </a:lnTo>
                  <a:lnTo>
                    <a:pt x="192" y="489"/>
                  </a:lnTo>
                  <a:lnTo>
                    <a:pt x="198" y="486"/>
                  </a:lnTo>
                  <a:lnTo>
                    <a:pt x="203" y="483"/>
                  </a:lnTo>
                  <a:lnTo>
                    <a:pt x="210" y="478"/>
                  </a:lnTo>
                  <a:lnTo>
                    <a:pt x="217" y="472"/>
                  </a:lnTo>
                  <a:lnTo>
                    <a:pt x="220" y="467"/>
                  </a:lnTo>
                  <a:lnTo>
                    <a:pt x="221" y="463"/>
                  </a:lnTo>
                  <a:lnTo>
                    <a:pt x="221" y="460"/>
                  </a:lnTo>
                  <a:lnTo>
                    <a:pt x="220" y="457"/>
                  </a:lnTo>
                  <a:lnTo>
                    <a:pt x="217" y="455"/>
                  </a:lnTo>
                  <a:lnTo>
                    <a:pt x="216" y="455"/>
                  </a:lnTo>
                  <a:lnTo>
                    <a:pt x="214" y="453"/>
                  </a:lnTo>
                  <a:lnTo>
                    <a:pt x="213" y="452"/>
                  </a:lnTo>
                  <a:lnTo>
                    <a:pt x="212" y="451"/>
                  </a:lnTo>
                  <a:lnTo>
                    <a:pt x="210" y="449"/>
                  </a:lnTo>
                  <a:lnTo>
                    <a:pt x="212" y="446"/>
                  </a:lnTo>
                  <a:lnTo>
                    <a:pt x="213" y="444"/>
                  </a:lnTo>
                  <a:lnTo>
                    <a:pt x="217" y="442"/>
                  </a:lnTo>
                  <a:lnTo>
                    <a:pt x="217" y="441"/>
                  </a:lnTo>
                  <a:lnTo>
                    <a:pt x="220" y="437"/>
                  </a:lnTo>
                  <a:lnTo>
                    <a:pt x="224" y="431"/>
                  </a:lnTo>
                  <a:lnTo>
                    <a:pt x="228" y="423"/>
                  </a:lnTo>
                  <a:lnTo>
                    <a:pt x="234" y="416"/>
                  </a:lnTo>
                  <a:lnTo>
                    <a:pt x="238" y="407"/>
                  </a:lnTo>
                  <a:lnTo>
                    <a:pt x="242" y="398"/>
                  </a:lnTo>
                  <a:lnTo>
                    <a:pt x="245" y="391"/>
                  </a:lnTo>
                  <a:lnTo>
                    <a:pt x="245" y="390"/>
                  </a:lnTo>
                  <a:lnTo>
                    <a:pt x="247" y="389"/>
                  </a:lnTo>
                  <a:lnTo>
                    <a:pt x="250" y="387"/>
                  </a:lnTo>
                  <a:lnTo>
                    <a:pt x="256" y="385"/>
                  </a:lnTo>
                  <a:lnTo>
                    <a:pt x="263" y="382"/>
                  </a:lnTo>
                  <a:lnTo>
                    <a:pt x="271" y="380"/>
                  </a:lnTo>
                  <a:lnTo>
                    <a:pt x="280" y="379"/>
                  </a:lnTo>
                  <a:lnTo>
                    <a:pt x="290" y="379"/>
                  </a:lnTo>
                  <a:lnTo>
                    <a:pt x="291" y="379"/>
                  </a:lnTo>
                  <a:lnTo>
                    <a:pt x="293" y="380"/>
                  </a:lnTo>
                  <a:lnTo>
                    <a:pt x="296" y="382"/>
                  </a:lnTo>
                  <a:lnTo>
                    <a:pt x="297" y="383"/>
                  </a:lnTo>
                  <a:lnTo>
                    <a:pt x="300" y="386"/>
                  </a:lnTo>
                  <a:lnTo>
                    <a:pt x="300" y="387"/>
                  </a:lnTo>
                  <a:lnTo>
                    <a:pt x="300" y="390"/>
                  </a:lnTo>
                  <a:lnTo>
                    <a:pt x="297" y="391"/>
                  </a:lnTo>
                  <a:lnTo>
                    <a:pt x="296" y="391"/>
                  </a:lnTo>
                  <a:lnTo>
                    <a:pt x="291" y="391"/>
                  </a:lnTo>
                  <a:lnTo>
                    <a:pt x="285" y="393"/>
                  </a:lnTo>
                  <a:lnTo>
                    <a:pt x="278" y="394"/>
                  </a:lnTo>
                  <a:lnTo>
                    <a:pt x="271" y="397"/>
                  </a:lnTo>
                  <a:lnTo>
                    <a:pt x="264" y="401"/>
                  </a:lnTo>
                  <a:lnTo>
                    <a:pt x="258" y="407"/>
                  </a:lnTo>
                  <a:lnTo>
                    <a:pt x="254" y="412"/>
                  </a:lnTo>
                  <a:lnTo>
                    <a:pt x="254" y="413"/>
                  </a:lnTo>
                  <a:lnTo>
                    <a:pt x="254" y="415"/>
                  </a:lnTo>
                  <a:lnTo>
                    <a:pt x="253" y="418"/>
                  </a:lnTo>
                  <a:lnTo>
                    <a:pt x="253" y="420"/>
                  </a:lnTo>
                  <a:lnTo>
                    <a:pt x="252" y="423"/>
                  </a:lnTo>
                  <a:lnTo>
                    <a:pt x="250" y="426"/>
                  </a:lnTo>
                  <a:lnTo>
                    <a:pt x="249" y="429"/>
                  </a:lnTo>
                  <a:lnTo>
                    <a:pt x="246" y="430"/>
                  </a:lnTo>
                  <a:lnTo>
                    <a:pt x="246" y="431"/>
                  </a:lnTo>
                  <a:lnTo>
                    <a:pt x="246" y="434"/>
                  </a:lnTo>
                  <a:lnTo>
                    <a:pt x="246" y="438"/>
                  </a:lnTo>
                  <a:lnTo>
                    <a:pt x="246" y="442"/>
                  </a:lnTo>
                  <a:lnTo>
                    <a:pt x="249" y="445"/>
                  </a:lnTo>
                  <a:lnTo>
                    <a:pt x="252" y="448"/>
                  </a:lnTo>
                  <a:lnTo>
                    <a:pt x="256" y="449"/>
                  </a:lnTo>
                  <a:lnTo>
                    <a:pt x="263" y="446"/>
                  </a:lnTo>
                  <a:lnTo>
                    <a:pt x="264" y="446"/>
                  </a:lnTo>
                  <a:lnTo>
                    <a:pt x="268" y="444"/>
                  </a:lnTo>
                  <a:lnTo>
                    <a:pt x="274" y="440"/>
                  </a:lnTo>
                  <a:lnTo>
                    <a:pt x="280" y="435"/>
                  </a:lnTo>
                  <a:lnTo>
                    <a:pt x="286" y="431"/>
                  </a:lnTo>
                  <a:lnTo>
                    <a:pt x="293" y="426"/>
                  </a:lnTo>
                  <a:lnTo>
                    <a:pt x="297" y="420"/>
                  </a:lnTo>
                  <a:lnTo>
                    <a:pt x="298" y="416"/>
                  </a:lnTo>
                  <a:lnTo>
                    <a:pt x="300" y="415"/>
                  </a:lnTo>
                  <a:lnTo>
                    <a:pt x="300" y="412"/>
                  </a:lnTo>
                  <a:lnTo>
                    <a:pt x="301" y="407"/>
                  </a:lnTo>
                  <a:lnTo>
                    <a:pt x="302" y="402"/>
                  </a:lnTo>
                  <a:lnTo>
                    <a:pt x="305" y="398"/>
                  </a:lnTo>
                  <a:lnTo>
                    <a:pt x="309" y="396"/>
                  </a:lnTo>
                  <a:lnTo>
                    <a:pt x="312" y="397"/>
                  </a:lnTo>
                  <a:lnTo>
                    <a:pt x="315" y="397"/>
                  </a:lnTo>
                  <a:lnTo>
                    <a:pt x="319" y="400"/>
                  </a:lnTo>
                  <a:lnTo>
                    <a:pt x="322" y="402"/>
                  </a:lnTo>
                  <a:lnTo>
                    <a:pt x="323" y="402"/>
                  </a:lnTo>
                  <a:lnTo>
                    <a:pt x="327" y="402"/>
                  </a:lnTo>
                  <a:lnTo>
                    <a:pt x="331" y="402"/>
                  </a:lnTo>
                  <a:lnTo>
                    <a:pt x="337" y="404"/>
                  </a:lnTo>
                  <a:lnTo>
                    <a:pt x="342" y="405"/>
                  </a:lnTo>
                  <a:lnTo>
                    <a:pt x="346" y="408"/>
                  </a:lnTo>
                  <a:lnTo>
                    <a:pt x="351" y="412"/>
                  </a:lnTo>
                  <a:lnTo>
                    <a:pt x="353" y="416"/>
                  </a:lnTo>
                  <a:lnTo>
                    <a:pt x="355" y="416"/>
                  </a:lnTo>
                  <a:lnTo>
                    <a:pt x="356" y="418"/>
                  </a:lnTo>
                  <a:lnTo>
                    <a:pt x="360" y="419"/>
                  </a:lnTo>
                  <a:lnTo>
                    <a:pt x="364" y="420"/>
                  </a:lnTo>
                  <a:lnTo>
                    <a:pt x="370" y="422"/>
                  </a:lnTo>
                  <a:lnTo>
                    <a:pt x="377" y="423"/>
                  </a:lnTo>
                  <a:lnTo>
                    <a:pt x="385" y="424"/>
                  </a:lnTo>
                  <a:lnTo>
                    <a:pt x="395" y="426"/>
                  </a:lnTo>
                  <a:lnTo>
                    <a:pt x="396" y="426"/>
                  </a:lnTo>
                  <a:lnTo>
                    <a:pt x="399" y="427"/>
                  </a:lnTo>
                  <a:lnTo>
                    <a:pt x="403" y="429"/>
                  </a:lnTo>
                  <a:lnTo>
                    <a:pt x="406" y="431"/>
                  </a:lnTo>
                  <a:lnTo>
                    <a:pt x="410" y="433"/>
                  </a:lnTo>
                  <a:lnTo>
                    <a:pt x="412" y="437"/>
                  </a:lnTo>
                  <a:lnTo>
                    <a:pt x="415" y="440"/>
                  </a:lnTo>
                  <a:lnTo>
                    <a:pt x="417" y="440"/>
                  </a:lnTo>
                  <a:lnTo>
                    <a:pt x="418" y="437"/>
                  </a:lnTo>
                  <a:lnTo>
                    <a:pt x="421" y="435"/>
                  </a:lnTo>
                  <a:lnTo>
                    <a:pt x="423" y="433"/>
                  </a:lnTo>
                  <a:lnTo>
                    <a:pt x="426" y="431"/>
                  </a:lnTo>
                  <a:lnTo>
                    <a:pt x="430" y="431"/>
                  </a:lnTo>
                  <a:lnTo>
                    <a:pt x="433" y="433"/>
                  </a:lnTo>
                  <a:lnTo>
                    <a:pt x="437" y="435"/>
                  </a:lnTo>
                  <a:lnTo>
                    <a:pt x="440" y="442"/>
                  </a:lnTo>
                  <a:lnTo>
                    <a:pt x="447" y="449"/>
                  </a:lnTo>
                  <a:lnTo>
                    <a:pt x="455" y="457"/>
                  </a:lnTo>
                  <a:lnTo>
                    <a:pt x="465" y="467"/>
                  </a:lnTo>
                  <a:lnTo>
                    <a:pt x="473" y="475"/>
                  </a:lnTo>
                  <a:lnTo>
                    <a:pt x="480" y="482"/>
                  </a:lnTo>
                  <a:lnTo>
                    <a:pt x="485" y="486"/>
                  </a:lnTo>
                  <a:lnTo>
                    <a:pt x="487" y="489"/>
                  </a:lnTo>
                  <a:lnTo>
                    <a:pt x="505" y="459"/>
                  </a:lnTo>
                  <a:lnTo>
                    <a:pt x="505" y="460"/>
                  </a:lnTo>
                  <a:lnTo>
                    <a:pt x="507" y="463"/>
                  </a:lnTo>
                  <a:lnTo>
                    <a:pt x="511" y="467"/>
                  </a:lnTo>
                  <a:lnTo>
                    <a:pt x="516" y="472"/>
                  </a:lnTo>
                  <a:lnTo>
                    <a:pt x="520" y="479"/>
                  </a:lnTo>
                  <a:lnTo>
                    <a:pt x="523" y="486"/>
                  </a:lnTo>
                  <a:lnTo>
                    <a:pt x="525" y="492"/>
                  </a:lnTo>
                  <a:lnTo>
                    <a:pt x="528" y="497"/>
                  </a:lnTo>
                  <a:lnTo>
                    <a:pt x="529" y="499"/>
                  </a:lnTo>
                  <a:lnTo>
                    <a:pt x="532" y="501"/>
                  </a:lnTo>
                  <a:lnTo>
                    <a:pt x="535" y="504"/>
                  </a:lnTo>
                  <a:lnTo>
                    <a:pt x="538" y="508"/>
                  </a:lnTo>
                  <a:lnTo>
                    <a:pt x="540" y="511"/>
                  </a:lnTo>
                  <a:lnTo>
                    <a:pt x="543" y="515"/>
                  </a:lnTo>
                  <a:lnTo>
                    <a:pt x="546" y="518"/>
                  </a:lnTo>
                  <a:lnTo>
                    <a:pt x="546" y="519"/>
                  </a:lnTo>
                  <a:lnTo>
                    <a:pt x="546" y="522"/>
                  </a:lnTo>
                  <a:lnTo>
                    <a:pt x="546" y="525"/>
                  </a:lnTo>
                  <a:lnTo>
                    <a:pt x="546" y="529"/>
                  </a:lnTo>
                  <a:lnTo>
                    <a:pt x="547" y="533"/>
                  </a:lnTo>
                  <a:lnTo>
                    <a:pt x="549" y="538"/>
                  </a:lnTo>
                  <a:lnTo>
                    <a:pt x="551" y="543"/>
                  </a:lnTo>
                  <a:lnTo>
                    <a:pt x="556" y="545"/>
                  </a:lnTo>
                  <a:lnTo>
                    <a:pt x="556" y="547"/>
                  </a:lnTo>
                  <a:lnTo>
                    <a:pt x="556" y="548"/>
                  </a:lnTo>
                  <a:lnTo>
                    <a:pt x="557" y="549"/>
                  </a:lnTo>
                  <a:lnTo>
                    <a:pt x="558" y="551"/>
                  </a:lnTo>
                  <a:lnTo>
                    <a:pt x="560" y="551"/>
                  </a:lnTo>
                  <a:lnTo>
                    <a:pt x="564" y="549"/>
                  </a:lnTo>
                  <a:lnTo>
                    <a:pt x="568" y="545"/>
                  </a:lnTo>
                  <a:lnTo>
                    <a:pt x="568" y="547"/>
                  </a:lnTo>
                  <a:lnTo>
                    <a:pt x="569" y="548"/>
                  </a:lnTo>
                  <a:lnTo>
                    <a:pt x="569" y="551"/>
                  </a:lnTo>
                  <a:lnTo>
                    <a:pt x="571" y="554"/>
                  </a:lnTo>
                  <a:lnTo>
                    <a:pt x="571" y="558"/>
                  </a:lnTo>
                  <a:lnTo>
                    <a:pt x="571" y="563"/>
                  </a:lnTo>
                  <a:lnTo>
                    <a:pt x="571" y="565"/>
                  </a:lnTo>
                  <a:lnTo>
                    <a:pt x="569" y="567"/>
                  </a:lnTo>
                  <a:lnTo>
                    <a:pt x="568" y="571"/>
                  </a:lnTo>
                  <a:lnTo>
                    <a:pt x="568" y="577"/>
                  </a:lnTo>
                  <a:lnTo>
                    <a:pt x="568" y="582"/>
                  </a:lnTo>
                  <a:lnTo>
                    <a:pt x="568" y="587"/>
                  </a:lnTo>
                  <a:lnTo>
                    <a:pt x="572" y="591"/>
                  </a:lnTo>
                  <a:lnTo>
                    <a:pt x="578" y="593"/>
                  </a:lnTo>
                  <a:lnTo>
                    <a:pt x="578" y="591"/>
                  </a:lnTo>
                  <a:lnTo>
                    <a:pt x="579" y="587"/>
                  </a:lnTo>
                  <a:lnTo>
                    <a:pt x="580" y="580"/>
                  </a:lnTo>
                  <a:lnTo>
                    <a:pt x="583" y="571"/>
                  </a:lnTo>
                  <a:lnTo>
                    <a:pt x="584" y="563"/>
                  </a:lnTo>
                  <a:lnTo>
                    <a:pt x="586" y="555"/>
                  </a:lnTo>
                  <a:lnTo>
                    <a:pt x="586" y="548"/>
                  </a:lnTo>
                  <a:lnTo>
                    <a:pt x="586" y="544"/>
                  </a:lnTo>
                  <a:lnTo>
                    <a:pt x="584" y="544"/>
                  </a:lnTo>
                  <a:lnTo>
                    <a:pt x="583" y="541"/>
                  </a:lnTo>
                  <a:lnTo>
                    <a:pt x="579" y="540"/>
                  </a:lnTo>
                  <a:lnTo>
                    <a:pt x="576" y="536"/>
                  </a:lnTo>
                  <a:lnTo>
                    <a:pt x="572" y="532"/>
                  </a:lnTo>
                  <a:lnTo>
                    <a:pt x="568" y="526"/>
                  </a:lnTo>
                  <a:lnTo>
                    <a:pt x="564" y="519"/>
                  </a:lnTo>
                  <a:lnTo>
                    <a:pt x="560" y="511"/>
                  </a:lnTo>
                  <a:lnTo>
                    <a:pt x="557" y="508"/>
                  </a:lnTo>
                  <a:lnTo>
                    <a:pt x="551" y="500"/>
                  </a:lnTo>
                  <a:lnTo>
                    <a:pt x="545" y="489"/>
                  </a:lnTo>
                  <a:lnTo>
                    <a:pt x="535" y="475"/>
                  </a:lnTo>
                  <a:lnTo>
                    <a:pt x="524" y="462"/>
                  </a:lnTo>
                  <a:lnTo>
                    <a:pt x="514" y="449"/>
                  </a:lnTo>
                  <a:lnTo>
                    <a:pt x="506" y="440"/>
                  </a:lnTo>
                  <a:lnTo>
                    <a:pt x="499" y="435"/>
                  </a:lnTo>
                  <a:lnTo>
                    <a:pt x="498" y="437"/>
                  </a:lnTo>
                  <a:lnTo>
                    <a:pt x="495" y="440"/>
                  </a:lnTo>
                  <a:lnTo>
                    <a:pt x="491" y="442"/>
                  </a:lnTo>
                  <a:lnTo>
                    <a:pt x="487" y="445"/>
                  </a:lnTo>
                  <a:lnTo>
                    <a:pt x="483" y="448"/>
                  </a:lnTo>
                  <a:lnTo>
                    <a:pt x="478" y="449"/>
                  </a:lnTo>
                  <a:lnTo>
                    <a:pt x="474" y="451"/>
                  </a:lnTo>
                  <a:lnTo>
                    <a:pt x="473" y="449"/>
                  </a:lnTo>
                  <a:lnTo>
                    <a:pt x="467" y="445"/>
                  </a:lnTo>
                  <a:lnTo>
                    <a:pt x="459" y="440"/>
                  </a:lnTo>
                  <a:lnTo>
                    <a:pt x="451" y="431"/>
                  </a:lnTo>
                  <a:lnTo>
                    <a:pt x="441" y="424"/>
                  </a:lnTo>
                  <a:lnTo>
                    <a:pt x="432" y="418"/>
                  </a:lnTo>
                  <a:lnTo>
                    <a:pt x="423" y="412"/>
                  </a:lnTo>
                  <a:lnTo>
                    <a:pt x="418" y="408"/>
                  </a:lnTo>
                  <a:lnTo>
                    <a:pt x="403" y="407"/>
                  </a:lnTo>
                  <a:lnTo>
                    <a:pt x="403" y="59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3" name="Freeform 289"/>
            <p:cNvSpPr>
              <a:spLocks/>
            </p:cNvSpPr>
            <p:nvPr/>
          </p:nvSpPr>
          <p:spPr bwMode="auto">
            <a:xfrm>
              <a:off x="786" y="1161"/>
              <a:ext cx="26" cy="24"/>
            </a:xfrm>
            <a:custGeom>
              <a:avLst/>
              <a:gdLst>
                <a:gd name="T0" fmla="*/ 17 w 32"/>
                <a:gd name="T1" fmla="*/ 2 h 29"/>
                <a:gd name="T2" fmla="*/ 15 w 32"/>
                <a:gd name="T3" fmla="*/ 1 h 29"/>
                <a:gd name="T4" fmla="*/ 13 w 32"/>
                <a:gd name="T5" fmla="*/ 1 h 29"/>
                <a:gd name="T6" fmla="*/ 9 w 32"/>
                <a:gd name="T7" fmla="*/ 0 h 29"/>
                <a:gd name="T8" fmla="*/ 4 w 32"/>
                <a:gd name="T9" fmla="*/ 0 h 29"/>
                <a:gd name="T10" fmla="*/ 2 w 32"/>
                <a:gd name="T11" fmla="*/ 1 h 29"/>
                <a:gd name="T12" fmla="*/ 0 w 32"/>
                <a:gd name="T13" fmla="*/ 4 h 29"/>
                <a:gd name="T14" fmla="*/ 0 w 32"/>
                <a:gd name="T15" fmla="*/ 9 h 29"/>
                <a:gd name="T16" fmla="*/ 4 w 32"/>
                <a:gd name="T17" fmla="*/ 16 h 29"/>
                <a:gd name="T18" fmla="*/ 4 w 32"/>
                <a:gd name="T19" fmla="*/ 16 h 29"/>
                <a:gd name="T20" fmla="*/ 6 w 32"/>
                <a:gd name="T21" fmla="*/ 18 h 29"/>
                <a:gd name="T22" fmla="*/ 9 w 32"/>
                <a:gd name="T23" fmla="*/ 20 h 29"/>
                <a:gd name="T24" fmla="*/ 11 w 32"/>
                <a:gd name="T25" fmla="*/ 23 h 29"/>
                <a:gd name="T26" fmla="*/ 14 w 32"/>
                <a:gd name="T27" fmla="*/ 24 h 29"/>
                <a:gd name="T28" fmla="*/ 17 w 32"/>
                <a:gd name="T29" fmla="*/ 27 h 29"/>
                <a:gd name="T30" fmla="*/ 20 w 32"/>
                <a:gd name="T31" fmla="*/ 29 h 29"/>
                <a:gd name="T32" fmla="*/ 22 w 32"/>
                <a:gd name="T33" fmla="*/ 29 h 29"/>
                <a:gd name="T34" fmla="*/ 25 w 32"/>
                <a:gd name="T35" fmla="*/ 29 h 29"/>
                <a:gd name="T36" fmla="*/ 28 w 32"/>
                <a:gd name="T37" fmla="*/ 27 h 29"/>
                <a:gd name="T38" fmla="*/ 29 w 32"/>
                <a:gd name="T39" fmla="*/ 24 h 29"/>
                <a:gd name="T40" fmla="*/ 31 w 32"/>
                <a:gd name="T41" fmla="*/ 22 h 29"/>
                <a:gd name="T42" fmla="*/ 32 w 32"/>
                <a:gd name="T43" fmla="*/ 19 h 29"/>
                <a:gd name="T44" fmla="*/ 32 w 32"/>
                <a:gd name="T45" fmla="*/ 16 h 29"/>
                <a:gd name="T46" fmla="*/ 32 w 32"/>
                <a:gd name="T47" fmla="*/ 13 h 29"/>
                <a:gd name="T48" fmla="*/ 29 w 32"/>
                <a:gd name="T49" fmla="*/ 12 h 29"/>
                <a:gd name="T50" fmla="*/ 26 w 32"/>
                <a:gd name="T51" fmla="*/ 11 h 29"/>
                <a:gd name="T52" fmla="*/ 25 w 32"/>
                <a:gd name="T53" fmla="*/ 9 h 29"/>
                <a:gd name="T54" fmla="*/ 22 w 32"/>
                <a:gd name="T55" fmla="*/ 7 h 29"/>
                <a:gd name="T56" fmla="*/ 21 w 32"/>
                <a:gd name="T57" fmla="*/ 5 h 29"/>
                <a:gd name="T58" fmla="*/ 18 w 32"/>
                <a:gd name="T59" fmla="*/ 4 h 29"/>
                <a:gd name="T60" fmla="*/ 18 w 32"/>
                <a:gd name="T61" fmla="*/ 2 h 29"/>
                <a:gd name="T62" fmla="*/ 17 w 32"/>
                <a:gd name="T63" fmla="*/ 2 h 29"/>
                <a:gd name="T64" fmla="*/ 17 w 32"/>
                <a:gd name="T65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" h="29">
                  <a:moveTo>
                    <a:pt x="17" y="2"/>
                  </a:moveTo>
                  <a:lnTo>
                    <a:pt x="15" y="1"/>
                  </a:lnTo>
                  <a:lnTo>
                    <a:pt x="13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9" y="20"/>
                  </a:lnTo>
                  <a:lnTo>
                    <a:pt x="11" y="23"/>
                  </a:lnTo>
                  <a:lnTo>
                    <a:pt x="14" y="24"/>
                  </a:lnTo>
                  <a:lnTo>
                    <a:pt x="17" y="27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28" y="27"/>
                  </a:lnTo>
                  <a:lnTo>
                    <a:pt x="29" y="24"/>
                  </a:lnTo>
                  <a:lnTo>
                    <a:pt x="31" y="22"/>
                  </a:lnTo>
                  <a:lnTo>
                    <a:pt x="32" y="19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29" y="12"/>
                  </a:lnTo>
                  <a:lnTo>
                    <a:pt x="26" y="11"/>
                  </a:lnTo>
                  <a:lnTo>
                    <a:pt x="25" y="9"/>
                  </a:lnTo>
                  <a:lnTo>
                    <a:pt x="22" y="7"/>
                  </a:lnTo>
                  <a:lnTo>
                    <a:pt x="21" y="5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7" y="2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4" name="Freeform 290"/>
            <p:cNvSpPr>
              <a:spLocks/>
            </p:cNvSpPr>
            <p:nvPr/>
          </p:nvSpPr>
          <p:spPr bwMode="auto">
            <a:xfrm>
              <a:off x="786" y="1161"/>
              <a:ext cx="26" cy="24"/>
            </a:xfrm>
            <a:custGeom>
              <a:avLst/>
              <a:gdLst>
                <a:gd name="T0" fmla="*/ 17 w 32"/>
                <a:gd name="T1" fmla="*/ 2 h 29"/>
                <a:gd name="T2" fmla="*/ 15 w 32"/>
                <a:gd name="T3" fmla="*/ 1 h 29"/>
                <a:gd name="T4" fmla="*/ 13 w 32"/>
                <a:gd name="T5" fmla="*/ 1 h 29"/>
                <a:gd name="T6" fmla="*/ 9 w 32"/>
                <a:gd name="T7" fmla="*/ 0 h 29"/>
                <a:gd name="T8" fmla="*/ 4 w 32"/>
                <a:gd name="T9" fmla="*/ 0 h 29"/>
                <a:gd name="T10" fmla="*/ 2 w 32"/>
                <a:gd name="T11" fmla="*/ 1 h 29"/>
                <a:gd name="T12" fmla="*/ 0 w 32"/>
                <a:gd name="T13" fmla="*/ 4 h 29"/>
                <a:gd name="T14" fmla="*/ 0 w 32"/>
                <a:gd name="T15" fmla="*/ 9 h 29"/>
                <a:gd name="T16" fmla="*/ 4 w 32"/>
                <a:gd name="T17" fmla="*/ 16 h 29"/>
                <a:gd name="T18" fmla="*/ 6 w 32"/>
                <a:gd name="T19" fmla="*/ 18 h 29"/>
                <a:gd name="T20" fmla="*/ 9 w 32"/>
                <a:gd name="T21" fmla="*/ 20 h 29"/>
                <a:gd name="T22" fmla="*/ 11 w 32"/>
                <a:gd name="T23" fmla="*/ 23 h 29"/>
                <a:gd name="T24" fmla="*/ 14 w 32"/>
                <a:gd name="T25" fmla="*/ 24 h 29"/>
                <a:gd name="T26" fmla="*/ 17 w 32"/>
                <a:gd name="T27" fmla="*/ 27 h 29"/>
                <a:gd name="T28" fmla="*/ 20 w 32"/>
                <a:gd name="T29" fmla="*/ 29 h 29"/>
                <a:gd name="T30" fmla="*/ 22 w 32"/>
                <a:gd name="T31" fmla="*/ 29 h 29"/>
                <a:gd name="T32" fmla="*/ 25 w 32"/>
                <a:gd name="T33" fmla="*/ 29 h 29"/>
                <a:gd name="T34" fmla="*/ 28 w 32"/>
                <a:gd name="T35" fmla="*/ 27 h 29"/>
                <a:gd name="T36" fmla="*/ 29 w 32"/>
                <a:gd name="T37" fmla="*/ 24 h 29"/>
                <a:gd name="T38" fmla="*/ 31 w 32"/>
                <a:gd name="T39" fmla="*/ 22 h 29"/>
                <a:gd name="T40" fmla="*/ 32 w 32"/>
                <a:gd name="T41" fmla="*/ 19 h 29"/>
                <a:gd name="T42" fmla="*/ 32 w 32"/>
                <a:gd name="T43" fmla="*/ 16 h 29"/>
                <a:gd name="T44" fmla="*/ 32 w 32"/>
                <a:gd name="T45" fmla="*/ 13 h 29"/>
                <a:gd name="T46" fmla="*/ 29 w 32"/>
                <a:gd name="T47" fmla="*/ 12 h 29"/>
                <a:gd name="T48" fmla="*/ 26 w 32"/>
                <a:gd name="T49" fmla="*/ 11 h 29"/>
                <a:gd name="T50" fmla="*/ 25 w 32"/>
                <a:gd name="T51" fmla="*/ 9 h 29"/>
                <a:gd name="T52" fmla="*/ 22 w 32"/>
                <a:gd name="T53" fmla="*/ 7 h 29"/>
                <a:gd name="T54" fmla="*/ 21 w 32"/>
                <a:gd name="T55" fmla="*/ 5 h 29"/>
                <a:gd name="T56" fmla="*/ 18 w 32"/>
                <a:gd name="T57" fmla="*/ 4 h 29"/>
                <a:gd name="T58" fmla="*/ 18 w 32"/>
                <a:gd name="T59" fmla="*/ 2 h 29"/>
                <a:gd name="T60" fmla="*/ 17 w 32"/>
                <a:gd name="T61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2" h="29">
                  <a:moveTo>
                    <a:pt x="17" y="2"/>
                  </a:moveTo>
                  <a:lnTo>
                    <a:pt x="15" y="1"/>
                  </a:lnTo>
                  <a:lnTo>
                    <a:pt x="13" y="1"/>
                  </a:lnTo>
                  <a:lnTo>
                    <a:pt x="9" y="0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9" y="20"/>
                  </a:lnTo>
                  <a:lnTo>
                    <a:pt x="11" y="23"/>
                  </a:lnTo>
                  <a:lnTo>
                    <a:pt x="14" y="24"/>
                  </a:lnTo>
                  <a:lnTo>
                    <a:pt x="17" y="27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5" y="29"/>
                  </a:lnTo>
                  <a:lnTo>
                    <a:pt x="28" y="27"/>
                  </a:lnTo>
                  <a:lnTo>
                    <a:pt x="29" y="24"/>
                  </a:lnTo>
                  <a:lnTo>
                    <a:pt x="31" y="22"/>
                  </a:lnTo>
                  <a:lnTo>
                    <a:pt x="32" y="19"/>
                  </a:lnTo>
                  <a:lnTo>
                    <a:pt x="32" y="16"/>
                  </a:lnTo>
                  <a:lnTo>
                    <a:pt x="32" y="13"/>
                  </a:lnTo>
                  <a:lnTo>
                    <a:pt x="29" y="12"/>
                  </a:lnTo>
                  <a:lnTo>
                    <a:pt x="26" y="11"/>
                  </a:lnTo>
                  <a:lnTo>
                    <a:pt x="25" y="9"/>
                  </a:lnTo>
                  <a:lnTo>
                    <a:pt x="22" y="7"/>
                  </a:lnTo>
                  <a:lnTo>
                    <a:pt x="21" y="5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7" y="2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5" name="Freeform 291"/>
            <p:cNvSpPr>
              <a:spLocks/>
            </p:cNvSpPr>
            <p:nvPr/>
          </p:nvSpPr>
          <p:spPr bwMode="auto">
            <a:xfrm>
              <a:off x="991" y="1315"/>
              <a:ext cx="15" cy="22"/>
            </a:xfrm>
            <a:custGeom>
              <a:avLst/>
              <a:gdLst>
                <a:gd name="T0" fmla="*/ 11 w 18"/>
                <a:gd name="T1" fmla="*/ 1 h 27"/>
                <a:gd name="T2" fmla="*/ 10 w 18"/>
                <a:gd name="T3" fmla="*/ 0 h 27"/>
                <a:gd name="T4" fmla="*/ 9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4 w 18"/>
                <a:gd name="T11" fmla="*/ 2 h 27"/>
                <a:gd name="T12" fmla="*/ 2 w 18"/>
                <a:gd name="T13" fmla="*/ 7 h 27"/>
                <a:gd name="T14" fmla="*/ 0 w 18"/>
                <a:gd name="T15" fmla="*/ 11 h 27"/>
                <a:gd name="T16" fmla="*/ 0 w 18"/>
                <a:gd name="T17" fmla="*/ 18 h 27"/>
                <a:gd name="T18" fmla="*/ 0 w 18"/>
                <a:gd name="T19" fmla="*/ 19 h 27"/>
                <a:gd name="T20" fmla="*/ 0 w 18"/>
                <a:gd name="T21" fmla="*/ 20 h 27"/>
                <a:gd name="T22" fmla="*/ 0 w 18"/>
                <a:gd name="T23" fmla="*/ 23 h 27"/>
                <a:gd name="T24" fmla="*/ 2 w 18"/>
                <a:gd name="T25" fmla="*/ 26 h 27"/>
                <a:gd name="T26" fmla="*/ 3 w 18"/>
                <a:gd name="T27" fmla="*/ 27 h 27"/>
                <a:gd name="T28" fmla="*/ 6 w 18"/>
                <a:gd name="T29" fmla="*/ 27 h 27"/>
                <a:gd name="T30" fmla="*/ 11 w 18"/>
                <a:gd name="T31" fmla="*/ 26 h 27"/>
                <a:gd name="T32" fmla="*/ 18 w 18"/>
                <a:gd name="T33" fmla="*/ 22 h 27"/>
                <a:gd name="T34" fmla="*/ 18 w 18"/>
                <a:gd name="T35" fmla="*/ 20 h 27"/>
                <a:gd name="T36" fmla="*/ 18 w 18"/>
                <a:gd name="T37" fmla="*/ 19 h 27"/>
                <a:gd name="T38" fmla="*/ 18 w 18"/>
                <a:gd name="T39" fmla="*/ 16 h 27"/>
                <a:gd name="T40" fmla="*/ 18 w 18"/>
                <a:gd name="T41" fmla="*/ 13 h 27"/>
                <a:gd name="T42" fmla="*/ 18 w 18"/>
                <a:gd name="T43" fmla="*/ 9 h 27"/>
                <a:gd name="T44" fmla="*/ 17 w 18"/>
                <a:gd name="T45" fmla="*/ 5 h 27"/>
                <a:gd name="T46" fmla="*/ 14 w 18"/>
                <a:gd name="T47" fmla="*/ 2 h 27"/>
                <a:gd name="T48" fmla="*/ 11 w 18"/>
                <a:gd name="T4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7">
                  <a:moveTo>
                    <a:pt x="11" y="1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11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17" y="5"/>
                  </a:lnTo>
                  <a:lnTo>
                    <a:pt x="14" y="2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6" name="Freeform 292"/>
            <p:cNvSpPr>
              <a:spLocks/>
            </p:cNvSpPr>
            <p:nvPr/>
          </p:nvSpPr>
          <p:spPr bwMode="auto">
            <a:xfrm>
              <a:off x="991" y="1315"/>
              <a:ext cx="15" cy="22"/>
            </a:xfrm>
            <a:custGeom>
              <a:avLst/>
              <a:gdLst>
                <a:gd name="T0" fmla="*/ 11 w 18"/>
                <a:gd name="T1" fmla="*/ 1 h 27"/>
                <a:gd name="T2" fmla="*/ 10 w 18"/>
                <a:gd name="T3" fmla="*/ 0 h 27"/>
                <a:gd name="T4" fmla="*/ 9 w 18"/>
                <a:gd name="T5" fmla="*/ 0 h 27"/>
                <a:gd name="T6" fmla="*/ 7 w 18"/>
                <a:gd name="T7" fmla="*/ 0 h 27"/>
                <a:gd name="T8" fmla="*/ 6 w 18"/>
                <a:gd name="T9" fmla="*/ 1 h 27"/>
                <a:gd name="T10" fmla="*/ 4 w 18"/>
                <a:gd name="T11" fmla="*/ 2 h 27"/>
                <a:gd name="T12" fmla="*/ 2 w 18"/>
                <a:gd name="T13" fmla="*/ 7 h 27"/>
                <a:gd name="T14" fmla="*/ 0 w 18"/>
                <a:gd name="T15" fmla="*/ 11 h 27"/>
                <a:gd name="T16" fmla="*/ 0 w 18"/>
                <a:gd name="T17" fmla="*/ 18 h 27"/>
                <a:gd name="T18" fmla="*/ 0 w 18"/>
                <a:gd name="T19" fmla="*/ 19 h 27"/>
                <a:gd name="T20" fmla="*/ 0 w 18"/>
                <a:gd name="T21" fmla="*/ 20 h 27"/>
                <a:gd name="T22" fmla="*/ 0 w 18"/>
                <a:gd name="T23" fmla="*/ 23 h 27"/>
                <a:gd name="T24" fmla="*/ 2 w 18"/>
                <a:gd name="T25" fmla="*/ 26 h 27"/>
                <a:gd name="T26" fmla="*/ 3 w 18"/>
                <a:gd name="T27" fmla="*/ 27 h 27"/>
                <a:gd name="T28" fmla="*/ 6 w 18"/>
                <a:gd name="T29" fmla="*/ 27 h 27"/>
                <a:gd name="T30" fmla="*/ 11 w 18"/>
                <a:gd name="T31" fmla="*/ 26 h 27"/>
                <a:gd name="T32" fmla="*/ 18 w 18"/>
                <a:gd name="T33" fmla="*/ 22 h 27"/>
                <a:gd name="T34" fmla="*/ 18 w 18"/>
                <a:gd name="T35" fmla="*/ 20 h 27"/>
                <a:gd name="T36" fmla="*/ 18 w 18"/>
                <a:gd name="T37" fmla="*/ 19 h 27"/>
                <a:gd name="T38" fmla="*/ 18 w 18"/>
                <a:gd name="T39" fmla="*/ 16 h 27"/>
                <a:gd name="T40" fmla="*/ 18 w 18"/>
                <a:gd name="T41" fmla="*/ 13 h 27"/>
                <a:gd name="T42" fmla="*/ 18 w 18"/>
                <a:gd name="T43" fmla="*/ 9 h 27"/>
                <a:gd name="T44" fmla="*/ 17 w 18"/>
                <a:gd name="T45" fmla="*/ 5 h 27"/>
                <a:gd name="T46" fmla="*/ 14 w 18"/>
                <a:gd name="T47" fmla="*/ 2 h 27"/>
                <a:gd name="T48" fmla="*/ 11 w 18"/>
                <a:gd name="T49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" h="27">
                  <a:moveTo>
                    <a:pt x="11" y="1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4" y="2"/>
                  </a:lnTo>
                  <a:lnTo>
                    <a:pt x="2" y="7"/>
                  </a:lnTo>
                  <a:lnTo>
                    <a:pt x="0" y="11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2" y="26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11" y="26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9"/>
                  </a:lnTo>
                  <a:lnTo>
                    <a:pt x="17" y="5"/>
                  </a:lnTo>
                  <a:lnTo>
                    <a:pt x="14" y="2"/>
                  </a:lnTo>
                  <a:lnTo>
                    <a:pt x="11" y="1"/>
                  </a:lnTo>
                </a:path>
              </a:pathLst>
            </a:custGeom>
            <a:grpFill/>
            <a:ln w="0">
              <a:solidFill>
                <a:srgbClr val="087AC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7" name="Freeform 293"/>
            <p:cNvSpPr>
              <a:spLocks/>
            </p:cNvSpPr>
            <p:nvPr/>
          </p:nvSpPr>
          <p:spPr bwMode="auto">
            <a:xfrm>
              <a:off x="1375" y="1694"/>
              <a:ext cx="586" cy="194"/>
            </a:xfrm>
            <a:custGeom>
              <a:avLst/>
              <a:gdLst>
                <a:gd name="T0" fmla="*/ 722 w 725"/>
                <a:gd name="T1" fmla="*/ 3 h 241"/>
                <a:gd name="T2" fmla="*/ 712 w 725"/>
                <a:gd name="T3" fmla="*/ 6 h 241"/>
                <a:gd name="T4" fmla="*/ 708 w 725"/>
                <a:gd name="T5" fmla="*/ 8 h 241"/>
                <a:gd name="T6" fmla="*/ 709 w 725"/>
                <a:gd name="T7" fmla="*/ 17 h 241"/>
                <a:gd name="T8" fmla="*/ 714 w 725"/>
                <a:gd name="T9" fmla="*/ 29 h 241"/>
                <a:gd name="T10" fmla="*/ 719 w 725"/>
                <a:gd name="T11" fmla="*/ 32 h 241"/>
                <a:gd name="T12" fmla="*/ 720 w 725"/>
                <a:gd name="T13" fmla="*/ 34 h 241"/>
                <a:gd name="T14" fmla="*/ 718 w 725"/>
                <a:gd name="T15" fmla="*/ 39 h 241"/>
                <a:gd name="T16" fmla="*/ 712 w 725"/>
                <a:gd name="T17" fmla="*/ 40 h 241"/>
                <a:gd name="T18" fmla="*/ 705 w 725"/>
                <a:gd name="T19" fmla="*/ 44 h 241"/>
                <a:gd name="T20" fmla="*/ 697 w 725"/>
                <a:gd name="T21" fmla="*/ 58 h 241"/>
                <a:gd name="T22" fmla="*/ 669 w 725"/>
                <a:gd name="T23" fmla="*/ 84 h 241"/>
                <a:gd name="T24" fmla="*/ 641 w 725"/>
                <a:gd name="T25" fmla="*/ 111 h 241"/>
                <a:gd name="T26" fmla="*/ 635 w 725"/>
                <a:gd name="T27" fmla="*/ 121 h 241"/>
                <a:gd name="T28" fmla="*/ 634 w 725"/>
                <a:gd name="T29" fmla="*/ 136 h 241"/>
                <a:gd name="T30" fmla="*/ 634 w 725"/>
                <a:gd name="T31" fmla="*/ 151 h 241"/>
                <a:gd name="T32" fmla="*/ 643 w 725"/>
                <a:gd name="T33" fmla="*/ 172 h 241"/>
                <a:gd name="T34" fmla="*/ 658 w 725"/>
                <a:gd name="T35" fmla="*/ 199 h 241"/>
                <a:gd name="T36" fmla="*/ 660 w 725"/>
                <a:gd name="T37" fmla="*/ 228 h 241"/>
                <a:gd name="T38" fmla="*/ 656 w 725"/>
                <a:gd name="T39" fmla="*/ 238 h 241"/>
                <a:gd name="T40" fmla="*/ 642 w 725"/>
                <a:gd name="T41" fmla="*/ 235 h 241"/>
                <a:gd name="T42" fmla="*/ 628 w 725"/>
                <a:gd name="T43" fmla="*/ 221 h 241"/>
                <a:gd name="T44" fmla="*/ 608 w 725"/>
                <a:gd name="T45" fmla="*/ 186 h 241"/>
                <a:gd name="T46" fmla="*/ 605 w 725"/>
                <a:gd name="T47" fmla="*/ 165 h 241"/>
                <a:gd name="T48" fmla="*/ 592 w 725"/>
                <a:gd name="T49" fmla="*/ 149 h 241"/>
                <a:gd name="T50" fmla="*/ 562 w 725"/>
                <a:gd name="T51" fmla="*/ 144 h 241"/>
                <a:gd name="T52" fmla="*/ 514 w 725"/>
                <a:gd name="T53" fmla="*/ 143 h 241"/>
                <a:gd name="T54" fmla="*/ 507 w 725"/>
                <a:gd name="T55" fmla="*/ 149 h 241"/>
                <a:gd name="T56" fmla="*/ 478 w 725"/>
                <a:gd name="T57" fmla="*/ 155 h 241"/>
                <a:gd name="T58" fmla="*/ 452 w 725"/>
                <a:gd name="T59" fmla="*/ 154 h 241"/>
                <a:gd name="T60" fmla="*/ 426 w 725"/>
                <a:gd name="T61" fmla="*/ 160 h 241"/>
                <a:gd name="T62" fmla="*/ 386 w 725"/>
                <a:gd name="T63" fmla="*/ 197 h 241"/>
                <a:gd name="T64" fmla="*/ 387 w 725"/>
                <a:gd name="T65" fmla="*/ 208 h 241"/>
                <a:gd name="T66" fmla="*/ 383 w 725"/>
                <a:gd name="T67" fmla="*/ 214 h 241"/>
                <a:gd name="T68" fmla="*/ 364 w 725"/>
                <a:gd name="T69" fmla="*/ 202 h 241"/>
                <a:gd name="T70" fmla="*/ 345 w 725"/>
                <a:gd name="T71" fmla="*/ 176 h 241"/>
                <a:gd name="T72" fmla="*/ 334 w 725"/>
                <a:gd name="T73" fmla="*/ 164 h 241"/>
                <a:gd name="T74" fmla="*/ 320 w 725"/>
                <a:gd name="T75" fmla="*/ 161 h 241"/>
                <a:gd name="T76" fmla="*/ 309 w 725"/>
                <a:gd name="T77" fmla="*/ 165 h 241"/>
                <a:gd name="T78" fmla="*/ 294 w 725"/>
                <a:gd name="T79" fmla="*/ 160 h 241"/>
                <a:gd name="T80" fmla="*/ 276 w 725"/>
                <a:gd name="T81" fmla="*/ 143 h 241"/>
                <a:gd name="T82" fmla="*/ 264 w 725"/>
                <a:gd name="T83" fmla="*/ 116 h 241"/>
                <a:gd name="T84" fmla="*/ 249 w 725"/>
                <a:gd name="T85" fmla="*/ 110 h 241"/>
                <a:gd name="T86" fmla="*/ 232 w 725"/>
                <a:gd name="T87" fmla="*/ 116 h 241"/>
                <a:gd name="T88" fmla="*/ 217 w 725"/>
                <a:gd name="T89" fmla="*/ 122 h 241"/>
                <a:gd name="T90" fmla="*/ 191 w 725"/>
                <a:gd name="T91" fmla="*/ 124 h 241"/>
                <a:gd name="T92" fmla="*/ 158 w 725"/>
                <a:gd name="T93" fmla="*/ 116 h 241"/>
                <a:gd name="T94" fmla="*/ 133 w 725"/>
                <a:gd name="T95" fmla="*/ 105 h 241"/>
                <a:gd name="T96" fmla="*/ 119 w 725"/>
                <a:gd name="T97" fmla="*/ 100 h 241"/>
                <a:gd name="T98" fmla="*/ 93 w 725"/>
                <a:gd name="T99" fmla="*/ 110 h 241"/>
                <a:gd name="T100" fmla="*/ 82 w 725"/>
                <a:gd name="T101" fmla="*/ 88 h 241"/>
                <a:gd name="T102" fmla="*/ 66 w 725"/>
                <a:gd name="T103" fmla="*/ 76 h 241"/>
                <a:gd name="T104" fmla="*/ 50 w 725"/>
                <a:gd name="T105" fmla="*/ 69 h 241"/>
                <a:gd name="T106" fmla="*/ 31 w 725"/>
                <a:gd name="T107" fmla="*/ 47 h 241"/>
                <a:gd name="T108" fmla="*/ 16 w 725"/>
                <a:gd name="T109" fmla="*/ 28 h 241"/>
                <a:gd name="T110" fmla="*/ 725 w 725"/>
                <a:gd name="T111" fmla="*/ 0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25" h="241">
                  <a:moveTo>
                    <a:pt x="725" y="0"/>
                  </a:moveTo>
                  <a:lnTo>
                    <a:pt x="725" y="0"/>
                  </a:lnTo>
                  <a:lnTo>
                    <a:pt x="723" y="1"/>
                  </a:lnTo>
                  <a:lnTo>
                    <a:pt x="722" y="3"/>
                  </a:lnTo>
                  <a:lnTo>
                    <a:pt x="720" y="3"/>
                  </a:lnTo>
                  <a:lnTo>
                    <a:pt x="718" y="4"/>
                  </a:lnTo>
                  <a:lnTo>
                    <a:pt x="715" y="4"/>
                  </a:lnTo>
                  <a:lnTo>
                    <a:pt x="712" y="6"/>
                  </a:lnTo>
                  <a:lnTo>
                    <a:pt x="707" y="6"/>
                  </a:lnTo>
                  <a:lnTo>
                    <a:pt x="707" y="6"/>
                  </a:lnTo>
                  <a:lnTo>
                    <a:pt x="707" y="7"/>
                  </a:lnTo>
                  <a:lnTo>
                    <a:pt x="708" y="8"/>
                  </a:lnTo>
                  <a:lnTo>
                    <a:pt x="708" y="11"/>
                  </a:lnTo>
                  <a:lnTo>
                    <a:pt x="708" y="12"/>
                  </a:lnTo>
                  <a:lnTo>
                    <a:pt x="709" y="15"/>
                  </a:lnTo>
                  <a:lnTo>
                    <a:pt x="709" y="17"/>
                  </a:lnTo>
                  <a:lnTo>
                    <a:pt x="711" y="18"/>
                  </a:lnTo>
                  <a:lnTo>
                    <a:pt x="712" y="29"/>
                  </a:lnTo>
                  <a:lnTo>
                    <a:pt x="714" y="29"/>
                  </a:lnTo>
                  <a:lnTo>
                    <a:pt x="714" y="29"/>
                  </a:lnTo>
                  <a:lnTo>
                    <a:pt x="715" y="29"/>
                  </a:lnTo>
                  <a:lnTo>
                    <a:pt x="716" y="30"/>
                  </a:lnTo>
                  <a:lnTo>
                    <a:pt x="718" y="30"/>
                  </a:lnTo>
                  <a:lnTo>
                    <a:pt x="719" y="32"/>
                  </a:lnTo>
                  <a:lnTo>
                    <a:pt x="719" y="33"/>
                  </a:lnTo>
                  <a:lnTo>
                    <a:pt x="720" y="34"/>
                  </a:lnTo>
                  <a:lnTo>
                    <a:pt x="720" y="34"/>
                  </a:lnTo>
                  <a:lnTo>
                    <a:pt x="720" y="34"/>
                  </a:lnTo>
                  <a:lnTo>
                    <a:pt x="720" y="36"/>
                  </a:lnTo>
                  <a:lnTo>
                    <a:pt x="720" y="37"/>
                  </a:lnTo>
                  <a:lnTo>
                    <a:pt x="719" y="39"/>
                  </a:lnTo>
                  <a:lnTo>
                    <a:pt x="718" y="39"/>
                  </a:lnTo>
                  <a:lnTo>
                    <a:pt x="716" y="40"/>
                  </a:lnTo>
                  <a:lnTo>
                    <a:pt x="714" y="40"/>
                  </a:lnTo>
                  <a:lnTo>
                    <a:pt x="714" y="40"/>
                  </a:lnTo>
                  <a:lnTo>
                    <a:pt x="712" y="40"/>
                  </a:lnTo>
                  <a:lnTo>
                    <a:pt x="711" y="40"/>
                  </a:lnTo>
                  <a:lnTo>
                    <a:pt x="708" y="41"/>
                  </a:lnTo>
                  <a:lnTo>
                    <a:pt x="707" y="41"/>
                  </a:lnTo>
                  <a:lnTo>
                    <a:pt x="705" y="44"/>
                  </a:lnTo>
                  <a:lnTo>
                    <a:pt x="704" y="47"/>
                  </a:lnTo>
                  <a:lnTo>
                    <a:pt x="703" y="51"/>
                  </a:lnTo>
                  <a:lnTo>
                    <a:pt x="698" y="56"/>
                  </a:lnTo>
                  <a:lnTo>
                    <a:pt x="697" y="58"/>
                  </a:lnTo>
                  <a:lnTo>
                    <a:pt x="693" y="62"/>
                  </a:lnTo>
                  <a:lnTo>
                    <a:pt x="687" y="67"/>
                  </a:lnTo>
                  <a:lnTo>
                    <a:pt x="679" y="74"/>
                  </a:lnTo>
                  <a:lnTo>
                    <a:pt x="669" y="84"/>
                  </a:lnTo>
                  <a:lnTo>
                    <a:pt x="660" y="94"/>
                  </a:lnTo>
                  <a:lnTo>
                    <a:pt x="650" y="102"/>
                  </a:lnTo>
                  <a:lnTo>
                    <a:pt x="641" y="111"/>
                  </a:lnTo>
                  <a:lnTo>
                    <a:pt x="641" y="111"/>
                  </a:lnTo>
                  <a:lnTo>
                    <a:pt x="639" y="113"/>
                  </a:lnTo>
                  <a:lnTo>
                    <a:pt x="638" y="114"/>
                  </a:lnTo>
                  <a:lnTo>
                    <a:pt x="636" y="117"/>
                  </a:lnTo>
                  <a:lnTo>
                    <a:pt x="635" y="121"/>
                  </a:lnTo>
                  <a:lnTo>
                    <a:pt x="634" y="125"/>
                  </a:lnTo>
                  <a:lnTo>
                    <a:pt x="634" y="129"/>
                  </a:lnTo>
                  <a:lnTo>
                    <a:pt x="634" y="135"/>
                  </a:lnTo>
                  <a:lnTo>
                    <a:pt x="634" y="136"/>
                  </a:lnTo>
                  <a:lnTo>
                    <a:pt x="632" y="138"/>
                  </a:lnTo>
                  <a:lnTo>
                    <a:pt x="632" y="142"/>
                  </a:lnTo>
                  <a:lnTo>
                    <a:pt x="632" y="146"/>
                  </a:lnTo>
                  <a:lnTo>
                    <a:pt x="634" y="151"/>
                  </a:lnTo>
                  <a:lnTo>
                    <a:pt x="635" y="158"/>
                  </a:lnTo>
                  <a:lnTo>
                    <a:pt x="638" y="164"/>
                  </a:lnTo>
                  <a:lnTo>
                    <a:pt x="642" y="170"/>
                  </a:lnTo>
                  <a:lnTo>
                    <a:pt x="643" y="172"/>
                  </a:lnTo>
                  <a:lnTo>
                    <a:pt x="646" y="176"/>
                  </a:lnTo>
                  <a:lnTo>
                    <a:pt x="650" y="181"/>
                  </a:lnTo>
                  <a:lnTo>
                    <a:pt x="654" y="190"/>
                  </a:lnTo>
                  <a:lnTo>
                    <a:pt x="658" y="199"/>
                  </a:lnTo>
                  <a:lnTo>
                    <a:pt x="661" y="209"/>
                  </a:lnTo>
                  <a:lnTo>
                    <a:pt x="661" y="216"/>
                  </a:lnTo>
                  <a:lnTo>
                    <a:pt x="661" y="221"/>
                  </a:lnTo>
                  <a:lnTo>
                    <a:pt x="660" y="228"/>
                  </a:lnTo>
                  <a:lnTo>
                    <a:pt x="658" y="234"/>
                  </a:lnTo>
                  <a:lnTo>
                    <a:pt x="658" y="235"/>
                  </a:lnTo>
                  <a:lnTo>
                    <a:pt x="657" y="236"/>
                  </a:lnTo>
                  <a:lnTo>
                    <a:pt x="656" y="238"/>
                  </a:lnTo>
                  <a:lnTo>
                    <a:pt x="653" y="239"/>
                  </a:lnTo>
                  <a:lnTo>
                    <a:pt x="650" y="241"/>
                  </a:lnTo>
                  <a:lnTo>
                    <a:pt x="647" y="239"/>
                  </a:lnTo>
                  <a:lnTo>
                    <a:pt x="642" y="235"/>
                  </a:lnTo>
                  <a:lnTo>
                    <a:pt x="638" y="230"/>
                  </a:lnTo>
                  <a:lnTo>
                    <a:pt x="636" y="228"/>
                  </a:lnTo>
                  <a:lnTo>
                    <a:pt x="632" y="225"/>
                  </a:lnTo>
                  <a:lnTo>
                    <a:pt x="628" y="221"/>
                  </a:lnTo>
                  <a:lnTo>
                    <a:pt x="623" y="214"/>
                  </a:lnTo>
                  <a:lnTo>
                    <a:pt x="617" y="208"/>
                  </a:lnTo>
                  <a:lnTo>
                    <a:pt x="612" y="198"/>
                  </a:lnTo>
                  <a:lnTo>
                    <a:pt x="608" y="186"/>
                  </a:lnTo>
                  <a:lnTo>
                    <a:pt x="606" y="172"/>
                  </a:lnTo>
                  <a:lnTo>
                    <a:pt x="606" y="172"/>
                  </a:lnTo>
                  <a:lnTo>
                    <a:pt x="606" y="168"/>
                  </a:lnTo>
                  <a:lnTo>
                    <a:pt x="605" y="165"/>
                  </a:lnTo>
                  <a:lnTo>
                    <a:pt x="603" y="160"/>
                  </a:lnTo>
                  <a:lnTo>
                    <a:pt x="602" y="155"/>
                  </a:lnTo>
                  <a:lnTo>
                    <a:pt x="598" y="151"/>
                  </a:lnTo>
                  <a:lnTo>
                    <a:pt x="592" y="149"/>
                  </a:lnTo>
                  <a:lnTo>
                    <a:pt x="584" y="147"/>
                  </a:lnTo>
                  <a:lnTo>
                    <a:pt x="581" y="147"/>
                  </a:lnTo>
                  <a:lnTo>
                    <a:pt x="573" y="146"/>
                  </a:lnTo>
                  <a:lnTo>
                    <a:pt x="562" y="144"/>
                  </a:lnTo>
                  <a:lnTo>
                    <a:pt x="550" y="143"/>
                  </a:lnTo>
                  <a:lnTo>
                    <a:pt x="536" y="142"/>
                  </a:lnTo>
                  <a:lnTo>
                    <a:pt x="524" y="142"/>
                  </a:lnTo>
                  <a:lnTo>
                    <a:pt x="514" y="143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09" y="147"/>
                  </a:lnTo>
                  <a:lnTo>
                    <a:pt x="507" y="149"/>
                  </a:lnTo>
                  <a:lnTo>
                    <a:pt x="503" y="150"/>
                  </a:lnTo>
                  <a:lnTo>
                    <a:pt x="498" y="153"/>
                  </a:lnTo>
                  <a:lnTo>
                    <a:pt x="489" y="154"/>
                  </a:lnTo>
                  <a:lnTo>
                    <a:pt x="478" y="155"/>
                  </a:lnTo>
                  <a:lnTo>
                    <a:pt x="462" y="155"/>
                  </a:lnTo>
                  <a:lnTo>
                    <a:pt x="460" y="155"/>
                  </a:lnTo>
                  <a:lnTo>
                    <a:pt x="458" y="154"/>
                  </a:lnTo>
                  <a:lnTo>
                    <a:pt x="452" y="154"/>
                  </a:lnTo>
                  <a:lnTo>
                    <a:pt x="445" y="154"/>
                  </a:lnTo>
                  <a:lnTo>
                    <a:pt x="440" y="155"/>
                  </a:lnTo>
                  <a:lnTo>
                    <a:pt x="433" y="157"/>
                  </a:lnTo>
                  <a:lnTo>
                    <a:pt x="426" y="160"/>
                  </a:lnTo>
                  <a:lnTo>
                    <a:pt x="422" y="164"/>
                  </a:lnTo>
                  <a:lnTo>
                    <a:pt x="400" y="175"/>
                  </a:lnTo>
                  <a:lnTo>
                    <a:pt x="386" y="195"/>
                  </a:lnTo>
                  <a:lnTo>
                    <a:pt x="386" y="197"/>
                  </a:lnTo>
                  <a:lnTo>
                    <a:pt x="386" y="198"/>
                  </a:lnTo>
                  <a:lnTo>
                    <a:pt x="387" y="201"/>
                  </a:lnTo>
                  <a:lnTo>
                    <a:pt x="387" y="205"/>
                  </a:lnTo>
                  <a:lnTo>
                    <a:pt x="387" y="208"/>
                  </a:lnTo>
                  <a:lnTo>
                    <a:pt x="387" y="210"/>
                  </a:lnTo>
                  <a:lnTo>
                    <a:pt x="386" y="213"/>
                  </a:lnTo>
                  <a:lnTo>
                    <a:pt x="383" y="214"/>
                  </a:lnTo>
                  <a:lnTo>
                    <a:pt x="383" y="214"/>
                  </a:lnTo>
                  <a:lnTo>
                    <a:pt x="381" y="213"/>
                  </a:lnTo>
                  <a:lnTo>
                    <a:pt x="375" y="210"/>
                  </a:lnTo>
                  <a:lnTo>
                    <a:pt x="371" y="208"/>
                  </a:lnTo>
                  <a:lnTo>
                    <a:pt x="364" y="202"/>
                  </a:lnTo>
                  <a:lnTo>
                    <a:pt x="357" y="195"/>
                  </a:lnTo>
                  <a:lnTo>
                    <a:pt x="352" y="187"/>
                  </a:lnTo>
                  <a:lnTo>
                    <a:pt x="345" y="176"/>
                  </a:lnTo>
                  <a:lnTo>
                    <a:pt x="345" y="176"/>
                  </a:lnTo>
                  <a:lnTo>
                    <a:pt x="343" y="173"/>
                  </a:lnTo>
                  <a:lnTo>
                    <a:pt x="341" y="170"/>
                  </a:lnTo>
                  <a:lnTo>
                    <a:pt x="338" y="168"/>
                  </a:lnTo>
                  <a:lnTo>
                    <a:pt x="334" y="164"/>
                  </a:lnTo>
                  <a:lnTo>
                    <a:pt x="330" y="161"/>
                  </a:lnTo>
                  <a:lnTo>
                    <a:pt x="326" y="160"/>
                  </a:lnTo>
                  <a:lnTo>
                    <a:pt x="320" y="160"/>
                  </a:lnTo>
                  <a:lnTo>
                    <a:pt x="320" y="161"/>
                  </a:lnTo>
                  <a:lnTo>
                    <a:pt x="319" y="161"/>
                  </a:lnTo>
                  <a:lnTo>
                    <a:pt x="316" y="162"/>
                  </a:lnTo>
                  <a:lnTo>
                    <a:pt x="313" y="164"/>
                  </a:lnTo>
                  <a:lnTo>
                    <a:pt x="309" y="165"/>
                  </a:lnTo>
                  <a:lnTo>
                    <a:pt x="305" y="165"/>
                  </a:lnTo>
                  <a:lnTo>
                    <a:pt x="301" y="164"/>
                  </a:lnTo>
                  <a:lnTo>
                    <a:pt x="295" y="160"/>
                  </a:lnTo>
                  <a:lnTo>
                    <a:pt x="294" y="160"/>
                  </a:lnTo>
                  <a:lnTo>
                    <a:pt x="290" y="157"/>
                  </a:lnTo>
                  <a:lnTo>
                    <a:pt x="286" y="154"/>
                  </a:lnTo>
                  <a:lnTo>
                    <a:pt x="280" y="149"/>
                  </a:lnTo>
                  <a:lnTo>
                    <a:pt x="276" y="143"/>
                  </a:lnTo>
                  <a:lnTo>
                    <a:pt x="271" y="135"/>
                  </a:lnTo>
                  <a:lnTo>
                    <a:pt x="268" y="127"/>
                  </a:lnTo>
                  <a:lnTo>
                    <a:pt x="265" y="116"/>
                  </a:lnTo>
                  <a:lnTo>
                    <a:pt x="264" y="116"/>
                  </a:lnTo>
                  <a:lnTo>
                    <a:pt x="262" y="114"/>
                  </a:lnTo>
                  <a:lnTo>
                    <a:pt x="258" y="113"/>
                  </a:lnTo>
                  <a:lnTo>
                    <a:pt x="253" y="111"/>
                  </a:lnTo>
                  <a:lnTo>
                    <a:pt x="249" y="110"/>
                  </a:lnTo>
                  <a:lnTo>
                    <a:pt x="243" y="111"/>
                  </a:lnTo>
                  <a:lnTo>
                    <a:pt x="238" y="113"/>
                  </a:lnTo>
                  <a:lnTo>
                    <a:pt x="233" y="116"/>
                  </a:lnTo>
                  <a:lnTo>
                    <a:pt x="232" y="116"/>
                  </a:lnTo>
                  <a:lnTo>
                    <a:pt x="231" y="117"/>
                  </a:lnTo>
                  <a:lnTo>
                    <a:pt x="227" y="120"/>
                  </a:lnTo>
                  <a:lnTo>
                    <a:pt x="222" y="121"/>
                  </a:lnTo>
                  <a:lnTo>
                    <a:pt x="217" y="122"/>
                  </a:lnTo>
                  <a:lnTo>
                    <a:pt x="210" y="124"/>
                  </a:lnTo>
                  <a:lnTo>
                    <a:pt x="202" y="125"/>
                  </a:lnTo>
                  <a:lnTo>
                    <a:pt x="194" y="124"/>
                  </a:lnTo>
                  <a:lnTo>
                    <a:pt x="191" y="124"/>
                  </a:lnTo>
                  <a:lnTo>
                    <a:pt x="185" y="122"/>
                  </a:lnTo>
                  <a:lnTo>
                    <a:pt x="177" y="121"/>
                  </a:lnTo>
                  <a:lnTo>
                    <a:pt x="167" y="118"/>
                  </a:lnTo>
                  <a:lnTo>
                    <a:pt x="158" y="116"/>
                  </a:lnTo>
                  <a:lnTo>
                    <a:pt x="148" y="113"/>
                  </a:lnTo>
                  <a:lnTo>
                    <a:pt x="140" y="109"/>
                  </a:lnTo>
                  <a:lnTo>
                    <a:pt x="134" y="105"/>
                  </a:lnTo>
                  <a:lnTo>
                    <a:pt x="133" y="105"/>
                  </a:lnTo>
                  <a:lnTo>
                    <a:pt x="132" y="103"/>
                  </a:lnTo>
                  <a:lnTo>
                    <a:pt x="129" y="102"/>
                  </a:lnTo>
                  <a:lnTo>
                    <a:pt x="125" y="100"/>
                  </a:lnTo>
                  <a:lnTo>
                    <a:pt x="119" y="100"/>
                  </a:lnTo>
                  <a:lnTo>
                    <a:pt x="112" y="102"/>
                  </a:lnTo>
                  <a:lnTo>
                    <a:pt x="104" y="106"/>
                  </a:lnTo>
                  <a:lnTo>
                    <a:pt x="94" y="111"/>
                  </a:lnTo>
                  <a:lnTo>
                    <a:pt x="93" y="110"/>
                  </a:lnTo>
                  <a:lnTo>
                    <a:pt x="92" y="106"/>
                  </a:lnTo>
                  <a:lnTo>
                    <a:pt x="89" y="100"/>
                  </a:lnTo>
                  <a:lnTo>
                    <a:pt x="86" y="95"/>
                  </a:lnTo>
                  <a:lnTo>
                    <a:pt x="82" y="88"/>
                  </a:lnTo>
                  <a:lnTo>
                    <a:pt x="78" y="83"/>
                  </a:lnTo>
                  <a:lnTo>
                    <a:pt x="72" y="78"/>
                  </a:lnTo>
                  <a:lnTo>
                    <a:pt x="67" y="76"/>
                  </a:lnTo>
                  <a:lnTo>
                    <a:pt x="66" y="76"/>
                  </a:lnTo>
                  <a:lnTo>
                    <a:pt x="64" y="74"/>
                  </a:lnTo>
                  <a:lnTo>
                    <a:pt x="60" y="74"/>
                  </a:lnTo>
                  <a:lnTo>
                    <a:pt x="56" y="72"/>
                  </a:lnTo>
                  <a:lnTo>
                    <a:pt x="50" y="69"/>
                  </a:lnTo>
                  <a:lnTo>
                    <a:pt x="45" y="63"/>
                  </a:lnTo>
                  <a:lnTo>
                    <a:pt x="38" y="56"/>
                  </a:lnTo>
                  <a:lnTo>
                    <a:pt x="33" y="48"/>
                  </a:lnTo>
                  <a:lnTo>
                    <a:pt x="31" y="47"/>
                  </a:lnTo>
                  <a:lnTo>
                    <a:pt x="30" y="44"/>
                  </a:lnTo>
                  <a:lnTo>
                    <a:pt x="26" y="40"/>
                  </a:lnTo>
                  <a:lnTo>
                    <a:pt x="22" y="34"/>
                  </a:lnTo>
                  <a:lnTo>
                    <a:pt x="16" y="28"/>
                  </a:lnTo>
                  <a:lnTo>
                    <a:pt x="11" y="19"/>
                  </a:lnTo>
                  <a:lnTo>
                    <a:pt x="5" y="10"/>
                  </a:lnTo>
                  <a:lnTo>
                    <a:pt x="0" y="0"/>
                  </a:lnTo>
                  <a:lnTo>
                    <a:pt x="725" y="0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18" name="Freeform 294"/>
            <p:cNvSpPr>
              <a:spLocks/>
            </p:cNvSpPr>
            <p:nvPr/>
          </p:nvSpPr>
          <p:spPr bwMode="auto">
            <a:xfrm>
              <a:off x="1357" y="1499"/>
              <a:ext cx="710" cy="195"/>
            </a:xfrm>
            <a:custGeom>
              <a:avLst/>
              <a:gdLst>
                <a:gd name="T0" fmla="*/ 802 w 879"/>
                <a:gd name="T1" fmla="*/ 66 h 240"/>
                <a:gd name="T2" fmla="*/ 850 w 879"/>
                <a:gd name="T3" fmla="*/ 37 h 240"/>
                <a:gd name="T4" fmla="*/ 870 w 879"/>
                <a:gd name="T5" fmla="*/ 38 h 240"/>
                <a:gd name="T6" fmla="*/ 862 w 879"/>
                <a:gd name="T7" fmla="*/ 74 h 240"/>
                <a:gd name="T8" fmla="*/ 873 w 879"/>
                <a:gd name="T9" fmla="*/ 85 h 240"/>
                <a:gd name="T10" fmla="*/ 877 w 879"/>
                <a:gd name="T11" fmla="*/ 90 h 240"/>
                <a:gd name="T12" fmla="*/ 861 w 879"/>
                <a:gd name="T13" fmla="*/ 98 h 240"/>
                <a:gd name="T14" fmla="*/ 837 w 879"/>
                <a:gd name="T15" fmla="*/ 109 h 240"/>
                <a:gd name="T16" fmla="*/ 821 w 879"/>
                <a:gd name="T17" fmla="*/ 130 h 240"/>
                <a:gd name="T18" fmla="*/ 811 w 879"/>
                <a:gd name="T19" fmla="*/ 147 h 240"/>
                <a:gd name="T20" fmla="*/ 835 w 879"/>
                <a:gd name="T21" fmla="*/ 153 h 240"/>
                <a:gd name="T22" fmla="*/ 818 w 879"/>
                <a:gd name="T23" fmla="*/ 164 h 240"/>
                <a:gd name="T24" fmla="*/ 791 w 879"/>
                <a:gd name="T25" fmla="*/ 167 h 240"/>
                <a:gd name="T26" fmla="*/ 766 w 879"/>
                <a:gd name="T27" fmla="*/ 169 h 240"/>
                <a:gd name="T28" fmla="*/ 769 w 879"/>
                <a:gd name="T29" fmla="*/ 185 h 240"/>
                <a:gd name="T30" fmla="*/ 769 w 879"/>
                <a:gd name="T31" fmla="*/ 215 h 240"/>
                <a:gd name="T32" fmla="*/ 762 w 879"/>
                <a:gd name="T33" fmla="*/ 229 h 240"/>
                <a:gd name="T34" fmla="*/ 758 w 879"/>
                <a:gd name="T35" fmla="*/ 218 h 240"/>
                <a:gd name="T36" fmla="*/ 737 w 879"/>
                <a:gd name="T37" fmla="*/ 210 h 240"/>
                <a:gd name="T38" fmla="*/ 741 w 879"/>
                <a:gd name="T39" fmla="*/ 222 h 240"/>
                <a:gd name="T40" fmla="*/ 747 w 879"/>
                <a:gd name="T41" fmla="*/ 240 h 240"/>
                <a:gd name="T42" fmla="*/ 747 w 879"/>
                <a:gd name="T43" fmla="*/ 240 h 240"/>
                <a:gd name="T44" fmla="*/ 6 w 879"/>
                <a:gd name="T45" fmla="*/ 200 h 240"/>
                <a:gd name="T46" fmla="*/ 0 w 879"/>
                <a:gd name="T47" fmla="*/ 145 h 240"/>
                <a:gd name="T48" fmla="*/ 8 w 879"/>
                <a:gd name="T49" fmla="*/ 120 h 240"/>
                <a:gd name="T50" fmla="*/ 9 w 879"/>
                <a:gd name="T51" fmla="*/ 93 h 240"/>
                <a:gd name="T52" fmla="*/ 5 w 879"/>
                <a:gd name="T53" fmla="*/ 23 h 240"/>
                <a:gd name="T54" fmla="*/ 22 w 879"/>
                <a:gd name="T55" fmla="*/ 22 h 240"/>
                <a:gd name="T56" fmla="*/ 499 w 879"/>
                <a:gd name="T57" fmla="*/ 20 h 240"/>
                <a:gd name="T58" fmla="*/ 515 w 879"/>
                <a:gd name="T59" fmla="*/ 24 h 240"/>
                <a:gd name="T60" fmla="*/ 506 w 879"/>
                <a:gd name="T61" fmla="*/ 38 h 240"/>
                <a:gd name="T62" fmla="*/ 502 w 879"/>
                <a:gd name="T63" fmla="*/ 52 h 240"/>
                <a:gd name="T64" fmla="*/ 540 w 879"/>
                <a:gd name="T65" fmla="*/ 50 h 240"/>
                <a:gd name="T66" fmla="*/ 559 w 879"/>
                <a:gd name="T67" fmla="*/ 49 h 240"/>
                <a:gd name="T68" fmla="*/ 584 w 879"/>
                <a:gd name="T69" fmla="*/ 48 h 240"/>
                <a:gd name="T70" fmla="*/ 598 w 879"/>
                <a:gd name="T71" fmla="*/ 57 h 240"/>
                <a:gd name="T72" fmla="*/ 580 w 879"/>
                <a:gd name="T73" fmla="*/ 68 h 240"/>
                <a:gd name="T74" fmla="*/ 561 w 879"/>
                <a:gd name="T75" fmla="*/ 85 h 240"/>
                <a:gd name="T76" fmla="*/ 564 w 879"/>
                <a:gd name="T77" fmla="*/ 105 h 240"/>
                <a:gd name="T78" fmla="*/ 557 w 879"/>
                <a:gd name="T79" fmla="*/ 149 h 240"/>
                <a:gd name="T80" fmla="*/ 572 w 879"/>
                <a:gd name="T81" fmla="*/ 155 h 240"/>
                <a:gd name="T82" fmla="*/ 594 w 879"/>
                <a:gd name="T83" fmla="*/ 92 h 240"/>
                <a:gd name="T84" fmla="*/ 605 w 879"/>
                <a:gd name="T85" fmla="*/ 74 h 240"/>
                <a:gd name="T86" fmla="*/ 624 w 879"/>
                <a:gd name="T87" fmla="*/ 85 h 240"/>
                <a:gd name="T88" fmla="*/ 617 w 879"/>
                <a:gd name="T89" fmla="*/ 108 h 240"/>
                <a:gd name="T90" fmla="*/ 625 w 879"/>
                <a:gd name="T91" fmla="*/ 107 h 240"/>
                <a:gd name="T92" fmla="*/ 634 w 879"/>
                <a:gd name="T93" fmla="*/ 112 h 240"/>
                <a:gd name="T94" fmla="*/ 639 w 879"/>
                <a:gd name="T95" fmla="*/ 129 h 240"/>
                <a:gd name="T96" fmla="*/ 636 w 879"/>
                <a:gd name="T97" fmla="*/ 144 h 240"/>
                <a:gd name="T98" fmla="*/ 642 w 879"/>
                <a:gd name="T99" fmla="*/ 152 h 240"/>
                <a:gd name="T100" fmla="*/ 671 w 879"/>
                <a:gd name="T101" fmla="*/ 151 h 240"/>
                <a:gd name="T102" fmla="*/ 702 w 879"/>
                <a:gd name="T103" fmla="*/ 129 h 240"/>
                <a:gd name="T104" fmla="*/ 705 w 879"/>
                <a:gd name="T105" fmla="*/ 118 h 240"/>
                <a:gd name="T106" fmla="*/ 718 w 879"/>
                <a:gd name="T107" fmla="*/ 108 h 240"/>
                <a:gd name="T108" fmla="*/ 749 w 879"/>
                <a:gd name="T109" fmla="*/ 10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79" h="240">
                  <a:moveTo>
                    <a:pt x="760" y="89"/>
                  </a:moveTo>
                  <a:lnTo>
                    <a:pt x="764" y="85"/>
                  </a:lnTo>
                  <a:lnTo>
                    <a:pt x="767" y="81"/>
                  </a:lnTo>
                  <a:lnTo>
                    <a:pt x="773" y="78"/>
                  </a:lnTo>
                  <a:lnTo>
                    <a:pt x="778" y="74"/>
                  </a:lnTo>
                  <a:lnTo>
                    <a:pt x="789" y="70"/>
                  </a:lnTo>
                  <a:lnTo>
                    <a:pt x="802" y="66"/>
                  </a:lnTo>
                  <a:lnTo>
                    <a:pt x="813" y="63"/>
                  </a:lnTo>
                  <a:lnTo>
                    <a:pt x="822" y="61"/>
                  </a:lnTo>
                  <a:lnTo>
                    <a:pt x="828" y="61"/>
                  </a:lnTo>
                  <a:lnTo>
                    <a:pt x="830" y="61"/>
                  </a:lnTo>
                  <a:lnTo>
                    <a:pt x="837" y="49"/>
                  </a:lnTo>
                  <a:lnTo>
                    <a:pt x="844" y="41"/>
                  </a:lnTo>
                  <a:lnTo>
                    <a:pt x="850" y="37"/>
                  </a:lnTo>
                  <a:lnTo>
                    <a:pt x="854" y="34"/>
                  </a:lnTo>
                  <a:lnTo>
                    <a:pt x="858" y="34"/>
                  </a:lnTo>
                  <a:lnTo>
                    <a:pt x="861" y="34"/>
                  </a:lnTo>
                  <a:lnTo>
                    <a:pt x="862" y="35"/>
                  </a:lnTo>
                  <a:lnTo>
                    <a:pt x="863" y="35"/>
                  </a:lnTo>
                  <a:lnTo>
                    <a:pt x="868" y="37"/>
                  </a:lnTo>
                  <a:lnTo>
                    <a:pt x="870" y="38"/>
                  </a:lnTo>
                  <a:lnTo>
                    <a:pt x="872" y="39"/>
                  </a:lnTo>
                  <a:lnTo>
                    <a:pt x="873" y="42"/>
                  </a:lnTo>
                  <a:lnTo>
                    <a:pt x="873" y="49"/>
                  </a:lnTo>
                  <a:lnTo>
                    <a:pt x="872" y="56"/>
                  </a:lnTo>
                  <a:lnTo>
                    <a:pt x="868" y="63"/>
                  </a:lnTo>
                  <a:lnTo>
                    <a:pt x="865" y="70"/>
                  </a:lnTo>
                  <a:lnTo>
                    <a:pt x="862" y="74"/>
                  </a:lnTo>
                  <a:lnTo>
                    <a:pt x="861" y="77"/>
                  </a:lnTo>
                  <a:lnTo>
                    <a:pt x="861" y="77"/>
                  </a:lnTo>
                  <a:lnTo>
                    <a:pt x="862" y="78"/>
                  </a:lnTo>
                  <a:lnTo>
                    <a:pt x="865" y="79"/>
                  </a:lnTo>
                  <a:lnTo>
                    <a:pt x="868" y="81"/>
                  </a:lnTo>
                  <a:lnTo>
                    <a:pt x="870" y="82"/>
                  </a:lnTo>
                  <a:lnTo>
                    <a:pt x="873" y="85"/>
                  </a:lnTo>
                  <a:lnTo>
                    <a:pt x="876" y="86"/>
                  </a:lnTo>
                  <a:lnTo>
                    <a:pt x="877" y="87"/>
                  </a:lnTo>
                  <a:lnTo>
                    <a:pt x="877" y="87"/>
                  </a:lnTo>
                  <a:lnTo>
                    <a:pt x="877" y="87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7" y="90"/>
                  </a:lnTo>
                  <a:lnTo>
                    <a:pt x="876" y="92"/>
                  </a:lnTo>
                  <a:lnTo>
                    <a:pt x="873" y="94"/>
                  </a:lnTo>
                  <a:lnTo>
                    <a:pt x="869" y="96"/>
                  </a:lnTo>
                  <a:lnTo>
                    <a:pt x="869" y="96"/>
                  </a:lnTo>
                  <a:lnTo>
                    <a:pt x="866" y="97"/>
                  </a:lnTo>
                  <a:lnTo>
                    <a:pt x="863" y="98"/>
                  </a:lnTo>
                  <a:lnTo>
                    <a:pt x="861" y="98"/>
                  </a:lnTo>
                  <a:lnTo>
                    <a:pt x="857" y="101"/>
                  </a:lnTo>
                  <a:lnTo>
                    <a:pt x="851" y="103"/>
                  </a:lnTo>
                  <a:lnTo>
                    <a:pt x="847" y="104"/>
                  </a:lnTo>
                  <a:lnTo>
                    <a:pt x="843" y="105"/>
                  </a:lnTo>
                  <a:lnTo>
                    <a:pt x="841" y="105"/>
                  </a:lnTo>
                  <a:lnTo>
                    <a:pt x="840" y="107"/>
                  </a:lnTo>
                  <a:lnTo>
                    <a:pt x="837" y="109"/>
                  </a:lnTo>
                  <a:lnTo>
                    <a:pt x="835" y="112"/>
                  </a:lnTo>
                  <a:lnTo>
                    <a:pt x="832" y="116"/>
                  </a:lnTo>
                  <a:lnTo>
                    <a:pt x="829" y="120"/>
                  </a:lnTo>
                  <a:lnTo>
                    <a:pt x="826" y="123"/>
                  </a:lnTo>
                  <a:lnTo>
                    <a:pt x="825" y="127"/>
                  </a:lnTo>
                  <a:lnTo>
                    <a:pt x="824" y="127"/>
                  </a:lnTo>
                  <a:lnTo>
                    <a:pt x="821" y="130"/>
                  </a:lnTo>
                  <a:lnTo>
                    <a:pt x="817" y="133"/>
                  </a:lnTo>
                  <a:lnTo>
                    <a:pt x="813" y="136"/>
                  </a:lnTo>
                  <a:lnTo>
                    <a:pt x="810" y="140"/>
                  </a:lnTo>
                  <a:lnTo>
                    <a:pt x="808" y="142"/>
                  </a:lnTo>
                  <a:lnTo>
                    <a:pt x="808" y="145"/>
                  </a:lnTo>
                  <a:lnTo>
                    <a:pt x="810" y="147"/>
                  </a:lnTo>
                  <a:lnTo>
                    <a:pt x="811" y="147"/>
                  </a:lnTo>
                  <a:lnTo>
                    <a:pt x="814" y="148"/>
                  </a:lnTo>
                  <a:lnTo>
                    <a:pt x="815" y="148"/>
                  </a:lnTo>
                  <a:lnTo>
                    <a:pt x="818" y="148"/>
                  </a:lnTo>
                  <a:lnTo>
                    <a:pt x="822" y="149"/>
                  </a:lnTo>
                  <a:lnTo>
                    <a:pt x="826" y="151"/>
                  </a:lnTo>
                  <a:lnTo>
                    <a:pt x="830" y="152"/>
                  </a:lnTo>
                  <a:lnTo>
                    <a:pt x="835" y="153"/>
                  </a:lnTo>
                  <a:lnTo>
                    <a:pt x="835" y="156"/>
                  </a:lnTo>
                  <a:lnTo>
                    <a:pt x="833" y="159"/>
                  </a:lnTo>
                  <a:lnTo>
                    <a:pt x="830" y="162"/>
                  </a:lnTo>
                  <a:lnTo>
                    <a:pt x="828" y="163"/>
                  </a:lnTo>
                  <a:lnTo>
                    <a:pt x="824" y="164"/>
                  </a:lnTo>
                  <a:lnTo>
                    <a:pt x="821" y="164"/>
                  </a:lnTo>
                  <a:lnTo>
                    <a:pt x="818" y="164"/>
                  </a:lnTo>
                  <a:lnTo>
                    <a:pt x="814" y="163"/>
                  </a:lnTo>
                  <a:lnTo>
                    <a:pt x="810" y="163"/>
                  </a:lnTo>
                  <a:lnTo>
                    <a:pt x="806" y="163"/>
                  </a:lnTo>
                  <a:lnTo>
                    <a:pt x="804" y="163"/>
                  </a:lnTo>
                  <a:lnTo>
                    <a:pt x="802" y="164"/>
                  </a:lnTo>
                  <a:lnTo>
                    <a:pt x="796" y="166"/>
                  </a:lnTo>
                  <a:lnTo>
                    <a:pt x="791" y="167"/>
                  </a:lnTo>
                  <a:lnTo>
                    <a:pt x="785" y="169"/>
                  </a:lnTo>
                  <a:lnTo>
                    <a:pt x="778" y="169"/>
                  </a:lnTo>
                  <a:lnTo>
                    <a:pt x="774" y="169"/>
                  </a:lnTo>
                  <a:lnTo>
                    <a:pt x="770" y="167"/>
                  </a:lnTo>
                  <a:lnTo>
                    <a:pt x="769" y="167"/>
                  </a:lnTo>
                  <a:lnTo>
                    <a:pt x="767" y="169"/>
                  </a:lnTo>
                  <a:lnTo>
                    <a:pt x="766" y="169"/>
                  </a:lnTo>
                  <a:lnTo>
                    <a:pt x="764" y="170"/>
                  </a:lnTo>
                  <a:lnTo>
                    <a:pt x="763" y="173"/>
                  </a:lnTo>
                  <a:lnTo>
                    <a:pt x="763" y="175"/>
                  </a:lnTo>
                  <a:lnTo>
                    <a:pt x="764" y="178"/>
                  </a:lnTo>
                  <a:lnTo>
                    <a:pt x="767" y="181"/>
                  </a:lnTo>
                  <a:lnTo>
                    <a:pt x="767" y="182"/>
                  </a:lnTo>
                  <a:lnTo>
                    <a:pt x="769" y="185"/>
                  </a:lnTo>
                  <a:lnTo>
                    <a:pt x="769" y="189"/>
                  </a:lnTo>
                  <a:lnTo>
                    <a:pt x="769" y="193"/>
                  </a:lnTo>
                  <a:lnTo>
                    <a:pt x="769" y="199"/>
                  </a:lnTo>
                  <a:lnTo>
                    <a:pt x="769" y="203"/>
                  </a:lnTo>
                  <a:lnTo>
                    <a:pt x="769" y="208"/>
                  </a:lnTo>
                  <a:lnTo>
                    <a:pt x="769" y="211"/>
                  </a:lnTo>
                  <a:lnTo>
                    <a:pt x="769" y="215"/>
                  </a:lnTo>
                  <a:lnTo>
                    <a:pt x="767" y="218"/>
                  </a:lnTo>
                  <a:lnTo>
                    <a:pt x="767" y="221"/>
                  </a:lnTo>
                  <a:lnTo>
                    <a:pt x="766" y="224"/>
                  </a:lnTo>
                  <a:lnTo>
                    <a:pt x="766" y="226"/>
                  </a:lnTo>
                  <a:lnTo>
                    <a:pt x="764" y="229"/>
                  </a:lnTo>
                  <a:lnTo>
                    <a:pt x="763" y="229"/>
                  </a:lnTo>
                  <a:lnTo>
                    <a:pt x="762" y="229"/>
                  </a:lnTo>
                  <a:lnTo>
                    <a:pt x="762" y="229"/>
                  </a:lnTo>
                  <a:lnTo>
                    <a:pt x="760" y="228"/>
                  </a:lnTo>
                  <a:lnTo>
                    <a:pt x="759" y="225"/>
                  </a:lnTo>
                  <a:lnTo>
                    <a:pt x="759" y="224"/>
                  </a:lnTo>
                  <a:lnTo>
                    <a:pt x="759" y="221"/>
                  </a:lnTo>
                  <a:lnTo>
                    <a:pt x="758" y="219"/>
                  </a:lnTo>
                  <a:lnTo>
                    <a:pt x="758" y="218"/>
                  </a:lnTo>
                  <a:lnTo>
                    <a:pt x="758" y="218"/>
                  </a:lnTo>
                  <a:lnTo>
                    <a:pt x="753" y="208"/>
                  </a:lnTo>
                  <a:lnTo>
                    <a:pt x="751" y="218"/>
                  </a:lnTo>
                  <a:lnTo>
                    <a:pt x="738" y="210"/>
                  </a:lnTo>
                  <a:lnTo>
                    <a:pt x="738" y="210"/>
                  </a:lnTo>
                  <a:lnTo>
                    <a:pt x="738" y="210"/>
                  </a:lnTo>
                  <a:lnTo>
                    <a:pt x="737" y="210"/>
                  </a:lnTo>
                  <a:lnTo>
                    <a:pt x="737" y="211"/>
                  </a:lnTo>
                  <a:lnTo>
                    <a:pt x="737" y="213"/>
                  </a:lnTo>
                  <a:lnTo>
                    <a:pt x="737" y="215"/>
                  </a:lnTo>
                  <a:lnTo>
                    <a:pt x="738" y="218"/>
                  </a:lnTo>
                  <a:lnTo>
                    <a:pt x="740" y="221"/>
                  </a:lnTo>
                  <a:lnTo>
                    <a:pt x="741" y="222"/>
                  </a:lnTo>
                  <a:lnTo>
                    <a:pt x="741" y="222"/>
                  </a:lnTo>
                  <a:lnTo>
                    <a:pt x="742" y="224"/>
                  </a:lnTo>
                  <a:lnTo>
                    <a:pt x="744" y="226"/>
                  </a:lnTo>
                  <a:lnTo>
                    <a:pt x="745" y="229"/>
                  </a:lnTo>
                  <a:lnTo>
                    <a:pt x="747" y="232"/>
                  </a:lnTo>
                  <a:lnTo>
                    <a:pt x="747" y="236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747" y="240"/>
                  </a:lnTo>
                  <a:lnTo>
                    <a:pt x="22" y="240"/>
                  </a:lnTo>
                  <a:lnTo>
                    <a:pt x="17" y="235"/>
                  </a:lnTo>
                  <a:lnTo>
                    <a:pt x="15" y="228"/>
                  </a:lnTo>
                  <a:lnTo>
                    <a:pt x="12" y="221"/>
                  </a:lnTo>
                  <a:lnTo>
                    <a:pt x="11" y="215"/>
                  </a:lnTo>
                  <a:lnTo>
                    <a:pt x="8" y="208"/>
                  </a:lnTo>
                  <a:lnTo>
                    <a:pt x="6" y="200"/>
                  </a:lnTo>
                  <a:lnTo>
                    <a:pt x="5" y="193"/>
                  </a:lnTo>
                  <a:lnTo>
                    <a:pt x="4" y="186"/>
                  </a:lnTo>
                  <a:lnTo>
                    <a:pt x="4" y="184"/>
                  </a:lnTo>
                  <a:lnTo>
                    <a:pt x="2" y="177"/>
                  </a:lnTo>
                  <a:lnTo>
                    <a:pt x="1" y="167"/>
                  </a:lnTo>
                  <a:lnTo>
                    <a:pt x="0" y="156"/>
                  </a:lnTo>
                  <a:lnTo>
                    <a:pt x="0" y="145"/>
                  </a:lnTo>
                  <a:lnTo>
                    <a:pt x="0" y="134"/>
                  </a:lnTo>
                  <a:lnTo>
                    <a:pt x="1" y="130"/>
                  </a:lnTo>
                  <a:lnTo>
                    <a:pt x="2" y="126"/>
                  </a:lnTo>
                  <a:lnTo>
                    <a:pt x="4" y="125"/>
                  </a:lnTo>
                  <a:lnTo>
                    <a:pt x="5" y="123"/>
                  </a:lnTo>
                  <a:lnTo>
                    <a:pt x="6" y="122"/>
                  </a:lnTo>
                  <a:lnTo>
                    <a:pt x="8" y="120"/>
                  </a:lnTo>
                  <a:lnTo>
                    <a:pt x="9" y="119"/>
                  </a:lnTo>
                  <a:lnTo>
                    <a:pt x="11" y="116"/>
                  </a:lnTo>
                  <a:lnTo>
                    <a:pt x="12" y="112"/>
                  </a:lnTo>
                  <a:lnTo>
                    <a:pt x="13" y="108"/>
                  </a:lnTo>
                  <a:lnTo>
                    <a:pt x="12" y="103"/>
                  </a:lnTo>
                  <a:lnTo>
                    <a:pt x="9" y="96"/>
                  </a:lnTo>
                  <a:lnTo>
                    <a:pt x="9" y="93"/>
                  </a:lnTo>
                  <a:lnTo>
                    <a:pt x="9" y="86"/>
                  </a:lnTo>
                  <a:lnTo>
                    <a:pt x="8" y="77"/>
                  </a:lnTo>
                  <a:lnTo>
                    <a:pt x="8" y="64"/>
                  </a:lnTo>
                  <a:lnTo>
                    <a:pt x="6" y="53"/>
                  </a:lnTo>
                  <a:lnTo>
                    <a:pt x="6" y="41"/>
                  </a:lnTo>
                  <a:lnTo>
                    <a:pt x="6" y="31"/>
                  </a:lnTo>
                  <a:lnTo>
                    <a:pt x="5" y="23"/>
                  </a:lnTo>
                  <a:lnTo>
                    <a:pt x="6" y="24"/>
                  </a:lnTo>
                  <a:lnTo>
                    <a:pt x="8" y="24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17" y="24"/>
                  </a:lnTo>
                  <a:lnTo>
                    <a:pt x="20" y="23"/>
                  </a:lnTo>
                  <a:lnTo>
                    <a:pt x="22" y="22"/>
                  </a:lnTo>
                  <a:lnTo>
                    <a:pt x="23" y="17"/>
                  </a:lnTo>
                  <a:lnTo>
                    <a:pt x="23" y="0"/>
                  </a:lnTo>
                  <a:lnTo>
                    <a:pt x="452" y="0"/>
                  </a:lnTo>
                  <a:lnTo>
                    <a:pt x="467" y="12"/>
                  </a:lnTo>
                  <a:lnTo>
                    <a:pt x="495" y="15"/>
                  </a:lnTo>
                  <a:lnTo>
                    <a:pt x="496" y="19"/>
                  </a:lnTo>
                  <a:lnTo>
                    <a:pt x="499" y="20"/>
                  </a:lnTo>
                  <a:lnTo>
                    <a:pt x="503" y="23"/>
                  </a:lnTo>
                  <a:lnTo>
                    <a:pt x="507" y="23"/>
                  </a:lnTo>
                  <a:lnTo>
                    <a:pt x="510" y="23"/>
                  </a:lnTo>
                  <a:lnTo>
                    <a:pt x="513" y="23"/>
                  </a:lnTo>
                  <a:lnTo>
                    <a:pt x="515" y="23"/>
                  </a:lnTo>
                  <a:lnTo>
                    <a:pt x="515" y="23"/>
                  </a:lnTo>
                  <a:lnTo>
                    <a:pt x="515" y="24"/>
                  </a:lnTo>
                  <a:lnTo>
                    <a:pt x="515" y="24"/>
                  </a:lnTo>
                  <a:lnTo>
                    <a:pt x="514" y="26"/>
                  </a:lnTo>
                  <a:lnTo>
                    <a:pt x="514" y="28"/>
                  </a:lnTo>
                  <a:lnTo>
                    <a:pt x="513" y="31"/>
                  </a:lnTo>
                  <a:lnTo>
                    <a:pt x="510" y="33"/>
                  </a:lnTo>
                  <a:lnTo>
                    <a:pt x="509" y="35"/>
                  </a:lnTo>
                  <a:lnTo>
                    <a:pt x="506" y="38"/>
                  </a:lnTo>
                  <a:lnTo>
                    <a:pt x="502" y="41"/>
                  </a:lnTo>
                  <a:lnTo>
                    <a:pt x="499" y="42"/>
                  </a:lnTo>
                  <a:lnTo>
                    <a:pt x="496" y="45"/>
                  </a:lnTo>
                  <a:lnTo>
                    <a:pt x="495" y="48"/>
                  </a:lnTo>
                  <a:lnTo>
                    <a:pt x="495" y="49"/>
                  </a:lnTo>
                  <a:lnTo>
                    <a:pt x="496" y="50"/>
                  </a:lnTo>
                  <a:lnTo>
                    <a:pt x="502" y="52"/>
                  </a:lnTo>
                  <a:lnTo>
                    <a:pt x="510" y="53"/>
                  </a:lnTo>
                  <a:lnTo>
                    <a:pt x="511" y="53"/>
                  </a:lnTo>
                  <a:lnTo>
                    <a:pt x="514" y="53"/>
                  </a:lnTo>
                  <a:lnTo>
                    <a:pt x="520" y="53"/>
                  </a:lnTo>
                  <a:lnTo>
                    <a:pt x="526" y="53"/>
                  </a:lnTo>
                  <a:lnTo>
                    <a:pt x="533" y="52"/>
                  </a:lnTo>
                  <a:lnTo>
                    <a:pt x="540" y="50"/>
                  </a:lnTo>
                  <a:lnTo>
                    <a:pt x="547" y="48"/>
                  </a:lnTo>
                  <a:lnTo>
                    <a:pt x="551" y="45"/>
                  </a:lnTo>
                  <a:lnTo>
                    <a:pt x="553" y="45"/>
                  </a:lnTo>
                  <a:lnTo>
                    <a:pt x="553" y="46"/>
                  </a:lnTo>
                  <a:lnTo>
                    <a:pt x="554" y="46"/>
                  </a:lnTo>
                  <a:lnTo>
                    <a:pt x="557" y="48"/>
                  </a:lnTo>
                  <a:lnTo>
                    <a:pt x="559" y="49"/>
                  </a:lnTo>
                  <a:lnTo>
                    <a:pt x="564" y="50"/>
                  </a:lnTo>
                  <a:lnTo>
                    <a:pt x="569" y="50"/>
                  </a:lnTo>
                  <a:lnTo>
                    <a:pt x="575" y="50"/>
                  </a:lnTo>
                  <a:lnTo>
                    <a:pt x="576" y="50"/>
                  </a:lnTo>
                  <a:lnTo>
                    <a:pt x="577" y="49"/>
                  </a:lnTo>
                  <a:lnTo>
                    <a:pt x="581" y="49"/>
                  </a:lnTo>
                  <a:lnTo>
                    <a:pt x="584" y="48"/>
                  </a:lnTo>
                  <a:lnTo>
                    <a:pt x="588" y="48"/>
                  </a:lnTo>
                  <a:lnTo>
                    <a:pt x="592" y="48"/>
                  </a:lnTo>
                  <a:lnTo>
                    <a:pt x="595" y="50"/>
                  </a:lnTo>
                  <a:lnTo>
                    <a:pt x="598" y="53"/>
                  </a:lnTo>
                  <a:lnTo>
                    <a:pt x="598" y="53"/>
                  </a:lnTo>
                  <a:lnTo>
                    <a:pt x="598" y="56"/>
                  </a:lnTo>
                  <a:lnTo>
                    <a:pt x="598" y="57"/>
                  </a:lnTo>
                  <a:lnTo>
                    <a:pt x="598" y="60"/>
                  </a:lnTo>
                  <a:lnTo>
                    <a:pt x="595" y="64"/>
                  </a:lnTo>
                  <a:lnTo>
                    <a:pt x="592" y="67"/>
                  </a:lnTo>
                  <a:lnTo>
                    <a:pt x="588" y="68"/>
                  </a:lnTo>
                  <a:lnTo>
                    <a:pt x="583" y="70"/>
                  </a:lnTo>
                  <a:lnTo>
                    <a:pt x="583" y="70"/>
                  </a:lnTo>
                  <a:lnTo>
                    <a:pt x="580" y="68"/>
                  </a:lnTo>
                  <a:lnTo>
                    <a:pt x="577" y="68"/>
                  </a:lnTo>
                  <a:lnTo>
                    <a:pt x="573" y="68"/>
                  </a:lnTo>
                  <a:lnTo>
                    <a:pt x="569" y="70"/>
                  </a:lnTo>
                  <a:lnTo>
                    <a:pt x="565" y="72"/>
                  </a:lnTo>
                  <a:lnTo>
                    <a:pt x="562" y="77"/>
                  </a:lnTo>
                  <a:lnTo>
                    <a:pt x="559" y="85"/>
                  </a:lnTo>
                  <a:lnTo>
                    <a:pt x="561" y="85"/>
                  </a:lnTo>
                  <a:lnTo>
                    <a:pt x="562" y="86"/>
                  </a:lnTo>
                  <a:lnTo>
                    <a:pt x="564" y="87"/>
                  </a:lnTo>
                  <a:lnTo>
                    <a:pt x="565" y="90"/>
                  </a:lnTo>
                  <a:lnTo>
                    <a:pt x="566" y="93"/>
                  </a:lnTo>
                  <a:lnTo>
                    <a:pt x="568" y="96"/>
                  </a:lnTo>
                  <a:lnTo>
                    <a:pt x="566" y="100"/>
                  </a:lnTo>
                  <a:lnTo>
                    <a:pt x="564" y="105"/>
                  </a:lnTo>
                  <a:lnTo>
                    <a:pt x="564" y="107"/>
                  </a:lnTo>
                  <a:lnTo>
                    <a:pt x="562" y="112"/>
                  </a:lnTo>
                  <a:lnTo>
                    <a:pt x="559" y="119"/>
                  </a:lnTo>
                  <a:lnTo>
                    <a:pt x="558" y="129"/>
                  </a:lnTo>
                  <a:lnTo>
                    <a:pt x="557" y="137"/>
                  </a:lnTo>
                  <a:lnTo>
                    <a:pt x="557" y="147"/>
                  </a:lnTo>
                  <a:lnTo>
                    <a:pt x="557" y="149"/>
                  </a:lnTo>
                  <a:lnTo>
                    <a:pt x="558" y="153"/>
                  </a:lnTo>
                  <a:lnTo>
                    <a:pt x="559" y="156"/>
                  </a:lnTo>
                  <a:lnTo>
                    <a:pt x="562" y="159"/>
                  </a:lnTo>
                  <a:lnTo>
                    <a:pt x="564" y="159"/>
                  </a:lnTo>
                  <a:lnTo>
                    <a:pt x="565" y="158"/>
                  </a:lnTo>
                  <a:lnTo>
                    <a:pt x="568" y="156"/>
                  </a:lnTo>
                  <a:lnTo>
                    <a:pt x="572" y="155"/>
                  </a:lnTo>
                  <a:lnTo>
                    <a:pt x="576" y="151"/>
                  </a:lnTo>
                  <a:lnTo>
                    <a:pt x="579" y="145"/>
                  </a:lnTo>
                  <a:lnTo>
                    <a:pt x="581" y="138"/>
                  </a:lnTo>
                  <a:lnTo>
                    <a:pt x="583" y="129"/>
                  </a:lnTo>
                  <a:lnTo>
                    <a:pt x="587" y="97"/>
                  </a:lnTo>
                  <a:lnTo>
                    <a:pt x="594" y="93"/>
                  </a:lnTo>
                  <a:lnTo>
                    <a:pt x="594" y="92"/>
                  </a:lnTo>
                  <a:lnTo>
                    <a:pt x="595" y="90"/>
                  </a:lnTo>
                  <a:lnTo>
                    <a:pt x="595" y="86"/>
                  </a:lnTo>
                  <a:lnTo>
                    <a:pt x="597" y="82"/>
                  </a:lnTo>
                  <a:lnTo>
                    <a:pt x="598" y="78"/>
                  </a:lnTo>
                  <a:lnTo>
                    <a:pt x="599" y="75"/>
                  </a:lnTo>
                  <a:lnTo>
                    <a:pt x="602" y="74"/>
                  </a:lnTo>
                  <a:lnTo>
                    <a:pt x="605" y="74"/>
                  </a:lnTo>
                  <a:lnTo>
                    <a:pt x="605" y="74"/>
                  </a:lnTo>
                  <a:lnTo>
                    <a:pt x="608" y="74"/>
                  </a:lnTo>
                  <a:lnTo>
                    <a:pt x="612" y="74"/>
                  </a:lnTo>
                  <a:lnTo>
                    <a:pt x="614" y="75"/>
                  </a:lnTo>
                  <a:lnTo>
                    <a:pt x="619" y="77"/>
                  </a:lnTo>
                  <a:lnTo>
                    <a:pt x="621" y="79"/>
                  </a:lnTo>
                  <a:lnTo>
                    <a:pt x="624" y="85"/>
                  </a:lnTo>
                  <a:lnTo>
                    <a:pt x="624" y="92"/>
                  </a:lnTo>
                  <a:lnTo>
                    <a:pt x="620" y="103"/>
                  </a:lnTo>
                  <a:lnTo>
                    <a:pt x="620" y="103"/>
                  </a:lnTo>
                  <a:lnTo>
                    <a:pt x="619" y="104"/>
                  </a:lnTo>
                  <a:lnTo>
                    <a:pt x="619" y="105"/>
                  </a:lnTo>
                  <a:lnTo>
                    <a:pt x="617" y="107"/>
                  </a:lnTo>
                  <a:lnTo>
                    <a:pt x="617" y="108"/>
                  </a:lnTo>
                  <a:lnTo>
                    <a:pt x="617" y="108"/>
                  </a:lnTo>
                  <a:lnTo>
                    <a:pt x="619" y="109"/>
                  </a:lnTo>
                  <a:lnTo>
                    <a:pt x="620" y="109"/>
                  </a:lnTo>
                  <a:lnTo>
                    <a:pt x="621" y="109"/>
                  </a:lnTo>
                  <a:lnTo>
                    <a:pt x="623" y="108"/>
                  </a:lnTo>
                  <a:lnTo>
                    <a:pt x="624" y="108"/>
                  </a:lnTo>
                  <a:lnTo>
                    <a:pt x="625" y="107"/>
                  </a:lnTo>
                  <a:lnTo>
                    <a:pt x="627" y="105"/>
                  </a:lnTo>
                  <a:lnTo>
                    <a:pt x="627" y="105"/>
                  </a:lnTo>
                  <a:lnTo>
                    <a:pt x="628" y="105"/>
                  </a:lnTo>
                  <a:lnTo>
                    <a:pt x="630" y="105"/>
                  </a:lnTo>
                  <a:lnTo>
                    <a:pt x="630" y="107"/>
                  </a:lnTo>
                  <a:lnTo>
                    <a:pt x="631" y="109"/>
                  </a:lnTo>
                  <a:lnTo>
                    <a:pt x="634" y="112"/>
                  </a:lnTo>
                  <a:lnTo>
                    <a:pt x="635" y="114"/>
                  </a:lnTo>
                  <a:lnTo>
                    <a:pt x="636" y="116"/>
                  </a:lnTo>
                  <a:lnTo>
                    <a:pt x="638" y="119"/>
                  </a:lnTo>
                  <a:lnTo>
                    <a:pt x="638" y="122"/>
                  </a:lnTo>
                  <a:lnTo>
                    <a:pt x="639" y="123"/>
                  </a:lnTo>
                  <a:lnTo>
                    <a:pt x="639" y="126"/>
                  </a:lnTo>
                  <a:lnTo>
                    <a:pt x="639" y="129"/>
                  </a:lnTo>
                  <a:lnTo>
                    <a:pt x="638" y="131"/>
                  </a:lnTo>
                  <a:lnTo>
                    <a:pt x="638" y="134"/>
                  </a:lnTo>
                  <a:lnTo>
                    <a:pt x="638" y="137"/>
                  </a:lnTo>
                  <a:lnTo>
                    <a:pt x="638" y="140"/>
                  </a:lnTo>
                  <a:lnTo>
                    <a:pt x="636" y="141"/>
                  </a:lnTo>
                  <a:lnTo>
                    <a:pt x="636" y="142"/>
                  </a:lnTo>
                  <a:lnTo>
                    <a:pt x="636" y="144"/>
                  </a:lnTo>
                  <a:lnTo>
                    <a:pt x="636" y="145"/>
                  </a:lnTo>
                  <a:lnTo>
                    <a:pt x="636" y="147"/>
                  </a:lnTo>
                  <a:lnTo>
                    <a:pt x="636" y="148"/>
                  </a:lnTo>
                  <a:lnTo>
                    <a:pt x="636" y="149"/>
                  </a:lnTo>
                  <a:lnTo>
                    <a:pt x="638" y="151"/>
                  </a:lnTo>
                  <a:lnTo>
                    <a:pt x="639" y="152"/>
                  </a:lnTo>
                  <a:lnTo>
                    <a:pt x="642" y="152"/>
                  </a:lnTo>
                  <a:lnTo>
                    <a:pt x="646" y="151"/>
                  </a:lnTo>
                  <a:lnTo>
                    <a:pt x="650" y="151"/>
                  </a:lnTo>
                  <a:lnTo>
                    <a:pt x="654" y="152"/>
                  </a:lnTo>
                  <a:lnTo>
                    <a:pt x="658" y="152"/>
                  </a:lnTo>
                  <a:lnTo>
                    <a:pt x="663" y="152"/>
                  </a:lnTo>
                  <a:lnTo>
                    <a:pt x="668" y="151"/>
                  </a:lnTo>
                  <a:lnTo>
                    <a:pt x="671" y="151"/>
                  </a:lnTo>
                  <a:lnTo>
                    <a:pt x="675" y="151"/>
                  </a:lnTo>
                  <a:lnTo>
                    <a:pt x="679" y="148"/>
                  </a:lnTo>
                  <a:lnTo>
                    <a:pt x="685" y="145"/>
                  </a:lnTo>
                  <a:lnTo>
                    <a:pt x="689" y="141"/>
                  </a:lnTo>
                  <a:lnTo>
                    <a:pt x="694" y="137"/>
                  </a:lnTo>
                  <a:lnTo>
                    <a:pt x="698" y="133"/>
                  </a:lnTo>
                  <a:lnTo>
                    <a:pt x="702" y="129"/>
                  </a:lnTo>
                  <a:lnTo>
                    <a:pt x="705" y="126"/>
                  </a:lnTo>
                  <a:lnTo>
                    <a:pt x="707" y="123"/>
                  </a:lnTo>
                  <a:lnTo>
                    <a:pt x="705" y="122"/>
                  </a:lnTo>
                  <a:lnTo>
                    <a:pt x="705" y="120"/>
                  </a:lnTo>
                  <a:lnTo>
                    <a:pt x="705" y="119"/>
                  </a:lnTo>
                  <a:lnTo>
                    <a:pt x="705" y="119"/>
                  </a:lnTo>
                  <a:lnTo>
                    <a:pt x="705" y="118"/>
                  </a:lnTo>
                  <a:lnTo>
                    <a:pt x="705" y="116"/>
                  </a:lnTo>
                  <a:lnTo>
                    <a:pt x="705" y="115"/>
                  </a:lnTo>
                  <a:lnTo>
                    <a:pt x="707" y="115"/>
                  </a:lnTo>
                  <a:lnTo>
                    <a:pt x="708" y="114"/>
                  </a:lnTo>
                  <a:lnTo>
                    <a:pt x="711" y="112"/>
                  </a:lnTo>
                  <a:lnTo>
                    <a:pt x="713" y="111"/>
                  </a:lnTo>
                  <a:lnTo>
                    <a:pt x="718" y="108"/>
                  </a:lnTo>
                  <a:lnTo>
                    <a:pt x="723" y="107"/>
                  </a:lnTo>
                  <a:lnTo>
                    <a:pt x="727" y="107"/>
                  </a:lnTo>
                  <a:lnTo>
                    <a:pt x="733" y="105"/>
                  </a:lnTo>
                  <a:lnTo>
                    <a:pt x="737" y="105"/>
                  </a:lnTo>
                  <a:lnTo>
                    <a:pt x="741" y="105"/>
                  </a:lnTo>
                  <a:lnTo>
                    <a:pt x="745" y="104"/>
                  </a:lnTo>
                  <a:lnTo>
                    <a:pt x="749" y="101"/>
                  </a:lnTo>
                  <a:lnTo>
                    <a:pt x="752" y="100"/>
                  </a:lnTo>
                  <a:lnTo>
                    <a:pt x="755" y="97"/>
                  </a:lnTo>
                  <a:lnTo>
                    <a:pt x="758" y="94"/>
                  </a:lnTo>
                  <a:lnTo>
                    <a:pt x="759" y="92"/>
                  </a:lnTo>
                  <a:lnTo>
                    <a:pt x="760" y="89"/>
                  </a:lnTo>
                  <a:close/>
                </a:path>
              </a:pathLst>
            </a:custGeom>
            <a:grpFill/>
            <a:ln w="9525">
              <a:solidFill>
                <a:srgbClr val="087AC8"/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8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249" name="Rechteck 613"/>
          <p:cNvSpPr/>
          <p:nvPr/>
        </p:nvSpPr>
        <p:spPr bwMode="auto">
          <a:xfrm>
            <a:off x="6946482" y="5118166"/>
            <a:ext cx="2075837" cy="248385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36000" bIns="3600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                                 Group</a:t>
            </a:r>
          </a:p>
        </p:txBody>
      </p:sp>
      <p:sp>
        <p:nvSpPr>
          <p:cNvPr id="1250" name="Rechteck 614"/>
          <p:cNvSpPr/>
          <p:nvPr/>
        </p:nvSpPr>
        <p:spPr bwMode="auto">
          <a:xfrm>
            <a:off x="6946482" y="5366551"/>
            <a:ext cx="2075837" cy="580657"/>
          </a:xfrm>
          <a:prstGeom prst="rect">
            <a:avLst/>
          </a:prstGeom>
          <a:solidFill>
            <a:srgbClr val="D6E4F1"/>
          </a:solidFill>
          <a:ln w="12700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2000" tIns="36000" rIns="36000" bIns="36000" anchor="ctr" anchorCtr="0"/>
          <a:lstStyle/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lang="de-DE" sz="900" kern="0" dirty="0">
                <a:solidFill>
                  <a:srgbClr val="000000"/>
                </a:solidFill>
                <a:latin typeface="Arial"/>
              </a:rPr>
              <a:t>Sales* 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	</a:t>
            </a:r>
            <a:r>
              <a:rPr lang="de-DE" sz="900" kern="0" dirty="0">
                <a:solidFill>
                  <a:srgbClr val="000000"/>
                </a:solidFill>
                <a:latin typeface="Arial"/>
              </a:rPr>
              <a:t>US$ 230 M</a:t>
            </a: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lang="de-DE" sz="900" kern="0" dirty="0">
                <a:solidFill>
                  <a:srgbClr val="000000"/>
                </a:solidFill>
                <a:latin typeface="Arial"/>
              </a:rPr>
              <a:t>Headcount</a:t>
            </a:r>
            <a:r>
              <a:rPr kumimoji="0" lang="de-DE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: 	1,500</a:t>
            </a:r>
          </a:p>
          <a:p>
            <a:pPr marL="96838" marR="0" lvl="0" indent="-96838" defTabSz="9144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>
                <a:srgbClr val="0063B0">
                  <a:lumMod val="75000"/>
                </a:srgbClr>
              </a:buClr>
              <a:buSzPct val="120000"/>
              <a:buFont typeface="Wingdings" pitchFamily="2" charset="2"/>
              <a:buChar char="§"/>
              <a:tabLst/>
              <a:defRPr/>
            </a:pPr>
            <a:endParaRPr kumimoji="0" lang="de-DE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265" name="Picture 235" descr="\\Ds.intern\filestore\Location\Kaiserslautern (KLT)\100_Marketing\Projekte\Projekt Faust\neues Logo\FREU_Logo_Sinus_RGB_medi_RZ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4360" y="5173922"/>
            <a:ext cx="986020" cy="160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1" name="TextBox 1270"/>
          <p:cNvSpPr txBox="1"/>
          <p:nvPr/>
        </p:nvSpPr>
        <p:spPr>
          <a:xfrm>
            <a:off x="7065172" y="5799412"/>
            <a:ext cx="896079" cy="117404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SzPct val="100000"/>
            </a:pPr>
            <a:r>
              <a:rPr lang="en-US" sz="700" dirty="0"/>
              <a:t>* Combined 2016 Plan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713575" y="4196720"/>
            <a:ext cx="1512733" cy="2010738"/>
            <a:chOff x="2713575" y="4196720"/>
            <a:chExt cx="1512733" cy="2010738"/>
          </a:xfrm>
        </p:grpSpPr>
        <p:sp>
          <p:nvSpPr>
            <p:cNvPr id="1251" name="Ellipse 619"/>
            <p:cNvSpPr/>
            <p:nvPr/>
          </p:nvSpPr>
          <p:spPr bwMode="auto">
            <a:xfrm>
              <a:off x="2767585" y="419672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52" name="Gerade Verbindung 620"/>
            <p:cNvCxnSpPr>
              <a:stCxn id="1276" idx="0"/>
              <a:endCxn id="1251" idx="3"/>
            </p:cNvCxnSpPr>
            <p:nvPr/>
          </p:nvCxnSpPr>
          <p:spPr>
            <a:xfrm flipH="1" flipV="1">
              <a:off x="2782464" y="4283441"/>
              <a:ext cx="689655" cy="1111374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72" name="Group 1271"/>
            <p:cNvGrpSpPr/>
            <p:nvPr/>
          </p:nvGrpSpPr>
          <p:grpSpPr>
            <a:xfrm>
              <a:off x="2713575" y="5394815"/>
              <a:ext cx="1512733" cy="812643"/>
              <a:chOff x="523769" y="5369341"/>
              <a:chExt cx="1512733" cy="812643"/>
            </a:xfrm>
          </p:grpSpPr>
          <p:grpSp>
            <p:nvGrpSpPr>
              <p:cNvPr id="1273" name="Gruppieren 616"/>
              <p:cNvGrpSpPr/>
              <p:nvPr/>
            </p:nvGrpSpPr>
            <p:grpSpPr>
              <a:xfrm>
                <a:off x="523769" y="5369341"/>
                <a:ext cx="1512733" cy="812643"/>
                <a:chOff x="402308" y="4641394"/>
                <a:chExt cx="1512733" cy="812643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275" name="Rechteck 617"/>
                <p:cNvSpPr/>
                <p:nvPr/>
              </p:nvSpPr>
              <p:spPr bwMode="auto">
                <a:xfrm>
                  <a:off x="402308" y="4886240"/>
                  <a:ext cx="1508379" cy="567797"/>
                </a:xfrm>
                <a:prstGeom prst="rect">
                  <a:avLst/>
                </a:prstGeom>
                <a:solidFill>
                  <a:srgbClr val="D6E4F1"/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72000" tIns="36000" rIns="36000" bIns="36000" anchor="ctr" anchorCtr="0"/>
                <a:lstStyle/>
                <a:p>
                  <a:pPr marL="96838" marR="0" lvl="0" indent="-96838" defTabSz="914400" eaLnBrk="1" fontAlgn="auto" latinLnBrk="0" hangingPunct="1">
                    <a:lnSpc>
                      <a:spcPts val="13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63B0">
                        <a:lumMod val="75000"/>
                      </a:srgbClr>
                    </a:buClr>
                    <a:buSzPct val="120000"/>
                    <a:buFont typeface="Wingdings" pitchFamily="2" charset="2"/>
                    <a:buChar char="§"/>
                    <a:tabLst/>
                    <a:defRPr/>
                  </a:pPr>
                  <a:r>
                    <a:rPr lang="de-DE" sz="900" kern="0" noProof="0" dirty="0">
                      <a:solidFill>
                        <a:srgbClr val="000000"/>
                      </a:solidFill>
                      <a:latin typeface="Arial"/>
                    </a:rPr>
                    <a:t>MIS Manufacturing</a:t>
                  </a:r>
                  <a:endPara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endParaRPr>
                </a:p>
                <a:p>
                  <a:pPr marL="96838" marR="0" lvl="0" indent="-96838" defTabSz="914400" eaLnBrk="1" fontAlgn="auto" latinLnBrk="0" hangingPunct="1">
                    <a:lnSpc>
                      <a:spcPts val="13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63B0">
                        <a:lumMod val="75000"/>
                      </a:srgbClr>
                    </a:buClr>
                    <a:buSzPct val="120000"/>
                    <a:buFont typeface="Wingdings" pitchFamily="2" charset="2"/>
                    <a:buChar char="§"/>
                    <a:tabLst/>
                    <a:defRPr/>
                  </a:pPr>
                  <a:r>
                    <a:rPr kumimoji="0" lang="de-DE" sz="900" b="0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Thermoplastic</a:t>
                  </a:r>
                  <a:r>
                    <a:rPr kumimoji="0" lang="de-DE" sz="900" b="0" i="0" u="none" strike="noStrike" kern="0" cap="none" spc="0" normalizeH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 </a:t>
                  </a:r>
                  <a:r>
                    <a:rPr kumimoji="0" lang="de-DE" sz="900" b="0" i="0" u="none" strike="noStrike" kern="0" cap="none" spc="0" normalizeH="0" noProof="0" dirty="0" err="1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</a:rPr>
                    <a:t>Molding</a:t>
                  </a:r>
                  <a:endPara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276" name="Rechteck 618"/>
                <p:cNvSpPr/>
                <p:nvPr/>
              </p:nvSpPr>
              <p:spPr bwMode="auto">
                <a:xfrm>
                  <a:off x="406662" y="4641394"/>
                  <a:ext cx="1508379" cy="248385"/>
                </a:xfrm>
                <a:prstGeom prst="rect">
                  <a:avLst/>
                </a:prstGeom>
                <a:solidFill>
                  <a:srgbClr val="0063B0">
                    <a:lumMod val="75000"/>
                  </a:srgbClr>
                </a:solidFill>
                <a:ln w="1270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tIns="36000" bIns="36000" anchor="ctr" anchorCtr="0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3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8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</a:rPr>
                    <a:t>Alajuela</a:t>
                  </a:r>
                  <a:endPara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  <p:pic>
            <p:nvPicPr>
              <p:cNvPr id="1274" name="Picture 100" descr="https://upload.wikimedia.org/wikipedia/commons/thumb/b/bc/Flag_of_Costa_Rica_%28state%29.svg/125px-Flag_of_Costa_Rica_%28state%29.svg.png">
                <a:hlinkClick r:id="rId8" tooltip="Flag of Costa Rica"/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20540" y="5373497"/>
                <a:ext cx="386605" cy="2319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8" name="Group 7"/>
          <p:cNvGrpSpPr/>
          <p:nvPr/>
        </p:nvGrpSpPr>
        <p:grpSpPr>
          <a:xfrm>
            <a:off x="4560065" y="2774288"/>
            <a:ext cx="4411307" cy="1871835"/>
            <a:chOff x="4560065" y="2774288"/>
            <a:chExt cx="4411307" cy="1871835"/>
          </a:xfrm>
        </p:grpSpPr>
        <p:sp>
          <p:nvSpPr>
            <p:cNvPr id="1222" name="Ellipse 585"/>
            <p:cNvSpPr/>
            <p:nvPr/>
          </p:nvSpPr>
          <p:spPr bwMode="auto">
            <a:xfrm>
              <a:off x="4590281" y="3250536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38" name="Gruppieren 601"/>
            <p:cNvGrpSpPr/>
            <p:nvPr/>
          </p:nvGrpSpPr>
          <p:grpSpPr>
            <a:xfrm>
              <a:off x="7132558" y="3833480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9" name="Rechteck 602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 </a:t>
                </a: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40" name="Rechteck 603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Kaiserslautern</a:t>
                </a:r>
              </a:p>
            </p:txBody>
          </p:sp>
        </p:grpSp>
        <p:cxnSp>
          <p:nvCxnSpPr>
            <p:cNvPr id="1247" name="Gerade Verbindung 610"/>
            <p:cNvCxnSpPr>
              <a:stCxn id="1222" idx="6"/>
              <a:endCxn id="1239" idx="1"/>
            </p:cNvCxnSpPr>
            <p:nvPr/>
          </p:nvCxnSpPr>
          <p:spPr>
            <a:xfrm>
              <a:off x="4691881" y="3301336"/>
              <a:ext cx="2440677" cy="106088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66" name="Gruppieren 637"/>
            <p:cNvGrpSpPr/>
            <p:nvPr/>
          </p:nvGrpSpPr>
          <p:grpSpPr>
            <a:xfrm>
              <a:off x="7458639" y="2774288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67" name="Rechteck 638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lang="de-DE" sz="900" kern="0" noProof="0" dirty="0" err="1">
                    <a:solidFill>
                      <a:srgbClr val="000000"/>
                    </a:solidFill>
                    <a:latin typeface="Arial"/>
                  </a:rPr>
                  <a:t>Coating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68" name="Rechteck 639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sz="800" b="1" dirty="0" err="1">
                    <a:solidFill>
                      <a:srgbClr val="FFFFFF"/>
                    </a:solidFill>
                    <a:latin typeface="Arial"/>
                  </a:rPr>
                  <a:t>Wuerselen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1269" name="Gerade Verbindung 640"/>
            <p:cNvCxnSpPr>
              <a:stCxn id="1270" idx="7"/>
              <a:endCxn id="1267" idx="1"/>
            </p:cNvCxnSpPr>
            <p:nvPr/>
          </p:nvCxnSpPr>
          <p:spPr>
            <a:xfrm>
              <a:off x="4646786" y="3195489"/>
              <a:ext cx="2811853" cy="107544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270" name="Ellipse 641"/>
            <p:cNvSpPr/>
            <p:nvPr/>
          </p:nvSpPr>
          <p:spPr bwMode="auto">
            <a:xfrm>
              <a:off x="4560065" y="318061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284" name="Picture 107" descr="Flag of Germany.sv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440" y="2788640"/>
              <a:ext cx="368578" cy="221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5" name="Picture 107" descr="Flag of Germany.sv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2359" y="3843038"/>
              <a:ext cx="368578" cy="221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" name="Group 6"/>
          <p:cNvGrpSpPr/>
          <p:nvPr/>
        </p:nvGrpSpPr>
        <p:grpSpPr>
          <a:xfrm>
            <a:off x="5033803" y="3869324"/>
            <a:ext cx="1623666" cy="2342290"/>
            <a:chOff x="5033803" y="3869324"/>
            <a:chExt cx="1623666" cy="2342290"/>
          </a:xfrm>
        </p:grpSpPr>
        <p:sp>
          <p:nvSpPr>
            <p:cNvPr id="1224" name="Ellipse 587"/>
            <p:cNvSpPr/>
            <p:nvPr/>
          </p:nvSpPr>
          <p:spPr bwMode="auto">
            <a:xfrm>
              <a:off x="6555869" y="3869324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41" name="Gruppieren 604"/>
            <p:cNvGrpSpPr/>
            <p:nvPr/>
          </p:nvGrpSpPr>
          <p:grpSpPr>
            <a:xfrm>
              <a:off x="5033803" y="5398971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42" name="Rechteck 605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200"/>
                  </a:lnSpc>
                  <a:spcBef>
                    <a:spcPts val="30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43" name="Rechteck 606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Shenzhen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1248" name="Gerade Verbindung 611"/>
            <p:cNvCxnSpPr>
              <a:stCxn id="1105" idx="13"/>
              <a:endCxn id="1243" idx="0"/>
            </p:cNvCxnSpPr>
            <p:nvPr/>
          </p:nvCxnSpPr>
          <p:spPr>
            <a:xfrm flipH="1">
              <a:off x="5792347" y="3962402"/>
              <a:ext cx="837014" cy="143656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pic>
          <p:nvPicPr>
            <p:cNvPr id="1286" name="Picture 109" descr="Flag of the People's Republic of China.svg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4721" y="5415365"/>
              <a:ext cx="335572" cy="2237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" name="Group 1"/>
          <p:cNvGrpSpPr/>
          <p:nvPr/>
        </p:nvGrpSpPr>
        <p:grpSpPr>
          <a:xfrm>
            <a:off x="211700" y="1057497"/>
            <a:ext cx="4132632" cy="5149961"/>
            <a:chOff x="211700" y="1057497"/>
            <a:chExt cx="4132632" cy="5149961"/>
          </a:xfrm>
        </p:grpSpPr>
        <p:sp>
          <p:nvSpPr>
            <p:cNvPr id="1219" name="Ellipse 582"/>
            <p:cNvSpPr/>
            <p:nvPr/>
          </p:nvSpPr>
          <p:spPr bwMode="auto">
            <a:xfrm>
              <a:off x="2045846" y="3597053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0" name="Ellipse 583"/>
            <p:cNvSpPr/>
            <p:nvPr/>
          </p:nvSpPr>
          <p:spPr bwMode="auto">
            <a:xfrm>
              <a:off x="2125677" y="3665644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21" name="Ellipse 584"/>
            <p:cNvSpPr/>
            <p:nvPr/>
          </p:nvSpPr>
          <p:spPr bwMode="auto">
            <a:xfrm>
              <a:off x="3016252" y="3477829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25" name="Gruppieren 588"/>
            <p:cNvGrpSpPr/>
            <p:nvPr/>
          </p:nvGrpSpPr>
          <p:grpSpPr>
            <a:xfrm>
              <a:off x="249800" y="4006010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26" name="Rechteck 589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27" name="Rechteck 590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Baldwin Park, CA</a:t>
                </a:r>
              </a:p>
            </p:txBody>
          </p:sp>
        </p:grpSp>
        <p:cxnSp>
          <p:nvCxnSpPr>
            <p:cNvPr id="1228" name="Gerade Verbindung 591"/>
            <p:cNvCxnSpPr>
              <a:stCxn id="1227" idx="0"/>
              <a:endCxn id="1220" idx="3"/>
            </p:cNvCxnSpPr>
            <p:nvPr/>
          </p:nvCxnSpPr>
          <p:spPr>
            <a:xfrm flipV="1">
              <a:off x="1008344" y="3752365"/>
              <a:ext cx="1132212" cy="253645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29" name="Gruppieren 592"/>
            <p:cNvGrpSpPr/>
            <p:nvPr/>
          </p:nvGrpSpPr>
          <p:grpSpPr>
            <a:xfrm>
              <a:off x="211700" y="2624521"/>
              <a:ext cx="1513550" cy="812643"/>
              <a:chOff x="147902" y="2837181"/>
              <a:chExt cx="1513550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0" name="Rechteck 593"/>
              <p:cNvSpPr/>
              <p:nvPr/>
            </p:nvSpPr>
            <p:spPr bwMode="auto">
              <a:xfrm>
                <a:off x="153073" y="3082027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InHealth</a:t>
                </a: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OEM Products</a:t>
                </a:r>
              </a:p>
            </p:txBody>
          </p:sp>
          <p:sp>
            <p:nvSpPr>
              <p:cNvPr id="1231" name="Rechteck 594"/>
              <p:cNvSpPr/>
              <p:nvPr/>
            </p:nvSpPr>
            <p:spPr bwMode="auto">
              <a:xfrm>
                <a:off x="147902" y="2837181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Carpinteria, CA</a:t>
                </a:r>
              </a:p>
            </p:txBody>
          </p:sp>
        </p:grpSp>
        <p:grpSp>
          <p:nvGrpSpPr>
            <p:cNvPr id="1232" name="Gruppieren 595"/>
            <p:cNvGrpSpPr/>
            <p:nvPr/>
          </p:nvGrpSpPr>
          <p:grpSpPr>
            <a:xfrm>
              <a:off x="531733" y="5394815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3" name="Rechteck 596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Silicon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old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34" name="Rechteck 597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Gloucester, MA</a:t>
                </a:r>
              </a:p>
            </p:txBody>
          </p:sp>
        </p:grpSp>
        <p:cxnSp>
          <p:nvCxnSpPr>
            <p:cNvPr id="1244" name="Gerade Verbindung 607"/>
            <p:cNvCxnSpPr>
              <a:stCxn id="1221" idx="4"/>
              <a:endCxn id="1234" idx="0"/>
            </p:cNvCxnSpPr>
            <p:nvPr/>
          </p:nvCxnSpPr>
          <p:spPr>
            <a:xfrm flipH="1">
              <a:off x="1290277" y="3579429"/>
              <a:ext cx="1776775" cy="181538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45" name="Gerade Verbindung 608"/>
            <p:cNvCxnSpPr>
              <a:stCxn id="1230" idx="2"/>
              <a:endCxn id="1219" idx="1"/>
            </p:cNvCxnSpPr>
            <p:nvPr/>
          </p:nvCxnSpPr>
          <p:spPr>
            <a:xfrm>
              <a:off x="971061" y="3437164"/>
              <a:ext cx="1089664" cy="174768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55" name="Gruppieren 626"/>
            <p:cNvGrpSpPr/>
            <p:nvPr/>
          </p:nvGrpSpPr>
          <p:grpSpPr>
            <a:xfrm>
              <a:off x="907549" y="1463818"/>
              <a:ext cx="1512733" cy="812643"/>
              <a:chOff x="2196301" y="1270157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56" name="Rechteck 627"/>
              <p:cNvSpPr/>
              <p:nvPr/>
            </p:nvSpPr>
            <p:spPr bwMode="auto">
              <a:xfrm>
                <a:off x="2196301" y="1515003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57" name="Rechteck 628"/>
              <p:cNvSpPr/>
              <p:nvPr/>
            </p:nvSpPr>
            <p:spPr bwMode="auto">
              <a:xfrm>
                <a:off x="2200655" y="1270157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Minnetonka, MN</a:t>
                </a:r>
              </a:p>
            </p:txBody>
          </p:sp>
        </p:grpSp>
        <p:sp>
          <p:nvSpPr>
            <p:cNvPr id="1258" name="Ellipse 629"/>
            <p:cNvSpPr/>
            <p:nvPr/>
          </p:nvSpPr>
          <p:spPr bwMode="auto">
            <a:xfrm>
              <a:off x="2625791" y="34127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59" name="Ellipse 630"/>
            <p:cNvSpPr/>
            <p:nvPr/>
          </p:nvSpPr>
          <p:spPr bwMode="auto">
            <a:xfrm>
              <a:off x="2787716" y="350802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60" name="Gerade Verbindung 631"/>
            <p:cNvCxnSpPr>
              <a:stCxn id="1258" idx="7"/>
              <a:endCxn id="1256" idx="2"/>
            </p:cNvCxnSpPr>
            <p:nvPr/>
          </p:nvCxnSpPr>
          <p:spPr>
            <a:xfrm flipH="1" flipV="1">
              <a:off x="1661739" y="2276461"/>
              <a:ext cx="1050773" cy="1151188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cxnSp>
          <p:nvCxnSpPr>
            <p:cNvPr id="1261" name="Gerade Verbindung 632"/>
            <p:cNvCxnSpPr>
              <a:stCxn id="1259" idx="7"/>
              <a:endCxn id="1263" idx="2"/>
            </p:cNvCxnSpPr>
            <p:nvPr/>
          </p:nvCxnSpPr>
          <p:spPr>
            <a:xfrm flipV="1">
              <a:off x="2874437" y="1870140"/>
              <a:ext cx="711352" cy="1652759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62" name="Gruppieren 633"/>
            <p:cNvGrpSpPr/>
            <p:nvPr/>
          </p:nvGrpSpPr>
          <p:grpSpPr>
            <a:xfrm>
              <a:off x="2831599" y="1057497"/>
              <a:ext cx="1512733" cy="812643"/>
              <a:chOff x="2196301" y="1270157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63" name="Rechteck 634"/>
              <p:cNvSpPr/>
              <p:nvPr/>
            </p:nvSpPr>
            <p:spPr bwMode="auto">
              <a:xfrm>
                <a:off x="2196301" y="1515003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roduct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Development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MIS </a:t>
                </a:r>
                <a:r>
                  <a:rPr lang="de-DE" sz="900" kern="0" dirty="0">
                    <a:solidFill>
                      <a:srgbClr val="000000"/>
                    </a:solidFill>
                    <a:latin typeface="Arial"/>
                  </a:rPr>
                  <a:t>Manufactur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64" name="Rechteck 635"/>
              <p:cNvSpPr/>
              <p:nvPr/>
            </p:nvSpPr>
            <p:spPr bwMode="auto">
              <a:xfrm>
                <a:off x="2200655" y="1270157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Jeffersonville, IN </a:t>
                </a:r>
              </a:p>
            </p:txBody>
          </p:sp>
        </p:grpSp>
        <p:pic>
          <p:nvPicPr>
            <p:cNvPr id="1277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84678" y="5400001"/>
              <a:ext cx="452223" cy="238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8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2663" y="4015560"/>
              <a:ext cx="452223" cy="238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9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9631" y="1474191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7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3798" y="1064452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8" name="Picture 102" descr="Flag of the United States of America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3456" y="2625992"/>
              <a:ext cx="445499" cy="2344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4168841" y="1057497"/>
            <a:ext cx="4363198" cy="2190173"/>
            <a:chOff x="4168841" y="1057497"/>
            <a:chExt cx="4363198" cy="2190173"/>
          </a:xfrm>
        </p:grpSpPr>
        <p:sp>
          <p:nvSpPr>
            <p:cNvPr id="1223" name="Ellipse 586"/>
            <p:cNvSpPr/>
            <p:nvPr/>
          </p:nvSpPr>
          <p:spPr bwMode="auto">
            <a:xfrm>
              <a:off x="4206941" y="31079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35" name="Gruppieren 598"/>
            <p:cNvGrpSpPr/>
            <p:nvPr/>
          </p:nvGrpSpPr>
          <p:grpSpPr>
            <a:xfrm>
              <a:off x="4803274" y="1057497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36" name="Rechteck 599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lang="de-DE" sz="900" kern="0" dirty="0" err="1">
                    <a:solidFill>
                      <a:srgbClr val="000000"/>
                    </a:solidFill>
                    <a:latin typeface="Arial"/>
                  </a:rPr>
                  <a:t>Catheter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Thermoplastic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Extrusion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37" name="Rechteck 600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Carrick</a:t>
                </a:r>
                <a:r>
                  <a:rPr kumimoji="0" lang="de-DE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-on-Shannon</a:t>
                </a:r>
              </a:p>
            </p:txBody>
          </p:sp>
        </p:grpSp>
        <p:cxnSp>
          <p:nvCxnSpPr>
            <p:cNvPr id="1246" name="Gerade Verbindung 609"/>
            <p:cNvCxnSpPr>
              <a:stCxn id="1223" idx="6"/>
              <a:endCxn id="1236" idx="2"/>
            </p:cNvCxnSpPr>
            <p:nvPr/>
          </p:nvCxnSpPr>
          <p:spPr>
            <a:xfrm flipV="1">
              <a:off x="4308541" y="1870140"/>
              <a:ext cx="1248923" cy="128863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1253" name="Ellipse 624"/>
            <p:cNvSpPr/>
            <p:nvPr/>
          </p:nvSpPr>
          <p:spPr bwMode="auto">
            <a:xfrm>
              <a:off x="4168841" y="3146070"/>
              <a:ext cx="101600" cy="101600"/>
            </a:xfrm>
            <a:prstGeom prst="ellipse">
              <a:avLst/>
            </a:prstGeom>
            <a:solidFill>
              <a:srgbClr val="FFFF00"/>
            </a:solidFill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36000" rIns="3600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254" name="Gerade Verbindung 625"/>
            <p:cNvCxnSpPr>
              <a:stCxn id="1253" idx="5"/>
              <a:endCxn id="1281" idx="2"/>
            </p:cNvCxnSpPr>
            <p:nvPr/>
          </p:nvCxnSpPr>
          <p:spPr>
            <a:xfrm flipV="1">
              <a:off x="4255562" y="2035085"/>
              <a:ext cx="3517934" cy="1197706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</a:ln>
            <a:effectLst/>
          </p:spPr>
        </p:cxnSp>
        <p:grpSp>
          <p:nvGrpSpPr>
            <p:cNvPr id="1280" name="Gruppieren 621"/>
            <p:cNvGrpSpPr/>
            <p:nvPr/>
          </p:nvGrpSpPr>
          <p:grpSpPr>
            <a:xfrm>
              <a:off x="7019306" y="1222442"/>
              <a:ext cx="1512733" cy="812643"/>
              <a:chOff x="402308" y="4641394"/>
              <a:chExt cx="1512733" cy="81264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81" name="Rechteck 622"/>
              <p:cNvSpPr/>
              <p:nvPr/>
            </p:nvSpPr>
            <p:spPr bwMode="auto">
              <a:xfrm>
                <a:off x="402308" y="4886240"/>
                <a:ext cx="1508379" cy="567797"/>
              </a:xfrm>
              <a:prstGeom prst="rect">
                <a:avLst/>
              </a:prstGeom>
              <a:solidFill>
                <a:srgbClr val="D6E4F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72000" tIns="36000" rIns="36000" bIns="36000" anchor="ctr" anchorCtr="0"/>
              <a:lstStyle/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Hypotubes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  <a:p>
                <a:pPr marL="96838" marR="0" lvl="0" indent="-96838" defTabSz="91440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63B0">
                      <a:lumMod val="75000"/>
                    </a:srgbClr>
                  </a:buClr>
                  <a:buSzPct val="120000"/>
                  <a:buFont typeface="Wingdings" pitchFamily="2" charset="2"/>
                  <a:buChar char="§"/>
                  <a:tabLst/>
                  <a:defRPr/>
                </a:pPr>
                <a:r>
                  <a:rPr kumimoji="0" lang="de-DE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PTFE</a:t>
                </a:r>
                <a:r>
                  <a:rPr kumimoji="0" lang="de-DE" sz="900" b="0" i="0" u="none" strike="noStrike" kern="0" cap="none" spc="0" normalizeH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de-DE" sz="900" b="0" i="0" u="none" strike="noStrike" kern="0" cap="none" spc="0" normalizeH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</a:rPr>
                  <a:t>Coating</a:t>
                </a:r>
                <a:endParaRPr kumimoji="0" lang="de-DE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282" name="Rechteck 623"/>
              <p:cNvSpPr/>
              <p:nvPr/>
            </p:nvSpPr>
            <p:spPr bwMode="auto">
              <a:xfrm>
                <a:off x="406662" y="4641394"/>
                <a:ext cx="1508379" cy="248385"/>
              </a:xfrm>
              <a:prstGeom prst="rect">
                <a:avLst/>
              </a:prstGeom>
              <a:solidFill>
                <a:srgbClr val="0063B0">
                  <a:lumMod val="75000"/>
                </a:srgbClr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36000" bIns="36000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rPr>
                  <a:t>Galway</a:t>
                </a:r>
                <a:endPara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pic>
          <p:nvPicPr>
            <p:cNvPr id="1283" name="Picture 104" descr="Flag of Ireland.sv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1201" y="1073597"/>
              <a:ext cx="415910" cy="207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9" name="Picture 104" descr="Flag of Ireland.svg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4668" y="1242656"/>
              <a:ext cx="415910" cy="207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9372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C:\Users\mmoeller\AppData\Local\Microsoft\Windows\Temporary Internet Files\Content.IE5\BYPNL0BI\11267281_l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79191" y="1196752"/>
            <a:ext cx="5357105" cy="5351876"/>
          </a:xfrm>
          <a:prstGeom prst="rect">
            <a:avLst/>
          </a:prstGeom>
          <a:noFill/>
        </p:spPr>
      </p:pic>
      <p:sp>
        <p:nvSpPr>
          <p:cNvPr id="55" name="Rounded Rectangle 41"/>
          <p:cNvSpPr/>
          <p:nvPr/>
        </p:nvSpPr>
        <p:spPr bwMode="auto">
          <a:xfrm>
            <a:off x="1331640" y="1196752"/>
            <a:ext cx="2267744" cy="8640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Opthalmic</a:t>
            </a: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 drug delivery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Subretinal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63" name="Rounded Rectangle 62"/>
          <p:cNvSpPr/>
          <p:nvPr/>
        </p:nvSpPr>
        <p:spPr bwMode="auto">
          <a:xfrm>
            <a:off x="107504" y="220486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Leadless pacemaker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vein</a:t>
            </a:r>
          </a:p>
        </p:txBody>
      </p:sp>
      <p:sp>
        <p:nvSpPr>
          <p:cNvPr id="62" name="Rounded Rectangle 61"/>
          <p:cNvSpPr/>
          <p:nvPr/>
        </p:nvSpPr>
        <p:spPr bwMode="auto">
          <a:xfrm>
            <a:off x="107504" y="3501008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Electrophysiology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61" name="Rounded Rectangle 60"/>
          <p:cNvSpPr/>
          <p:nvPr/>
        </p:nvSpPr>
        <p:spPr bwMode="auto">
          <a:xfrm>
            <a:off x="107504" y="472514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Fractional flow measurement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60" name="Rounded Rectangle 58"/>
          <p:cNvSpPr/>
          <p:nvPr/>
        </p:nvSpPr>
        <p:spPr bwMode="auto">
          <a:xfrm>
            <a:off x="2195736" y="544522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lvic floor repair mesh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Transvaginal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9" name="Rounded Rectangle 57"/>
          <p:cNvSpPr/>
          <p:nvPr/>
        </p:nvSpPr>
        <p:spPr bwMode="auto">
          <a:xfrm>
            <a:off x="4932040" y="544522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Meniscal</a:t>
            </a: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 repai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rcutaneous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7" name="Rounded Rectangle 55"/>
          <p:cNvSpPr/>
          <p:nvPr/>
        </p:nvSpPr>
        <p:spPr bwMode="auto">
          <a:xfrm>
            <a:off x="7020272" y="3501008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Drainage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</a:t>
            </a:r>
            <a:r>
              <a:rPr lang="en-US" sz="1000" kern="0" dirty="0" err="1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Percutaneous</a:t>
            </a:r>
            <a:endParaRPr lang="en-US" sz="1000" kern="0" dirty="0">
              <a:solidFill>
                <a:srgbClr val="000000"/>
              </a:solidFill>
              <a:latin typeface="Arial" pitchFamily="-128" charset="0"/>
              <a:ea typeface="Geneva" pitchFamily="-128" charset="-128"/>
              <a:cs typeface="Geneva" pitchFamily="-128" charset="-128"/>
            </a:endParaRPr>
          </a:p>
        </p:txBody>
      </p:sp>
      <p:sp>
        <p:nvSpPr>
          <p:cNvPr id="56" name="Rounded Rectangle 50"/>
          <p:cNvSpPr/>
          <p:nvPr/>
        </p:nvSpPr>
        <p:spPr bwMode="auto">
          <a:xfrm>
            <a:off x="7020272" y="220486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Fine needle aspiration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Esophageal</a:t>
            </a:r>
          </a:p>
        </p:txBody>
      </p:sp>
      <p:sp>
        <p:nvSpPr>
          <p:cNvPr id="54" name="Rounded Rectangle 39"/>
          <p:cNvSpPr/>
          <p:nvPr/>
        </p:nvSpPr>
        <p:spPr bwMode="auto">
          <a:xfrm>
            <a:off x="5940152" y="1196752"/>
            <a:ext cx="2267744" cy="864096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Neurovascular guide catheter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en-US" sz="1000" kern="0" dirty="0">
                <a:solidFill>
                  <a:srgbClr val="000000"/>
                </a:solidFill>
                <a:latin typeface="Arial" pitchFamily="-128" charset="0"/>
                <a:ea typeface="Geneva" pitchFamily="-128" charset="-128"/>
                <a:cs typeface="Geneva" pitchFamily="-128" charset="-128"/>
              </a:rPr>
              <a:t>Access: Femoral artery</a:t>
            </a:r>
          </a:p>
        </p:txBody>
      </p:sp>
      <p:sp>
        <p:nvSpPr>
          <p:cNvPr id="58" name="Rounded Rectangle 56"/>
          <p:cNvSpPr/>
          <p:nvPr/>
        </p:nvSpPr>
        <p:spPr bwMode="auto">
          <a:xfrm>
            <a:off x="7020272" y="4725144"/>
            <a:ext cx="1944216" cy="108012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27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28" charset="0"/>
                <a:ea typeface="Geneva" pitchFamily="-128" charset="-128"/>
                <a:cs typeface="Geneva" pitchFamily="-128" charset="-128"/>
              </a:rPr>
              <a:t>Endoscopic clipping devic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128" charset="0"/>
                <a:ea typeface="Geneva" pitchFamily="-128" charset="-128"/>
                <a:cs typeface="Geneva" pitchFamily="-128" charset="-128"/>
              </a:rPr>
              <a:t>Access: Endoscope</a:t>
            </a:r>
          </a:p>
        </p:txBody>
      </p:sp>
      <p:sp>
        <p:nvSpPr>
          <p:cNvPr id="7" name="Title 16"/>
          <p:cNvSpPr txBox="1">
            <a:spLocks/>
          </p:cNvSpPr>
          <p:nvPr/>
        </p:nvSpPr>
        <p:spPr>
          <a:xfrm>
            <a:off x="313200" y="248625"/>
            <a:ext cx="8449199" cy="830997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388"/>
                </a:solidFill>
                <a:latin typeface="Arial"/>
                <a:ea typeface="+mj-ea"/>
                <a:cs typeface="Arial"/>
              </a:defRPr>
            </a:lvl1pPr>
          </a:lstStyle>
          <a:p>
            <a:pPr marL="1588" indent="11113" fontAlgn="auto">
              <a:lnSpc>
                <a:spcPct val="120000"/>
              </a:lnSpc>
              <a:spcAft>
                <a:spcPts val="0"/>
              </a:spcAft>
            </a:pPr>
            <a:r>
              <a:rPr lang="en-US" altLang="en-US" kern="0" dirty="0"/>
              <a:t>2. Freudenberg Medical - </a:t>
            </a:r>
            <a:r>
              <a:rPr lang="en-US" altLang="en-US" kern="0" dirty="0" err="1"/>
              <a:t>Minimalinvasive</a:t>
            </a:r>
            <a:r>
              <a:rPr lang="en-US" altLang="en-US" kern="0" dirty="0"/>
              <a:t> </a:t>
            </a:r>
            <a:r>
              <a:rPr lang="en-US" altLang="en-US" kern="0" dirty="0" err="1"/>
              <a:t>Lösungen</a:t>
            </a:r>
            <a:endParaRPr lang="en-US" dirty="0"/>
          </a:p>
        </p:txBody>
      </p:sp>
      <p:pic>
        <p:nvPicPr>
          <p:cNvPr id="41" name="Picture 10" descr="http://www.asmeniscalrepair.com/imageServer.aspx/doc245611.jpg?contentID=31809&amp;contenttype=image/jpe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08105" y="5830615"/>
            <a:ext cx="792088" cy="664789"/>
          </a:xfrm>
          <a:prstGeom prst="rect">
            <a:avLst/>
          </a:prstGeom>
          <a:noFill/>
        </p:spPr>
      </p:pic>
      <p:pic>
        <p:nvPicPr>
          <p:cNvPr id="42" name="Picture 2" descr="C:\Users\dlodin\AppData\Local\Microsoft\Windows\Temporary Internet Files\Content.Outlook\1R4UZXIJ\Voltage Center Shaft Ope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569" y="3869834"/>
            <a:ext cx="792087" cy="696924"/>
          </a:xfrm>
          <a:prstGeom prst="rect">
            <a:avLst/>
          </a:prstGeom>
          <a:noFill/>
        </p:spPr>
      </p:pic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528" y="2594016"/>
            <a:ext cx="1512168" cy="611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6" cstate="print"/>
          <a:srcRect l="50113"/>
          <a:stretch>
            <a:fillRect/>
          </a:stretch>
        </p:blipFill>
        <p:spPr bwMode="auto">
          <a:xfrm rot="5400000">
            <a:off x="1488727" y="2822943"/>
            <a:ext cx="172960" cy="520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5" name="Group 18"/>
          <p:cNvGrpSpPr/>
          <p:nvPr/>
        </p:nvGrpSpPr>
        <p:grpSpPr>
          <a:xfrm rot="5400000">
            <a:off x="7696424" y="3904976"/>
            <a:ext cx="634049" cy="690210"/>
            <a:chOff x="3188443" y="3733800"/>
            <a:chExt cx="2602757" cy="3048000"/>
          </a:xfrm>
        </p:grpSpPr>
        <p:pic>
          <p:nvPicPr>
            <p:cNvPr id="46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188443" y="3733800"/>
              <a:ext cx="2602757" cy="2926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7" name="Rectangle 20"/>
            <p:cNvSpPr/>
            <p:nvPr/>
          </p:nvSpPr>
          <p:spPr>
            <a:xfrm>
              <a:off x="4864843" y="6477000"/>
              <a:ext cx="914400" cy="30480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Geneva"/>
              </a:endParaRPr>
            </a:p>
          </p:txBody>
        </p:sp>
      </p:grpSp>
      <p:pic>
        <p:nvPicPr>
          <p:cNvPr id="48" name="Picture 6" descr="P:\427 – Neurovascular Guide Catheters\05 Design\Pics\Product Photos\TransGate 5F MP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84168" y="1556792"/>
            <a:ext cx="1882552" cy="435941"/>
          </a:xfrm>
          <a:prstGeom prst="rect">
            <a:avLst/>
          </a:prstGeom>
          <a:noFill/>
          <a:ln w="19050">
            <a:noFill/>
          </a:ln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9" cstate="print"/>
          <a:srcRect t="64030"/>
          <a:stretch>
            <a:fillRect/>
          </a:stretch>
        </p:blipFill>
        <p:spPr bwMode="auto">
          <a:xfrm>
            <a:off x="1403648" y="1772816"/>
            <a:ext cx="2160240" cy="17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" descr="http://www.bostonscientific.jp/templatedata/imports/multimedia/Endoscopy/sch_resol_360w_01_jp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452320" y="5157192"/>
            <a:ext cx="950544" cy="617066"/>
          </a:xfrm>
          <a:prstGeom prst="rect">
            <a:avLst/>
          </a:prstGeom>
          <a:noFill/>
        </p:spPr>
      </p:pic>
      <p:pic>
        <p:nvPicPr>
          <p:cNvPr id="51" name="Picture 6" descr="http://www.cardiologie-interventionnelle.fr/sites/cardiologie-interventionnelle.fr/files/article/une/capture_decran_2014-03-27_a_15.54.51.jpg"/>
          <p:cNvPicPr>
            <a:picLocks noChangeAspect="1" noChangeArrowheads="1"/>
          </p:cNvPicPr>
          <p:nvPr/>
        </p:nvPicPr>
        <p:blipFill>
          <a:blip r:embed="rId11"/>
          <a:srcRect l="2780" r="39722"/>
          <a:stretch>
            <a:fillRect/>
          </a:stretch>
        </p:blipFill>
        <p:spPr bwMode="auto">
          <a:xfrm>
            <a:off x="611560" y="5142570"/>
            <a:ext cx="864096" cy="611718"/>
          </a:xfrm>
          <a:prstGeom prst="rect">
            <a:avLst/>
          </a:prstGeom>
          <a:noFill/>
        </p:spPr>
      </p:pic>
      <p:pic>
        <p:nvPicPr>
          <p:cNvPr id="52" name="Picture 8" descr="http://cdn.medgadget.com/wp-content/uploads/2012/04/BNX_cover_w_needle_2.jpe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5400000">
            <a:off x="7695347" y="2537901"/>
            <a:ext cx="594066" cy="792088"/>
          </a:xfrm>
          <a:prstGeom prst="rect">
            <a:avLst/>
          </a:prstGeom>
          <a:noFill/>
        </p:spPr>
      </p:pic>
      <p:pic>
        <p:nvPicPr>
          <p:cNvPr id="53" name="Picture 12" descr="http://publichealthwatchdog.com/wp-content/uploads/2012/04/Johnson-Johnson-Faces-Transvaginal-Mesh-Suits-in-Canada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771800" y="5877272"/>
            <a:ext cx="758854" cy="616569"/>
          </a:xfrm>
          <a:prstGeom prst="rect">
            <a:avLst/>
          </a:prstGeom>
          <a:noFill/>
        </p:spPr>
      </p:pic>
      <p:cxnSp>
        <p:nvCxnSpPr>
          <p:cNvPr id="64" name="Curved Connector 73"/>
          <p:cNvCxnSpPr>
            <a:stCxn id="55" idx="3"/>
          </p:cNvCxnSpPr>
          <p:nvPr/>
        </p:nvCxnSpPr>
        <p:spPr bwMode="auto">
          <a:xfrm>
            <a:off x="3599384" y="1628800"/>
            <a:ext cx="756592" cy="144016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5" name="Curved Connector 75"/>
          <p:cNvCxnSpPr>
            <a:stCxn id="62" idx="3"/>
          </p:cNvCxnSpPr>
          <p:nvPr/>
        </p:nvCxnSpPr>
        <p:spPr bwMode="auto">
          <a:xfrm flipV="1">
            <a:off x="2051720" y="4005064"/>
            <a:ext cx="2232248" cy="36004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6" name="Curved Connector 77"/>
          <p:cNvCxnSpPr>
            <a:stCxn id="63" idx="3"/>
          </p:cNvCxnSpPr>
          <p:nvPr/>
        </p:nvCxnSpPr>
        <p:spPr bwMode="auto">
          <a:xfrm>
            <a:off x="2051720" y="2744924"/>
            <a:ext cx="2232248" cy="1044116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7" name="Curved Connector 79"/>
          <p:cNvCxnSpPr>
            <a:stCxn id="61" idx="3"/>
          </p:cNvCxnSpPr>
          <p:nvPr/>
        </p:nvCxnSpPr>
        <p:spPr bwMode="auto">
          <a:xfrm flipV="1">
            <a:off x="2051720" y="4005064"/>
            <a:ext cx="2232248" cy="126014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8" name="Curved Connector 81"/>
          <p:cNvCxnSpPr/>
          <p:nvPr/>
        </p:nvCxnSpPr>
        <p:spPr bwMode="auto">
          <a:xfrm rot="10800000">
            <a:off x="4572000" y="1628800"/>
            <a:ext cx="1368152" cy="1270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69" name="Curved Connector 83"/>
          <p:cNvCxnSpPr>
            <a:stCxn id="56" idx="1"/>
          </p:cNvCxnSpPr>
          <p:nvPr/>
        </p:nvCxnSpPr>
        <p:spPr bwMode="auto">
          <a:xfrm rot="10800000">
            <a:off x="4644008" y="1916832"/>
            <a:ext cx="2376264" cy="828092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0" name="Curved Connector 85"/>
          <p:cNvCxnSpPr>
            <a:stCxn id="57" idx="1"/>
          </p:cNvCxnSpPr>
          <p:nvPr/>
        </p:nvCxnSpPr>
        <p:spPr bwMode="auto">
          <a:xfrm rot="10800000">
            <a:off x="4788024" y="3140968"/>
            <a:ext cx="2232248" cy="900100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1" name="Curved Connector 87"/>
          <p:cNvCxnSpPr>
            <a:stCxn id="58" idx="1"/>
          </p:cNvCxnSpPr>
          <p:nvPr/>
        </p:nvCxnSpPr>
        <p:spPr bwMode="auto">
          <a:xfrm rot="10800000">
            <a:off x="4644008" y="3789040"/>
            <a:ext cx="2376264" cy="1476164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Shape 89"/>
          <p:cNvCxnSpPr>
            <a:stCxn id="59" idx="0"/>
          </p:cNvCxnSpPr>
          <p:nvPr/>
        </p:nvCxnSpPr>
        <p:spPr bwMode="auto">
          <a:xfrm rot="16200000" flipV="1">
            <a:off x="4986046" y="4527122"/>
            <a:ext cx="720080" cy="1116124"/>
          </a:xfrm>
          <a:prstGeom prst="curvedConnector2">
            <a:avLst/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3" name="Curved Connector 91"/>
          <p:cNvCxnSpPr>
            <a:stCxn id="60" idx="0"/>
          </p:cNvCxnSpPr>
          <p:nvPr/>
        </p:nvCxnSpPr>
        <p:spPr bwMode="auto">
          <a:xfrm rot="5400000" flipH="1" flipV="1">
            <a:off x="3041830" y="3987062"/>
            <a:ext cx="1584176" cy="1332148"/>
          </a:xfrm>
          <a:prstGeom prst="curvedConnector3">
            <a:avLst>
              <a:gd name="adj1" fmla="val 50000"/>
            </a:avLst>
          </a:prstGeom>
          <a:solidFill>
            <a:srgbClr val="0063B0"/>
          </a:solidFill>
          <a:ln w="12700" cap="flat" cmpd="sng" algn="ctr">
            <a:solidFill>
              <a:srgbClr val="0063B0">
                <a:lumMod val="75000"/>
              </a:srgbClr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" name="Rounded Rectangle 1"/>
          <p:cNvSpPr/>
          <p:nvPr/>
        </p:nvSpPr>
        <p:spPr>
          <a:xfrm>
            <a:off x="6876256" y="4653136"/>
            <a:ext cx="2267744" cy="1332148"/>
          </a:xfrm>
          <a:prstGeom prst="roundRect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50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6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4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7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7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9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9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0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0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0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9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" fill="hold">
                      <p:stCondLst>
                        <p:cond delay="indefinite"/>
                      </p:stCondLst>
                      <p:childTnLst>
                        <p:par>
                          <p:cTn id="125" fill="hold">
                            <p:stCondLst>
                              <p:cond delay="0"/>
                            </p:stCondLst>
                            <p:childTnLst>
                              <p:par>
                                <p:cTn id="1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30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32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33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7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4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4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45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6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5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6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6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7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7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1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6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8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8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8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1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4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7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9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199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1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0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7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204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to>
                                        <a:schemeClr val="tx2"/>
                                      </p:to>
                                    </p:animClr>
                                    <p:set>
                                      <p:cBhvr>
                                        <p:cTn id="20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roke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6" fill="hold">
                      <p:stCondLst>
                        <p:cond delay="indefinite"/>
                      </p:stCondLst>
                      <p:childTnLst>
                        <p:par>
                          <p:cTn id="207" fill="hold">
                            <p:stCondLst>
                              <p:cond delay="0"/>
                            </p:stCondLst>
                            <p:childTnLst>
                              <p:par>
                                <p:cTn id="20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63" grpId="0" animBg="1"/>
      <p:bldP spid="62" grpId="0" animBg="1"/>
      <p:bldP spid="61" grpId="0" animBg="1"/>
      <p:bldP spid="60" grpId="0" animBg="1"/>
      <p:bldP spid="57" grpId="0" animBg="1"/>
      <p:bldP spid="56" grpId="0" animBg="1"/>
      <p:bldP spid="54" grpId="0" animBg="1"/>
      <p:bldP spid="58" grpId="0" animBg="1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7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8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9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Freudenberg_2015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PwPMASTER_FreudenbergMedical">
  <a:themeElements>
    <a:clrScheme name="Freudenberg 201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388"/>
      </a:accent1>
      <a:accent2>
        <a:srgbClr val="00A6E2"/>
      </a:accent2>
      <a:accent3>
        <a:srgbClr val="D9DADB"/>
      </a:accent3>
      <a:accent4>
        <a:srgbClr val="80A1C3"/>
      </a:accent4>
      <a:accent5>
        <a:srgbClr val="9C9E9F"/>
      </a:accent5>
      <a:accent6>
        <a:srgbClr val="3F3F3F"/>
      </a:accent6>
      <a:hlink>
        <a:srgbClr val="595959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vert="horz" wrap="square" lIns="0" tIns="0" rIns="0" bIns="0" rtlCol="0">
        <a:spAutoFit/>
      </a:bodyPr>
      <a:lstStyle>
        <a:defPPr marL="285750" indent="-285750">
          <a:lnSpc>
            <a:spcPct val="120000"/>
          </a:lnSpc>
          <a:spcBef>
            <a:spcPts val="0"/>
          </a:spcBef>
          <a:buClr>
            <a:schemeClr val="accent1"/>
          </a:buClr>
          <a:buSzPct val="100000"/>
          <a:buFont typeface="Arial" panose="020B0604020202020204" pitchFamily="34" charset="0"/>
          <a:buChar char="●"/>
          <a:defRPr sz="1400" dirty="0" err="1" smtClean="0"/>
        </a:defPPr>
      </a:lstStyle>
    </a:txDef>
  </a:objectDefaults>
  <a:extraClrSchemeLst/>
  <a:custClrLst>
    <a:custClr name="Blue Tint (50%)">
      <a:srgbClr val="80A1C3"/>
    </a:custClr>
    <a:custClr name="Accent Blue Tint (50%)">
      <a:srgbClr val="96D7F3"/>
    </a:custClr>
    <a:custClr name="Green Tint (50%)">
      <a:srgbClr val="9CB780"/>
    </a:custClr>
    <a:custClr name="Red Tint (50%)">
      <a:srgbClr val="F4A586"/>
    </a:custClr>
    <a:custClr name="Yellow Tint (50%)">
      <a:srgbClr val="FDD48F"/>
    </a:custClr>
    <a:custClr name="Green">
      <a:srgbClr val="007D4E"/>
    </a:custClr>
    <a:custClr name="Red">
      <a:srgbClr val="E63323"/>
    </a:custClr>
    <a:custClr name="Yellow">
      <a:srgbClr val="F7A600"/>
    </a:custClr>
    <a:custClr name="Tabel Dark Gray">
      <a:srgbClr val="CBCFDA"/>
    </a:custClr>
    <a:custClr name="Table Light Gray">
      <a:srgbClr val="E7E9ED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wPMASTER_FreudenbergMedical</Template>
  <TotalTime>11773</TotalTime>
  <Words>746</Words>
  <Application>Microsoft Office PowerPoint</Application>
  <PresentationFormat>On-screen Show (4:3)</PresentationFormat>
  <Paragraphs>183</Paragraphs>
  <Slides>1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8" baseType="lpstr">
      <vt:lpstr>Arial</vt:lpstr>
      <vt:lpstr>Calibri</vt:lpstr>
      <vt:lpstr>Geneva</vt:lpstr>
      <vt:lpstr>Symbol</vt:lpstr>
      <vt:lpstr>Times New Roman</vt:lpstr>
      <vt:lpstr>Wingdings</vt:lpstr>
      <vt:lpstr>PwPMASTER_FreudenbergMedical</vt:lpstr>
      <vt:lpstr>2_Freudenberg_2015</vt:lpstr>
      <vt:lpstr>Freudenberg_2015</vt:lpstr>
      <vt:lpstr>1_PwPMASTER_FreudenbergMedical</vt:lpstr>
      <vt:lpstr>3_Freudenberg_2015</vt:lpstr>
      <vt:lpstr>1_Freudenberg_2015</vt:lpstr>
      <vt:lpstr>2_PwPMASTER_FreudenbergMedical</vt:lpstr>
      <vt:lpstr>3_PwPMASTER_FreudenbergMedical</vt:lpstr>
      <vt:lpstr>4_PwPMASTER_FreudenbergMedical</vt:lpstr>
      <vt:lpstr>5_PwPMASTER_FreudenbergMedical</vt:lpstr>
      <vt:lpstr>6_PwPMASTER_FreudenbergMedical</vt:lpstr>
      <vt:lpstr>7_PwPMASTER_FreudenbergMedical</vt:lpstr>
      <vt:lpstr>8_PwPMASTER_FreudenbergMedical</vt:lpstr>
      <vt:lpstr>9_PwPMASTER_FreudenbergMedical</vt:lpstr>
      <vt:lpstr>think-cell Slide</vt:lpstr>
      <vt:lpstr>PowerPoint Presentation</vt:lpstr>
      <vt:lpstr>PowerPoint Presentation</vt:lpstr>
      <vt:lpstr>1.  Introduction</vt:lpstr>
      <vt:lpstr>2. Freudenberg Group - Profile</vt:lpstr>
      <vt:lpstr>2. Freudenberg Group - Products</vt:lpstr>
      <vt:lpstr>2. Freudenberg Group - Key Figures 2016</vt:lpstr>
      <vt:lpstr>2. Freudenberg Medical - Profil</vt:lpstr>
      <vt:lpstr>2. Freudenberg Medical - Globale Standorte</vt:lpstr>
      <vt:lpstr>PowerPoint Presentation</vt:lpstr>
      <vt:lpstr>3.  Endoclip Geräte</vt:lpstr>
      <vt:lpstr>3.  Endoclip Geräte</vt:lpstr>
      <vt:lpstr>3.  Resolution™ Clipsystem von Boston Scientific</vt:lpstr>
      <vt:lpstr>3.  Resolution™ Clipsystem von Boston Scientific</vt:lpstr>
      <vt:lpstr>3.  Resolution™ Clipsystem von Boston Scientific</vt:lpstr>
      <vt:lpstr>3.  Resolution™ Clipsystem von Boston Scientific</vt:lpstr>
      <vt:lpstr>3.  Resolution™ Clipsystem von Boston Scientific</vt:lpstr>
      <vt:lpstr>3.  Frage und Antwort</vt:lpstr>
    </vt:vector>
  </TitlesOfParts>
  <Company>%ORGNAME%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#</dc:creator>
  <cp:lastModifiedBy>Schneewinds Home</cp:lastModifiedBy>
  <cp:revision>552</cp:revision>
  <cp:lastPrinted>2016-02-24T15:07:49Z</cp:lastPrinted>
  <dcterms:created xsi:type="dcterms:W3CDTF">2015-08-20T07:47:57Z</dcterms:created>
  <dcterms:modified xsi:type="dcterms:W3CDTF">2018-03-25T18:27:00Z</dcterms:modified>
</cp:coreProperties>
</file>